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theme/theme2.xml" ContentType="application/vnd.openxmlformats-officedocument.theme+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theme/theme3.xml" ContentType="application/vnd.openxmlformats-officedocument.theme+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theme/theme4.xml" ContentType="application/vnd.openxmlformats-officedocument.theme+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slideLayouts/slideLayout885.xml" ContentType="application/vnd.openxmlformats-officedocument.presentationml.slideLayout+xml"/>
  <Override PartName="/ppt/slideLayouts/slideLayout886.xml" ContentType="application/vnd.openxmlformats-officedocument.presentationml.slideLayout+xml"/>
  <Override PartName="/ppt/slideLayouts/slideLayout887.xml" ContentType="application/vnd.openxmlformats-officedocument.presentationml.slideLayout+xml"/>
  <Override PartName="/ppt/slideLayouts/slideLayout888.xml" ContentType="application/vnd.openxmlformats-officedocument.presentationml.slideLayout+xml"/>
  <Override PartName="/ppt/slideLayouts/slideLayout889.xml" ContentType="application/vnd.openxmlformats-officedocument.presentationml.slideLayout+xml"/>
  <Override PartName="/ppt/slideLayouts/slideLayout890.xml" ContentType="application/vnd.openxmlformats-officedocument.presentationml.slideLayout+xml"/>
  <Override PartName="/ppt/slideLayouts/slideLayout891.xml" ContentType="application/vnd.openxmlformats-officedocument.presentationml.slideLayout+xml"/>
  <Override PartName="/ppt/slideLayouts/slideLayout892.xml" ContentType="application/vnd.openxmlformats-officedocument.presentationml.slideLayout+xml"/>
  <Override PartName="/ppt/slideLayouts/slideLayout893.xml" ContentType="application/vnd.openxmlformats-officedocument.presentationml.slideLayout+xml"/>
  <Override PartName="/ppt/slideLayouts/slideLayout894.xml" ContentType="application/vnd.openxmlformats-officedocument.presentationml.slideLayout+xml"/>
  <Override PartName="/ppt/slideLayouts/slideLayout895.xml" ContentType="application/vnd.openxmlformats-officedocument.presentationml.slideLayout+xml"/>
  <Override PartName="/ppt/slideLayouts/slideLayout896.xml" ContentType="application/vnd.openxmlformats-officedocument.presentationml.slideLayout+xml"/>
  <Override PartName="/ppt/slideLayouts/slideLayout897.xml" ContentType="application/vnd.openxmlformats-officedocument.presentationml.slideLayout+xml"/>
  <Override PartName="/ppt/slideLayouts/slideLayout898.xml" ContentType="application/vnd.openxmlformats-officedocument.presentationml.slideLayout+xml"/>
  <Override PartName="/ppt/slideLayouts/slideLayout899.xml" ContentType="application/vnd.openxmlformats-officedocument.presentationml.slideLayout+xml"/>
  <Override PartName="/ppt/slideLayouts/slideLayout900.xml" ContentType="application/vnd.openxmlformats-officedocument.presentationml.slideLayout+xml"/>
  <Override PartName="/ppt/slideLayouts/slideLayout901.xml" ContentType="application/vnd.openxmlformats-officedocument.presentationml.slideLayout+xml"/>
  <Override PartName="/ppt/slideLayouts/slideLayout902.xml" ContentType="application/vnd.openxmlformats-officedocument.presentationml.slideLayout+xml"/>
  <Override PartName="/ppt/slideLayouts/slideLayout903.xml" ContentType="application/vnd.openxmlformats-officedocument.presentationml.slideLayout+xml"/>
  <Override PartName="/ppt/slideLayouts/slideLayout904.xml" ContentType="application/vnd.openxmlformats-officedocument.presentationml.slideLayout+xml"/>
  <Override PartName="/ppt/slideLayouts/slideLayout905.xml" ContentType="application/vnd.openxmlformats-officedocument.presentationml.slideLayout+xml"/>
  <Override PartName="/ppt/slideLayouts/slideLayout906.xml" ContentType="application/vnd.openxmlformats-officedocument.presentationml.slideLayout+xml"/>
  <Override PartName="/ppt/slideLayouts/slideLayout907.xml" ContentType="application/vnd.openxmlformats-officedocument.presentationml.slideLayout+xml"/>
  <Override PartName="/ppt/slideLayouts/slideLayout908.xml" ContentType="application/vnd.openxmlformats-officedocument.presentationml.slideLayout+xml"/>
  <Override PartName="/ppt/slideLayouts/slideLayout909.xml" ContentType="application/vnd.openxmlformats-officedocument.presentationml.slideLayout+xml"/>
  <Override PartName="/ppt/slideLayouts/slideLayout910.xml" ContentType="application/vnd.openxmlformats-officedocument.presentationml.slideLayout+xml"/>
  <Override PartName="/ppt/slideLayouts/slideLayout911.xml" ContentType="application/vnd.openxmlformats-officedocument.presentationml.slideLayout+xml"/>
  <Override PartName="/ppt/slideLayouts/slideLayout912.xml" ContentType="application/vnd.openxmlformats-officedocument.presentationml.slideLayout+xml"/>
  <Override PartName="/ppt/slideLayouts/slideLayout913.xml" ContentType="application/vnd.openxmlformats-officedocument.presentationml.slideLayout+xml"/>
  <Override PartName="/ppt/slideLayouts/slideLayout914.xml" ContentType="application/vnd.openxmlformats-officedocument.presentationml.slideLayout+xml"/>
  <Override PartName="/ppt/slideLayouts/slideLayout915.xml" ContentType="application/vnd.openxmlformats-officedocument.presentationml.slideLayout+xml"/>
  <Override PartName="/ppt/slideLayouts/slideLayout916.xml" ContentType="application/vnd.openxmlformats-officedocument.presentationml.slideLayout+xml"/>
  <Override PartName="/ppt/slideLayouts/slideLayout917.xml" ContentType="application/vnd.openxmlformats-officedocument.presentationml.slideLayout+xml"/>
  <Override PartName="/ppt/slideLayouts/slideLayout918.xml" ContentType="application/vnd.openxmlformats-officedocument.presentationml.slideLayout+xml"/>
  <Override PartName="/ppt/slideLayouts/slideLayout919.xml" ContentType="application/vnd.openxmlformats-officedocument.presentationml.slideLayout+xml"/>
  <Override PartName="/ppt/slideLayouts/slideLayout920.xml" ContentType="application/vnd.openxmlformats-officedocument.presentationml.slideLayout+xml"/>
  <Override PartName="/ppt/slideLayouts/slideLayout921.xml" ContentType="application/vnd.openxmlformats-officedocument.presentationml.slideLayout+xml"/>
  <Override PartName="/ppt/slideLayouts/slideLayout922.xml" ContentType="application/vnd.openxmlformats-officedocument.presentationml.slideLayout+xml"/>
  <Override PartName="/ppt/slideLayouts/slideLayout923.xml" ContentType="application/vnd.openxmlformats-officedocument.presentationml.slideLayout+xml"/>
  <Override PartName="/ppt/slideLayouts/slideLayout924.xml" ContentType="application/vnd.openxmlformats-officedocument.presentationml.slideLayout+xml"/>
  <Override PartName="/ppt/slideLayouts/slideLayout925.xml" ContentType="application/vnd.openxmlformats-officedocument.presentationml.slideLayout+xml"/>
  <Override PartName="/ppt/slideLayouts/slideLayout926.xml" ContentType="application/vnd.openxmlformats-officedocument.presentationml.slideLayout+xml"/>
  <Override PartName="/ppt/slideLayouts/slideLayout927.xml" ContentType="application/vnd.openxmlformats-officedocument.presentationml.slideLayout+xml"/>
  <Override PartName="/ppt/slideLayouts/slideLayout928.xml" ContentType="application/vnd.openxmlformats-officedocument.presentationml.slideLayout+xml"/>
  <Override PartName="/ppt/slideLayouts/slideLayout929.xml" ContentType="application/vnd.openxmlformats-officedocument.presentationml.slideLayout+xml"/>
  <Override PartName="/ppt/slideLayouts/slideLayout930.xml" ContentType="application/vnd.openxmlformats-officedocument.presentationml.slideLayout+xml"/>
  <Override PartName="/ppt/slideLayouts/slideLayout931.xml" ContentType="application/vnd.openxmlformats-officedocument.presentationml.slideLayout+xml"/>
  <Override PartName="/ppt/slideLayouts/slideLayout932.xml" ContentType="application/vnd.openxmlformats-officedocument.presentationml.slideLayout+xml"/>
  <Override PartName="/ppt/slideLayouts/slideLayout933.xml" ContentType="application/vnd.openxmlformats-officedocument.presentationml.slideLayout+xml"/>
  <Override PartName="/ppt/slideLayouts/slideLayout934.xml" ContentType="application/vnd.openxmlformats-officedocument.presentationml.slideLayout+xml"/>
  <Override PartName="/ppt/slideLayouts/slideLayout935.xml" ContentType="application/vnd.openxmlformats-officedocument.presentationml.slideLayout+xml"/>
  <Override PartName="/ppt/slideLayouts/slideLayout936.xml" ContentType="application/vnd.openxmlformats-officedocument.presentationml.slideLayout+xml"/>
  <Override PartName="/ppt/slideLayouts/slideLayout937.xml" ContentType="application/vnd.openxmlformats-officedocument.presentationml.slideLayout+xml"/>
  <Override PartName="/ppt/slideLayouts/slideLayout938.xml" ContentType="application/vnd.openxmlformats-officedocument.presentationml.slideLayout+xml"/>
  <Override PartName="/ppt/slideLayouts/slideLayout939.xml" ContentType="application/vnd.openxmlformats-officedocument.presentationml.slideLayout+xml"/>
  <Override PartName="/ppt/slideLayouts/slideLayout940.xml" ContentType="application/vnd.openxmlformats-officedocument.presentationml.slideLayout+xml"/>
  <Override PartName="/ppt/slideLayouts/slideLayout941.xml" ContentType="application/vnd.openxmlformats-officedocument.presentationml.slideLayout+xml"/>
  <Override PartName="/ppt/slideLayouts/slideLayout942.xml" ContentType="application/vnd.openxmlformats-officedocument.presentationml.slideLayout+xml"/>
  <Override PartName="/ppt/slideLayouts/slideLayout943.xml" ContentType="application/vnd.openxmlformats-officedocument.presentationml.slideLayout+xml"/>
  <Override PartName="/ppt/slideLayouts/slideLayout944.xml" ContentType="application/vnd.openxmlformats-officedocument.presentationml.slideLayout+xml"/>
  <Override PartName="/ppt/slideLayouts/slideLayout945.xml" ContentType="application/vnd.openxmlformats-officedocument.presentationml.slideLayout+xml"/>
  <Override PartName="/ppt/slideLayouts/slideLayout946.xml" ContentType="application/vnd.openxmlformats-officedocument.presentationml.slideLayout+xml"/>
  <Override PartName="/ppt/slideLayouts/slideLayout947.xml" ContentType="application/vnd.openxmlformats-officedocument.presentationml.slideLayout+xml"/>
  <Override PartName="/ppt/slideLayouts/slideLayout948.xml" ContentType="application/vnd.openxmlformats-officedocument.presentationml.slideLayout+xml"/>
  <Override PartName="/ppt/slideLayouts/slideLayout949.xml" ContentType="application/vnd.openxmlformats-officedocument.presentationml.slideLayout+xml"/>
  <Override PartName="/ppt/slideLayouts/slideLayout950.xml" ContentType="application/vnd.openxmlformats-officedocument.presentationml.slideLayout+xml"/>
  <Override PartName="/ppt/slideLayouts/slideLayout951.xml" ContentType="application/vnd.openxmlformats-officedocument.presentationml.slideLayout+xml"/>
  <Override PartName="/ppt/slideLayouts/slideLayout952.xml" ContentType="application/vnd.openxmlformats-officedocument.presentationml.slideLayout+xml"/>
  <Override PartName="/ppt/slideLayouts/slideLayout953.xml" ContentType="application/vnd.openxmlformats-officedocument.presentationml.slideLayout+xml"/>
  <Override PartName="/ppt/slideLayouts/slideLayout954.xml" ContentType="application/vnd.openxmlformats-officedocument.presentationml.slideLayout+xml"/>
  <Override PartName="/ppt/slideLayouts/slideLayout955.xml" ContentType="application/vnd.openxmlformats-officedocument.presentationml.slideLayout+xml"/>
  <Override PartName="/ppt/slideLayouts/slideLayout956.xml" ContentType="application/vnd.openxmlformats-officedocument.presentationml.slideLayout+xml"/>
  <Override PartName="/ppt/slideLayouts/slideLayout957.xml" ContentType="application/vnd.openxmlformats-officedocument.presentationml.slideLayout+xml"/>
  <Override PartName="/ppt/slideLayouts/slideLayout958.xml" ContentType="application/vnd.openxmlformats-officedocument.presentationml.slideLayout+xml"/>
  <Override PartName="/ppt/slideLayouts/slideLayout959.xml" ContentType="application/vnd.openxmlformats-officedocument.presentationml.slideLayout+xml"/>
  <Override PartName="/ppt/slideLayouts/slideLayout960.xml" ContentType="application/vnd.openxmlformats-officedocument.presentationml.slideLayout+xml"/>
  <Override PartName="/ppt/slideLayouts/slideLayout961.xml" ContentType="application/vnd.openxmlformats-officedocument.presentationml.slideLayout+xml"/>
  <Override PartName="/ppt/slideLayouts/slideLayout962.xml" ContentType="application/vnd.openxmlformats-officedocument.presentationml.slideLayout+xml"/>
  <Override PartName="/ppt/slideLayouts/slideLayout963.xml" ContentType="application/vnd.openxmlformats-officedocument.presentationml.slideLayout+xml"/>
  <Override PartName="/ppt/slideLayouts/slideLayout964.xml" ContentType="application/vnd.openxmlformats-officedocument.presentationml.slideLayout+xml"/>
  <Override PartName="/ppt/slideLayouts/slideLayout965.xml" ContentType="application/vnd.openxmlformats-officedocument.presentationml.slideLayout+xml"/>
  <Override PartName="/ppt/slideLayouts/slideLayout966.xml" ContentType="application/vnd.openxmlformats-officedocument.presentationml.slideLayout+xml"/>
  <Override PartName="/ppt/slideLayouts/slideLayout967.xml" ContentType="application/vnd.openxmlformats-officedocument.presentationml.slideLayout+xml"/>
  <Override PartName="/ppt/slideLayouts/slideLayout968.xml" ContentType="application/vnd.openxmlformats-officedocument.presentationml.slideLayout+xml"/>
  <Override PartName="/ppt/slideLayouts/slideLayout969.xml" ContentType="application/vnd.openxmlformats-officedocument.presentationml.slideLayout+xml"/>
  <Override PartName="/ppt/slideLayouts/slideLayout970.xml" ContentType="application/vnd.openxmlformats-officedocument.presentationml.slideLayout+xml"/>
  <Override PartName="/ppt/slideLayouts/slideLayout971.xml" ContentType="application/vnd.openxmlformats-officedocument.presentationml.slideLayout+xml"/>
  <Override PartName="/ppt/slideLayouts/slideLayout972.xml" ContentType="application/vnd.openxmlformats-officedocument.presentationml.slideLayout+xml"/>
  <Override PartName="/ppt/slideLayouts/slideLayout973.xml" ContentType="application/vnd.openxmlformats-officedocument.presentationml.slideLayout+xml"/>
  <Override PartName="/ppt/slideLayouts/slideLayout974.xml" ContentType="application/vnd.openxmlformats-officedocument.presentationml.slideLayout+xml"/>
  <Override PartName="/ppt/slideLayouts/slideLayout975.xml" ContentType="application/vnd.openxmlformats-officedocument.presentationml.slideLayout+xml"/>
  <Override PartName="/ppt/slideLayouts/slideLayout976.xml" ContentType="application/vnd.openxmlformats-officedocument.presentationml.slideLayout+xml"/>
  <Override PartName="/ppt/slideLayouts/slideLayout977.xml" ContentType="application/vnd.openxmlformats-officedocument.presentationml.slideLayout+xml"/>
  <Override PartName="/ppt/slideLayouts/slideLayout978.xml" ContentType="application/vnd.openxmlformats-officedocument.presentationml.slideLayout+xml"/>
  <Override PartName="/ppt/slideLayouts/slideLayout979.xml" ContentType="application/vnd.openxmlformats-officedocument.presentationml.slideLayout+xml"/>
  <Override PartName="/ppt/slideLayouts/slideLayout980.xml" ContentType="application/vnd.openxmlformats-officedocument.presentationml.slideLayout+xml"/>
  <Override PartName="/ppt/slideLayouts/slideLayout981.xml" ContentType="application/vnd.openxmlformats-officedocument.presentationml.slideLayout+xml"/>
  <Override PartName="/ppt/slideLayouts/slideLayout982.xml" ContentType="application/vnd.openxmlformats-officedocument.presentationml.slideLayout+xml"/>
  <Override PartName="/ppt/slideLayouts/slideLayout983.xml" ContentType="application/vnd.openxmlformats-officedocument.presentationml.slideLayout+xml"/>
  <Override PartName="/ppt/slideLayouts/slideLayout984.xml" ContentType="application/vnd.openxmlformats-officedocument.presentationml.slideLayout+xml"/>
  <Override PartName="/ppt/slideLayouts/slideLayout985.xml" ContentType="application/vnd.openxmlformats-officedocument.presentationml.slideLayout+xml"/>
  <Override PartName="/ppt/slideLayouts/slideLayout986.xml" ContentType="application/vnd.openxmlformats-officedocument.presentationml.slideLayout+xml"/>
  <Override PartName="/ppt/slideLayouts/slideLayout987.xml" ContentType="application/vnd.openxmlformats-officedocument.presentationml.slideLayout+xml"/>
  <Override PartName="/ppt/slideLayouts/slideLayout988.xml" ContentType="application/vnd.openxmlformats-officedocument.presentationml.slideLayout+xml"/>
  <Override PartName="/ppt/slideLayouts/slideLayout989.xml" ContentType="application/vnd.openxmlformats-officedocument.presentationml.slideLayout+xml"/>
  <Override PartName="/ppt/slideLayouts/slideLayout990.xml" ContentType="application/vnd.openxmlformats-officedocument.presentationml.slideLayout+xml"/>
  <Override PartName="/ppt/slideLayouts/slideLayout991.xml" ContentType="application/vnd.openxmlformats-officedocument.presentationml.slideLayout+xml"/>
  <Override PartName="/ppt/slideLayouts/slideLayout992.xml" ContentType="application/vnd.openxmlformats-officedocument.presentationml.slideLayout+xml"/>
  <Override PartName="/ppt/slideLayouts/slideLayout993.xml" ContentType="application/vnd.openxmlformats-officedocument.presentationml.slideLayout+xml"/>
  <Override PartName="/ppt/slideLayouts/slideLayout994.xml" ContentType="application/vnd.openxmlformats-officedocument.presentationml.slideLayout+xml"/>
  <Override PartName="/ppt/slideLayouts/slideLayout995.xml" ContentType="application/vnd.openxmlformats-officedocument.presentationml.slideLayout+xml"/>
  <Override PartName="/ppt/slideLayouts/slideLayout996.xml" ContentType="application/vnd.openxmlformats-officedocument.presentationml.slideLayout+xml"/>
  <Override PartName="/ppt/slideLayouts/slideLayout997.xml" ContentType="application/vnd.openxmlformats-officedocument.presentationml.slideLayout+xml"/>
  <Override PartName="/ppt/slideLayouts/slideLayout998.xml" ContentType="application/vnd.openxmlformats-officedocument.presentationml.slideLayout+xml"/>
  <Override PartName="/ppt/slideLayouts/slideLayout999.xml" ContentType="application/vnd.openxmlformats-officedocument.presentationml.slideLayout+xml"/>
  <Override PartName="/ppt/slideLayouts/slideLayout1000.xml" ContentType="application/vnd.openxmlformats-officedocument.presentationml.slideLayout+xml"/>
  <Override PartName="/ppt/slideLayouts/slideLayout1001.xml" ContentType="application/vnd.openxmlformats-officedocument.presentationml.slideLayout+xml"/>
  <Override PartName="/ppt/slideLayouts/slideLayout1002.xml" ContentType="application/vnd.openxmlformats-officedocument.presentationml.slideLayout+xml"/>
  <Override PartName="/ppt/slideLayouts/slideLayout1003.xml" ContentType="application/vnd.openxmlformats-officedocument.presentationml.slideLayout+xml"/>
  <Override PartName="/ppt/slideLayouts/slideLayout1004.xml" ContentType="application/vnd.openxmlformats-officedocument.presentationml.slideLayout+xml"/>
  <Override PartName="/ppt/slideLayouts/slideLayout1005.xml" ContentType="application/vnd.openxmlformats-officedocument.presentationml.slideLayout+xml"/>
  <Override PartName="/ppt/slideLayouts/slideLayout1006.xml" ContentType="application/vnd.openxmlformats-officedocument.presentationml.slideLayout+xml"/>
  <Override PartName="/ppt/slideLayouts/slideLayout1007.xml" ContentType="application/vnd.openxmlformats-officedocument.presentationml.slideLayout+xml"/>
  <Override PartName="/ppt/slideLayouts/slideLayout1008.xml" ContentType="application/vnd.openxmlformats-officedocument.presentationml.slideLayout+xml"/>
  <Override PartName="/ppt/slideLayouts/slideLayout1009.xml" ContentType="application/vnd.openxmlformats-officedocument.presentationml.slideLayout+xml"/>
  <Override PartName="/ppt/slideLayouts/slideLayout1010.xml" ContentType="application/vnd.openxmlformats-officedocument.presentationml.slideLayout+xml"/>
  <Override PartName="/ppt/slideLayouts/slideLayout1011.xml" ContentType="application/vnd.openxmlformats-officedocument.presentationml.slideLayout+xml"/>
  <Override PartName="/ppt/slideLayouts/slideLayout1012.xml" ContentType="application/vnd.openxmlformats-officedocument.presentationml.slideLayout+xml"/>
  <Override PartName="/ppt/slideLayouts/slideLayout1013.xml" ContentType="application/vnd.openxmlformats-officedocument.presentationml.slideLayout+xml"/>
  <Override PartName="/ppt/slideLayouts/slideLayout1014.xml" ContentType="application/vnd.openxmlformats-officedocument.presentationml.slideLayout+xml"/>
  <Override PartName="/ppt/slideLayouts/slideLayout1015.xml" ContentType="application/vnd.openxmlformats-officedocument.presentationml.slideLayout+xml"/>
  <Override PartName="/ppt/slideLayouts/slideLayout1016.xml" ContentType="application/vnd.openxmlformats-officedocument.presentationml.slideLayout+xml"/>
  <Override PartName="/ppt/slideLayouts/slideLayout1017.xml" ContentType="application/vnd.openxmlformats-officedocument.presentationml.slideLayout+xml"/>
  <Override PartName="/ppt/slideLayouts/slideLayout1018.xml" ContentType="application/vnd.openxmlformats-officedocument.presentationml.slideLayout+xml"/>
  <Override PartName="/ppt/slideLayouts/slideLayout1019.xml" ContentType="application/vnd.openxmlformats-officedocument.presentationml.slideLayout+xml"/>
  <Override PartName="/ppt/slideLayouts/slideLayout1020.xml" ContentType="application/vnd.openxmlformats-officedocument.presentationml.slideLayout+xml"/>
  <Override PartName="/ppt/slideLayouts/slideLayout1021.xml" ContentType="application/vnd.openxmlformats-officedocument.presentationml.slideLayout+xml"/>
  <Override PartName="/ppt/slideLayouts/slideLayout1022.xml" ContentType="application/vnd.openxmlformats-officedocument.presentationml.slideLayout+xml"/>
  <Override PartName="/ppt/slideLayouts/slideLayout1023.xml" ContentType="application/vnd.openxmlformats-officedocument.presentationml.slideLayout+xml"/>
  <Override PartName="/ppt/slideLayouts/slideLayout1024.xml" ContentType="application/vnd.openxmlformats-officedocument.presentationml.slideLayout+xml"/>
  <Override PartName="/ppt/slideLayouts/slideLayout1025.xml" ContentType="application/vnd.openxmlformats-officedocument.presentationml.slideLayout+xml"/>
  <Override PartName="/ppt/slideLayouts/slideLayout1026.xml" ContentType="application/vnd.openxmlformats-officedocument.presentationml.slideLayout+xml"/>
  <Override PartName="/ppt/slideLayouts/slideLayout1027.xml" ContentType="application/vnd.openxmlformats-officedocument.presentationml.slideLayout+xml"/>
  <Override PartName="/ppt/slideLayouts/slideLayout1028.xml" ContentType="application/vnd.openxmlformats-officedocument.presentationml.slideLayout+xml"/>
  <Override PartName="/ppt/slideLayouts/slideLayout1029.xml" ContentType="application/vnd.openxmlformats-officedocument.presentationml.slideLayout+xml"/>
  <Override PartName="/ppt/slideLayouts/slideLayout1030.xml" ContentType="application/vnd.openxmlformats-officedocument.presentationml.slideLayout+xml"/>
  <Override PartName="/ppt/slideLayouts/slideLayout1031.xml" ContentType="application/vnd.openxmlformats-officedocument.presentationml.slideLayout+xml"/>
  <Override PartName="/ppt/slideLayouts/slideLayout1032.xml" ContentType="application/vnd.openxmlformats-officedocument.presentationml.slideLayout+xml"/>
  <Override PartName="/ppt/slideLayouts/slideLayout1033.xml" ContentType="application/vnd.openxmlformats-officedocument.presentationml.slideLayout+xml"/>
  <Override PartName="/ppt/slideLayouts/slideLayout1034.xml" ContentType="application/vnd.openxmlformats-officedocument.presentationml.slideLayout+xml"/>
  <Override PartName="/ppt/slideLayouts/slideLayout1035.xml" ContentType="application/vnd.openxmlformats-officedocument.presentationml.slideLayout+xml"/>
  <Override PartName="/ppt/slideLayouts/slideLayout1036.xml" ContentType="application/vnd.openxmlformats-officedocument.presentationml.slideLayout+xml"/>
  <Override PartName="/ppt/slideLayouts/slideLayout1037.xml" ContentType="application/vnd.openxmlformats-officedocument.presentationml.slideLayout+xml"/>
  <Override PartName="/ppt/slideLayouts/slideLayout1038.xml" ContentType="application/vnd.openxmlformats-officedocument.presentationml.slideLayout+xml"/>
  <Override PartName="/ppt/slideLayouts/slideLayout1039.xml" ContentType="application/vnd.openxmlformats-officedocument.presentationml.slideLayout+xml"/>
  <Override PartName="/ppt/slideLayouts/slideLayout1040.xml" ContentType="application/vnd.openxmlformats-officedocument.presentationml.slideLayout+xml"/>
  <Override PartName="/ppt/slideLayouts/slideLayout1041.xml" ContentType="application/vnd.openxmlformats-officedocument.presentationml.slideLayout+xml"/>
  <Override PartName="/ppt/slideLayouts/slideLayout1042.xml" ContentType="application/vnd.openxmlformats-officedocument.presentationml.slideLayout+xml"/>
  <Override PartName="/ppt/slideLayouts/slideLayout1043.xml" ContentType="application/vnd.openxmlformats-officedocument.presentationml.slideLayout+xml"/>
  <Override PartName="/ppt/slideLayouts/slideLayout1044.xml" ContentType="application/vnd.openxmlformats-officedocument.presentationml.slideLayout+xml"/>
  <Override PartName="/ppt/slideLayouts/slideLayout1045.xml" ContentType="application/vnd.openxmlformats-officedocument.presentationml.slideLayout+xml"/>
  <Override PartName="/ppt/slideLayouts/slideLayout1046.xml" ContentType="application/vnd.openxmlformats-officedocument.presentationml.slideLayout+xml"/>
  <Override PartName="/ppt/slideLayouts/slideLayout1047.xml" ContentType="application/vnd.openxmlformats-officedocument.presentationml.slideLayout+xml"/>
  <Override PartName="/ppt/slideLayouts/slideLayout1048.xml" ContentType="application/vnd.openxmlformats-officedocument.presentationml.slideLayout+xml"/>
  <Override PartName="/ppt/slideLayouts/slideLayout1049.xml" ContentType="application/vnd.openxmlformats-officedocument.presentationml.slideLayout+xml"/>
  <Override PartName="/ppt/slideLayouts/slideLayout1050.xml" ContentType="application/vnd.openxmlformats-officedocument.presentationml.slideLayout+xml"/>
  <Override PartName="/ppt/slideLayouts/slideLayout1051.xml" ContentType="application/vnd.openxmlformats-officedocument.presentationml.slideLayout+xml"/>
  <Override PartName="/ppt/slideLayouts/slideLayout1052.xml" ContentType="application/vnd.openxmlformats-officedocument.presentationml.slideLayout+xml"/>
  <Override PartName="/ppt/slideLayouts/slideLayout1053.xml" ContentType="application/vnd.openxmlformats-officedocument.presentationml.slideLayout+xml"/>
  <Override PartName="/ppt/slideLayouts/slideLayout1054.xml" ContentType="application/vnd.openxmlformats-officedocument.presentationml.slideLayout+xml"/>
  <Override PartName="/ppt/slideLayouts/slideLayout1055.xml" ContentType="application/vnd.openxmlformats-officedocument.presentationml.slideLayout+xml"/>
  <Override PartName="/ppt/slideLayouts/slideLayout1056.xml" ContentType="application/vnd.openxmlformats-officedocument.presentationml.slideLayout+xml"/>
  <Override PartName="/ppt/slideLayouts/slideLayout1057.xml" ContentType="application/vnd.openxmlformats-officedocument.presentationml.slideLayout+xml"/>
  <Override PartName="/ppt/slideLayouts/slideLayout1058.xml" ContentType="application/vnd.openxmlformats-officedocument.presentationml.slideLayout+xml"/>
  <Override PartName="/ppt/slideLayouts/slideLayout1059.xml" ContentType="application/vnd.openxmlformats-officedocument.presentationml.slideLayout+xml"/>
  <Override PartName="/ppt/slideLayouts/slideLayout1060.xml" ContentType="application/vnd.openxmlformats-officedocument.presentationml.slideLayout+xml"/>
  <Override PartName="/ppt/slideLayouts/slideLayout1061.xml" ContentType="application/vnd.openxmlformats-officedocument.presentationml.slideLayout+xml"/>
  <Override PartName="/ppt/slideLayouts/slideLayout1062.xml" ContentType="application/vnd.openxmlformats-officedocument.presentationml.slideLayout+xml"/>
  <Override PartName="/ppt/slideLayouts/slideLayout1063.xml" ContentType="application/vnd.openxmlformats-officedocument.presentationml.slideLayout+xml"/>
  <Override PartName="/ppt/slideLayouts/slideLayout1064.xml" ContentType="application/vnd.openxmlformats-officedocument.presentationml.slideLayout+xml"/>
  <Override PartName="/ppt/slideLayouts/slideLayout1065.xml" ContentType="application/vnd.openxmlformats-officedocument.presentationml.slideLayout+xml"/>
  <Override PartName="/ppt/slideLayouts/slideLayout1066.xml" ContentType="application/vnd.openxmlformats-officedocument.presentationml.slideLayout+xml"/>
  <Override PartName="/ppt/slideLayouts/slideLayout1067.xml" ContentType="application/vnd.openxmlformats-officedocument.presentationml.slideLayout+xml"/>
  <Override PartName="/ppt/slideLayouts/slideLayout1068.xml" ContentType="application/vnd.openxmlformats-officedocument.presentationml.slideLayout+xml"/>
  <Override PartName="/ppt/slideLayouts/slideLayout1069.xml" ContentType="application/vnd.openxmlformats-officedocument.presentationml.slideLayout+xml"/>
  <Override PartName="/ppt/slideLayouts/slideLayout1070.xml" ContentType="application/vnd.openxmlformats-officedocument.presentationml.slideLayout+xml"/>
  <Override PartName="/ppt/slideLayouts/slideLayout1071.xml" ContentType="application/vnd.openxmlformats-officedocument.presentationml.slideLayout+xml"/>
  <Override PartName="/ppt/slideLayouts/slideLayout1072.xml" ContentType="application/vnd.openxmlformats-officedocument.presentationml.slideLayout+xml"/>
  <Override PartName="/ppt/slideLayouts/slideLayout1073.xml" ContentType="application/vnd.openxmlformats-officedocument.presentationml.slideLayout+xml"/>
  <Override PartName="/ppt/slideLayouts/slideLayout1074.xml" ContentType="application/vnd.openxmlformats-officedocument.presentationml.slideLayout+xml"/>
  <Override PartName="/ppt/slideLayouts/slideLayout1075.xml" ContentType="application/vnd.openxmlformats-officedocument.presentationml.slideLayout+xml"/>
  <Override PartName="/ppt/slideLayouts/slideLayout1076.xml" ContentType="application/vnd.openxmlformats-officedocument.presentationml.slideLayout+xml"/>
  <Override PartName="/ppt/slideLayouts/slideLayout1077.xml" ContentType="application/vnd.openxmlformats-officedocument.presentationml.slideLayout+xml"/>
  <Override PartName="/ppt/slideLayouts/slideLayout1078.xml" ContentType="application/vnd.openxmlformats-officedocument.presentationml.slideLayout+xml"/>
  <Override PartName="/ppt/slideLayouts/slideLayout1079.xml" ContentType="application/vnd.openxmlformats-officedocument.presentationml.slideLayout+xml"/>
  <Override PartName="/ppt/slideLayouts/slideLayout1080.xml" ContentType="application/vnd.openxmlformats-officedocument.presentationml.slideLayout+xml"/>
  <Override PartName="/ppt/slideLayouts/slideLayout1081.xml" ContentType="application/vnd.openxmlformats-officedocument.presentationml.slideLayout+xml"/>
  <Override PartName="/ppt/slideLayouts/slideLayout1082.xml" ContentType="application/vnd.openxmlformats-officedocument.presentationml.slideLayout+xml"/>
  <Override PartName="/ppt/slideLayouts/slideLayout1083.xml" ContentType="application/vnd.openxmlformats-officedocument.presentationml.slideLayout+xml"/>
  <Override PartName="/ppt/slideLayouts/slideLayout1084.xml" ContentType="application/vnd.openxmlformats-officedocument.presentationml.slideLayout+xml"/>
  <Override PartName="/ppt/slideLayouts/slideLayout1085.xml" ContentType="application/vnd.openxmlformats-officedocument.presentationml.slideLayout+xml"/>
  <Override PartName="/ppt/slideLayouts/slideLayout1086.xml" ContentType="application/vnd.openxmlformats-officedocument.presentationml.slideLayout+xml"/>
  <Override PartName="/ppt/slideLayouts/slideLayout1087.xml" ContentType="application/vnd.openxmlformats-officedocument.presentationml.slideLayout+xml"/>
  <Override PartName="/ppt/slideLayouts/slideLayout1088.xml" ContentType="application/vnd.openxmlformats-officedocument.presentationml.slideLayout+xml"/>
  <Override PartName="/ppt/slideLayouts/slideLayout1089.xml" ContentType="application/vnd.openxmlformats-officedocument.presentationml.slideLayout+xml"/>
  <Override PartName="/ppt/slideLayouts/slideLayout1090.xml" ContentType="application/vnd.openxmlformats-officedocument.presentationml.slideLayout+xml"/>
  <Override PartName="/ppt/slideLayouts/slideLayout1091.xml" ContentType="application/vnd.openxmlformats-officedocument.presentationml.slideLayout+xml"/>
  <Override PartName="/ppt/slideLayouts/slideLayout1092.xml" ContentType="application/vnd.openxmlformats-officedocument.presentationml.slideLayout+xml"/>
  <Override PartName="/ppt/slideLayouts/slideLayout1093.xml" ContentType="application/vnd.openxmlformats-officedocument.presentationml.slideLayout+xml"/>
  <Override PartName="/ppt/slideLayouts/slideLayout1094.xml" ContentType="application/vnd.openxmlformats-officedocument.presentationml.slideLayout+xml"/>
  <Override PartName="/ppt/slideLayouts/slideLayout1095.xml" ContentType="application/vnd.openxmlformats-officedocument.presentationml.slideLayout+xml"/>
  <Override PartName="/ppt/slideLayouts/slideLayout1096.xml" ContentType="application/vnd.openxmlformats-officedocument.presentationml.slideLayout+xml"/>
  <Override PartName="/ppt/slideLayouts/slideLayout1097.xml" ContentType="application/vnd.openxmlformats-officedocument.presentationml.slideLayout+xml"/>
  <Override PartName="/ppt/slideLayouts/slideLayout1098.xml" ContentType="application/vnd.openxmlformats-officedocument.presentationml.slideLayout+xml"/>
  <Override PartName="/ppt/slideLayouts/slideLayout1099.xml" ContentType="application/vnd.openxmlformats-officedocument.presentationml.slideLayout+xml"/>
  <Override PartName="/ppt/slideLayouts/slideLayout1100.xml" ContentType="application/vnd.openxmlformats-officedocument.presentationml.slideLayout+xml"/>
  <Override PartName="/ppt/slideLayouts/slideLayout1101.xml" ContentType="application/vnd.openxmlformats-officedocument.presentationml.slideLayout+xml"/>
  <Override PartName="/ppt/slideLayouts/slideLayout1102.xml" ContentType="application/vnd.openxmlformats-officedocument.presentationml.slideLayout+xml"/>
  <Override PartName="/ppt/slideLayouts/slideLayout1103.xml" ContentType="application/vnd.openxmlformats-officedocument.presentationml.slideLayout+xml"/>
  <Override PartName="/ppt/slideLayouts/slideLayout1104.xml" ContentType="application/vnd.openxmlformats-officedocument.presentationml.slideLayout+xml"/>
  <Override PartName="/ppt/slideLayouts/slideLayout1105.xml" ContentType="application/vnd.openxmlformats-officedocument.presentationml.slideLayout+xml"/>
  <Override PartName="/ppt/slideLayouts/slideLayout1106.xml" ContentType="application/vnd.openxmlformats-officedocument.presentationml.slideLayout+xml"/>
  <Override PartName="/ppt/slideLayouts/slideLayout1107.xml" ContentType="application/vnd.openxmlformats-officedocument.presentationml.slideLayout+xml"/>
  <Override PartName="/ppt/slideLayouts/slideLayout1108.xml" ContentType="application/vnd.openxmlformats-officedocument.presentationml.slideLayout+xml"/>
  <Override PartName="/ppt/slideLayouts/slideLayout1109.xml" ContentType="application/vnd.openxmlformats-officedocument.presentationml.slideLayout+xml"/>
  <Override PartName="/ppt/slideLayouts/slideLayout1110.xml" ContentType="application/vnd.openxmlformats-officedocument.presentationml.slideLayout+xml"/>
  <Override PartName="/ppt/slideLayouts/slideLayout1111.xml" ContentType="application/vnd.openxmlformats-officedocument.presentationml.slideLayout+xml"/>
  <Override PartName="/ppt/slideLayouts/slideLayout1112.xml" ContentType="application/vnd.openxmlformats-officedocument.presentationml.slideLayout+xml"/>
  <Override PartName="/ppt/slideLayouts/slideLayout1113.xml" ContentType="application/vnd.openxmlformats-officedocument.presentationml.slideLayout+xml"/>
  <Override PartName="/ppt/slideLayouts/slideLayout1114.xml" ContentType="application/vnd.openxmlformats-officedocument.presentationml.slideLayout+xml"/>
  <Override PartName="/ppt/slideLayouts/slideLayout1115.xml" ContentType="application/vnd.openxmlformats-officedocument.presentationml.slideLayout+xml"/>
  <Override PartName="/ppt/slideLayouts/slideLayout1116.xml" ContentType="application/vnd.openxmlformats-officedocument.presentationml.slideLayout+xml"/>
  <Override PartName="/ppt/slideLayouts/slideLayout1117.xml" ContentType="application/vnd.openxmlformats-officedocument.presentationml.slideLayout+xml"/>
  <Override PartName="/ppt/slideLayouts/slideLayout1118.xml" ContentType="application/vnd.openxmlformats-officedocument.presentationml.slideLayout+xml"/>
  <Override PartName="/ppt/slideLayouts/slideLayout1119.xml" ContentType="application/vnd.openxmlformats-officedocument.presentationml.slideLayout+xml"/>
  <Override PartName="/ppt/slideLayouts/slideLayout1120.xml" ContentType="application/vnd.openxmlformats-officedocument.presentationml.slideLayout+xml"/>
  <Override PartName="/ppt/slideLayouts/slideLayout1121.xml" ContentType="application/vnd.openxmlformats-officedocument.presentationml.slideLayout+xml"/>
  <Override PartName="/ppt/slideLayouts/slideLayout1122.xml" ContentType="application/vnd.openxmlformats-officedocument.presentationml.slideLayout+xml"/>
  <Override PartName="/ppt/slideLayouts/slideLayout1123.xml" ContentType="application/vnd.openxmlformats-officedocument.presentationml.slideLayout+xml"/>
  <Override PartName="/ppt/slideLayouts/slideLayout1124.xml" ContentType="application/vnd.openxmlformats-officedocument.presentationml.slideLayout+xml"/>
  <Override PartName="/ppt/slideLayouts/slideLayout1125.xml" ContentType="application/vnd.openxmlformats-officedocument.presentationml.slideLayout+xml"/>
  <Override PartName="/ppt/slideLayouts/slideLayout1126.xml" ContentType="application/vnd.openxmlformats-officedocument.presentationml.slideLayout+xml"/>
  <Override PartName="/ppt/slideLayouts/slideLayout1127.xml" ContentType="application/vnd.openxmlformats-officedocument.presentationml.slideLayout+xml"/>
  <Override PartName="/ppt/slideLayouts/slideLayout1128.xml" ContentType="application/vnd.openxmlformats-officedocument.presentationml.slideLayout+xml"/>
  <Override PartName="/ppt/slideLayouts/slideLayout1129.xml" ContentType="application/vnd.openxmlformats-officedocument.presentationml.slideLayout+xml"/>
  <Override PartName="/ppt/slideLayouts/slideLayout1130.xml" ContentType="application/vnd.openxmlformats-officedocument.presentationml.slideLayout+xml"/>
  <Override PartName="/ppt/slideLayouts/slideLayout1131.xml" ContentType="application/vnd.openxmlformats-officedocument.presentationml.slideLayout+xml"/>
  <Override PartName="/ppt/slideLayouts/slideLayout1132.xml" ContentType="application/vnd.openxmlformats-officedocument.presentationml.slideLayout+xml"/>
  <Override PartName="/ppt/slideLayouts/slideLayout1133.xml" ContentType="application/vnd.openxmlformats-officedocument.presentationml.slideLayout+xml"/>
  <Override PartName="/ppt/slideLayouts/slideLayout1134.xml" ContentType="application/vnd.openxmlformats-officedocument.presentationml.slideLayout+xml"/>
  <Override PartName="/ppt/slideLayouts/slideLayout1135.xml" ContentType="application/vnd.openxmlformats-officedocument.presentationml.slideLayout+xml"/>
  <Override PartName="/ppt/slideLayouts/slideLayout1136.xml" ContentType="application/vnd.openxmlformats-officedocument.presentationml.slideLayout+xml"/>
  <Override PartName="/ppt/slideLayouts/slideLayout1137.xml" ContentType="application/vnd.openxmlformats-officedocument.presentationml.slideLayout+xml"/>
  <Override PartName="/ppt/slideLayouts/slideLayout1138.xml" ContentType="application/vnd.openxmlformats-officedocument.presentationml.slideLayout+xml"/>
  <Override PartName="/ppt/slideLayouts/slideLayout1139.xml" ContentType="application/vnd.openxmlformats-officedocument.presentationml.slideLayout+xml"/>
  <Override PartName="/ppt/slideLayouts/slideLayout1140.xml" ContentType="application/vnd.openxmlformats-officedocument.presentationml.slideLayout+xml"/>
  <Override PartName="/ppt/slideLayouts/slideLayout1141.xml" ContentType="application/vnd.openxmlformats-officedocument.presentationml.slideLayout+xml"/>
  <Override PartName="/ppt/slideLayouts/slideLayout1142.xml" ContentType="application/vnd.openxmlformats-officedocument.presentationml.slideLayout+xml"/>
  <Override PartName="/ppt/slideLayouts/slideLayout1143.xml" ContentType="application/vnd.openxmlformats-officedocument.presentationml.slideLayout+xml"/>
  <Override PartName="/ppt/slideLayouts/slideLayout1144.xml" ContentType="application/vnd.openxmlformats-officedocument.presentationml.slideLayout+xml"/>
  <Override PartName="/ppt/slideLayouts/slideLayout1145.xml" ContentType="application/vnd.openxmlformats-officedocument.presentationml.slideLayout+xml"/>
  <Override PartName="/ppt/slideLayouts/slideLayout1146.xml" ContentType="application/vnd.openxmlformats-officedocument.presentationml.slideLayout+xml"/>
  <Override PartName="/ppt/slideLayouts/slideLayout1147.xml" ContentType="application/vnd.openxmlformats-officedocument.presentationml.slideLayout+xml"/>
  <Override PartName="/ppt/slideLayouts/slideLayout1148.xml" ContentType="application/vnd.openxmlformats-officedocument.presentationml.slideLayout+xml"/>
  <Override PartName="/ppt/slideLayouts/slideLayout1149.xml" ContentType="application/vnd.openxmlformats-officedocument.presentationml.slideLayout+xml"/>
  <Override PartName="/ppt/slideLayouts/slideLayout1150.xml" ContentType="application/vnd.openxmlformats-officedocument.presentationml.slideLayout+xml"/>
  <Override PartName="/ppt/slideLayouts/slideLayout1151.xml" ContentType="application/vnd.openxmlformats-officedocument.presentationml.slideLayout+xml"/>
  <Override PartName="/ppt/slideLayouts/slideLayout1152.xml" ContentType="application/vnd.openxmlformats-officedocument.presentationml.slideLayout+xml"/>
  <Override PartName="/ppt/slideLayouts/slideLayout1153.xml" ContentType="application/vnd.openxmlformats-officedocument.presentationml.slideLayout+xml"/>
  <Override PartName="/ppt/slideLayouts/slideLayout1154.xml" ContentType="application/vnd.openxmlformats-officedocument.presentationml.slideLayout+xml"/>
  <Override PartName="/ppt/slideLayouts/slideLayout1155.xml" ContentType="application/vnd.openxmlformats-officedocument.presentationml.slideLayout+xml"/>
  <Override PartName="/ppt/slideLayouts/slideLayout1156.xml" ContentType="application/vnd.openxmlformats-officedocument.presentationml.slideLayout+xml"/>
  <Override PartName="/ppt/slideLayouts/slideLayout1157.xml" ContentType="application/vnd.openxmlformats-officedocument.presentationml.slideLayout+xml"/>
  <Override PartName="/ppt/slideLayouts/slideLayout1158.xml" ContentType="application/vnd.openxmlformats-officedocument.presentationml.slideLayout+xml"/>
  <Override PartName="/ppt/slideLayouts/slideLayout1159.xml" ContentType="application/vnd.openxmlformats-officedocument.presentationml.slideLayout+xml"/>
  <Override PartName="/ppt/slideLayouts/slideLayout1160.xml" ContentType="application/vnd.openxmlformats-officedocument.presentationml.slideLayout+xml"/>
  <Override PartName="/ppt/slideLayouts/slideLayout1161.xml" ContentType="application/vnd.openxmlformats-officedocument.presentationml.slideLayout+xml"/>
  <Override PartName="/ppt/slideLayouts/slideLayout1162.xml" ContentType="application/vnd.openxmlformats-officedocument.presentationml.slideLayout+xml"/>
  <Override PartName="/ppt/slideLayouts/slideLayout1163.xml" ContentType="application/vnd.openxmlformats-officedocument.presentationml.slideLayout+xml"/>
  <Override PartName="/ppt/slideLayouts/slideLayout1164.xml" ContentType="application/vnd.openxmlformats-officedocument.presentationml.slideLayout+xml"/>
  <Override PartName="/ppt/slideLayouts/slideLayout1165.xml" ContentType="application/vnd.openxmlformats-officedocument.presentationml.slideLayout+xml"/>
  <Override PartName="/ppt/slideLayouts/slideLayout1166.xml" ContentType="application/vnd.openxmlformats-officedocument.presentationml.slideLayout+xml"/>
  <Override PartName="/ppt/slideLayouts/slideLayout1167.xml" ContentType="application/vnd.openxmlformats-officedocument.presentationml.slideLayout+xml"/>
  <Override PartName="/ppt/slideLayouts/slideLayout1168.xml" ContentType="application/vnd.openxmlformats-officedocument.presentationml.slideLayout+xml"/>
  <Override PartName="/ppt/slideLayouts/slideLayout1169.xml" ContentType="application/vnd.openxmlformats-officedocument.presentationml.slideLayout+xml"/>
  <Override PartName="/ppt/slideLayouts/slideLayout1170.xml" ContentType="application/vnd.openxmlformats-officedocument.presentationml.slideLayout+xml"/>
  <Override PartName="/ppt/slideLayouts/slideLayout1171.xml" ContentType="application/vnd.openxmlformats-officedocument.presentationml.slideLayout+xml"/>
  <Override PartName="/ppt/slideLayouts/slideLayout1172.xml" ContentType="application/vnd.openxmlformats-officedocument.presentationml.slideLayout+xml"/>
  <Override PartName="/ppt/slideLayouts/slideLayout1173.xml" ContentType="application/vnd.openxmlformats-officedocument.presentationml.slideLayout+xml"/>
  <Override PartName="/ppt/slideLayouts/slideLayout1174.xml" ContentType="application/vnd.openxmlformats-officedocument.presentationml.slideLayout+xml"/>
  <Override PartName="/ppt/slideLayouts/slideLayout1175.xml" ContentType="application/vnd.openxmlformats-officedocument.presentationml.slideLayout+xml"/>
  <Override PartName="/ppt/slideLayouts/slideLayout1176.xml" ContentType="application/vnd.openxmlformats-officedocument.presentationml.slideLayout+xml"/>
  <Override PartName="/ppt/slideLayouts/slideLayout1177.xml" ContentType="application/vnd.openxmlformats-officedocument.presentationml.slideLayout+xml"/>
  <Override PartName="/ppt/slideLayouts/slideLayout1178.xml" ContentType="application/vnd.openxmlformats-officedocument.presentationml.slideLayout+xml"/>
  <Override PartName="/ppt/slideLayouts/slideLayout1179.xml" ContentType="application/vnd.openxmlformats-officedocument.presentationml.slideLayout+xml"/>
  <Override PartName="/ppt/slideLayouts/slideLayout1180.xml" ContentType="application/vnd.openxmlformats-officedocument.presentationml.slideLayout+xml"/>
  <Override PartName="/ppt/slideLayouts/slideLayout1181.xml" ContentType="application/vnd.openxmlformats-officedocument.presentationml.slideLayout+xml"/>
  <Override PartName="/ppt/slideLayouts/slideLayout1182.xml" ContentType="application/vnd.openxmlformats-officedocument.presentationml.slideLayout+xml"/>
  <Override PartName="/ppt/slideLayouts/slideLayout1183.xml" ContentType="application/vnd.openxmlformats-officedocument.presentationml.slideLayout+xml"/>
  <Override PartName="/ppt/slideLayouts/slideLayout1184.xml" ContentType="application/vnd.openxmlformats-officedocument.presentationml.slideLayout+xml"/>
  <Override PartName="/ppt/slideLayouts/slideLayout1185.xml" ContentType="application/vnd.openxmlformats-officedocument.presentationml.slideLayout+xml"/>
  <Override PartName="/ppt/slideLayouts/slideLayout1186.xml" ContentType="application/vnd.openxmlformats-officedocument.presentationml.slideLayout+xml"/>
  <Override PartName="/ppt/slideLayouts/slideLayout1187.xml" ContentType="application/vnd.openxmlformats-officedocument.presentationml.slideLayout+xml"/>
  <Override PartName="/ppt/slideLayouts/slideLayout1188.xml" ContentType="application/vnd.openxmlformats-officedocument.presentationml.slideLayout+xml"/>
  <Override PartName="/ppt/slideLayouts/slideLayout1189.xml" ContentType="application/vnd.openxmlformats-officedocument.presentationml.slideLayout+xml"/>
  <Override PartName="/ppt/slideLayouts/slideLayout1190.xml" ContentType="application/vnd.openxmlformats-officedocument.presentationml.slideLayout+xml"/>
  <Override PartName="/ppt/slideLayouts/slideLayout1191.xml" ContentType="application/vnd.openxmlformats-officedocument.presentationml.slideLayout+xml"/>
  <Override PartName="/ppt/slideLayouts/slideLayout1192.xml" ContentType="application/vnd.openxmlformats-officedocument.presentationml.slideLayout+xml"/>
  <Override PartName="/ppt/slideLayouts/slideLayout1193.xml" ContentType="application/vnd.openxmlformats-officedocument.presentationml.slideLayout+xml"/>
  <Override PartName="/ppt/slideLayouts/slideLayout1194.xml" ContentType="application/vnd.openxmlformats-officedocument.presentationml.slideLayout+xml"/>
  <Override PartName="/ppt/slideLayouts/slideLayout1195.xml" ContentType="application/vnd.openxmlformats-officedocument.presentationml.slideLayout+xml"/>
  <Override PartName="/ppt/slideLayouts/slideLayout1196.xml" ContentType="application/vnd.openxmlformats-officedocument.presentationml.slideLayout+xml"/>
  <Override PartName="/ppt/slideLayouts/slideLayout1197.xml" ContentType="application/vnd.openxmlformats-officedocument.presentationml.slideLayout+xml"/>
  <Override PartName="/ppt/slideLayouts/slideLayout1198.xml" ContentType="application/vnd.openxmlformats-officedocument.presentationml.slideLayout+xml"/>
  <Override PartName="/ppt/slideLayouts/slideLayout1199.xml" ContentType="application/vnd.openxmlformats-officedocument.presentationml.slideLayout+xml"/>
  <Override PartName="/ppt/slideLayouts/slideLayout1200.xml" ContentType="application/vnd.openxmlformats-officedocument.presentationml.slideLayout+xml"/>
  <Override PartName="/ppt/slideLayouts/slideLayout1201.xml" ContentType="application/vnd.openxmlformats-officedocument.presentationml.slideLayout+xml"/>
  <Override PartName="/ppt/slideLayouts/slideLayout1202.xml" ContentType="application/vnd.openxmlformats-officedocument.presentationml.slideLayout+xml"/>
  <Override PartName="/ppt/slideLayouts/slideLayout1203.xml" ContentType="application/vnd.openxmlformats-officedocument.presentationml.slideLayout+xml"/>
  <Override PartName="/ppt/slideLayouts/slideLayout1204.xml" ContentType="application/vnd.openxmlformats-officedocument.presentationml.slideLayout+xml"/>
  <Override PartName="/ppt/slideLayouts/slideLayout1205.xml" ContentType="application/vnd.openxmlformats-officedocument.presentationml.slideLayout+xml"/>
  <Override PartName="/ppt/slideLayouts/slideLayout1206.xml" ContentType="application/vnd.openxmlformats-officedocument.presentationml.slideLayout+xml"/>
  <Override PartName="/ppt/slideLayouts/slideLayout1207.xml" ContentType="application/vnd.openxmlformats-officedocument.presentationml.slideLayout+xml"/>
  <Override PartName="/ppt/slideLayouts/slideLayout1208.xml" ContentType="application/vnd.openxmlformats-officedocument.presentationml.slideLayout+xml"/>
  <Override PartName="/ppt/slideLayouts/slideLayout1209.xml" ContentType="application/vnd.openxmlformats-officedocument.presentationml.slideLayout+xml"/>
  <Override PartName="/ppt/slideLayouts/slideLayout1210.xml" ContentType="application/vnd.openxmlformats-officedocument.presentationml.slideLayout+xml"/>
  <Override PartName="/ppt/slideLayouts/slideLayout1211.xml" ContentType="application/vnd.openxmlformats-officedocument.presentationml.slideLayout+xml"/>
  <Override PartName="/ppt/slideLayouts/slideLayout1212.xml" ContentType="application/vnd.openxmlformats-officedocument.presentationml.slideLayout+xml"/>
  <Override PartName="/ppt/slideLayouts/slideLayout1213.xml" ContentType="application/vnd.openxmlformats-officedocument.presentationml.slideLayout+xml"/>
  <Override PartName="/ppt/slideLayouts/slideLayout1214.xml" ContentType="application/vnd.openxmlformats-officedocument.presentationml.slideLayout+xml"/>
  <Override PartName="/ppt/slideLayouts/slideLayout1215.xml" ContentType="application/vnd.openxmlformats-officedocument.presentationml.slideLayout+xml"/>
  <Override PartName="/ppt/slideLayouts/slideLayout1216.xml" ContentType="application/vnd.openxmlformats-officedocument.presentationml.slideLayout+xml"/>
  <Override PartName="/ppt/slideLayouts/slideLayout1217.xml" ContentType="application/vnd.openxmlformats-officedocument.presentationml.slideLayout+xml"/>
  <Override PartName="/ppt/slideLayouts/slideLayout1218.xml" ContentType="application/vnd.openxmlformats-officedocument.presentationml.slideLayout+xml"/>
  <Override PartName="/ppt/slideLayouts/slideLayout1219.xml" ContentType="application/vnd.openxmlformats-officedocument.presentationml.slideLayout+xml"/>
  <Override PartName="/ppt/slideLayouts/slideLayout1220.xml" ContentType="application/vnd.openxmlformats-officedocument.presentationml.slideLayout+xml"/>
  <Override PartName="/ppt/slideLayouts/slideLayout1221.xml" ContentType="application/vnd.openxmlformats-officedocument.presentationml.slideLayout+xml"/>
  <Override PartName="/ppt/slideLayouts/slideLayout1222.xml" ContentType="application/vnd.openxmlformats-officedocument.presentationml.slideLayout+xml"/>
  <Override PartName="/ppt/slideLayouts/slideLayout1223.xml" ContentType="application/vnd.openxmlformats-officedocument.presentationml.slideLayout+xml"/>
  <Override PartName="/ppt/slideLayouts/slideLayout1224.xml" ContentType="application/vnd.openxmlformats-officedocument.presentationml.slideLayout+xml"/>
  <Override PartName="/ppt/slideLayouts/slideLayout1225.xml" ContentType="application/vnd.openxmlformats-officedocument.presentationml.slideLayout+xml"/>
  <Override PartName="/ppt/slideLayouts/slideLayout1226.xml" ContentType="application/vnd.openxmlformats-officedocument.presentationml.slideLayout+xml"/>
  <Override PartName="/ppt/slideLayouts/slideLayout1227.xml" ContentType="application/vnd.openxmlformats-officedocument.presentationml.slideLayout+xml"/>
  <Override PartName="/ppt/slideLayouts/slideLayout1228.xml" ContentType="application/vnd.openxmlformats-officedocument.presentationml.slideLayout+xml"/>
  <Override PartName="/ppt/slideLayouts/slideLayout1229.xml" ContentType="application/vnd.openxmlformats-officedocument.presentationml.slideLayout+xml"/>
  <Override PartName="/ppt/slideLayouts/slideLayout1230.xml" ContentType="application/vnd.openxmlformats-officedocument.presentationml.slideLayout+xml"/>
  <Override PartName="/ppt/slideLayouts/slideLayout1231.xml" ContentType="application/vnd.openxmlformats-officedocument.presentationml.slideLayout+xml"/>
  <Override PartName="/ppt/slideLayouts/slideLayout1232.xml" ContentType="application/vnd.openxmlformats-officedocument.presentationml.slideLayout+xml"/>
  <Override PartName="/ppt/slideLayouts/slideLayout1233.xml" ContentType="application/vnd.openxmlformats-officedocument.presentationml.slideLayout+xml"/>
  <Override PartName="/ppt/slideLayouts/slideLayout1234.xml" ContentType="application/vnd.openxmlformats-officedocument.presentationml.slideLayout+xml"/>
  <Override PartName="/ppt/slideLayouts/slideLayout1235.xml" ContentType="application/vnd.openxmlformats-officedocument.presentationml.slideLayout+xml"/>
  <Override PartName="/ppt/slideLayouts/slideLayout1236.xml" ContentType="application/vnd.openxmlformats-officedocument.presentationml.slideLayout+xml"/>
  <Override PartName="/ppt/slideLayouts/slideLayout1237.xml" ContentType="application/vnd.openxmlformats-officedocument.presentationml.slideLayout+xml"/>
  <Override PartName="/ppt/slideLayouts/slideLayout1238.xml" ContentType="application/vnd.openxmlformats-officedocument.presentationml.slideLayout+xml"/>
  <Override PartName="/ppt/slideLayouts/slideLayout1239.xml" ContentType="application/vnd.openxmlformats-officedocument.presentationml.slideLayout+xml"/>
  <Override PartName="/ppt/slideLayouts/slideLayout1240.xml" ContentType="application/vnd.openxmlformats-officedocument.presentationml.slideLayout+xml"/>
  <Override PartName="/ppt/slideLayouts/slideLayout1241.xml" ContentType="application/vnd.openxmlformats-officedocument.presentationml.slideLayout+xml"/>
  <Override PartName="/ppt/slideLayouts/slideLayout1242.xml" ContentType="application/vnd.openxmlformats-officedocument.presentationml.slideLayout+xml"/>
  <Override PartName="/ppt/slideLayouts/slideLayout1243.xml" ContentType="application/vnd.openxmlformats-officedocument.presentationml.slideLayout+xml"/>
  <Override PartName="/ppt/slideLayouts/slideLayout1244.xml" ContentType="application/vnd.openxmlformats-officedocument.presentationml.slideLayout+xml"/>
  <Override PartName="/ppt/slideLayouts/slideLayout1245.xml" ContentType="application/vnd.openxmlformats-officedocument.presentationml.slideLayout+xml"/>
  <Override PartName="/ppt/slideLayouts/slideLayout1246.xml" ContentType="application/vnd.openxmlformats-officedocument.presentationml.slideLayout+xml"/>
  <Override PartName="/ppt/slideLayouts/slideLayout1247.xml" ContentType="application/vnd.openxmlformats-officedocument.presentationml.slideLayout+xml"/>
  <Override PartName="/ppt/slideLayouts/slideLayout1248.xml" ContentType="application/vnd.openxmlformats-officedocument.presentationml.slideLayout+xml"/>
  <Override PartName="/ppt/slideLayouts/slideLayout1249.xml" ContentType="application/vnd.openxmlformats-officedocument.presentationml.slideLayout+xml"/>
  <Override PartName="/ppt/slideLayouts/slideLayout1250.xml" ContentType="application/vnd.openxmlformats-officedocument.presentationml.slideLayout+xml"/>
  <Override PartName="/ppt/slideLayouts/slideLayout1251.xml" ContentType="application/vnd.openxmlformats-officedocument.presentationml.slideLayout+xml"/>
  <Override PartName="/ppt/slideLayouts/slideLayout1252.xml" ContentType="application/vnd.openxmlformats-officedocument.presentationml.slideLayout+xml"/>
  <Override PartName="/ppt/slideLayouts/slideLayout1253.xml" ContentType="application/vnd.openxmlformats-officedocument.presentationml.slideLayout+xml"/>
  <Override PartName="/ppt/slideLayouts/slideLayout1254.xml" ContentType="application/vnd.openxmlformats-officedocument.presentationml.slideLayout+xml"/>
  <Override PartName="/ppt/slideLayouts/slideLayout1255.xml" ContentType="application/vnd.openxmlformats-officedocument.presentationml.slideLayout+xml"/>
  <Override PartName="/ppt/slideLayouts/slideLayout1256.xml" ContentType="application/vnd.openxmlformats-officedocument.presentationml.slideLayout+xml"/>
  <Override PartName="/ppt/slideLayouts/slideLayout1257.xml" ContentType="application/vnd.openxmlformats-officedocument.presentationml.slideLayout+xml"/>
  <Override PartName="/ppt/slideLayouts/slideLayout1258.xml" ContentType="application/vnd.openxmlformats-officedocument.presentationml.slideLayout+xml"/>
  <Override PartName="/ppt/slideLayouts/slideLayout1259.xml" ContentType="application/vnd.openxmlformats-officedocument.presentationml.slideLayout+xml"/>
  <Override PartName="/ppt/slideLayouts/slideLayout1260.xml" ContentType="application/vnd.openxmlformats-officedocument.presentationml.slideLayout+xml"/>
  <Override PartName="/ppt/slideLayouts/slideLayout1261.xml" ContentType="application/vnd.openxmlformats-officedocument.presentationml.slideLayout+xml"/>
  <Override PartName="/ppt/slideLayouts/slideLayout1262.xml" ContentType="application/vnd.openxmlformats-officedocument.presentationml.slideLayout+xml"/>
  <Override PartName="/ppt/slideLayouts/slideLayout1263.xml" ContentType="application/vnd.openxmlformats-officedocument.presentationml.slideLayout+xml"/>
  <Override PartName="/ppt/slideLayouts/slideLayout1264.xml" ContentType="application/vnd.openxmlformats-officedocument.presentationml.slideLayout+xml"/>
  <Override PartName="/ppt/slideLayouts/slideLayout1265.xml" ContentType="application/vnd.openxmlformats-officedocument.presentationml.slideLayout+xml"/>
  <Override PartName="/ppt/slideLayouts/slideLayout1266.xml" ContentType="application/vnd.openxmlformats-officedocument.presentationml.slideLayout+xml"/>
  <Override PartName="/ppt/slideLayouts/slideLayout1267.xml" ContentType="application/vnd.openxmlformats-officedocument.presentationml.slideLayout+xml"/>
  <Override PartName="/ppt/slideLayouts/slideLayout1268.xml" ContentType="application/vnd.openxmlformats-officedocument.presentationml.slideLayout+xml"/>
  <Override PartName="/ppt/slideLayouts/slideLayout1269.xml" ContentType="application/vnd.openxmlformats-officedocument.presentationml.slideLayout+xml"/>
  <Override PartName="/ppt/slideLayouts/slideLayout1270.xml" ContentType="application/vnd.openxmlformats-officedocument.presentationml.slideLayout+xml"/>
  <Override PartName="/ppt/slideLayouts/slideLayout1271.xml" ContentType="application/vnd.openxmlformats-officedocument.presentationml.slideLayout+xml"/>
  <Override PartName="/ppt/slideLayouts/slideLayout1272.xml" ContentType="application/vnd.openxmlformats-officedocument.presentationml.slideLayout+xml"/>
  <Override PartName="/ppt/slideLayouts/slideLayout1273.xml" ContentType="application/vnd.openxmlformats-officedocument.presentationml.slideLayout+xml"/>
  <Override PartName="/ppt/slideLayouts/slideLayout1274.xml" ContentType="application/vnd.openxmlformats-officedocument.presentationml.slideLayout+xml"/>
  <Override PartName="/ppt/slideLayouts/slideLayout1275.xml" ContentType="application/vnd.openxmlformats-officedocument.presentationml.slideLayout+xml"/>
  <Override PartName="/ppt/slideLayouts/slideLayout1276.xml" ContentType="application/vnd.openxmlformats-officedocument.presentationml.slideLayout+xml"/>
  <Override PartName="/ppt/slideLayouts/slideLayout1277.xml" ContentType="application/vnd.openxmlformats-officedocument.presentationml.slideLayout+xml"/>
  <Override PartName="/ppt/slideLayouts/slideLayout1278.xml" ContentType="application/vnd.openxmlformats-officedocument.presentationml.slideLayout+xml"/>
  <Override PartName="/ppt/slideLayouts/slideLayout1279.xml" ContentType="application/vnd.openxmlformats-officedocument.presentationml.slideLayout+xml"/>
  <Override PartName="/ppt/slideLayouts/slideLayout1280.xml" ContentType="application/vnd.openxmlformats-officedocument.presentationml.slideLayout+xml"/>
  <Override PartName="/ppt/slideLayouts/slideLayout1281.xml" ContentType="application/vnd.openxmlformats-officedocument.presentationml.slideLayout+xml"/>
  <Override PartName="/ppt/slideLayouts/slideLayout1282.xml" ContentType="application/vnd.openxmlformats-officedocument.presentationml.slideLayout+xml"/>
  <Override PartName="/ppt/slideLayouts/slideLayout1283.xml" ContentType="application/vnd.openxmlformats-officedocument.presentationml.slideLayout+xml"/>
  <Override PartName="/ppt/slideLayouts/slideLayout1284.xml" ContentType="application/vnd.openxmlformats-officedocument.presentationml.slideLayout+xml"/>
  <Override PartName="/ppt/slideLayouts/slideLayout1285.xml" ContentType="application/vnd.openxmlformats-officedocument.presentationml.slideLayout+xml"/>
  <Override PartName="/ppt/slideLayouts/slideLayout1286.xml" ContentType="application/vnd.openxmlformats-officedocument.presentationml.slideLayout+xml"/>
  <Override PartName="/ppt/slideLayouts/slideLayout1287.xml" ContentType="application/vnd.openxmlformats-officedocument.presentationml.slideLayout+xml"/>
  <Override PartName="/ppt/slideLayouts/slideLayout1288.xml" ContentType="application/vnd.openxmlformats-officedocument.presentationml.slideLayout+xml"/>
  <Override PartName="/ppt/slideLayouts/slideLayout1289.xml" ContentType="application/vnd.openxmlformats-officedocument.presentationml.slideLayout+xml"/>
  <Override PartName="/ppt/slideLayouts/slideLayout1290.xml" ContentType="application/vnd.openxmlformats-officedocument.presentationml.slideLayout+xml"/>
  <Override PartName="/ppt/slideLayouts/slideLayout1291.xml" ContentType="application/vnd.openxmlformats-officedocument.presentationml.slideLayout+xml"/>
  <Override PartName="/ppt/slideLayouts/slideLayout1292.xml" ContentType="application/vnd.openxmlformats-officedocument.presentationml.slideLayout+xml"/>
  <Override PartName="/ppt/slideLayouts/slideLayout1293.xml" ContentType="application/vnd.openxmlformats-officedocument.presentationml.slideLayout+xml"/>
  <Override PartName="/ppt/slideLayouts/slideLayout1294.xml" ContentType="application/vnd.openxmlformats-officedocument.presentationml.slideLayout+xml"/>
  <Override PartName="/ppt/slideLayouts/slideLayout1295.xml" ContentType="application/vnd.openxmlformats-officedocument.presentationml.slideLayout+xml"/>
  <Override PartName="/ppt/slideLayouts/slideLayout1296.xml" ContentType="application/vnd.openxmlformats-officedocument.presentationml.slideLayout+xml"/>
  <Override PartName="/ppt/slideLayouts/slideLayout1297.xml" ContentType="application/vnd.openxmlformats-officedocument.presentationml.slideLayout+xml"/>
  <Override PartName="/ppt/slideLayouts/slideLayout1298.xml" ContentType="application/vnd.openxmlformats-officedocument.presentationml.slideLayout+xml"/>
  <Override PartName="/ppt/slideLayouts/slideLayout1299.xml" ContentType="application/vnd.openxmlformats-officedocument.presentationml.slideLayout+xml"/>
  <Override PartName="/ppt/slideLayouts/slideLayout1300.xml" ContentType="application/vnd.openxmlformats-officedocument.presentationml.slideLayout+xml"/>
  <Override PartName="/ppt/slideLayouts/slideLayout1301.xml" ContentType="application/vnd.openxmlformats-officedocument.presentationml.slideLayout+xml"/>
  <Override PartName="/ppt/slideLayouts/slideLayout1302.xml" ContentType="application/vnd.openxmlformats-officedocument.presentationml.slideLayout+xml"/>
  <Override PartName="/ppt/slideLayouts/slideLayout1303.xml" ContentType="application/vnd.openxmlformats-officedocument.presentationml.slideLayout+xml"/>
  <Override PartName="/ppt/slideLayouts/slideLayout1304.xml" ContentType="application/vnd.openxmlformats-officedocument.presentationml.slideLayout+xml"/>
  <Override PartName="/ppt/slideLayouts/slideLayout1305.xml" ContentType="application/vnd.openxmlformats-officedocument.presentationml.slideLayout+xml"/>
  <Override PartName="/ppt/slideLayouts/slideLayout1306.xml" ContentType="application/vnd.openxmlformats-officedocument.presentationml.slideLayout+xml"/>
  <Override PartName="/ppt/slideLayouts/slideLayout1307.xml" ContentType="application/vnd.openxmlformats-officedocument.presentationml.slideLayout+xml"/>
  <Override PartName="/ppt/slideLayouts/slideLayout1308.xml" ContentType="application/vnd.openxmlformats-officedocument.presentationml.slideLayout+xml"/>
  <Override PartName="/ppt/slideLayouts/slideLayout1309.xml" ContentType="application/vnd.openxmlformats-officedocument.presentationml.slideLayout+xml"/>
  <Override PartName="/ppt/slideLayouts/slideLayout1310.xml" ContentType="application/vnd.openxmlformats-officedocument.presentationml.slideLayout+xml"/>
  <Override PartName="/ppt/slideLayouts/slideLayout1311.xml" ContentType="application/vnd.openxmlformats-officedocument.presentationml.slideLayout+xml"/>
  <Override PartName="/ppt/slideLayouts/slideLayout1312.xml" ContentType="application/vnd.openxmlformats-officedocument.presentationml.slideLayout+xml"/>
  <Override PartName="/ppt/slideLayouts/slideLayout1313.xml" ContentType="application/vnd.openxmlformats-officedocument.presentationml.slideLayout+xml"/>
  <Override PartName="/ppt/slideLayouts/slideLayout1314.xml" ContentType="application/vnd.openxmlformats-officedocument.presentationml.slideLayout+xml"/>
  <Override PartName="/ppt/slideLayouts/slideLayout1315.xml" ContentType="application/vnd.openxmlformats-officedocument.presentationml.slideLayout+xml"/>
  <Override PartName="/ppt/slideLayouts/slideLayout1316.xml" ContentType="application/vnd.openxmlformats-officedocument.presentationml.slideLayout+xml"/>
  <Override PartName="/ppt/slideLayouts/slideLayout1317.xml" ContentType="application/vnd.openxmlformats-officedocument.presentationml.slideLayout+xml"/>
  <Override PartName="/ppt/slideLayouts/slideLayout1318.xml" ContentType="application/vnd.openxmlformats-officedocument.presentationml.slideLayout+xml"/>
  <Override PartName="/ppt/slideLayouts/slideLayout1319.xml" ContentType="application/vnd.openxmlformats-officedocument.presentationml.slideLayout+xml"/>
  <Override PartName="/ppt/slideLayouts/slideLayout1320.xml" ContentType="application/vnd.openxmlformats-officedocument.presentationml.slideLayout+xml"/>
  <Override PartName="/ppt/slideLayouts/slideLayout1321.xml" ContentType="application/vnd.openxmlformats-officedocument.presentationml.slideLayout+xml"/>
  <Override PartName="/ppt/slideLayouts/slideLayout1322.xml" ContentType="application/vnd.openxmlformats-officedocument.presentationml.slideLayout+xml"/>
  <Override PartName="/ppt/slideLayouts/slideLayout1323.xml" ContentType="application/vnd.openxmlformats-officedocument.presentationml.slideLayout+xml"/>
  <Override PartName="/ppt/slideLayouts/slideLayout1324.xml" ContentType="application/vnd.openxmlformats-officedocument.presentationml.slideLayout+xml"/>
  <Override PartName="/ppt/slideLayouts/slideLayout1325.xml" ContentType="application/vnd.openxmlformats-officedocument.presentationml.slideLayout+xml"/>
  <Override PartName="/ppt/slideLayouts/slideLayout1326.xml" ContentType="application/vnd.openxmlformats-officedocument.presentationml.slideLayout+xml"/>
  <Override PartName="/ppt/slideLayouts/slideLayout1327.xml" ContentType="application/vnd.openxmlformats-officedocument.presentationml.slideLayout+xml"/>
  <Override PartName="/ppt/slideLayouts/slideLayout1328.xml" ContentType="application/vnd.openxmlformats-officedocument.presentationml.slideLayout+xml"/>
  <Override PartName="/ppt/slideLayouts/slideLayout1329.xml" ContentType="application/vnd.openxmlformats-officedocument.presentationml.slideLayout+xml"/>
  <Override PartName="/ppt/slideLayouts/slideLayout1330.xml" ContentType="application/vnd.openxmlformats-officedocument.presentationml.slideLayout+xml"/>
  <Override PartName="/ppt/slideLayouts/slideLayout1331.xml" ContentType="application/vnd.openxmlformats-officedocument.presentationml.slideLayout+xml"/>
  <Override PartName="/ppt/slideLayouts/slideLayout1332.xml" ContentType="application/vnd.openxmlformats-officedocument.presentationml.slideLayout+xml"/>
  <Override PartName="/ppt/slideLayouts/slideLayout1333.xml" ContentType="application/vnd.openxmlformats-officedocument.presentationml.slideLayout+xml"/>
  <Override PartName="/ppt/slideLayouts/slideLayout1334.xml" ContentType="application/vnd.openxmlformats-officedocument.presentationml.slideLayout+xml"/>
  <Override PartName="/ppt/slideLayouts/slideLayout1335.xml" ContentType="application/vnd.openxmlformats-officedocument.presentationml.slideLayout+xml"/>
  <Override PartName="/ppt/slideLayouts/slideLayout1336.xml" ContentType="application/vnd.openxmlformats-officedocument.presentationml.slideLayout+xml"/>
  <Override PartName="/ppt/slideLayouts/slideLayout1337.xml" ContentType="application/vnd.openxmlformats-officedocument.presentationml.slideLayout+xml"/>
  <Override PartName="/ppt/slideLayouts/slideLayout1338.xml" ContentType="application/vnd.openxmlformats-officedocument.presentationml.slideLayout+xml"/>
  <Override PartName="/ppt/slideLayouts/slideLayout1339.xml" ContentType="application/vnd.openxmlformats-officedocument.presentationml.slideLayout+xml"/>
  <Override PartName="/ppt/slideLayouts/slideLayout1340.xml" ContentType="application/vnd.openxmlformats-officedocument.presentationml.slideLayout+xml"/>
  <Override PartName="/ppt/slideLayouts/slideLayout1341.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1342.xml" ContentType="application/vnd.openxmlformats-officedocument.presentationml.slideLayout+xml"/>
  <Override PartName="/ppt/slideLayouts/slideLayout1343.xml" ContentType="application/vnd.openxmlformats-officedocument.presentationml.slideLayout+xml"/>
  <Override PartName="/ppt/slideLayouts/slideLayout1344.xml" ContentType="application/vnd.openxmlformats-officedocument.presentationml.slideLayout+xml"/>
  <Override PartName="/ppt/slideLayouts/slideLayout1345.xml" ContentType="application/vnd.openxmlformats-officedocument.presentationml.slideLayout+xml"/>
  <Override PartName="/ppt/slideLayouts/slideLayout1346.xml" ContentType="application/vnd.openxmlformats-officedocument.presentationml.slideLayout+xml"/>
  <Override PartName="/ppt/slideLayouts/slideLayout1347.xml" ContentType="application/vnd.openxmlformats-officedocument.presentationml.slideLayout+xml"/>
  <Override PartName="/ppt/slideLayouts/slideLayout1348.xml" ContentType="application/vnd.openxmlformats-officedocument.presentationml.slideLayout+xml"/>
  <Override PartName="/ppt/slideLayouts/slideLayout1349.xml" ContentType="application/vnd.openxmlformats-officedocument.presentationml.slideLayout+xml"/>
  <Override PartName="/ppt/slideLayouts/slideLayout1350.xml" ContentType="application/vnd.openxmlformats-officedocument.presentationml.slideLayout+xml"/>
  <Override PartName="/ppt/slideLayouts/slideLayout1351.xml" ContentType="application/vnd.openxmlformats-officedocument.presentationml.slideLayout+xml"/>
  <Override PartName="/ppt/slideLayouts/slideLayout1352.xml" ContentType="application/vnd.openxmlformats-officedocument.presentationml.slideLayout+xml"/>
  <Override PartName="/ppt/slideLayouts/slideLayout1353.xml" ContentType="application/vnd.openxmlformats-officedocument.presentationml.slideLayout+xml"/>
  <Override PartName="/ppt/slideLayouts/slideLayout1354.xml" ContentType="application/vnd.openxmlformats-officedocument.presentationml.slideLayout+xml"/>
  <Override PartName="/ppt/slideLayouts/slideLayout1355.xml" ContentType="application/vnd.openxmlformats-officedocument.presentationml.slideLayout+xml"/>
  <Override PartName="/ppt/slideLayouts/slideLayout1356.xml" ContentType="application/vnd.openxmlformats-officedocument.presentationml.slideLayout+xml"/>
  <Override PartName="/ppt/slideLayouts/slideLayout1357.xml" ContentType="application/vnd.openxmlformats-officedocument.presentationml.slideLayout+xml"/>
  <Override PartName="/ppt/slideLayouts/slideLayout1358.xml" ContentType="application/vnd.openxmlformats-officedocument.presentationml.slideLayout+xml"/>
  <Override PartName="/ppt/slideLayouts/slideLayout1359.xml" ContentType="application/vnd.openxmlformats-officedocument.presentationml.slideLayout+xml"/>
  <Override PartName="/ppt/slideLayouts/slideLayout1360.xml" ContentType="application/vnd.openxmlformats-officedocument.presentationml.slideLayout+xml"/>
  <Override PartName="/ppt/slideLayouts/slideLayout1361.xml" ContentType="application/vnd.openxmlformats-officedocument.presentationml.slideLayout+xml"/>
  <Override PartName="/ppt/slideLayouts/slideLayout1362.xml" ContentType="application/vnd.openxmlformats-officedocument.presentationml.slideLayout+xml"/>
  <Override PartName="/ppt/slideLayouts/slideLayout1363.xml" ContentType="application/vnd.openxmlformats-officedocument.presentationml.slideLayout+xml"/>
  <Override PartName="/ppt/slideLayouts/slideLayout1364.xml" ContentType="application/vnd.openxmlformats-officedocument.presentationml.slideLayout+xml"/>
  <Override PartName="/ppt/slideLayouts/slideLayout1365.xml" ContentType="application/vnd.openxmlformats-officedocument.presentationml.slideLayout+xml"/>
  <Override PartName="/ppt/slideLayouts/slideLayout1366.xml" ContentType="application/vnd.openxmlformats-officedocument.presentationml.slideLayout+xml"/>
  <Override PartName="/ppt/slideLayouts/slideLayout1367.xml" ContentType="application/vnd.openxmlformats-officedocument.presentationml.slideLayout+xml"/>
  <Override PartName="/ppt/slideLayouts/slideLayout1368.xml" ContentType="application/vnd.openxmlformats-officedocument.presentationml.slideLayout+xml"/>
  <Override PartName="/ppt/slideLayouts/slideLayout1369.xml" ContentType="application/vnd.openxmlformats-officedocument.presentationml.slideLayout+xml"/>
  <Override PartName="/ppt/slideLayouts/slideLayout1370.xml" ContentType="application/vnd.openxmlformats-officedocument.presentationml.slideLayout+xml"/>
  <Override PartName="/ppt/slideLayouts/slideLayout1371.xml" ContentType="application/vnd.openxmlformats-officedocument.presentationml.slideLayout+xml"/>
  <Override PartName="/ppt/slideLayouts/slideLayout1372.xml" ContentType="application/vnd.openxmlformats-officedocument.presentationml.slideLayout+xml"/>
  <Override PartName="/ppt/slideLayouts/slideLayout1373.xml" ContentType="application/vnd.openxmlformats-officedocument.presentationml.slideLayout+xml"/>
  <Override PartName="/ppt/slideLayouts/slideLayout1374.xml" ContentType="application/vnd.openxmlformats-officedocument.presentationml.slideLayout+xml"/>
  <Override PartName="/ppt/slideLayouts/slideLayout1375.xml" ContentType="application/vnd.openxmlformats-officedocument.presentationml.slideLayout+xml"/>
  <Override PartName="/ppt/slideLayouts/slideLayout1376.xml" ContentType="application/vnd.openxmlformats-officedocument.presentationml.slideLayout+xml"/>
  <Override PartName="/ppt/slideLayouts/slideLayout1377.xml" ContentType="application/vnd.openxmlformats-officedocument.presentationml.slideLayout+xml"/>
  <Override PartName="/ppt/slideLayouts/slideLayout1378.xml" ContentType="application/vnd.openxmlformats-officedocument.presentationml.slideLayout+xml"/>
  <Override PartName="/ppt/slideLayouts/slideLayout1379.xml" ContentType="application/vnd.openxmlformats-officedocument.presentationml.slideLayout+xml"/>
  <Override PartName="/ppt/slideLayouts/slideLayout1380.xml" ContentType="application/vnd.openxmlformats-officedocument.presentationml.slideLayout+xml"/>
  <Override PartName="/ppt/slideLayouts/slideLayout1381.xml" ContentType="application/vnd.openxmlformats-officedocument.presentationml.slideLayout+xml"/>
  <Override PartName="/ppt/slideLayouts/slideLayout1382.xml" ContentType="application/vnd.openxmlformats-officedocument.presentationml.slideLayout+xml"/>
  <Override PartName="/ppt/slideLayouts/slideLayout1383.xml" ContentType="application/vnd.openxmlformats-officedocument.presentationml.slideLayout+xml"/>
  <Override PartName="/ppt/slideLayouts/slideLayout1384.xml" ContentType="application/vnd.openxmlformats-officedocument.presentationml.slideLayout+xml"/>
  <Override PartName="/ppt/slideLayouts/slideLayout1385.xml" ContentType="application/vnd.openxmlformats-officedocument.presentationml.slideLayout+xml"/>
  <Override PartName="/ppt/slideLayouts/slideLayout1386.xml" ContentType="application/vnd.openxmlformats-officedocument.presentationml.slideLayout+xml"/>
  <Override PartName="/ppt/slideLayouts/slideLayout1387.xml" ContentType="application/vnd.openxmlformats-officedocument.presentationml.slideLayout+xml"/>
  <Override PartName="/ppt/slideLayouts/slideLayout1388.xml" ContentType="application/vnd.openxmlformats-officedocument.presentationml.slideLayout+xml"/>
  <Override PartName="/ppt/slideLayouts/slideLayout1389.xml" ContentType="application/vnd.openxmlformats-officedocument.presentationml.slideLayout+xml"/>
  <Override PartName="/ppt/slideLayouts/slideLayout1390.xml" ContentType="application/vnd.openxmlformats-officedocument.presentationml.slideLayout+xml"/>
  <Override PartName="/ppt/slideLayouts/slideLayout1391.xml" ContentType="application/vnd.openxmlformats-officedocument.presentationml.slideLayout+xml"/>
  <Override PartName="/ppt/slideLayouts/slideLayout1392.xml" ContentType="application/vnd.openxmlformats-officedocument.presentationml.slideLayout+xml"/>
  <Override PartName="/ppt/slideLayouts/slideLayout1393.xml" ContentType="application/vnd.openxmlformats-officedocument.presentationml.slideLayout+xml"/>
  <Override PartName="/ppt/slideLayouts/slideLayout1394.xml" ContentType="application/vnd.openxmlformats-officedocument.presentationml.slideLayout+xml"/>
  <Override PartName="/ppt/slideLayouts/slideLayout1395.xml" ContentType="application/vnd.openxmlformats-officedocument.presentationml.slideLayout+xml"/>
  <Override PartName="/ppt/slideLayouts/slideLayout1396.xml" ContentType="application/vnd.openxmlformats-officedocument.presentationml.slideLayout+xml"/>
  <Override PartName="/ppt/slideLayouts/slideLayout1397.xml" ContentType="application/vnd.openxmlformats-officedocument.presentationml.slideLayout+xml"/>
  <Override PartName="/ppt/slideLayouts/slideLayout1398.xml" ContentType="application/vnd.openxmlformats-officedocument.presentationml.slideLayout+xml"/>
  <Override PartName="/ppt/slideLayouts/slideLayout1399.xml" ContentType="application/vnd.openxmlformats-officedocument.presentationml.slideLayout+xml"/>
  <Override PartName="/ppt/slideLayouts/slideLayout1400.xml" ContentType="application/vnd.openxmlformats-officedocument.presentationml.slideLayout+xml"/>
  <Override PartName="/ppt/slideLayouts/slideLayout1401.xml" ContentType="application/vnd.openxmlformats-officedocument.presentationml.slideLayout+xml"/>
  <Override PartName="/ppt/slideLayouts/slideLayout1402.xml" ContentType="application/vnd.openxmlformats-officedocument.presentationml.slideLayout+xml"/>
  <Override PartName="/ppt/slideLayouts/slideLayout1403.xml" ContentType="application/vnd.openxmlformats-officedocument.presentationml.slideLayout+xml"/>
  <Override PartName="/ppt/slideLayouts/slideLayout1404.xml" ContentType="application/vnd.openxmlformats-officedocument.presentationml.slideLayout+xml"/>
  <Override PartName="/ppt/slideLayouts/slideLayout1405.xml" ContentType="application/vnd.openxmlformats-officedocument.presentationml.slideLayout+xml"/>
  <Override PartName="/ppt/slideLayouts/slideLayout1406.xml" ContentType="application/vnd.openxmlformats-officedocument.presentationml.slideLayout+xml"/>
  <Override PartName="/ppt/slideLayouts/slideLayout1407.xml" ContentType="application/vnd.openxmlformats-officedocument.presentationml.slideLayout+xml"/>
  <Override PartName="/ppt/slideLayouts/slideLayout1408.xml" ContentType="application/vnd.openxmlformats-officedocument.presentationml.slideLayout+xml"/>
  <Override PartName="/ppt/slideLayouts/slideLayout1409.xml" ContentType="application/vnd.openxmlformats-officedocument.presentationml.slideLayout+xml"/>
  <Override PartName="/ppt/slideLayouts/slideLayout1410.xml" ContentType="application/vnd.openxmlformats-officedocument.presentationml.slideLayout+xml"/>
  <Override PartName="/ppt/slideLayouts/slideLayout1411.xml" ContentType="application/vnd.openxmlformats-officedocument.presentationml.slideLayout+xml"/>
  <Override PartName="/ppt/slideLayouts/slideLayout1412.xml" ContentType="application/vnd.openxmlformats-officedocument.presentationml.slideLayout+xml"/>
  <Override PartName="/ppt/slideLayouts/slideLayout1413.xml" ContentType="application/vnd.openxmlformats-officedocument.presentationml.slideLayout+xml"/>
  <Override PartName="/ppt/slideLayouts/slideLayout1414.xml" ContentType="application/vnd.openxmlformats-officedocument.presentationml.slideLayout+xml"/>
  <Override PartName="/ppt/slideLayouts/slideLayout1415.xml" ContentType="application/vnd.openxmlformats-officedocument.presentationml.slideLayout+xml"/>
  <Override PartName="/ppt/slideLayouts/slideLayout1416.xml" ContentType="application/vnd.openxmlformats-officedocument.presentationml.slideLayout+xml"/>
  <Override PartName="/ppt/slideLayouts/slideLayout1417.xml" ContentType="application/vnd.openxmlformats-officedocument.presentationml.slideLayout+xml"/>
  <Override PartName="/ppt/slideLayouts/slideLayout1418.xml" ContentType="application/vnd.openxmlformats-officedocument.presentationml.slideLayout+xml"/>
  <Override PartName="/ppt/slideLayouts/slideLayout1419.xml" ContentType="application/vnd.openxmlformats-officedocument.presentationml.slideLayout+xml"/>
  <Override PartName="/ppt/slideLayouts/slideLayout1420.xml" ContentType="application/vnd.openxmlformats-officedocument.presentationml.slideLayout+xml"/>
  <Override PartName="/ppt/slideLayouts/slideLayout1421.xml" ContentType="application/vnd.openxmlformats-officedocument.presentationml.slideLayout+xml"/>
  <Override PartName="/ppt/slideLayouts/slideLayout1422.xml" ContentType="application/vnd.openxmlformats-officedocument.presentationml.slideLayout+xml"/>
  <Override PartName="/ppt/slideLayouts/slideLayout1423.xml" ContentType="application/vnd.openxmlformats-officedocument.presentationml.slideLayout+xml"/>
  <Override PartName="/ppt/slideLayouts/slideLayout1424.xml" ContentType="application/vnd.openxmlformats-officedocument.presentationml.slideLayout+xml"/>
  <Override PartName="/ppt/slideLayouts/slideLayout1425.xml" ContentType="application/vnd.openxmlformats-officedocument.presentationml.slideLayout+xml"/>
  <Override PartName="/ppt/slideLayouts/slideLayout1426.xml" ContentType="application/vnd.openxmlformats-officedocument.presentationml.slideLayout+xml"/>
  <Override PartName="/ppt/slideLayouts/slideLayout1427.xml" ContentType="application/vnd.openxmlformats-officedocument.presentationml.slideLayout+xml"/>
  <Override PartName="/ppt/slideLayouts/slideLayout1428.xml" ContentType="application/vnd.openxmlformats-officedocument.presentationml.slideLayout+xml"/>
  <Override PartName="/ppt/slideLayouts/slideLayout1429.xml" ContentType="application/vnd.openxmlformats-officedocument.presentationml.slideLayout+xml"/>
  <Override PartName="/ppt/slideLayouts/slideLayout1430.xml" ContentType="application/vnd.openxmlformats-officedocument.presentationml.slideLayout+xml"/>
  <Override PartName="/ppt/slideLayouts/slideLayout1431.xml" ContentType="application/vnd.openxmlformats-officedocument.presentationml.slideLayout+xml"/>
  <Override PartName="/ppt/slideLayouts/slideLayout1432.xml" ContentType="application/vnd.openxmlformats-officedocument.presentationml.slideLayout+xml"/>
  <Override PartName="/ppt/slideLayouts/slideLayout1433.xml" ContentType="application/vnd.openxmlformats-officedocument.presentationml.slideLayout+xml"/>
  <Override PartName="/ppt/slideLayouts/slideLayout1434.xml" ContentType="application/vnd.openxmlformats-officedocument.presentationml.slideLayout+xml"/>
  <Override PartName="/ppt/slideLayouts/slideLayout1435.xml" ContentType="application/vnd.openxmlformats-officedocument.presentationml.slideLayout+xml"/>
  <Override PartName="/ppt/slideLayouts/slideLayout1436.xml" ContentType="application/vnd.openxmlformats-officedocument.presentationml.slideLayout+xml"/>
  <Override PartName="/ppt/slideLayouts/slideLayout1437.xml" ContentType="application/vnd.openxmlformats-officedocument.presentationml.slideLayout+xml"/>
  <Override PartName="/ppt/slideLayouts/slideLayout1438.xml" ContentType="application/vnd.openxmlformats-officedocument.presentationml.slideLayout+xml"/>
  <Override PartName="/ppt/slideLayouts/slideLayout1439.xml" ContentType="application/vnd.openxmlformats-officedocument.presentationml.slideLayout+xml"/>
  <Override PartName="/ppt/slideLayouts/slideLayout1440.xml" ContentType="application/vnd.openxmlformats-officedocument.presentationml.slideLayout+xml"/>
  <Override PartName="/ppt/slideLayouts/slideLayout1441.xml" ContentType="application/vnd.openxmlformats-officedocument.presentationml.slideLayout+xml"/>
  <Override PartName="/ppt/slideLayouts/slideLayout1442.xml" ContentType="application/vnd.openxmlformats-officedocument.presentationml.slideLayout+xml"/>
  <Override PartName="/ppt/slideLayouts/slideLayout1443.xml" ContentType="application/vnd.openxmlformats-officedocument.presentationml.slideLayout+xml"/>
  <Override PartName="/ppt/slideLayouts/slideLayout1444.xml" ContentType="application/vnd.openxmlformats-officedocument.presentationml.slideLayout+xml"/>
  <Override PartName="/ppt/slideLayouts/slideLayout1445.xml" ContentType="application/vnd.openxmlformats-officedocument.presentationml.slideLayout+xml"/>
  <Override PartName="/ppt/slideLayouts/slideLayout1446.xml" ContentType="application/vnd.openxmlformats-officedocument.presentationml.slideLayout+xml"/>
  <Override PartName="/ppt/slideLayouts/slideLayout1447.xml" ContentType="application/vnd.openxmlformats-officedocument.presentationml.slideLayout+xml"/>
  <Override PartName="/ppt/slideLayouts/slideLayout1448.xml" ContentType="application/vnd.openxmlformats-officedocument.presentationml.slideLayout+xml"/>
  <Override PartName="/ppt/slideLayouts/slideLayout1449.xml" ContentType="application/vnd.openxmlformats-officedocument.presentationml.slideLayout+xml"/>
  <Override PartName="/ppt/slideLayouts/slideLayout1450.xml" ContentType="application/vnd.openxmlformats-officedocument.presentationml.slideLayout+xml"/>
  <Override PartName="/ppt/slideLayouts/slideLayout1451.xml" ContentType="application/vnd.openxmlformats-officedocument.presentationml.slideLayout+xml"/>
  <Override PartName="/ppt/slideLayouts/slideLayout1452.xml" ContentType="application/vnd.openxmlformats-officedocument.presentationml.slideLayout+xml"/>
  <Override PartName="/ppt/slideLayouts/slideLayout1453.xml" ContentType="application/vnd.openxmlformats-officedocument.presentationml.slideLayout+xml"/>
  <Override PartName="/ppt/slideLayouts/slideLayout1454.xml" ContentType="application/vnd.openxmlformats-officedocument.presentationml.slideLayout+xml"/>
  <Override PartName="/ppt/slideLayouts/slideLayout1455.xml" ContentType="application/vnd.openxmlformats-officedocument.presentationml.slideLayout+xml"/>
  <Override PartName="/ppt/slideLayouts/slideLayout1456.xml" ContentType="application/vnd.openxmlformats-officedocument.presentationml.slideLayout+xml"/>
  <Override PartName="/ppt/slideLayouts/slideLayout1457.xml" ContentType="application/vnd.openxmlformats-officedocument.presentationml.slideLayout+xml"/>
  <Override PartName="/ppt/slideLayouts/slideLayout1458.xml" ContentType="application/vnd.openxmlformats-officedocument.presentationml.slideLayout+xml"/>
  <Override PartName="/ppt/slideLayouts/slideLayout1459.xml" ContentType="application/vnd.openxmlformats-officedocument.presentationml.slideLayout+xml"/>
  <Override PartName="/ppt/slideLayouts/slideLayout1460.xml" ContentType="application/vnd.openxmlformats-officedocument.presentationml.slideLayout+xml"/>
  <Override PartName="/ppt/slideLayouts/slideLayout1461.xml" ContentType="application/vnd.openxmlformats-officedocument.presentationml.slideLayout+xml"/>
  <Override PartName="/ppt/slideLayouts/slideLayout1462.xml" ContentType="application/vnd.openxmlformats-officedocument.presentationml.slideLayout+xml"/>
  <Override PartName="/ppt/slideLayouts/slideLayout1463.xml" ContentType="application/vnd.openxmlformats-officedocument.presentationml.slideLayout+xml"/>
  <Override PartName="/ppt/slideLayouts/slideLayout1464.xml" ContentType="application/vnd.openxmlformats-officedocument.presentationml.slideLayout+xml"/>
  <Override PartName="/ppt/slideLayouts/slideLayout1465.xml" ContentType="application/vnd.openxmlformats-officedocument.presentationml.slideLayout+xml"/>
  <Override PartName="/ppt/slideLayouts/slideLayout1466.xml" ContentType="application/vnd.openxmlformats-officedocument.presentationml.slideLayout+xml"/>
  <Override PartName="/ppt/slideLayouts/slideLayout1467.xml" ContentType="application/vnd.openxmlformats-officedocument.presentationml.slideLayout+xml"/>
  <Override PartName="/ppt/slideLayouts/slideLayout1468.xml" ContentType="application/vnd.openxmlformats-officedocument.presentationml.slideLayout+xml"/>
  <Override PartName="/ppt/slideLayouts/slideLayout1469.xml" ContentType="application/vnd.openxmlformats-officedocument.presentationml.slideLayout+xml"/>
  <Override PartName="/ppt/theme/theme6.xml" ContentType="application/vnd.openxmlformats-officedocument.theme+xml"/>
  <Override PartName="/ppt/slideLayouts/slideLayout1470.xml" ContentType="application/vnd.openxmlformats-officedocument.presentationml.slideLayout+xml"/>
  <Override PartName="/ppt/slideLayouts/slideLayout1471.xml" ContentType="application/vnd.openxmlformats-officedocument.presentationml.slideLayout+xml"/>
  <Override PartName="/ppt/slideLayouts/slideLayout1472.xml" ContentType="application/vnd.openxmlformats-officedocument.presentationml.slideLayout+xml"/>
  <Override PartName="/ppt/slideLayouts/slideLayout1473.xml" ContentType="application/vnd.openxmlformats-officedocument.presentationml.slideLayout+xml"/>
  <Override PartName="/ppt/slideLayouts/slideLayout1474.xml" ContentType="application/vnd.openxmlformats-officedocument.presentationml.slideLayout+xml"/>
  <Override PartName="/ppt/slideLayouts/slideLayout1475.xml" ContentType="application/vnd.openxmlformats-officedocument.presentationml.slideLayout+xml"/>
  <Override PartName="/ppt/slideLayouts/slideLayout1476.xml" ContentType="application/vnd.openxmlformats-officedocument.presentationml.slideLayout+xml"/>
  <Override PartName="/ppt/slideLayouts/slideLayout1477.xml" ContentType="application/vnd.openxmlformats-officedocument.presentationml.slideLayout+xml"/>
  <Override PartName="/ppt/slideLayouts/slideLayout1478.xml" ContentType="application/vnd.openxmlformats-officedocument.presentationml.slideLayout+xml"/>
  <Override PartName="/ppt/slideLayouts/slideLayout1479.xml" ContentType="application/vnd.openxmlformats-officedocument.presentationml.slideLayout+xml"/>
  <Override PartName="/ppt/slideLayouts/slideLayout1480.xml" ContentType="application/vnd.openxmlformats-officedocument.presentationml.slideLayout+xml"/>
  <Override PartName="/ppt/slideLayouts/slideLayout1481.xml" ContentType="application/vnd.openxmlformats-officedocument.presentationml.slideLayout+xml"/>
  <Override PartName="/ppt/slideLayouts/slideLayout1482.xml" ContentType="application/vnd.openxmlformats-officedocument.presentationml.slideLayout+xml"/>
  <Override PartName="/ppt/slideLayouts/slideLayout1483.xml" ContentType="application/vnd.openxmlformats-officedocument.presentationml.slideLayout+xml"/>
  <Override PartName="/ppt/slideLayouts/slideLayout1484.xml" ContentType="application/vnd.openxmlformats-officedocument.presentationml.slideLayout+xml"/>
  <Override PartName="/ppt/slideLayouts/slideLayout1485.xml" ContentType="application/vnd.openxmlformats-officedocument.presentationml.slideLayout+xml"/>
  <Override PartName="/ppt/slideLayouts/slideLayout1486.xml" ContentType="application/vnd.openxmlformats-officedocument.presentationml.slideLayout+xml"/>
  <Override PartName="/ppt/slideLayouts/slideLayout1487.xml" ContentType="application/vnd.openxmlformats-officedocument.presentationml.slideLayout+xml"/>
  <Override PartName="/ppt/slideLayouts/slideLayout1488.xml" ContentType="application/vnd.openxmlformats-officedocument.presentationml.slideLayout+xml"/>
  <Override PartName="/ppt/slideLayouts/slideLayout1489.xml" ContentType="application/vnd.openxmlformats-officedocument.presentationml.slideLayout+xml"/>
  <Override PartName="/ppt/slideLayouts/slideLayout1490.xml" ContentType="application/vnd.openxmlformats-officedocument.presentationml.slideLayout+xml"/>
  <Override PartName="/ppt/slideLayouts/slideLayout1491.xml" ContentType="application/vnd.openxmlformats-officedocument.presentationml.slideLayout+xml"/>
  <Override PartName="/ppt/slideLayouts/slideLayout1492.xml" ContentType="application/vnd.openxmlformats-officedocument.presentationml.slideLayout+xml"/>
  <Override PartName="/ppt/slideLayouts/slideLayout1493.xml" ContentType="application/vnd.openxmlformats-officedocument.presentationml.slideLayout+xml"/>
  <Override PartName="/ppt/slideLayouts/slideLayout1494.xml" ContentType="application/vnd.openxmlformats-officedocument.presentationml.slideLayout+xml"/>
  <Override PartName="/ppt/slideLayouts/slideLayout1495.xml" ContentType="application/vnd.openxmlformats-officedocument.presentationml.slideLayout+xml"/>
  <Override PartName="/ppt/slideLayouts/slideLayout1496.xml" ContentType="application/vnd.openxmlformats-officedocument.presentationml.slideLayout+xml"/>
  <Override PartName="/ppt/slideLayouts/slideLayout1497.xml" ContentType="application/vnd.openxmlformats-officedocument.presentationml.slideLayout+xml"/>
  <Override PartName="/ppt/slideLayouts/slideLayout1498.xml" ContentType="application/vnd.openxmlformats-officedocument.presentationml.slideLayout+xml"/>
  <Override PartName="/ppt/slideLayouts/slideLayout1499.xml" ContentType="application/vnd.openxmlformats-officedocument.presentationml.slideLayout+xml"/>
  <Override PartName="/ppt/slideLayouts/slideLayout1500.xml" ContentType="application/vnd.openxmlformats-officedocument.presentationml.slideLayout+xml"/>
  <Override PartName="/ppt/slideLayouts/slideLayout1501.xml" ContentType="application/vnd.openxmlformats-officedocument.presentationml.slideLayout+xml"/>
  <Override PartName="/ppt/slideLayouts/slideLayout1502.xml" ContentType="application/vnd.openxmlformats-officedocument.presentationml.slideLayout+xml"/>
  <Override PartName="/ppt/slideLayouts/slideLayout1503.xml" ContentType="application/vnd.openxmlformats-officedocument.presentationml.slideLayout+xml"/>
  <Override PartName="/ppt/slideLayouts/slideLayout1504.xml" ContentType="application/vnd.openxmlformats-officedocument.presentationml.slideLayout+xml"/>
  <Override PartName="/ppt/slideLayouts/slideLayout1505.xml" ContentType="application/vnd.openxmlformats-officedocument.presentationml.slideLayout+xml"/>
  <Override PartName="/ppt/slideLayouts/slideLayout1506.xml" ContentType="application/vnd.openxmlformats-officedocument.presentationml.slideLayout+xml"/>
  <Override PartName="/ppt/slideLayouts/slideLayout1507.xml" ContentType="application/vnd.openxmlformats-officedocument.presentationml.slideLayout+xml"/>
  <Override PartName="/ppt/slideLayouts/slideLayout1508.xml" ContentType="application/vnd.openxmlformats-officedocument.presentationml.slideLayout+xml"/>
  <Override PartName="/ppt/slideLayouts/slideLayout1509.xml" ContentType="application/vnd.openxmlformats-officedocument.presentationml.slideLayout+xml"/>
  <Override PartName="/ppt/slideLayouts/slideLayout1510.xml" ContentType="application/vnd.openxmlformats-officedocument.presentationml.slideLayout+xml"/>
  <Override PartName="/ppt/slideLayouts/slideLayout1511.xml" ContentType="application/vnd.openxmlformats-officedocument.presentationml.slideLayout+xml"/>
  <Override PartName="/ppt/slideLayouts/slideLayout1512.xml" ContentType="application/vnd.openxmlformats-officedocument.presentationml.slideLayout+xml"/>
  <Override PartName="/ppt/slideLayouts/slideLayout1513.xml" ContentType="application/vnd.openxmlformats-officedocument.presentationml.slideLayout+xml"/>
  <Override PartName="/ppt/slideLayouts/slideLayout1514.xml" ContentType="application/vnd.openxmlformats-officedocument.presentationml.slideLayout+xml"/>
  <Override PartName="/ppt/slideLayouts/slideLayout1515.xml" ContentType="application/vnd.openxmlformats-officedocument.presentationml.slideLayout+xml"/>
  <Override PartName="/ppt/slideLayouts/slideLayout1516.xml" ContentType="application/vnd.openxmlformats-officedocument.presentationml.slideLayout+xml"/>
  <Override PartName="/ppt/slideLayouts/slideLayout1517.xml" ContentType="application/vnd.openxmlformats-officedocument.presentationml.slideLayout+xml"/>
  <Override PartName="/ppt/slideLayouts/slideLayout1518.xml" ContentType="application/vnd.openxmlformats-officedocument.presentationml.slideLayout+xml"/>
  <Override PartName="/ppt/slideLayouts/slideLayout1519.xml" ContentType="application/vnd.openxmlformats-officedocument.presentationml.slideLayout+xml"/>
  <Override PartName="/ppt/slideLayouts/slideLayout1520.xml" ContentType="application/vnd.openxmlformats-officedocument.presentationml.slideLayout+xml"/>
  <Override PartName="/ppt/slideLayouts/slideLayout1521.xml" ContentType="application/vnd.openxmlformats-officedocument.presentationml.slideLayout+xml"/>
  <Override PartName="/ppt/slideLayouts/slideLayout1522.xml" ContentType="application/vnd.openxmlformats-officedocument.presentationml.slideLayout+xml"/>
  <Override PartName="/ppt/slideLayouts/slideLayout1523.xml" ContentType="application/vnd.openxmlformats-officedocument.presentationml.slideLayout+xml"/>
  <Override PartName="/ppt/slideLayouts/slideLayout1524.xml" ContentType="application/vnd.openxmlformats-officedocument.presentationml.slideLayout+xml"/>
  <Override PartName="/ppt/slideLayouts/slideLayout1525.xml" ContentType="application/vnd.openxmlformats-officedocument.presentationml.slideLayout+xml"/>
  <Override PartName="/ppt/slideLayouts/slideLayout1526.xml" ContentType="application/vnd.openxmlformats-officedocument.presentationml.slideLayout+xml"/>
  <Override PartName="/ppt/slideLayouts/slideLayout1527.xml" ContentType="application/vnd.openxmlformats-officedocument.presentationml.slideLayout+xml"/>
  <Override PartName="/ppt/slideLayouts/slideLayout1528.xml" ContentType="application/vnd.openxmlformats-officedocument.presentationml.slideLayout+xml"/>
  <Override PartName="/ppt/slideLayouts/slideLayout1529.xml" ContentType="application/vnd.openxmlformats-officedocument.presentationml.slideLayout+xml"/>
  <Override PartName="/ppt/slideLayouts/slideLayout1530.xml" ContentType="application/vnd.openxmlformats-officedocument.presentationml.slideLayout+xml"/>
  <Override PartName="/ppt/slideLayouts/slideLayout1531.xml" ContentType="application/vnd.openxmlformats-officedocument.presentationml.slideLayout+xml"/>
  <Override PartName="/ppt/slideLayouts/slideLayout1532.xml" ContentType="application/vnd.openxmlformats-officedocument.presentationml.slideLayout+xml"/>
  <Override PartName="/ppt/slideLayouts/slideLayout1533.xml" ContentType="application/vnd.openxmlformats-officedocument.presentationml.slideLayout+xml"/>
  <Override PartName="/ppt/slideLayouts/slideLayout1534.xml" ContentType="application/vnd.openxmlformats-officedocument.presentationml.slideLayout+xml"/>
  <Override PartName="/ppt/slideLayouts/slideLayout1535.xml" ContentType="application/vnd.openxmlformats-officedocument.presentationml.slideLayout+xml"/>
  <Override PartName="/ppt/slideLayouts/slideLayout1536.xml" ContentType="application/vnd.openxmlformats-officedocument.presentationml.slideLayout+xml"/>
  <Override PartName="/ppt/slideLayouts/slideLayout1537.xml" ContentType="application/vnd.openxmlformats-officedocument.presentationml.slideLayout+xml"/>
  <Override PartName="/ppt/slideLayouts/slideLayout1538.xml" ContentType="application/vnd.openxmlformats-officedocument.presentationml.slideLayout+xml"/>
  <Override PartName="/ppt/slideLayouts/slideLayout1539.xml" ContentType="application/vnd.openxmlformats-officedocument.presentationml.slideLayout+xml"/>
  <Override PartName="/ppt/slideLayouts/slideLayout1540.xml" ContentType="application/vnd.openxmlformats-officedocument.presentationml.slideLayout+xml"/>
  <Override PartName="/ppt/slideLayouts/slideLayout1541.xml" ContentType="application/vnd.openxmlformats-officedocument.presentationml.slideLayout+xml"/>
  <Override PartName="/ppt/slideLayouts/slideLayout1542.xml" ContentType="application/vnd.openxmlformats-officedocument.presentationml.slideLayout+xml"/>
  <Override PartName="/ppt/slideLayouts/slideLayout1543.xml" ContentType="application/vnd.openxmlformats-officedocument.presentationml.slideLayout+xml"/>
  <Override PartName="/ppt/slideLayouts/slideLayout1544.xml" ContentType="application/vnd.openxmlformats-officedocument.presentationml.slideLayout+xml"/>
  <Override PartName="/ppt/slideLayouts/slideLayout1545.xml" ContentType="application/vnd.openxmlformats-officedocument.presentationml.slideLayout+xml"/>
  <Override PartName="/ppt/slideLayouts/slideLayout1546.xml" ContentType="application/vnd.openxmlformats-officedocument.presentationml.slideLayout+xml"/>
  <Override PartName="/ppt/slideLayouts/slideLayout1547.xml" ContentType="application/vnd.openxmlformats-officedocument.presentationml.slideLayout+xml"/>
  <Override PartName="/ppt/slideLayouts/slideLayout1548.xml" ContentType="application/vnd.openxmlformats-officedocument.presentationml.slideLayout+xml"/>
  <Override PartName="/ppt/slideLayouts/slideLayout1549.xml" ContentType="application/vnd.openxmlformats-officedocument.presentationml.slideLayout+xml"/>
  <Override PartName="/ppt/slideLayouts/slideLayout1550.xml" ContentType="application/vnd.openxmlformats-officedocument.presentationml.slideLayout+xml"/>
  <Override PartName="/ppt/slideLayouts/slideLayout1551.xml" ContentType="application/vnd.openxmlformats-officedocument.presentationml.slideLayout+xml"/>
  <Override PartName="/ppt/slideLayouts/slideLayout1552.xml" ContentType="application/vnd.openxmlformats-officedocument.presentationml.slideLayout+xml"/>
  <Override PartName="/ppt/slideLayouts/slideLayout1553.xml" ContentType="application/vnd.openxmlformats-officedocument.presentationml.slideLayout+xml"/>
  <Override PartName="/ppt/slideLayouts/slideLayout1554.xml" ContentType="application/vnd.openxmlformats-officedocument.presentationml.slideLayout+xml"/>
  <Override PartName="/ppt/slideLayouts/slideLayout1555.xml" ContentType="application/vnd.openxmlformats-officedocument.presentationml.slideLayout+xml"/>
  <Override PartName="/ppt/slideLayouts/slideLayout1556.xml" ContentType="application/vnd.openxmlformats-officedocument.presentationml.slideLayout+xml"/>
  <Override PartName="/ppt/slideLayouts/slideLayout1557.xml" ContentType="application/vnd.openxmlformats-officedocument.presentationml.slideLayout+xml"/>
  <Override PartName="/ppt/slideLayouts/slideLayout1558.xml" ContentType="application/vnd.openxmlformats-officedocument.presentationml.slideLayout+xml"/>
  <Override PartName="/ppt/slideLayouts/slideLayout1559.xml" ContentType="application/vnd.openxmlformats-officedocument.presentationml.slideLayout+xml"/>
  <Override PartName="/ppt/slideLayouts/slideLayout1560.xml" ContentType="application/vnd.openxmlformats-officedocument.presentationml.slideLayout+xml"/>
  <Override PartName="/ppt/slideLayouts/slideLayout1561.xml" ContentType="application/vnd.openxmlformats-officedocument.presentationml.slideLayout+xml"/>
  <Override PartName="/ppt/slideLayouts/slideLayout1562.xml" ContentType="application/vnd.openxmlformats-officedocument.presentationml.slideLayout+xml"/>
  <Override PartName="/ppt/slideLayouts/slideLayout1563.xml" ContentType="application/vnd.openxmlformats-officedocument.presentationml.slideLayout+xml"/>
  <Override PartName="/ppt/slideLayouts/slideLayout1564.xml" ContentType="application/vnd.openxmlformats-officedocument.presentationml.slideLayout+xml"/>
  <Override PartName="/ppt/slideLayouts/slideLayout1565.xml" ContentType="application/vnd.openxmlformats-officedocument.presentationml.slideLayout+xml"/>
  <Override PartName="/ppt/slideLayouts/slideLayout1566.xml" ContentType="application/vnd.openxmlformats-officedocument.presentationml.slideLayout+xml"/>
  <Override PartName="/ppt/slideLayouts/slideLayout1567.xml" ContentType="application/vnd.openxmlformats-officedocument.presentationml.slideLayout+xml"/>
  <Override PartName="/ppt/slideLayouts/slideLayout1568.xml" ContentType="application/vnd.openxmlformats-officedocument.presentationml.slideLayout+xml"/>
  <Override PartName="/ppt/slideLayouts/slideLayout1569.xml" ContentType="application/vnd.openxmlformats-officedocument.presentationml.slideLayout+xml"/>
  <Override PartName="/ppt/slideLayouts/slideLayout1570.xml" ContentType="application/vnd.openxmlformats-officedocument.presentationml.slideLayout+xml"/>
  <Override PartName="/ppt/slideLayouts/slideLayout1571.xml" ContentType="application/vnd.openxmlformats-officedocument.presentationml.slideLayout+xml"/>
  <Override PartName="/ppt/slideLayouts/slideLayout1572.xml" ContentType="application/vnd.openxmlformats-officedocument.presentationml.slideLayout+xml"/>
  <Override PartName="/ppt/slideLayouts/slideLayout1573.xml" ContentType="application/vnd.openxmlformats-officedocument.presentationml.slideLayout+xml"/>
  <Override PartName="/ppt/slideLayouts/slideLayout1574.xml" ContentType="application/vnd.openxmlformats-officedocument.presentationml.slideLayout+xml"/>
  <Override PartName="/ppt/slideLayouts/slideLayout1575.xml" ContentType="application/vnd.openxmlformats-officedocument.presentationml.slideLayout+xml"/>
  <Override PartName="/ppt/slideLayouts/slideLayout1576.xml" ContentType="application/vnd.openxmlformats-officedocument.presentationml.slideLayout+xml"/>
  <Override PartName="/ppt/slideLayouts/slideLayout1577.xml" ContentType="application/vnd.openxmlformats-officedocument.presentationml.slideLayout+xml"/>
  <Override PartName="/ppt/slideLayouts/slideLayout1578.xml" ContentType="application/vnd.openxmlformats-officedocument.presentationml.slideLayout+xml"/>
  <Override PartName="/ppt/slideLayouts/slideLayout1579.xml" ContentType="application/vnd.openxmlformats-officedocument.presentationml.slideLayout+xml"/>
  <Override PartName="/ppt/slideLayouts/slideLayout1580.xml" ContentType="application/vnd.openxmlformats-officedocument.presentationml.slideLayout+xml"/>
  <Override PartName="/ppt/slideLayouts/slideLayout1581.xml" ContentType="application/vnd.openxmlformats-officedocument.presentationml.slideLayout+xml"/>
  <Override PartName="/ppt/slideLayouts/slideLayout1582.xml" ContentType="application/vnd.openxmlformats-officedocument.presentationml.slideLayout+xml"/>
  <Override PartName="/ppt/slideLayouts/slideLayout1583.xml" ContentType="application/vnd.openxmlformats-officedocument.presentationml.slideLayout+xml"/>
  <Override PartName="/ppt/slideLayouts/slideLayout1584.xml" ContentType="application/vnd.openxmlformats-officedocument.presentationml.slideLayout+xml"/>
  <Override PartName="/ppt/slideLayouts/slideLayout1585.xml" ContentType="application/vnd.openxmlformats-officedocument.presentationml.slideLayout+xml"/>
  <Override PartName="/ppt/slideLayouts/slideLayout1586.xml" ContentType="application/vnd.openxmlformats-officedocument.presentationml.slideLayout+xml"/>
  <Override PartName="/ppt/slideLayouts/slideLayout1587.xml" ContentType="application/vnd.openxmlformats-officedocument.presentationml.slideLayout+xml"/>
  <Override PartName="/ppt/slideLayouts/slideLayout1588.xml" ContentType="application/vnd.openxmlformats-officedocument.presentationml.slideLayout+xml"/>
  <Override PartName="/ppt/slideLayouts/slideLayout1589.xml" ContentType="application/vnd.openxmlformats-officedocument.presentationml.slideLayout+xml"/>
  <Override PartName="/ppt/slideLayouts/slideLayout1590.xml" ContentType="application/vnd.openxmlformats-officedocument.presentationml.slideLayout+xml"/>
  <Override PartName="/ppt/slideLayouts/slideLayout1591.xml" ContentType="application/vnd.openxmlformats-officedocument.presentationml.slideLayout+xml"/>
  <Override PartName="/ppt/slideLayouts/slideLayout1592.xml" ContentType="application/vnd.openxmlformats-officedocument.presentationml.slideLayout+xml"/>
  <Override PartName="/ppt/slideLayouts/slideLayout1593.xml" ContentType="application/vnd.openxmlformats-officedocument.presentationml.slideLayout+xml"/>
  <Override PartName="/ppt/slideLayouts/slideLayout1594.xml" ContentType="application/vnd.openxmlformats-officedocument.presentationml.slideLayout+xml"/>
  <Override PartName="/ppt/slideLayouts/slideLayout1595.xml" ContentType="application/vnd.openxmlformats-officedocument.presentationml.slideLayout+xml"/>
  <Override PartName="/ppt/slideLayouts/slideLayout1596.xml" ContentType="application/vnd.openxmlformats-officedocument.presentationml.slideLayout+xml"/>
  <Override PartName="/ppt/slideLayouts/slideLayout1597.xml" ContentType="application/vnd.openxmlformats-officedocument.presentationml.slideLayout+xml"/>
  <Override PartName="/ppt/slideLayouts/slideLayout1598.xml" ContentType="application/vnd.openxmlformats-officedocument.presentationml.slideLayout+xml"/>
  <Override PartName="/ppt/slideLayouts/slideLayout1599.xml" ContentType="application/vnd.openxmlformats-officedocument.presentationml.slideLayout+xml"/>
  <Override PartName="/ppt/slideLayouts/slideLayout1600.xml" ContentType="application/vnd.openxmlformats-officedocument.presentationml.slideLayout+xml"/>
  <Override PartName="/ppt/slideLayouts/slideLayout1601.xml" ContentType="application/vnd.openxmlformats-officedocument.presentationml.slideLayout+xml"/>
  <Override PartName="/ppt/slideLayouts/slideLayout1602.xml" ContentType="application/vnd.openxmlformats-officedocument.presentationml.slideLayout+xml"/>
  <Override PartName="/ppt/slideLayouts/slideLayout1603.xml" ContentType="application/vnd.openxmlformats-officedocument.presentationml.slideLayout+xml"/>
  <Override PartName="/ppt/slideLayouts/slideLayout1604.xml" ContentType="application/vnd.openxmlformats-officedocument.presentationml.slideLayout+xml"/>
  <Override PartName="/ppt/slideLayouts/slideLayout1605.xml" ContentType="application/vnd.openxmlformats-officedocument.presentationml.slideLayout+xml"/>
  <Override PartName="/ppt/slideLayouts/slideLayout1606.xml" ContentType="application/vnd.openxmlformats-officedocument.presentationml.slideLayout+xml"/>
  <Override PartName="/ppt/slideLayouts/slideLayout1607.xml" ContentType="application/vnd.openxmlformats-officedocument.presentationml.slideLayout+xml"/>
  <Override PartName="/ppt/slideLayouts/slideLayout1608.xml" ContentType="application/vnd.openxmlformats-officedocument.presentationml.slideLayout+xml"/>
  <Override PartName="/ppt/slideLayouts/slideLayout1609.xml" ContentType="application/vnd.openxmlformats-officedocument.presentationml.slideLayout+xml"/>
  <Override PartName="/ppt/slideLayouts/slideLayout1610.xml" ContentType="application/vnd.openxmlformats-officedocument.presentationml.slideLayout+xml"/>
  <Override PartName="/ppt/slideLayouts/slideLayout1611.xml" ContentType="application/vnd.openxmlformats-officedocument.presentationml.slideLayout+xml"/>
  <Override PartName="/ppt/slideLayouts/slideLayout1612.xml" ContentType="application/vnd.openxmlformats-officedocument.presentationml.slideLayout+xml"/>
  <Override PartName="/ppt/slideLayouts/slideLayout1613.xml" ContentType="application/vnd.openxmlformats-officedocument.presentationml.slideLayout+xml"/>
  <Override PartName="/ppt/slideLayouts/slideLayout1614.xml" ContentType="application/vnd.openxmlformats-officedocument.presentationml.slideLayout+xml"/>
  <Override PartName="/ppt/slideLayouts/slideLayout1615.xml" ContentType="application/vnd.openxmlformats-officedocument.presentationml.slideLayout+xml"/>
  <Override PartName="/ppt/slideLayouts/slideLayout1616.xml" ContentType="application/vnd.openxmlformats-officedocument.presentationml.slideLayout+xml"/>
  <Override PartName="/ppt/slideLayouts/slideLayout1617.xml" ContentType="application/vnd.openxmlformats-officedocument.presentationml.slideLayout+xml"/>
  <Override PartName="/ppt/slideLayouts/slideLayout1618.xml" ContentType="application/vnd.openxmlformats-officedocument.presentationml.slideLayout+xml"/>
  <Override PartName="/ppt/slideLayouts/slideLayout1619.xml" ContentType="application/vnd.openxmlformats-officedocument.presentationml.slideLayout+xml"/>
  <Override PartName="/ppt/slideLayouts/slideLayout1620.xml" ContentType="application/vnd.openxmlformats-officedocument.presentationml.slideLayout+xml"/>
  <Override PartName="/ppt/slideLayouts/slideLayout1621.xml" ContentType="application/vnd.openxmlformats-officedocument.presentationml.slideLayout+xml"/>
  <Override PartName="/ppt/slideLayouts/slideLayout1622.xml" ContentType="application/vnd.openxmlformats-officedocument.presentationml.slideLayout+xml"/>
  <Override PartName="/ppt/slideLayouts/slideLayout1623.xml" ContentType="application/vnd.openxmlformats-officedocument.presentationml.slideLayout+xml"/>
  <Override PartName="/ppt/slideLayouts/slideLayout1624.xml" ContentType="application/vnd.openxmlformats-officedocument.presentationml.slideLayout+xml"/>
  <Override PartName="/ppt/slideLayouts/slideLayout1625.xml" ContentType="application/vnd.openxmlformats-officedocument.presentationml.slideLayout+xml"/>
  <Override PartName="/ppt/slideLayouts/slideLayout1626.xml" ContentType="application/vnd.openxmlformats-officedocument.presentationml.slideLayout+xml"/>
  <Override PartName="/ppt/slideLayouts/slideLayout1627.xml" ContentType="application/vnd.openxmlformats-officedocument.presentationml.slideLayout+xml"/>
  <Override PartName="/ppt/slideLayouts/slideLayout1628.xml" ContentType="application/vnd.openxmlformats-officedocument.presentationml.slideLayout+xml"/>
  <Override PartName="/ppt/slideLayouts/slideLayout1629.xml" ContentType="application/vnd.openxmlformats-officedocument.presentationml.slideLayout+xml"/>
  <Override PartName="/ppt/slideLayouts/slideLayout1630.xml" ContentType="application/vnd.openxmlformats-officedocument.presentationml.slideLayout+xml"/>
  <Override PartName="/ppt/slideLayouts/slideLayout1631.xml" ContentType="application/vnd.openxmlformats-officedocument.presentationml.slideLayout+xml"/>
  <Override PartName="/ppt/slideLayouts/slideLayout1632.xml" ContentType="application/vnd.openxmlformats-officedocument.presentationml.slideLayout+xml"/>
  <Override PartName="/ppt/slideLayouts/slideLayout1633.xml" ContentType="application/vnd.openxmlformats-officedocument.presentationml.slideLayout+xml"/>
  <Override PartName="/ppt/slideLayouts/slideLayout1634.xml" ContentType="application/vnd.openxmlformats-officedocument.presentationml.slideLayout+xml"/>
  <Override PartName="/ppt/slideLayouts/slideLayout1635.xml" ContentType="application/vnd.openxmlformats-officedocument.presentationml.slideLayout+xml"/>
  <Override PartName="/ppt/slideLayouts/slideLayout1636.xml" ContentType="application/vnd.openxmlformats-officedocument.presentationml.slideLayout+xml"/>
  <Override PartName="/ppt/slideLayouts/slideLayout1637.xml" ContentType="application/vnd.openxmlformats-officedocument.presentationml.slideLayout+xml"/>
  <Override PartName="/ppt/slideLayouts/slideLayout1638.xml" ContentType="application/vnd.openxmlformats-officedocument.presentationml.slideLayout+xml"/>
  <Override PartName="/ppt/slideLayouts/slideLayout1639.xml" ContentType="application/vnd.openxmlformats-officedocument.presentationml.slideLayout+xml"/>
  <Override PartName="/ppt/slideLayouts/slideLayout1640.xml" ContentType="application/vnd.openxmlformats-officedocument.presentationml.slideLayout+xml"/>
  <Override PartName="/ppt/slideLayouts/slideLayout1641.xml" ContentType="application/vnd.openxmlformats-officedocument.presentationml.slideLayout+xml"/>
  <Override PartName="/ppt/slideLayouts/slideLayout1642.xml" ContentType="application/vnd.openxmlformats-officedocument.presentationml.slideLayout+xml"/>
  <Override PartName="/ppt/slideLayouts/slideLayout1643.xml" ContentType="application/vnd.openxmlformats-officedocument.presentationml.slideLayout+xml"/>
  <Override PartName="/ppt/slideLayouts/slideLayout1644.xml" ContentType="application/vnd.openxmlformats-officedocument.presentationml.slideLayout+xml"/>
  <Override PartName="/ppt/slideLayouts/slideLayout1645.xml" ContentType="application/vnd.openxmlformats-officedocument.presentationml.slideLayout+xml"/>
  <Override PartName="/ppt/slideLayouts/slideLayout1646.xml" ContentType="application/vnd.openxmlformats-officedocument.presentationml.slideLayout+xml"/>
  <Override PartName="/ppt/slideLayouts/slideLayout1647.xml" ContentType="application/vnd.openxmlformats-officedocument.presentationml.slideLayout+xml"/>
  <Override PartName="/ppt/slideLayouts/slideLayout1648.xml" ContentType="application/vnd.openxmlformats-officedocument.presentationml.slideLayout+xml"/>
  <Override PartName="/ppt/slideLayouts/slideLayout1649.xml" ContentType="application/vnd.openxmlformats-officedocument.presentationml.slideLayout+xml"/>
  <Override PartName="/ppt/slideLayouts/slideLayout1650.xml" ContentType="application/vnd.openxmlformats-officedocument.presentationml.slideLayout+xml"/>
  <Override PartName="/ppt/slideLayouts/slideLayout1651.xml" ContentType="application/vnd.openxmlformats-officedocument.presentationml.slideLayout+xml"/>
  <Override PartName="/ppt/slideLayouts/slideLayout1652.xml" ContentType="application/vnd.openxmlformats-officedocument.presentationml.slideLayout+xml"/>
  <Override PartName="/ppt/slideLayouts/slideLayout1653.xml" ContentType="application/vnd.openxmlformats-officedocument.presentationml.slideLayout+xml"/>
  <Override PartName="/ppt/slideLayouts/slideLayout1654.xml" ContentType="application/vnd.openxmlformats-officedocument.presentationml.slideLayout+xml"/>
  <Override PartName="/ppt/slideLayouts/slideLayout1655.xml" ContentType="application/vnd.openxmlformats-officedocument.presentationml.slideLayout+xml"/>
  <Override PartName="/ppt/slideLayouts/slideLayout1656.xml" ContentType="application/vnd.openxmlformats-officedocument.presentationml.slideLayout+xml"/>
  <Override PartName="/ppt/slideLayouts/slideLayout1657.xml" ContentType="application/vnd.openxmlformats-officedocument.presentationml.slideLayout+xml"/>
  <Override PartName="/ppt/slideLayouts/slideLayout1658.xml" ContentType="application/vnd.openxmlformats-officedocument.presentationml.slideLayout+xml"/>
  <Override PartName="/ppt/slideLayouts/slideLayout1659.xml" ContentType="application/vnd.openxmlformats-officedocument.presentationml.slideLayout+xml"/>
  <Override PartName="/ppt/slideLayouts/slideLayout1660.xml" ContentType="application/vnd.openxmlformats-officedocument.presentationml.slideLayout+xml"/>
  <Override PartName="/ppt/slideLayouts/slideLayout1661.xml" ContentType="application/vnd.openxmlformats-officedocument.presentationml.slideLayout+xml"/>
  <Override PartName="/ppt/slideLayouts/slideLayout1662.xml" ContentType="application/vnd.openxmlformats-officedocument.presentationml.slideLayout+xml"/>
  <Override PartName="/ppt/slideLayouts/slideLayout1663.xml" ContentType="application/vnd.openxmlformats-officedocument.presentationml.slideLayout+xml"/>
  <Override PartName="/ppt/slideLayouts/slideLayout1664.xml" ContentType="application/vnd.openxmlformats-officedocument.presentationml.slideLayout+xml"/>
  <Override PartName="/ppt/slideLayouts/slideLayout1665.xml" ContentType="application/vnd.openxmlformats-officedocument.presentationml.slideLayout+xml"/>
  <Override PartName="/ppt/slideLayouts/slideLayout1666.xml" ContentType="application/vnd.openxmlformats-officedocument.presentationml.slideLayout+xml"/>
  <Override PartName="/ppt/slideLayouts/slideLayout1667.xml" ContentType="application/vnd.openxmlformats-officedocument.presentationml.slideLayout+xml"/>
  <Override PartName="/ppt/slideLayouts/slideLayout1668.xml" ContentType="application/vnd.openxmlformats-officedocument.presentationml.slideLayout+xml"/>
  <Override PartName="/ppt/slideLayouts/slideLayout1669.xml" ContentType="application/vnd.openxmlformats-officedocument.presentationml.slideLayout+xml"/>
  <Override PartName="/ppt/slideLayouts/slideLayout1670.xml" ContentType="application/vnd.openxmlformats-officedocument.presentationml.slideLayout+xml"/>
  <Override PartName="/ppt/slideLayouts/slideLayout1671.xml" ContentType="application/vnd.openxmlformats-officedocument.presentationml.slideLayout+xml"/>
  <Override PartName="/ppt/slideLayouts/slideLayout1672.xml" ContentType="application/vnd.openxmlformats-officedocument.presentationml.slideLayout+xml"/>
  <Override PartName="/ppt/slideLayouts/slideLayout1673.xml" ContentType="application/vnd.openxmlformats-officedocument.presentationml.slideLayout+xml"/>
  <Override PartName="/ppt/slideLayouts/slideLayout1674.xml" ContentType="application/vnd.openxmlformats-officedocument.presentationml.slideLayout+xml"/>
  <Override PartName="/ppt/slideLayouts/slideLayout1675.xml" ContentType="application/vnd.openxmlformats-officedocument.presentationml.slideLayout+xml"/>
  <Override PartName="/ppt/slideLayouts/slideLayout1676.xml" ContentType="application/vnd.openxmlformats-officedocument.presentationml.slideLayout+xml"/>
  <Override PartName="/ppt/slideLayouts/slideLayout1677.xml" ContentType="application/vnd.openxmlformats-officedocument.presentationml.slideLayout+xml"/>
  <Override PartName="/ppt/slideLayouts/slideLayout1678.xml" ContentType="application/vnd.openxmlformats-officedocument.presentationml.slideLayout+xml"/>
  <Override PartName="/ppt/slideLayouts/slideLayout1679.xml" ContentType="application/vnd.openxmlformats-officedocument.presentationml.slideLayout+xml"/>
  <Override PartName="/ppt/slideLayouts/slideLayout1680.xml" ContentType="application/vnd.openxmlformats-officedocument.presentationml.slideLayout+xml"/>
  <Override PartName="/ppt/slideLayouts/slideLayout1681.xml" ContentType="application/vnd.openxmlformats-officedocument.presentationml.slideLayout+xml"/>
  <Override PartName="/ppt/slideLayouts/slideLayout1682.xml" ContentType="application/vnd.openxmlformats-officedocument.presentationml.slideLayout+xml"/>
  <Override PartName="/ppt/slideLayouts/slideLayout1683.xml" ContentType="application/vnd.openxmlformats-officedocument.presentationml.slideLayout+xml"/>
  <Override PartName="/ppt/slideLayouts/slideLayout1684.xml" ContentType="application/vnd.openxmlformats-officedocument.presentationml.slideLayout+xml"/>
  <Override PartName="/ppt/slideLayouts/slideLayout1685.xml" ContentType="application/vnd.openxmlformats-officedocument.presentationml.slideLayout+xml"/>
  <Override PartName="/ppt/slideLayouts/slideLayout1686.xml" ContentType="application/vnd.openxmlformats-officedocument.presentationml.slideLayout+xml"/>
  <Override PartName="/ppt/slideLayouts/slideLayout1687.xml" ContentType="application/vnd.openxmlformats-officedocument.presentationml.slideLayout+xml"/>
  <Override PartName="/ppt/slideLayouts/slideLayout1688.xml" ContentType="application/vnd.openxmlformats-officedocument.presentationml.slideLayout+xml"/>
  <Override PartName="/ppt/slideLayouts/slideLayout1689.xml" ContentType="application/vnd.openxmlformats-officedocument.presentationml.slideLayout+xml"/>
  <Override PartName="/ppt/slideLayouts/slideLayout1690.xml" ContentType="application/vnd.openxmlformats-officedocument.presentationml.slideLayout+xml"/>
  <Override PartName="/ppt/slideLayouts/slideLayout1691.xml" ContentType="application/vnd.openxmlformats-officedocument.presentationml.slideLayout+xml"/>
  <Override PartName="/ppt/slideLayouts/slideLayout1692.xml" ContentType="application/vnd.openxmlformats-officedocument.presentationml.slideLayout+xml"/>
  <Override PartName="/ppt/slideLayouts/slideLayout1693.xml" ContentType="application/vnd.openxmlformats-officedocument.presentationml.slideLayout+xml"/>
  <Override PartName="/ppt/slideLayouts/slideLayout1694.xml" ContentType="application/vnd.openxmlformats-officedocument.presentationml.slideLayout+xml"/>
  <Override PartName="/ppt/slideLayouts/slideLayout1695.xml" ContentType="application/vnd.openxmlformats-officedocument.presentationml.slideLayout+xml"/>
  <Override PartName="/ppt/slideLayouts/slideLayout1696.xml" ContentType="application/vnd.openxmlformats-officedocument.presentationml.slideLayout+xml"/>
  <Override PartName="/ppt/slideLayouts/slideLayout1697.xml" ContentType="application/vnd.openxmlformats-officedocument.presentationml.slideLayout+xml"/>
  <Override PartName="/ppt/slideLayouts/slideLayout1698.xml" ContentType="application/vnd.openxmlformats-officedocument.presentationml.slideLayout+xml"/>
  <Override PartName="/ppt/slideLayouts/slideLayout1699.xml" ContentType="application/vnd.openxmlformats-officedocument.presentationml.slideLayout+xml"/>
  <Override PartName="/ppt/slideLayouts/slideLayout1700.xml" ContentType="application/vnd.openxmlformats-officedocument.presentationml.slideLayout+xml"/>
  <Override PartName="/ppt/slideLayouts/slideLayout1701.xml" ContentType="application/vnd.openxmlformats-officedocument.presentationml.slideLayout+xml"/>
  <Override PartName="/ppt/slideLayouts/slideLayout1702.xml" ContentType="application/vnd.openxmlformats-officedocument.presentationml.slideLayout+xml"/>
  <Override PartName="/ppt/slideLayouts/slideLayout1703.xml" ContentType="application/vnd.openxmlformats-officedocument.presentationml.slideLayout+xml"/>
  <Override PartName="/ppt/slideLayouts/slideLayout1704.xml" ContentType="application/vnd.openxmlformats-officedocument.presentationml.slideLayout+xml"/>
  <Override PartName="/ppt/slideLayouts/slideLayout1705.xml" ContentType="application/vnd.openxmlformats-officedocument.presentationml.slideLayout+xml"/>
  <Override PartName="/ppt/slideLayouts/slideLayout1706.xml" ContentType="application/vnd.openxmlformats-officedocument.presentationml.slideLayout+xml"/>
  <Override PartName="/ppt/slideLayouts/slideLayout1707.xml" ContentType="application/vnd.openxmlformats-officedocument.presentationml.slideLayout+xml"/>
  <Override PartName="/ppt/slideLayouts/slideLayout1708.xml" ContentType="application/vnd.openxmlformats-officedocument.presentationml.slideLayout+xml"/>
  <Override PartName="/ppt/slideLayouts/slideLayout1709.xml" ContentType="application/vnd.openxmlformats-officedocument.presentationml.slideLayout+xml"/>
  <Override PartName="/ppt/slideLayouts/slideLayout1710.xml" ContentType="application/vnd.openxmlformats-officedocument.presentationml.slideLayout+xml"/>
  <Override PartName="/ppt/slideLayouts/slideLayout1711.xml" ContentType="application/vnd.openxmlformats-officedocument.presentationml.slideLayout+xml"/>
  <Override PartName="/ppt/slideLayouts/slideLayout1712.xml" ContentType="application/vnd.openxmlformats-officedocument.presentationml.slideLayout+xml"/>
  <Override PartName="/ppt/slideLayouts/slideLayout1713.xml" ContentType="application/vnd.openxmlformats-officedocument.presentationml.slideLayout+xml"/>
  <Override PartName="/ppt/slideLayouts/slideLayout1714.xml" ContentType="application/vnd.openxmlformats-officedocument.presentationml.slideLayout+xml"/>
  <Override PartName="/ppt/slideLayouts/slideLayout1715.xml" ContentType="application/vnd.openxmlformats-officedocument.presentationml.slideLayout+xml"/>
  <Override PartName="/ppt/slideLayouts/slideLayout1716.xml" ContentType="application/vnd.openxmlformats-officedocument.presentationml.slideLayout+xml"/>
  <Override PartName="/ppt/slideLayouts/slideLayout1717.xml" ContentType="application/vnd.openxmlformats-officedocument.presentationml.slideLayout+xml"/>
  <Override PartName="/ppt/slideLayouts/slideLayout1718.xml" ContentType="application/vnd.openxmlformats-officedocument.presentationml.slideLayout+xml"/>
  <Override PartName="/ppt/slideLayouts/slideLayout1719.xml" ContentType="application/vnd.openxmlformats-officedocument.presentationml.slideLayout+xml"/>
  <Override PartName="/ppt/slideLayouts/slideLayout1720.xml" ContentType="application/vnd.openxmlformats-officedocument.presentationml.slideLayout+xml"/>
  <Override PartName="/ppt/slideLayouts/slideLayout1721.xml" ContentType="application/vnd.openxmlformats-officedocument.presentationml.slideLayout+xml"/>
  <Override PartName="/ppt/slideLayouts/slideLayout1722.xml" ContentType="application/vnd.openxmlformats-officedocument.presentationml.slideLayout+xml"/>
  <Override PartName="/ppt/slideLayouts/slideLayout1723.xml" ContentType="application/vnd.openxmlformats-officedocument.presentationml.slideLayout+xml"/>
  <Override PartName="/ppt/slideLayouts/slideLayout1724.xml" ContentType="application/vnd.openxmlformats-officedocument.presentationml.slideLayout+xml"/>
  <Override PartName="/ppt/slideLayouts/slideLayout1725.xml" ContentType="application/vnd.openxmlformats-officedocument.presentationml.slideLayout+xml"/>
  <Override PartName="/ppt/slideLayouts/slideLayout1726.xml" ContentType="application/vnd.openxmlformats-officedocument.presentationml.slideLayout+xml"/>
  <Override PartName="/ppt/slideLayouts/slideLayout1727.xml" ContentType="application/vnd.openxmlformats-officedocument.presentationml.slideLayout+xml"/>
  <Override PartName="/ppt/slideLayouts/slideLayout1728.xml" ContentType="application/vnd.openxmlformats-officedocument.presentationml.slideLayout+xml"/>
  <Override PartName="/ppt/slideLayouts/slideLayout1729.xml" ContentType="application/vnd.openxmlformats-officedocument.presentationml.slideLayout+xml"/>
  <Override PartName="/ppt/slideLayouts/slideLayout1730.xml" ContentType="application/vnd.openxmlformats-officedocument.presentationml.slideLayout+xml"/>
  <Override PartName="/ppt/slideLayouts/slideLayout1731.xml" ContentType="application/vnd.openxmlformats-officedocument.presentationml.slideLayout+xml"/>
  <Override PartName="/ppt/slideLayouts/slideLayout1732.xml" ContentType="application/vnd.openxmlformats-officedocument.presentationml.slideLayout+xml"/>
  <Override PartName="/ppt/slideLayouts/slideLayout1733.xml" ContentType="application/vnd.openxmlformats-officedocument.presentationml.slideLayout+xml"/>
  <Override PartName="/ppt/slideLayouts/slideLayout1734.xml" ContentType="application/vnd.openxmlformats-officedocument.presentationml.slideLayout+xml"/>
  <Override PartName="/ppt/slideLayouts/slideLayout1735.xml" ContentType="application/vnd.openxmlformats-officedocument.presentationml.slideLayout+xml"/>
  <Override PartName="/ppt/slideLayouts/slideLayout1736.xml" ContentType="application/vnd.openxmlformats-officedocument.presentationml.slideLayout+xml"/>
  <Override PartName="/ppt/slideLayouts/slideLayout1737.xml" ContentType="application/vnd.openxmlformats-officedocument.presentationml.slideLayout+xml"/>
  <Override PartName="/ppt/slideLayouts/slideLayout1738.xml" ContentType="application/vnd.openxmlformats-officedocument.presentationml.slideLayout+xml"/>
  <Override PartName="/ppt/slideLayouts/slideLayout1739.xml" ContentType="application/vnd.openxmlformats-officedocument.presentationml.slideLayout+xml"/>
  <Override PartName="/ppt/slideLayouts/slideLayout1740.xml" ContentType="application/vnd.openxmlformats-officedocument.presentationml.slideLayout+xml"/>
  <Override PartName="/ppt/slideLayouts/slideLayout1741.xml" ContentType="application/vnd.openxmlformats-officedocument.presentationml.slideLayout+xml"/>
  <Override PartName="/ppt/slideLayouts/slideLayout1742.xml" ContentType="application/vnd.openxmlformats-officedocument.presentationml.slideLayout+xml"/>
  <Override PartName="/ppt/slideLayouts/slideLayout1743.xml" ContentType="application/vnd.openxmlformats-officedocument.presentationml.slideLayout+xml"/>
  <Override PartName="/ppt/slideLayouts/slideLayout1744.xml" ContentType="application/vnd.openxmlformats-officedocument.presentationml.slideLayout+xml"/>
  <Override PartName="/ppt/slideLayouts/slideLayout1745.xml" ContentType="application/vnd.openxmlformats-officedocument.presentationml.slideLayout+xml"/>
  <Override PartName="/ppt/slideLayouts/slideLayout1746.xml" ContentType="application/vnd.openxmlformats-officedocument.presentationml.slideLayout+xml"/>
  <Override PartName="/ppt/slideLayouts/slideLayout1747.xml" ContentType="application/vnd.openxmlformats-officedocument.presentationml.slideLayout+xml"/>
  <Override PartName="/ppt/slideLayouts/slideLayout1748.xml" ContentType="application/vnd.openxmlformats-officedocument.presentationml.slideLayout+xml"/>
  <Override PartName="/ppt/slideLayouts/slideLayout1749.xml" ContentType="application/vnd.openxmlformats-officedocument.presentationml.slideLayout+xml"/>
  <Override PartName="/ppt/slideLayouts/slideLayout1750.xml" ContentType="application/vnd.openxmlformats-officedocument.presentationml.slideLayout+xml"/>
  <Override PartName="/ppt/slideLayouts/slideLayout1751.xml" ContentType="application/vnd.openxmlformats-officedocument.presentationml.slideLayout+xml"/>
  <Override PartName="/ppt/slideLayouts/slideLayout1752.xml" ContentType="application/vnd.openxmlformats-officedocument.presentationml.slideLayout+xml"/>
  <Override PartName="/ppt/slideLayouts/slideLayout1753.xml" ContentType="application/vnd.openxmlformats-officedocument.presentationml.slideLayout+xml"/>
  <Override PartName="/ppt/slideLayouts/slideLayout1754.xml" ContentType="application/vnd.openxmlformats-officedocument.presentationml.slideLayout+xml"/>
  <Override PartName="/ppt/slideLayouts/slideLayout1755.xml" ContentType="application/vnd.openxmlformats-officedocument.presentationml.slideLayout+xml"/>
  <Override PartName="/ppt/slideLayouts/slideLayout1756.xml" ContentType="application/vnd.openxmlformats-officedocument.presentationml.slideLayout+xml"/>
  <Override PartName="/ppt/slideLayouts/slideLayout1757.xml" ContentType="application/vnd.openxmlformats-officedocument.presentationml.slideLayout+xml"/>
  <Override PartName="/ppt/slideLayouts/slideLayout1758.xml" ContentType="application/vnd.openxmlformats-officedocument.presentationml.slideLayout+xml"/>
  <Override PartName="/ppt/slideLayouts/slideLayout1759.xml" ContentType="application/vnd.openxmlformats-officedocument.presentationml.slideLayout+xml"/>
  <Override PartName="/ppt/slideLayouts/slideLayout1760.xml" ContentType="application/vnd.openxmlformats-officedocument.presentationml.slideLayout+xml"/>
  <Override PartName="/ppt/slideLayouts/slideLayout1761.xml" ContentType="application/vnd.openxmlformats-officedocument.presentationml.slideLayout+xml"/>
  <Override PartName="/ppt/slideLayouts/slideLayout1762.xml" ContentType="application/vnd.openxmlformats-officedocument.presentationml.slideLayout+xml"/>
  <Override PartName="/ppt/slideLayouts/slideLayout1763.xml" ContentType="application/vnd.openxmlformats-officedocument.presentationml.slideLayout+xml"/>
  <Override PartName="/ppt/slideLayouts/slideLayout1764.xml" ContentType="application/vnd.openxmlformats-officedocument.presentationml.slideLayout+xml"/>
  <Override PartName="/ppt/slideLayouts/slideLayout1765.xml" ContentType="application/vnd.openxmlformats-officedocument.presentationml.slideLayout+xml"/>
  <Override PartName="/ppt/slideLayouts/slideLayout1766.xml" ContentType="application/vnd.openxmlformats-officedocument.presentationml.slideLayout+xml"/>
  <Override PartName="/ppt/slideLayouts/slideLayout1767.xml" ContentType="application/vnd.openxmlformats-officedocument.presentationml.slideLayout+xml"/>
  <Override PartName="/ppt/slideLayouts/slideLayout1768.xml" ContentType="application/vnd.openxmlformats-officedocument.presentationml.slideLayout+xml"/>
  <Override PartName="/ppt/slideLayouts/slideLayout1769.xml" ContentType="application/vnd.openxmlformats-officedocument.presentationml.slideLayout+xml"/>
  <Override PartName="/ppt/slideLayouts/slideLayout1770.xml" ContentType="application/vnd.openxmlformats-officedocument.presentationml.slideLayout+xml"/>
  <Override PartName="/ppt/slideLayouts/slideLayout1771.xml" ContentType="application/vnd.openxmlformats-officedocument.presentationml.slideLayout+xml"/>
  <Override PartName="/ppt/slideLayouts/slideLayout1772.xml" ContentType="application/vnd.openxmlformats-officedocument.presentationml.slideLayout+xml"/>
  <Override PartName="/ppt/slideLayouts/slideLayout1773.xml" ContentType="application/vnd.openxmlformats-officedocument.presentationml.slideLayout+xml"/>
  <Override PartName="/ppt/slideLayouts/slideLayout1774.xml" ContentType="application/vnd.openxmlformats-officedocument.presentationml.slideLayout+xml"/>
  <Override PartName="/ppt/slideLayouts/slideLayout1775.xml" ContentType="application/vnd.openxmlformats-officedocument.presentationml.slideLayout+xml"/>
  <Override PartName="/ppt/slideLayouts/slideLayout1776.xml" ContentType="application/vnd.openxmlformats-officedocument.presentationml.slideLayout+xml"/>
  <Override PartName="/ppt/slideLayouts/slideLayout1777.xml" ContentType="application/vnd.openxmlformats-officedocument.presentationml.slideLayout+xml"/>
  <Override PartName="/ppt/slideLayouts/slideLayout1778.xml" ContentType="application/vnd.openxmlformats-officedocument.presentationml.slideLayout+xml"/>
  <Override PartName="/ppt/slideLayouts/slideLayout1779.xml" ContentType="application/vnd.openxmlformats-officedocument.presentationml.slideLayout+xml"/>
  <Override PartName="/ppt/slideLayouts/slideLayout1780.xml" ContentType="application/vnd.openxmlformats-officedocument.presentationml.slideLayout+xml"/>
  <Override PartName="/ppt/slideLayouts/slideLayout1781.xml" ContentType="application/vnd.openxmlformats-officedocument.presentationml.slideLayout+xml"/>
  <Override PartName="/ppt/slideLayouts/slideLayout1782.xml" ContentType="application/vnd.openxmlformats-officedocument.presentationml.slideLayout+xml"/>
  <Override PartName="/ppt/slideLayouts/slideLayout1783.xml" ContentType="application/vnd.openxmlformats-officedocument.presentationml.slideLayout+xml"/>
  <Override PartName="/ppt/slideLayouts/slideLayout1784.xml" ContentType="application/vnd.openxmlformats-officedocument.presentationml.slideLayout+xml"/>
  <Override PartName="/ppt/slideLayouts/slideLayout1785.xml" ContentType="application/vnd.openxmlformats-officedocument.presentationml.slideLayout+xml"/>
  <Override PartName="/ppt/slideLayouts/slideLayout1786.xml" ContentType="application/vnd.openxmlformats-officedocument.presentationml.slideLayout+xml"/>
  <Override PartName="/ppt/slideLayouts/slideLayout1787.xml" ContentType="application/vnd.openxmlformats-officedocument.presentationml.slideLayout+xml"/>
  <Override PartName="/ppt/slideLayouts/slideLayout1788.xml" ContentType="application/vnd.openxmlformats-officedocument.presentationml.slideLayout+xml"/>
  <Override PartName="/ppt/slideLayouts/slideLayout1789.xml" ContentType="application/vnd.openxmlformats-officedocument.presentationml.slideLayout+xml"/>
  <Override PartName="/ppt/slideLayouts/slideLayout1790.xml" ContentType="application/vnd.openxmlformats-officedocument.presentationml.slideLayout+xml"/>
  <Override PartName="/ppt/slideLayouts/slideLayout1791.xml" ContentType="application/vnd.openxmlformats-officedocument.presentationml.slideLayout+xml"/>
  <Override PartName="/ppt/slideLayouts/slideLayout1792.xml" ContentType="application/vnd.openxmlformats-officedocument.presentationml.slideLayout+xml"/>
  <Override PartName="/ppt/slideLayouts/slideLayout1793.xml" ContentType="application/vnd.openxmlformats-officedocument.presentationml.slideLayout+xml"/>
  <Override PartName="/ppt/slideLayouts/slideLayout1794.xml" ContentType="application/vnd.openxmlformats-officedocument.presentationml.slideLayout+xml"/>
  <Override PartName="/ppt/slideLayouts/slideLayout1795.xml" ContentType="application/vnd.openxmlformats-officedocument.presentationml.slideLayout+xml"/>
  <Override PartName="/ppt/slideLayouts/slideLayout1796.xml" ContentType="application/vnd.openxmlformats-officedocument.presentationml.slideLayout+xml"/>
  <Override PartName="/ppt/slideLayouts/slideLayout1797.xml" ContentType="application/vnd.openxmlformats-officedocument.presentationml.slideLayout+xml"/>
  <Override PartName="/ppt/slideLayouts/slideLayout1798.xml" ContentType="application/vnd.openxmlformats-officedocument.presentationml.slideLayout+xml"/>
  <Override PartName="/ppt/slideLayouts/slideLayout1799.xml" ContentType="application/vnd.openxmlformats-officedocument.presentationml.slideLayout+xml"/>
  <Override PartName="/ppt/slideLayouts/slideLayout1800.xml" ContentType="application/vnd.openxmlformats-officedocument.presentationml.slideLayout+xml"/>
  <Override PartName="/ppt/slideLayouts/slideLayout1801.xml" ContentType="application/vnd.openxmlformats-officedocument.presentationml.slideLayout+xml"/>
  <Override PartName="/ppt/slideLayouts/slideLayout1802.xml" ContentType="application/vnd.openxmlformats-officedocument.presentationml.slideLayout+xml"/>
  <Override PartName="/ppt/slideLayouts/slideLayout1803.xml" ContentType="application/vnd.openxmlformats-officedocument.presentationml.slideLayout+xml"/>
  <Override PartName="/ppt/slideLayouts/slideLayout1804.xml" ContentType="application/vnd.openxmlformats-officedocument.presentationml.slideLayout+xml"/>
  <Override PartName="/ppt/slideLayouts/slideLayout1805.xml" ContentType="application/vnd.openxmlformats-officedocument.presentationml.slideLayout+xml"/>
  <Override PartName="/ppt/slideLayouts/slideLayout1806.xml" ContentType="application/vnd.openxmlformats-officedocument.presentationml.slideLayout+xml"/>
  <Override PartName="/ppt/slideLayouts/slideLayout1807.xml" ContentType="application/vnd.openxmlformats-officedocument.presentationml.slideLayout+xml"/>
  <Override PartName="/ppt/slideLayouts/slideLayout1808.xml" ContentType="application/vnd.openxmlformats-officedocument.presentationml.slideLayout+xml"/>
  <Override PartName="/ppt/slideLayouts/slideLayout1809.xml" ContentType="application/vnd.openxmlformats-officedocument.presentationml.slideLayout+xml"/>
  <Override PartName="/ppt/slideLayouts/slideLayout1810.xml" ContentType="application/vnd.openxmlformats-officedocument.presentationml.slideLayout+xml"/>
  <Override PartName="/ppt/slideLayouts/slideLayout1811.xml" ContentType="application/vnd.openxmlformats-officedocument.presentationml.slideLayout+xml"/>
  <Override PartName="/ppt/slideLayouts/slideLayout1812.xml" ContentType="application/vnd.openxmlformats-officedocument.presentationml.slideLayout+xml"/>
  <Override PartName="/ppt/slideLayouts/slideLayout1813.xml" ContentType="application/vnd.openxmlformats-officedocument.presentationml.slideLayout+xml"/>
  <Override PartName="/ppt/slideLayouts/slideLayout1814.xml" ContentType="application/vnd.openxmlformats-officedocument.presentationml.slideLayout+xml"/>
  <Override PartName="/ppt/slideLayouts/slideLayout1815.xml" ContentType="application/vnd.openxmlformats-officedocument.presentationml.slideLayout+xml"/>
  <Override PartName="/ppt/slideLayouts/slideLayout1816.xml" ContentType="application/vnd.openxmlformats-officedocument.presentationml.slideLayout+xml"/>
  <Override PartName="/ppt/slideLayouts/slideLayout1817.xml" ContentType="application/vnd.openxmlformats-officedocument.presentationml.slideLayout+xml"/>
  <Override PartName="/ppt/slideLayouts/slideLayout1818.xml" ContentType="application/vnd.openxmlformats-officedocument.presentationml.slideLayout+xml"/>
  <Override PartName="/ppt/slideLayouts/slideLayout1819.xml" ContentType="application/vnd.openxmlformats-officedocument.presentationml.slideLayout+xml"/>
  <Override PartName="/ppt/slideLayouts/slideLayout1820.xml" ContentType="application/vnd.openxmlformats-officedocument.presentationml.slideLayout+xml"/>
  <Override PartName="/ppt/slideLayouts/slideLayout1821.xml" ContentType="application/vnd.openxmlformats-officedocument.presentationml.slideLayout+xml"/>
  <Override PartName="/ppt/slideLayouts/slideLayout1822.xml" ContentType="application/vnd.openxmlformats-officedocument.presentationml.slideLayout+xml"/>
  <Override PartName="/ppt/slideLayouts/slideLayout1823.xml" ContentType="application/vnd.openxmlformats-officedocument.presentationml.slideLayout+xml"/>
  <Override PartName="/ppt/slideLayouts/slideLayout1824.xml" ContentType="application/vnd.openxmlformats-officedocument.presentationml.slideLayout+xml"/>
  <Override PartName="/ppt/slideLayouts/slideLayout1825.xml" ContentType="application/vnd.openxmlformats-officedocument.presentationml.slideLayout+xml"/>
  <Override PartName="/ppt/slideLayouts/slideLayout1826.xml" ContentType="application/vnd.openxmlformats-officedocument.presentationml.slideLayout+xml"/>
  <Override PartName="/ppt/slideLayouts/slideLayout1827.xml" ContentType="application/vnd.openxmlformats-officedocument.presentationml.slideLayout+xml"/>
  <Override PartName="/ppt/slideLayouts/slideLayout1828.xml" ContentType="application/vnd.openxmlformats-officedocument.presentationml.slideLayout+xml"/>
  <Override PartName="/ppt/slideLayouts/slideLayout1829.xml" ContentType="application/vnd.openxmlformats-officedocument.presentationml.slideLayout+xml"/>
  <Override PartName="/ppt/slideLayouts/slideLayout1830.xml" ContentType="application/vnd.openxmlformats-officedocument.presentationml.slideLayout+xml"/>
  <Override PartName="/ppt/slideLayouts/slideLayout1831.xml" ContentType="application/vnd.openxmlformats-officedocument.presentationml.slideLayout+xml"/>
  <Override PartName="/ppt/slideLayouts/slideLayout1832.xml" ContentType="application/vnd.openxmlformats-officedocument.presentationml.slideLayout+xml"/>
  <Override PartName="/ppt/slideLayouts/slideLayout1833.xml" ContentType="application/vnd.openxmlformats-officedocument.presentationml.slideLayout+xml"/>
  <Override PartName="/ppt/slideLayouts/slideLayout1834.xml" ContentType="application/vnd.openxmlformats-officedocument.presentationml.slideLayout+xml"/>
  <Override PartName="/ppt/slideLayouts/slideLayout1835.xml" ContentType="application/vnd.openxmlformats-officedocument.presentationml.slideLayout+xml"/>
  <Override PartName="/ppt/slideLayouts/slideLayout1836.xml" ContentType="application/vnd.openxmlformats-officedocument.presentationml.slideLayout+xml"/>
  <Override PartName="/ppt/slideLayouts/slideLayout1837.xml" ContentType="application/vnd.openxmlformats-officedocument.presentationml.slideLayout+xml"/>
  <Override PartName="/ppt/slideLayouts/slideLayout1838.xml" ContentType="application/vnd.openxmlformats-officedocument.presentationml.slideLayout+xml"/>
  <Override PartName="/ppt/slideLayouts/slideLayout1839.xml" ContentType="application/vnd.openxmlformats-officedocument.presentationml.slideLayout+xml"/>
  <Override PartName="/ppt/slideLayouts/slideLayout1840.xml" ContentType="application/vnd.openxmlformats-officedocument.presentationml.slideLayout+xml"/>
  <Override PartName="/ppt/slideLayouts/slideLayout1841.xml" ContentType="application/vnd.openxmlformats-officedocument.presentationml.slideLayout+xml"/>
  <Override PartName="/ppt/slideLayouts/slideLayout1842.xml" ContentType="application/vnd.openxmlformats-officedocument.presentationml.slideLayout+xml"/>
  <Override PartName="/ppt/slideLayouts/slideLayout1843.xml" ContentType="application/vnd.openxmlformats-officedocument.presentationml.slideLayout+xml"/>
  <Override PartName="/ppt/slideLayouts/slideLayout1844.xml" ContentType="application/vnd.openxmlformats-officedocument.presentationml.slideLayout+xml"/>
  <Override PartName="/ppt/slideLayouts/slideLayout1845.xml" ContentType="application/vnd.openxmlformats-officedocument.presentationml.slideLayout+xml"/>
  <Override PartName="/ppt/slideLayouts/slideLayout1846.xml" ContentType="application/vnd.openxmlformats-officedocument.presentationml.slideLayout+xml"/>
  <Override PartName="/ppt/slideLayouts/slideLayout1847.xml" ContentType="application/vnd.openxmlformats-officedocument.presentationml.slideLayout+xml"/>
  <Override PartName="/ppt/slideLayouts/slideLayout1848.xml" ContentType="application/vnd.openxmlformats-officedocument.presentationml.slideLayout+xml"/>
  <Override PartName="/ppt/slideLayouts/slideLayout1849.xml" ContentType="application/vnd.openxmlformats-officedocument.presentationml.slideLayout+xml"/>
  <Override PartName="/ppt/slideLayouts/slideLayout1850.xml" ContentType="application/vnd.openxmlformats-officedocument.presentationml.slideLayout+xml"/>
  <Override PartName="/ppt/slideLayouts/slideLayout1851.xml" ContentType="application/vnd.openxmlformats-officedocument.presentationml.slideLayout+xml"/>
  <Override PartName="/ppt/slideLayouts/slideLayout1852.xml" ContentType="application/vnd.openxmlformats-officedocument.presentationml.slideLayout+xml"/>
  <Override PartName="/ppt/slideLayouts/slideLayout1853.xml" ContentType="application/vnd.openxmlformats-officedocument.presentationml.slideLayout+xml"/>
  <Override PartName="/ppt/slideLayouts/slideLayout1854.xml" ContentType="application/vnd.openxmlformats-officedocument.presentationml.slideLayout+xml"/>
  <Override PartName="/ppt/slideLayouts/slideLayout1855.xml" ContentType="application/vnd.openxmlformats-officedocument.presentationml.slideLayout+xml"/>
  <Override PartName="/ppt/slideLayouts/slideLayout1856.xml" ContentType="application/vnd.openxmlformats-officedocument.presentationml.slideLayout+xml"/>
  <Override PartName="/ppt/slideLayouts/slideLayout1857.xml" ContentType="application/vnd.openxmlformats-officedocument.presentationml.slideLayout+xml"/>
  <Override PartName="/ppt/slideLayouts/slideLayout1858.xml" ContentType="application/vnd.openxmlformats-officedocument.presentationml.slideLayout+xml"/>
  <Override PartName="/ppt/slideLayouts/slideLayout1859.xml" ContentType="application/vnd.openxmlformats-officedocument.presentationml.slideLayout+xml"/>
  <Override PartName="/ppt/slideLayouts/slideLayout1860.xml" ContentType="application/vnd.openxmlformats-officedocument.presentationml.slideLayout+xml"/>
  <Override PartName="/ppt/slideLayouts/slideLayout1861.xml" ContentType="application/vnd.openxmlformats-officedocument.presentationml.slideLayout+xml"/>
  <Override PartName="/ppt/slideLayouts/slideLayout1862.xml" ContentType="application/vnd.openxmlformats-officedocument.presentationml.slideLayout+xml"/>
  <Override PartName="/ppt/slideLayouts/slideLayout1863.xml" ContentType="application/vnd.openxmlformats-officedocument.presentationml.slideLayout+xml"/>
  <Override PartName="/ppt/slideLayouts/slideLayout1864.xml" ContentType="application/vnd.openxmlformats-officedocument.presentationml.slideLayout+xml"/>
  <Override PartName="/ppt/slideLayouts/slideLayout1865.xml" ContentType="application/vnd.openxmlformats-officedocument.presentationml.slideLayout+xml"/>
  <Override PartName="/ppt/slideLayouts/slideLayout1866.xml" ContentType="application/vnd.openxmlformats-officedocument.presentationml.slideLayout+xml"/>
  <Override PartName="/ppt/slideLayouts/slideLayout1867.xml" ContentType="application/vnd.openxmlformats-officedocument.presentationml.slideLayout+xml"/>
  <Override PartName="/ppt/slideLayouts/slideLayout1868.xml" ContentType="application/vnd.openxmlformats-officedocument.presentationml.slideLayout+xml"/>
  <Override PartName="/ppt/slideLayouts/slideLayout1869.xml" ContentType="application/vnd.openxmlformats-officedocument.presentationml.slideLayout+xml"/>
  <Override PartName="/ppt/slideLayouts/slideLayout1870.xml" ContentType="application/vnd.openxmlformats-officedocument.presentationml.slideLayout+xml"/>
  <Override PartName="/ppt/slideLayouts/slideLayout1871.xml" ContentType="application/vnd.openxmlformats-officedocument.presentationml.slideLayout+xml"/>
  <Override PartName="/ppt/slideLayouts/slideLayout1872.xml" ContentType="application/vnd.openxmlformats-officedocument.presentationml.slideLayout+xml"/>
  <Override PartName="/ppt/slideLayouts/slideLayout1873.xml" ContentType="application/vnd.openxmlformats-officedocument.presentationml.slideLayout+xml"/>
  <Override PartName="/ppt/slideLayouts/slideLayout1874.xml" ContentType="application/vnd.openxmlformats-officedocument.presentationml.slideLayout+xml"/>
  <Override PartName="/ppt/slideLayouts/slideLayout1875.xml" ContentType="application/vnd.openxmlformats-officedocument.presentationml.slideLayout+xml"/>
  <Override PartName="/ppt/slideLayouts/slideLayout1876.xml" ContentType="application/vnd.openxmlformats-officedocument.presentationml.slideLayout+xml"/>
  <Override PartName="/ppt/slideLayouts/slideLayout1877.xml" ContentType="application/vnd.openxmlformats-officedocument.presentationml.slideLayout+xml"/>
  <Override PartName="/ppt/slideLayouts/slideLayout1878.xml" ContentType="application/vnd.openxmlformats-officedocument.presentationml.slideLayout+xml"/>
  <Override PartName="/ppt/slideLayouts/slideLayout1879.xml" ContentType="application/vnd.openxmlformats-officedocument.presentationml.slideLayout+xml"/>
  <Override PartName="/ppt/slideLayouts/slideLayout1880.xml" ContentType="application/vnd.openxmlformats-officedocument.presentationml.slideLayout+xml"/>
  <Override PartName="/ppt/slideLayouts/slideLayout1881.xml" ContentType="application/vnd.openxmlformats-officedocument.presentationml.slideLayout+xml"/>
  <Override PartName="/ppt/slideLayouts/slideLayout1882.xml" ContentType="application/vnd.openxmlformats-officedocument.presentationml.slideLayout+xml"/>
  <Override PartName="/ppt/slideLayouts/slideLayout1883.xml" ContentType="application/vnd.openxmlformats-officedocument.presentationml.slideLayout+xml"/>
  <Override PartName="/ppt/slideLayouts/slideLayout1884.xml" ContentType="application/vnd.openxmlformats-officedocument.presentationml.slideLayout+xml"/>
  <Override PartName="/ppt/slideLayouts/slideLayout1885.xml" ContentType="application/vnd.openxmlformats-officedocument.presentationml.slideLayout+xml"/>
  <Override PartName="/ppt/slideLayouts/slideLayout1886.xml" ContentType="application/vnd.openxmlformats-officedocument.presentationml.slideLayout+xml"/>
  <Override PartName="/ppt/slideLayouts/slideLayout1887.xml" ContentType="application/vnd.openxmlformats-officedocument.presentationml.slideLayout+xml"/>
  <Override PartName="/ppt/slideLayouts/slideLayout1888.xml" ContentType="application/vnd.openxmlformats-officedocument.presentationml.slideLayout+xml"/>
  <Override PartName="/ppt/slideLayouts/slideLayout1889.xml" ContentType="application/vnd.openxmlformats-officedocument.presentationml.slideLayout+xml"/>
  <Override PartName="/ppt/slideLayouts/slideLayout1890.xml" ContentType="application/vnd.openxmlformats-officedocument.presentationml.slideLayout+xml"/>
  <Override PartName="/ppt/slideLayouts/slideLayout1891.xml" ContentType="application/vnd.openxmlformats-officedocument.presentationml.slideLayout+xml"/>
  <Override PartName="/ppt/slideLayouts/slideLayout1892.xml" ContentType="application/vnd.openxmlformats-officedocument.presentationml.slideLayout+xml"/>
  <Override PartName="/ppt/slideLayouts/slideLayout1893.xml" ContentType="application/vnd.openxmlformats-officedocument.presentationml.slideLayout+xml"/>
  <Override PartName="/ppt/slideLayouts/slideLayout1894.xml" ContentType="application/vnd.openxmlformats-officedocument.presentationml.slideLayout+xml"/>
  <Override PartName="/ppt/slideLayouts/slideLayout1895.xml" ContentType="application/vnd.openxmlformats-officedocument.presentationml.slideLayout+xml"/>
  <Override PartName="/ppt/slideLayouts/slideLayout1896.xml" ContentType="application/vnd.openxmlformats-officedocument.presentationml.slideLayout+xml"/>
  <Override PartName="/ppt/slideLayouts/slideLayout1897.xml" ContentType="application/vnd.openxmlformats-officedocument.presentationml.slideLayout+xml"/>
  <Override PartName="/ppt/slideLayouts/slideLayout1898.xml" ContentType="application/vnd.openxmlformats-officedocument.presentationml.slideLayout+xml"/>
  <Override PartName="/ppt/slideLayouts/slideLayout1899.xml" ContentType="application/vnd.openxmlformats-officedocument.presentationml.slideLayout+xml"/>
  <Override PartName="/ppt/slideLayouts/slideLayout1900.xml" ContentType="application/vnd.openxmlformats-officedocument.presentationml.slideLayout+xml"/>
  <Override PartName="/ppt/slideLayouts/slideLayout1901.xml" ContentType="application/vnd.openxmlformats-officedocument.presentationml.slideLayout+xml"/>
  <Override PartName="/ppt/slideLayouts/slideLayout1902.xml" ContentType="application/vnd.openxmlformats-officedocument.presentationml.slideLayout+xml"/>
  <Override PartName="/ppt/slideLayouts/slideLayout1903.xml" ContentType="application/vnd.openxmlformats-officedocument.presentationml.slideLayout+xml"/>
  <Override PartName="/ppt/slideLayouts/slideLayout1904.xml" ContentType="application/vnd.openxmlformats-officedocument.presentationml.slideLayout+xml"/>
  <Override PartName="/ppt/slideLayouts/slideLayout1905.xml" ContentType="application/vnd.openxmlformats-officedocument.presentationml.slideLayout+xml"/>
  <Override PartName="/ppt/slideLayouts/slideLayout1906.xml" ContentType="application/vnd.openxmlformats-officedocument.presentationml.slideLayout+xml"/>
  <Override PartName="/ppt/slideLayouts/slideLayout1907.xml" ContentType="application/vnd.openxmlformats-officedocument.presentationml.slideLayout+xml"/>
  <Override PartName="/ppt/slideLayouts/slideLayout1908.xml" ContentType="application/vnd.openxmlformats-officedocument.presentationml.slideLayout+xml"/>
  <Override PartName="/ppt/slideLayouts/slideLayout1909.xml" ContentType="application/vnd.openxmlformats-officedocument.presentationml.slideLayout+xml"/>
  <Override PartName="/ppt/slideLayouts/slideLayout1910.xml" ContentType="application/vnd.openxmlformats-officedocument.presentationml.slideLayout+xml"/>
  <Override PartName="/ppt/slideLayouts/slideLayout1911.xml" ContentType="application/vnd.openxmlformats-officedocument.presentationml.slideLayout+xml"/>
  <Override PartName="/ppt/slideLayouts/slideLayout1912.xml" ContentType="application/vnd.openxmlformats-officedocument.presentationml.slideLayout+xml"/>
  <Override PartName="/ppt/slideLayouts/slideLayout1913.xml" ContentType="application/vnd.openxmlformats-officedocument.presentationml.slideLayout+xml"/>
  <Override PartName="/ppt/slideLayouts/slideLayout1914.xml" ContentType="application/vnd.openxmlformats-officedocument.presentationml.slideLayout+xml"/>
  <Override PartName="/ppt/slideLayouts/slideLayout1915.xml" ContentType="application/vnd.openxmlformats-officedocument.presentationml.slideLayout+xml"/>
  <Override PartName="/ppt/slideLayouts/slideLayout1916.xml" ContentType="application/vnd.openxmlformats-officedocument.presentationml.slideLayout+xml"/>
  <Override PartName="/ppt/slideLayouts/slideLayout1917.xml" ContentType="application/vnd.openxmlformats-officedocument.presentationml.slideLayout+xml"/>
  <Override PartName="/ppt/slideLayouts/slideLayout1918.xml" ContentType="application/vnd.openxmlformats-officedocument.presentationml.slideLayout+xml"/>
  <Override PartName="/ppt/slideLayouts/slideLayout1919.xml" ContentType="application/vnd.openxmlformats-officedocument.presentationml.slideLayout+xml"/>
  <Override PartName="/ppt/slideLayouts/slideLayout1920.xml" ContentType="application/vnd.openxmlformats-officedocument.presentationml.slideLayout+xml"/>
  <Override PartName="/ppt/slideLayouts/slideLayout1921.xml" ContentType="application/vnd.openxmlformats-officedocument.presentationml.slideLayout+xml"/>
  <Override PartName="/ppt/slideLayouts/slideLayout1922.xml" ContentType="application/vnd.openxmlformats-officedocument.presentationml.slideLayout+xml"/>
  <Override PartName="/ppt/slideLayouts/slideLayout1923.xml" ContentType="application/vnd.openxmlformats-officedocument.presentationml.slideLayout+xml"/>
  <Override PartName="/ppt/slideLayouts/slideLayout1924.xml" ContentType="application/vnd.openxmlformats-officedocument.presentationml.slideLayout+xml"/>
  <Override PartName="/ppt/slideLayouts/slideLayout1925.xml" ContentType="application/vnd.openxmlformats-officedocument.presentationml.slideLayout+xml"/>
  <Override PartName="/ppt/slideLayouts/slideLayout1926.xml" ContentType="application/vnd.openxmlformats-officedocument.presentationml.slideLayout+xml"/>
  <Override PartName="/ppt/slideLayouts/slideLayout1927.xml" ContentType="application/vnd.openxmlformats-officedocument.presentationml.slideLayout+xml"/>
  <Override PartName="/ppt/slideLayouts/slideLayout1928.xml" ContentType="application/vnd.openxmlformats-officedocument.presentationml.slideLayout+xml"/>
  <Override PartName="/ppt/slideLayouts/slideLayout1929.xml" ContentType="application/vnd.openxmlformats-officedocument.presentationml.slideLayout+xml"/>
  <Override PartName="/ppt/slideLayouts/slideLayout1930.xml" ContentType="application/vnd.openxmlformats-officedocument.presentationml.slideLayout+xml"/>
  <Override PartName="/ppt/slideLayouts/slideLayout1931.xml" ContentType="application/vnd.openxmlformats-officedocument.presentationml.slideLayout+xml"/>
  <Override PartName="/ppt/slideLayouts/slideLayout1932.xml" ContentType="application/vnd.openxmlformats-officedocument.presentationml.slideLayout+xml"/>
  <Override PartName="/ppt/slideLayouts/slideLayout1933.xml" ContentType="application/vnd.openxmlformats-officedocument.presentationml.slideLayout+xml"/>
  <Override PartName="/ppt/theme/theme7.xml" ContentType="application/vnd.openxmlformats-officedocument.theme+xml"/>
  <Override PartName="/ppt/slideLayouts/slideLayout1934.xml" ContentType="application/vnd.openxmlformats-officedocument.presentationml.slideLayout+xml"/>
  <Override PartName="/ppt/slideLayouts/slideLayout1935.xml" ContentType="application/vnd.openxmlformats-officedocument.presentationml.slideLayout+xml"/>
  <Override PartName="/ppt/slideLayouts/slideLayout1936.xml" ContentType="application/vnd.openxmlformats-officedocument.presentationml.slideLayout+xml"/>
  <Override PartName="/ppt/slideLayouts/slideLayout1937.xml" ContentType="application/vnd.openxmlformats-officedocument.presentationml.slideLayout+xml"/>
  <Override PartName="/ppt/slideLayouts/slideLayout1938.xml" ContentType="application/vnd.openxmlformats-officedocument.presentationml.slideLayout+xml"/>
  <Override PartName="/ppt/slideLayouts/slideLayout1939.xml" ContentType="application/vnd.openxmlformats-officedocument.presentationml.slideLayout+xml"/>
  <Override PartName="/ppt/slideLayouts/slideLayout1940.xml" ContentType="application/vnd.openxmlformats-officedocument.presentationml.slideLayout+xml"/>
  <Override PartName="/ppt/slideLayouts/slideLayout1941.xml" ContentType="application/vnd.openxmlformats-officedocument.presentationml.slideLayout+xml"/>
  <Override PartName="/ppt/slideLayouts/slideLayout1942.xml" ContentType="application/vnd.openxmlformats-officedocument.presentationml.slideLayout+xml"/>
  <Override PartName="/ppt/slideLayouts/slideLayout1943.xml" ContentType="application/vnd.openxmlformats-officedocument.presentationml.slideLayout+xml"/>
  <Override PartName="/ppt/slideLayouts/slideLayout1944.xml" ContentType="application/vnd.openxmlformats-officedocument.presentationml.slideLayout+xml"/>
  <Override PartName="/ppt/theme/theme8.xml" ContentType="application/vnd.openxmlformats-officedocument.theme+xml"/>
  <Override PartName="/ppt/slideLayouts/slideLayout1945.xml" ContentType="application/vnd.openxmlformats-officedocument.presentationml.slideLayout+xml"/>
  <Override PartName="/ppt/slideLayouts/slideLayout1946.xml" ContentType="application/vnd.openxmlformats-officedocument.presentationml.slideLayout+xml"/>
  <Override PartName="/ppt/slideLayouts/slideLayout1947.xml" ContentType="application/vnd.openxmlformats-officedocument.presentationml.slideLayout+xml"/>
  <Override PartName="/ppt/slideLayouts/slideLayout1948.xml" ContentType="application/vnd.openxmlformats-officedocument.presentationml.slideLayout+xml"/>
  <Override PartName="/ppt/slideLayouts/slideLayout1949.xml" ContentType="application/vnd.openxmlformats-officedocument.presentationml.slideLayout+xml"/>
  <Override PartName="/ppt/slideLayouts/slideLayout1950.xml" ContentType="application/vnd.openxmlformats-officedocument.presentationml.slideLayout+xml"/>
  <Override PartName="/ppt/slideLayouts/slideLayout1951.xml" ContentType="application/vnd.openxmlformats-officedocument.presentationml.slideLayout+xml"/>
  <Override PartName="/ppt/slideLayouts/slideLayout1952.xml" ContentType="application/vnd.openxmlformats-officedocument.presentationml.slideLayout+xml"/>
  <Override PartName="/ppt/slideLayouts/slideLayout1953.xml" ContentType="application/vnd.openxmlformats-officedocument.presentationml.slideLayout+xml"/>
  <Override PartName="/ppt/slideLayouts/slideLayout1954.xml" ContentType="application/vnd.openxmlformats-officedocument.presentationml.slideLayout+xml"/>
  <Override PartName="/ppt/theme/theme9.xml" ContentType="application/vnd.openxmlformats-officedocument.theme+xml"/>
  <Override PartName="/ppt/slideLayouts/slideLayout1955.xml" ContentType="application/vnd.openxmlformats-officedocument.presentationml.slideLayout+xml"/>
  <Override PartName="/ppt/slideLayouts/slideLayout1956.xml" ContentType="application/vnd.openxmlformats-officedocument.presentationml.slideLayout+xml"/>
  <Override PartName="/ppt/slideLayouts/slideLayout1957.xml" ContentType="application/vnd.openxmlformats-officedocument.presentationml.slideLayout+xml"/>
  <Override PartName="/ppt/slideLayouts/slideLayout1958.xml" ContentType="application/vnd.openxmlformats-officedocument.presentationml.slideLayout+xml"/>
  <Override PartName="/ppt/slideLayouts/slideLayout1959.xml" ContentType="application/vnd.openxmlformats-officedocument.presentationml.slideLayout+xml"/>
  <Override PartName="/ppt/slideLayouts/slideLayout1960.xml" ContentType="application/vnd.openxmlformats-officedocument.presentationml.slideLayout+xml"/>
  <Override PartName="/ppt/slideLayouts/slideLayout1961.xml" ContentType="application/vnd.openxmlformats-officedocument.presentationml.slideLayout+xml"/>
  <Override PartName="/ppt/slideLayouts/slideLayout1962.xml" ContentType="application/vnd.openxmlformats-officedocument.presentationml.slideLayout+xml"/>
  <Override PartName="/ppt/slideLayouts/slideLayout1963.xml" ContentType="application/vnd.openxmlformats-officedocument.presentationml.slideLayout+xml"/>
  <Override PartName="/ppt/slideLayouts/slideLayout1964.xml" ContentType="application/vnd.openxmlformats-officedocument.presentationml.slideLayout+xml"/>
  <Override PartName="/ppt/slideLayouts/slideLayout1965.xml" ContentType="application/vnd.openxmlformats-officedocument.presentationml.slideLayout+xml"/>
  <Override PartName="/ppt/slideLayouts/slideLayout1966.xml" ContentType="application/vnd.openxmlformats-officedocument.presentationml.slideLayout+xml"/>
  <Override PartName="/ppt/slideLayouts/slideLayout1967.xml" ContentType="application/vnd.openxmlformats-officedocument.presentationml.slideLayout+xml"/>
  <Override PartName="/ppt/slideLayouts/slideLayout1968.xml" ContentType="application/vnd.openxmlformats-officedocument.presentationml.slideLayout+xml"/>
  <Override PartName="/ppt/slideLayouts/slideLayout1969.xml" ContentType="application/vnd.openxmlformats-officedocument.presentationml.slideLayout+xml"/>
  <Override PartName="/ppt/slideLayouts/slideLayout1970.xml" ContentType="application/vnd.openxmlformats-officedocument.presentationml.slideLayout+xml"/>
  <Override PartName="/ppt/slideLayouts/slideLayout1971.xml" ContentType="application/vnd.openxmlformats-officedocument.presentationml.slideLayout+xml"/>
  <Override PartName="/ppt/slideLayouts/slideLayout1972.xml" ContentType="application/vnd.openxmlformats-officedocument.presentationml.slideLayout+xml"/>
  <Override PartName="/ppt/slideLayouts/slideLayout1973.xml" ContentType="application/vnd.openxmlformats-officedocument.presentationml.slideLayout+xml"/>
  <Override PartName="/ppt/slideLayouts/slideLayout1974.xml" ContentType="application/vnd.openxmlformats-officedocument.presentationml.slideLayout+xml"/>
  <Override PartName="/ppt/slideLayouts/slideLayout1975.xml" ContentType="application/vnd.openxmlformats-officedocument.presentationml.slideLayout+xml"/>
  <Override PartName="/ppt/slideLayouts/slideLayout1976.xml" ContentType="application/vnd.openxmlformats-officedocument.presentationml.slideLayout+xml"/>
  <Override PartName="/ppt/slideLayouts/slideLayout1977.xml" ContentType="application/vnd.openxmlformats-officedocument.presentationml.slideLayout+xml"/>
  <Override PartName="/ppt/slideLayouts/slideLayout1978.xml" ContentType="application/vnd.openxmlformats-officedocument.presentationml.slideLayout+xml"/>
  <Override PartName="/ppt/slideLayouts/slideLayout1979.xml" ContentType="application/vnd.openxmlformats-officedocument.presentationml.slideLayout+xml"/>
  <Override PartName="/ppt/slideLayouts/slideLayout1980.xml" ContentType="application/vnd.openxmlformats-officedocument.presentationml.slideLayout+xml"/>
  <Override PartName="/ppt/slideLayouts/slideLayout1981.xml" ContentType="application/vnd.openxmlformats-officedocument.presentationml.slideLayout+xml"/>
  <Override PartName="/ppt/slideLayouts/slideLayout1982.xml" ContentType="application/vnd.openxmlformats-officedocument.presentationml.slideLayout+xml"/>
  <Override PartName="/ppt/slideLayouts/slideLayout1983.xml" ContentType="application/vnd.openxmlformats-officedocument.presentationml.slideLayout+xml"/>
  <Override PartName="/ppt/slideLayouts/slideLayout1984.xml" ContentType="application/vnd.openxmlformats-officedocument.presentationml.slideLayout+xml"/>
  <Override PartName="/ppt/slideLayouts/slideLayout1985.xml" ContentType="application/vnd.openxmlformats-officedocument.presentationml.slideLayout+xml"/>
  <Override PartName="/ppt/slideLayouts/slideLayout1986.xml" ContentType="application/vnd.openxmlformats-officedocument.presentationml.slideLayout+xml"/>
  <Override PartName="/ppt/slideLayouts/slideLayout1987.xml" ContentType="application/vnd.openxmlformats-officedocument.presentationml.slideLayout+xml"/>
  <Override PartName="/ppt/slideLayouts/slideLayout1988.xml" ContentType="application/vnd.openxmlformats-officedocument.presentationml.slideLayout+xml"/>
  <Override PartName="/ppt/slideLayouts/slideLayout1989.xml" ContentType="application/vnd.openxmlformats-officedocument.presentationml.slideLayout+xml"/>
  <Override PartName="/ppt/slideLayouts/slideLayout1990.xml" ContentType="application/vnd.openxmlformats-officedocument.presentationml.slideLayout+xml"/>
  <Override PartName="/ppt/slideLayouts/slideLayout1991.xml" ContentType="application/vnd.openxmlformats-officedocument.presentationml.slideLayout+xml"/>
  <Override PartName="/ppt/slideLayouts/slideLayout1992.xml" ContentType="application/vnd.openxmlformats-officedocument.presentationml.slideLayout+xml"/>
  <Override PartName="/ppt/slideLayouts/slideLayout1993.xml" ContentType="application/vnd.openxmlformats-officedocument.presentationml.slideLayout+xml"/>
  <Override PartName="/ppt/slideLayouts/slideLayout1994.xml" ContentType="application/vnd.openxmlformats-officedocument.presentationml.slideLayout+xml"/>
  <Override PartName="/ppt/slideLayouts/slideLayout1995.xml" ContentType="application/vnd.openxmlformats-officedocument.presentationml.slideLayout+xml"/>
  <Override PartName="/ppt/slideLayouts/slideLayout1996.xml" ContentType="application/vnd.openxmlformats-officedocument.presentationml.slideLayout+xml"/>
  <Override PartName="/ppt/slideLayouts/slideLayout1997.xml" ContentType="application/vnd.openxmlformats-officedocument.presentationml.slideLayout+xml"/>
  <Override PartName="/ppt/slideLayouts/slideLayout1998.xml" ContentType="application/vnd.openxmlformats-officedocument.presentationml.slideLayout+xml"/>
  <Override PartName="/ppt/slideLayouts/slideLayout1999.xml" ContentType="application/vnd.openxmlformats-officedocument.presentationml.slideLayout+xml"/>
  <Override PartName="/ppt/slideLayouts/slideLayout2000.xml" ContentType="application/vnd.openxmlformats-officedocument.presentationml.slideLayout+xml"/>
  <Override PartName="/ppt/slideLayouts/slideLayout2001.xml" ContentType="application/vnd.openxmlformats-officedocument.presentationml.slideLayout+xml"/>
  <Override PartName="/ppt/slideLayouts/slideLayout2002.xml" ContentType="application/vnd.openxmlformats-officedocument.presentationml.slideLayout+xml"/>
  <Override PartName="/ppt/slideLayouts/slideLayout2003.xml" ContentType="application/vnd.openxmlformats-officedocument.presentationml.slideLayout+xml"/>
  <Override PartName="/ppt/slideLayouts/slideLayout2004.xml" ContentType="application/vnd.openxmlformats-officedocument.presentationml.slideLayout+xml"/>
  <Override PartName="/ppt/slideLayouts/slideLayout2005.xml" ContentType="application/vnd.openxmlformats-officedocument.presentationml.slideLayout+xml"/>
  <Override PartName="/ppt/slideLayouts/slideLayout2006.xml" ContentType="application/vnd.openxmlformats-officedocument.presentationml.slideLayout+xml"/>
  <Override PartName="/ppt/slideLayouts/slideLayout2007.xml" ContentType="application/vnd.openxmlformats-officedocument.presentationml.slideLayout+xml"/>
  <Override PartName="/ppt/slideLayouts/slideLayout2008.xml" ContentType="application/vnd.openxmlformats-officedocument.presentationml.slideLayout+xml"/>
  <Override PartName="/ppt/slideLayouts/slideLayout2009.xml" ContentType="application/vnd.openxmlformats-officedocument.presentationml.slideLayout+xml"/>
  <Override PartName="/ppt/slideLayouts/slideLayout2010.xml" ContentType="application/vnd.openxmlformats-officedocument.presentationml.slideLayout+xml"/>
  <Override PartName="/ppt/slideLayouts/slideLayout2011.xml" ContentType="application/vnd.openxmlformats-officedocument.presentationml.slideLayout+xml"/>
  <Override PartName="/ppt/slideLayouts/slideLayout2012.xml" ContentType="application/vnd.openxmlformats-officedocument.presentationml.slideLayout+xml"/>
  <Override PartName="/ppt/slideLayouts/slideLayout2013.xml" ContentType="application/vnd.openxmlformats-officedocument.presentationml.slideLayout+xml"/>
  <Override PartName="/ppt/slideLayouts/slideLayout2014.xml" ContentType="application/vnd.openxmlformats-officedocument.presentationml.slideLayout+xml"/>
  <Override PartName="/ppt/slideLayouts/slideLayout2015.xml" ContentType="application/vnd.openxmlformats-officedocument.presentationml.slideLayout+xml"/>
  <Override PartName="/ppt/slideLayouts/slideLayout2016.xml" ContentType="application/vnd.openxmlformats-officedocument.presentationml.slideLayout+xml"/>
  <Override PartName="/ppt/slideLayouts/slideLayout2017.xml" ContentType="application/vnd.openxmlformats-officedocument.presentationml.slideLayout+xml"/>
  <Override PartName="/ppt/slideLayouts/slideLayout2018.xml" ContentType="application/vnd.openxmlformats-officedocument.presentationml.slideLayout+xml"/>
  <Override PartName="/ppt/slideLayouts/slideLayout2019.xml" ContentType="application/vnd.openxmlformats-officedocument.presentationml.slideLayout+xml"/>
  <Override PartName="/ppt/slideLayouts/slideLayout2020.xml" ContentType="application/vnd.openxmlformats-officedocument.presentationml.slideLayout+xml"/>
  <Override PartName="/ppt/slideLayouts/slideLayout2021.xml" ContentType="application/vnd.openxmlformats-officedocument.presentationml.slideLayout+xml"/>
  <Override PartName="/ppt/slideLayouts/slideLayout2022.xml" ContentType="application/vnd.openxmlformats-officedocument.presentationml.slideLayout+xml"/>
  <Override PartName="/ppt/slideLayouts/slideLayout2023.xml" ContentType="application/vnd.openxmlformats-officedocument.presentationml.slideLayout+xml"/>
  <Override PartName="/ppt/slideLayouts/slideLayout2024.xml" ContentType="application/vnd.openxmlformats-officedocument.presentationml.slideLayout+xml"/>
  <Override PartName="/ppt/slideLayouts/slideLayout2025.xml" ContentType="application/vnd.openxmlformats-officedocument.presentationml.slideLayout+xml"/>
  <Override PartName="/ppt/slideLayouts/slideLayout2026.xml" ContentType="application/vnd.openxmlformats-officedocument.presentationml.slideLayout+xml"/>
  <Override PartName="/ppt/slideLayouts/slideLayout2027.xml" ContentType="application/vnd.openxmlformats-officedocument.presentationml.slideLayout+xml"/>
  <Override PartName="/ppt/slideLayouts/slideLayout2028.xml" ContentType="application/vnd.openxmlformats-officedocument.presentationml.slideLayout+xml"/>
  <Override PartName="/ppt/slideLayouts/slideLayout2029.xml" ContentType="application/vnd.openxmlformats-officedocument.presentationml.slideLayout+xml"/>
  <Override PartName="/ppt/slideLayouts/slideLayout2030.xml" ContentType="application/vnd.openxmlformats-officedocument.presentationml.slideLayout+xml"/>
  <Override PartName="/ppt/slideLayouts/slideLayout2031.xml" ContentType="application/vnd.openxmlformats-officedocument.presentationml.slideLayout+xml"/>
  <Override PartName="/ppt/slideLayouts/slideLayout2032.xml" ContentType="application/vnd.openxmlformats-officedocument.presentationml.slideLayout+xml"/>
  <Override PartName="/ppt/slideLayouts/slideLayout2033.xml" ContentType="application/vnd.openxmlformats-officedocument.presentationml.slideLayout+xml"/>
  <Override PartName="/ppt/slideLayouts/slideLayout2034.xml" ContentType="application/vnd.openxmlformats-officedocument.presentationml.slideLayout+xml"/>
  <Override PartName="/ppt/slideLayouts/slideLayout2035.xml" ContentType="application/vnd.openxmlformats-officedocument.presentationml.slideLayout+xml"/>
  <Override PartName="/ppt/slideLayouts/slideLayout2036.xml" ContentType="application/vnd.openxmlformats-officedocument.presentationml.slideLayout+xml"/>
  <Override PartName="/ppt/slideLayouts/slideLayout2037.xml" ContentType="application/vnd.openxmlformats-officedocument.presentationml.slideLayout+xml"/>
  <Override PartName="/ppt/slideLayouts/slideLayout2038.xml" ContentType="application/vnd.openxmlformats-officedocument.presentationml.slideLayout+xml"/>
  <Override PartName="/ppt/slideLayouts/slideLayout2039.xml" ContentType="application/vnd.openxmlformats-officedocument.presentationml.slideLayout+xml"/>
  <Override PartName="/ppt/slideLayouts/slideLayout2040.xml" ContentType="application/vnd.openxmlformats-officedocument.presentationml.slideLayout+xml"/>
  <Override PartName="/ppt/slideLayouts/slideLayout2041.xml" ContentType="application/vnd.openxmlformats-officedocument.presentationml.slideLayout+xml"/>
  <Override PartName="/ppt/slideLayouts/slideLayout2042.xml" ContentType="application/vnd.openxmlformats-officedocument.presentationml.slideLayout+xml"/>
  <Override PartName="/ppt/slideLayouts/slideLayout2043.xml" ContentType="application/vnd.openxmlformats-officedocument.presentationml.slideLayout+xml"/>
  <Override PartName="/ppt/slideLayouts/slideLayout2044.xml" ContentType="application/vnd.openxmlformats-officedocument.presentationml.slideLayout+xml"/>
  <Override PartName="/ppt/slideLayouts/slideLayout2045.xml" ContentType="application/vnd.openxmlformats-officedocument.presentationml.slideLayout+xml"/>
  <Override PartName="/ppt/slideLayouts/slideLayout2046.xml" ContentType="application/vnd.openxmlformats-officedocument.presentationml.slideLayout+xml"/>
  <Override PartName="/ppt/slideLayouts/slideLayout2047.xml" ContentType="application/vnd.openxmlformats-officedocument.presentationml.slideLayout+xml"/>
  <Override PartName="/ppt/slideLayouts/slideLayout2048.xml" ContentType="application/vnd.openxmlformats-officedocument.presentationml.slideLayout+xml"/>
  <Override PartName="/ppt/slideLayouts/slideLayout2049.xml" ContentType="application/vnd.openxmlformats-officedocument.presentationml.slideLayout+xml"/>
  <Override PartName="/ppt/slideLayouts/slideLayout2050.xml" ContentType="application/vnd.openxmlformats-officedocument.presentationml.slideLayout+xml"/>
  <Override PartName="/ppt/slideLayouts/slideLayout2051.xml" ContentType="application/vnd.openxmlformats-officedocument.presentationml.slideLayout+xml"/>
  <Override PartName="/ppt/slideLayouts/slideLayout2052.xml" ContentType="application/vnd.openxmlformats-officedocument.presentationml.slideLayout+xml"/>
  <Override PartName="/ppt/slideLayouts/slideLayout2053.xml" ContentType="application/vnd.openxmlformats-officedocument.presentationml.slideLayout+xml"/>
  <Override PartName="/ppt/slideLayouts/slideLayout2054.xml" ContentType="application/vnd.openxmlformats-officedocument.presentationml.slideLayout+xml"/>
  <Override PartName="/ppt/slideLayouts/slideLayout2055.xml" ContentType="application/vnd.openxmlformats-officedocument.presentationml.slideLayout+xml"/>
  <Override PartName="/ppt/slideLayouts/slideLayout2056.xml" ContentType="application/vnd.openxmlformats-officedocument.presentationml.slideLayout+xml"/>
  <Override PartName="/ppt/slideLayouts/slideLayout2057.xml" ContentType="application/vnd.openxmlformats-officedocument.presentationml.slideLayout+xml"/>
  <Override PartName="/ppt/slideLayouts/slideLayout2058.xml" ContentType="application/vnd.openxmlformats-officedocument.presentationml.slideLayout+xml"/>
  <Override PartName="/ppt/slideLayouts/slideLayout2059.xml" ContentType="application/vnd.openxmlformats-officedocument.presentationml.slideLayout+xml"/>
  <Override PartName="/ppt/slideLayouts/slideLayout2060.xml" ContentType="application/vnd.openxmlformats-officedocument.presentationml.slideLayout+xml"/>
  <Override PartName="/ppt/slideLayouts/slideLayout2061.xml" ContentType="application/vnd.openxmlformats-officedocument.presentationml.slideLayout+xml"/>
  <Override PartName="/ppt/slideLayouts/slideLayout2062.xml" ContentType="application/vnd.openxmlformats-officedocument.presentationml.slideLayout+xml"/>
  <Override PartName="/ppt/slideLayouts/slideLayout2063.xml" ContentType="application/vnd.openxmlformats-officedocument.presentationml.slideLayout+xml"/>
  <Override PartName="/ppt/slideLayouts/slideLayout2064.xml" ContentType="application/vnd.openxmlformats-officedocument.presentationml.slideLayout+xml"/>
  <Override PartName="/ppt/slideLayouts/slideLayout2065.xml" ContentType="application/vnd.openxmlformats-officedocument.presentationml.slideLayout+xml"/>
  <Override PartName="/ppt/slideLayouts/slideLayout2066.xml" ContentType="application/vnd.openxmlformats-officedocument.presentationml.slideLayout+xml"/>
  <Override PartName="/ppt/slideLayouts/slideLayout2067.xml" ContentType="application/vnd.openxmlformats-officedocument.presentationml.slideLayout+xml"/>
  <Override PartName="/ppt/slideLayouts/slideLayout2068.xml" ContentType="application/vnd.openxmlformats-officedocument.presentationml.slideLayout+xml"/>
  <Override PartName="/ppt/slideLayouts/slideLayout2069.xml" ContentType="application/vnd.openxmlformats-officedocument.presentationml.slideLayout+xml"/>
  <Override PartName="/ppt/slideLayouts/slideLayout2070.xml" ContentType="application/vnd.openxmlformats-officedocument.presentationml.slideLayout+xml"/>
  <Override PartName="/ppt/slideLayouts/slideLayout2071.xml" ContentType="application/vnd.openxmlformats-officedocument.presentationml.slideLayout+xml"/>
  <Override PartName="/ppt/slideLayouts/slideLayout2072.xml" ContentType="application/vnd.openxmlformats-officedocument.presentationml.slideLayout+xml"/>
  <Override PartName="/ppt/slideLayouts/slideLayout2073.xml" ContentType="application/vnd.openxmlformats-officedocument.presentationml.slideLayout+xml"/>
  <Override PartName="/ppt/slideLayouts/slideLayout2074.xml" ContentType="application/vnd.openxmlformats-officedocument.presentationml.slideLayout+xml"/>
  <Override PartName="/ppt/slideLayouts/slideLayout2075.xml" ContentType="application/vnd.openxmlformats-officedocument.presentationml.slideLayout+xml"/>
  <Override PartName="/ppt/slideLayouts/slideLayout2076.xml" ContentType="application/vnd.openxmlformats-officedocument.presentationml.slideLayout+xml"/>
  <Override PartName="/ppt/slideLayouts/slideLayout2077.xml" ContentType="application/vnd.openxmlformats-officedocument.presentationml.slideLayout+xml"/>
  <Override PartName="/ppt/slideLayouts/slideLayout2078.xml" ContentType="application/vnd.openxmlformats-officedocument.presentationml.slideLayout+xml"/>
  <Override PartName="/ppt/slideLayouts/slideLayout2079.xml" ContentType="application/vnd.openxmlformats-officedocument.presentationml.slideLayout+xml"/>
  <Override PartName="/ppt/slideLayouts/slideLayout2080.xml" ContentType="application/vnd.openxmlformats-officedocument.presentationml.slideLayout+xml"/>
  <Override PartName="/ppt/slideLayouts/slideLayout2081.xml" ContentType="application/vnd.openxmlformats-officedocument.presentationml.slideLayout+xml"/>
  <Override PartName="/ppt/slideLayouts/slideLayout2082.xml" ContentType="application/vnd.openxmlformats-officedocument.presentationml.slideLayout+xml"/>
  <Override PartName="/ppt/theme/theme10.xml" ContentType="application/vnd.openxmlformats-officedocument.theme+xml"/>
  <Override PartName="/ppt/slideLayouts/slideLayout2083.xml" ContentType="application/vnd.openxmlformats-officedocument.presentationml.slideLayout+xml"/>
  <Override PartName="/ppt/slideLayouts/slideLayout2084.xml" ContentType="application/vnd.openxmlformats-officedocument.presentationml.slideLayout+xml"/>
  <Override PartName="/ppt/slideLayouts/slideLayout2085.xml" ContentType="application/vnd.openxmlformats-officedocument.presentationml.slideLayout+xml"/>
  <Override PartName="/ppt/slideLayouts/slideLayout2086.xml" ContentType="application/vnd.openxmlformats-officedocument.presentationml.slideLayout+xml"/>
  <Override PartName="/ppt/slideLayouts/slideLayout2087.xml" ContentType="application/vnd.openxmlformats-officedocument.presentationml.slideLayout+xml"/>
  <Override PartName="/ppt/slideLayouts/slideLayout2088.xml" ContentType="application/vnd.openxmlformats-officedocument.presentationml.slideLayout+xml"/>
  <Override PartName="/ppt/slideLayouts/slideLayout2089.xml" ContentType="application/vnd.openxmlformats-officedocument.presentationml.slideLayout+xml"/>
  <Override PartName="/ppt/slideLayouts/slideLayout2090.xml" ContentType="application/vnd.openxmlformats-officedocument.presentationml.slideLayout+xml"/>
  <Override PartName="/ppt/slideLayouts/slideLayout2091.xml" ContentType="application/vnd.openxmlformats-officedocument.presentationml.slideLayout+xml"/>
  <Override PartName="/ppt/slideLayouts/slideLayout2092.xml" ContentType="application/vnd.openxmlformats-officedocument.presentationml.slideLayout+xml"/>
  <Override PartName="/ppt/slideLayouts/slideLayout2093.xml" ContentType="application/vnd.openxmlformats-officedocument.presentationml.slideLayout+xml"/>
  <Override PartName="/ppt/theme/theme11.xml" ContentType="application/vnd.openxmlformats-officedocument.theme+xml"/>
  <Override PartName="/ppt/slideLayouts/slideLayout2094.xml" ContentType="application/vnd.openxmlformats-officedocument.presentationml.slideLayout+xml"/>
  <Override PartName="/ppt/slideLayouts/slideLayout2095.xml" ContentType="application/vnd.openxmlformats-officedocument.presentationml.slideLayout+xml"/>
  <Override PartName="/ppt/slideLayouts/slideLayout2096.xml" ContentType="application/vnd.openxmlformats-officedocument.presentationml.slideLayout+xml"/>
  <Override PartName="/ppt/slideLayouts/slideLayout2097.xml" ContentType="application/vnd.openxmlformats-officedocument.presentationml.slideLayout+xml"/>
  <Override PartName="/ppt/slideLayouts/slideLayout2098.xml" ContentType="application/vnd.openxmlformats-officedocument.presentationml.slideLayout+xml"/>
  <Override PartName="/ppt/slideLayouts/slideLayout2099.xml" ContentType="application/vnd.openxmlformats-officedocument.presentationml.slideLayout+xml"/>
  <Override PartName="/ppt/slideLayouts/slideLayout2100.xml" ContentType="application/vnd.openxmlformats-officedocument.presentationml.slideLayout+xml"/>
  <Override PartName="/ppt/slideLayouts/slideLayout2101.xml" ContentType="application/vnd.openxmlformats-officedocument.presentationml.slideLayout+xml"/>
  <Override PartName="/ppt/slideLayouts/slideLayout2102.xml" ContentType="application/vnd.openxmlformats-officedocument.presentationml.slideLayout+xml"/>
  <Override PartName="/ppt/slideLayouts/slideLayout2103.xml" ContentType="application/vnd.openxmlformats-officedocument.presentationml.slideLayout+xml"/>
  <Override PartName="/ppt/slideLayouts/slideLayout2104.xml" ContentType="application/vnd.openxmlformats-officedocument.presentationml.slideLayout+xml"/>
  <Override PartName="/ppt/slideLayouts/slideLayout2105.xml" ContentType="application/vnd.openxmlformats-officedocument.presentationml.slideLayout+xml"/>
  <Override PartName="/ppt/slideLayouts/slideLayout2106.xml" ContentType="application/vnd.openxmlformats-officedocument.presentationml.slideLayout+xml"/>
  <Override PartName="/ppt/slideLayouts/slideLayout2107.xml" ContentType="application/vnd.openxmlformats-officedocument.presentationml.slideLayout+xml"/>
  <Override PartName="/ppt/slideLayouts/slideLayout2108.xml" ContentType="application/vnd.openxmlformats-officedocument.presentationml.slideLayout+xml"/>
  <Override PartName="/ppt/slideLayouts/slideLayout2109.xml" ContentType="application/vnd.openxmlformats-officedocument.presentationml.slideLayout+xml"/>
  <Override PartName="/ppt/slideLayouts/slideLayout2110.xml" ContentType="application/vnd.openxmlformats-officedocument.presentationml.slideLayout+xml"/>
  <Override PartName="/ppt/slideLayouts/slideLayout2111.xml" ContentType="application/vnd.openxmlformats-officedocument.presentationml.slideLayout+xml"/>
  <Override PartName="/ppt/slideLayouts/slideLayout2112.xml" ContentType="application/vnd.openxmlformats-officedocument.presentationml.slideLayout+xml"/>
  <Override PartName="/ppt/slideLayouts/slideLayout2113.xml" ContentType="application/vnd.openxmlformats-officedocument.presentationml.slideLayout+xml"/>
  <Override PartName="/ppt/slideLayouts/slideLayout2114.xml" ContentType="application/vnd.openxmlformats-officedocument.presentationml.slideLayout+xml"/>
  <Override PartName="/ppt/slideLayouts/slideLayout2115.xml" ContentType="application/vnd.openxmlformats-officedocument.presentationml.slideLayout+xml"/>
  <Override PartName="/ppt/slideLayouts/slideLayout2116.xml" ContentType="application/vnd.openxmlformats-officedocument.presentationml.slideLayout+xml"/>
  <Override PartName="/ppt/slideLayouts/slideLayout2117.xml" ContentType="application/vnd.openxmlformats-officedocument.presentationml.slideLayout+xml"/>
  <Override PartName="/ppt/slideLayouts/slideLayout2118.xml" ContentType="application/vnd.openxmlformats-officedocument.presentationml.slideLayout+xml"/>
  <Override PartName="/ppt/slideLayouts/slideLayout2119.xml" ContentType="application/vnd.openxmlformats-officedocument.presentationml.slideLayout+xml"/>
  <Override PartName="/ppt/slideLayouts/slideLayout2120.xml" ContentType="application/vnd.openxmlformats-officedocument.presentationml.slideLayout+xml"/>
  <Override PartName="/ppt/slideLayouts/slideLayout2121.xml" ContentType="application/vnd.openxmlformats-officedocument.presentationml.slideLayout+xml"/>
  <Override PartName="/ppt/slideLayouts/slideLayout2122.xml" ContentType="application/vnd.openxmlformats-officedocument.presentationml.slideLayout+xml"/>
  <Override PartName="/ppt/slideLayouts/slideLayout2123.xml" ContentType="application/vnd.openxmlformats-officedocument.presentationml.slideLayout+xml"/>
  <Override PartName="/ppt/slideLayouts/slideLayout2124.xml" ContentType="application/vnd.openxmlformats-officedocument.presentationml.slideLayout+xml"/>
  <Override PartName="/ppt/slideLayouts/slideLayout2125.xml" ContentType="application/vnd.openxmlformats-officedocument.presentationml.slideLayout+xml"/>
  <Override PartName="/ppt/slideLayouts/slideLayout2126.xml" ContentType="application/vnd.openxmlformats-officedocument.presentationml.slideLayout+xml"/>
  <Override PartName="/ppt/slideLayouts/slideLayout2127.xml" ContentType="application/vnd.openxmlformats-officedocument.presentationml.slideLayout+xml"/>
  <Override PartName="/ppt/slideLayouts/slideLayout2128.xml" ContentType="application/vnd.openxmlformats-officedocument.presentationml.slideLayout+xml"/>
  <Override PartName="/ppt/slideLayouts/slideLayout2129.xml" ContentType="application/vnd.openxmlformats-officedocument.presentationml.slideLayout+xml"/>
  <Override PartName="/ppt/slideLayouts/slideLayout2130.xml" ContentType="application/vnd.openxmlformats-officedocument.presentationml.slideLayout+xml"/>
  <Override PartName="/ppt/slideLayouts/slideLayout2131.xml" ContentType="application/vnd.openxmlformats-officedocument.presentationml.slideLayout+xml"/>
  <Override PartName="/ppt/slideLayouts/slideLayout2132.xml" ContentType="application/vnd.openxmlformats-officedocument.presentationml.slideLayout+xml"/>
  <Override PartName="/ppt/slideLayouts/slideLayout2133.xml" ContentType="application/vnd.openxmlformats-officedocument.presentationml.slideLayout+xml"/>
  <Override PartName="/ppt/slideLayouts/slideLayout2134.xml" ContentType="application/vnd.openxmlformats-officedocument.presentationml.slideLayout+xml"/>
  <Override PartName="/ppt/slideLayouts/slideLayout2135.xml" ContentType="application/vnd.openxmlformats-officedocument.presentationml.slideLayout+xml"/>
  <Override PartName="/ppt/slideLayouts/slideLayout2136.xml" ContentType="application/vnd.openxmlformats-officedocument.presentationml.slideLayout+xml"/>
  <Override PartName="/ppt/slideLayouts/slideLayout2137.xml" ContentType="application/vnd.openxmlformats-officedocument.presentationml.slideLayout+xml"/>
  <Override PartName="/ppt/slideLayouts/slideLayout2138.xml" ContentType="application/vnd.openxmlformats-officedocument.presentationml.slideLayout+xml"/>
  <Override PartName="/ppt/slideLayouts/slideLayout2139.xml" ContentType="application/vnd.openxmlformats-officedocument.presentationml.slideLayout+xml"/>
  <Override PartName="/ppt/slideLayouts/slideLayout2140.xml" ContentType="application/vnd.openxmlformats-officedocument.presentationml.slideLayout+xml"/>
  <Override PartName="/ppt/slideLayouts/slideLayout2141.xml" ContentType="application/vnd.openxmlformats-officedocument.presentationml.slideLayout+xml"/>
  <Override PartName="/ppt/slideLayouts/slideLayout2142.xml" ContentType="application/vnd.openxmlformats-officedocument.presentationml.slideLayout+xml"/>
  <Override PartName="/ppt/slideLayouts/slideLayout2143.xml" ContentType="application/vnd.openxmlformats-officedocument.presentationml.slideLayout+xml"/>
  <Override PartName="/ppt/slideLayouts/slideLayout2144.xml" ContentType="application/vnd.openxmlformats-officedocument.presentationml.slideLayout+xml"/>
  <Override PartName="/ppt/slideLayouts/slideLayout2145.xml" ContentType="application/vnd.openxmlformats-officedocument.presentationml.slideLayout+xml"/>
  <Override PartName="/ppt/slideLayouts/slideLayout2146.xml" ContentType="application/vnd.openxmlformats-officedocument.presentationml.slideLayout+xml"/>
  <Override PartName="/ppt/slideLayouts/slideLayout2147.xml" ContentType="application/vnd.openxmlformats-officedocument.presentationml.slideLayout+xml"/>
  <Override PartName="/ppt/slideLayouts/slideLayout2148.xml" ContentType="application/vnd.openxmlformats-officedocument.presentationml.slideLayout+xml"/>
  <Override PartName="/ppt/slideLayouts/slideLayout2149.xml" ContentType="application/vnd.openxmlformats-officedocument.presentationml.slideLayout+xml"/>
  <Override PartName="/ppt/theme/theme12.xml" ContentType="application/vnd.openxmlformats-officedocument.theme+xml"/>
  <Override PartName="/ppt/slideLayouts/slideLayout2150.xml" ContentType="application/vnd.openxmlformats-officedocument.presentationml.slideLayout+xml"/>
  <Override PartName="/ppt/slideLayouts/slideLayout2151.xml" ContentType="application/vnd.openxmlformats-officedocument.presentationml.slideLayout+xml"/>
  <Override PartName="/ppt/slideLayouts/slideLayout2152.xml" ContentType="application/vnd.openxmlformats-officedocument.presentationml.slideLayout+xml"/>
  <Override PartName="/ppt/slideLayouts/slideLayout2153.xml" ContentType="application/vnd.openxmlformats-officedocument.presentationml.slideLayout+xml"/>
  <Override PartName="/ppt/slideLayouts/slideLayout2154.xml" ContentType="application/vnd.openxmlformats-officedocument.presentationml.slideLayout+xml"/>
  <Override PartName="/ppt/slideLayouts/slideLayout2155.xml" ContentType="application/vnd.openxmlformats-officedocument.presentationml.slideLayout+xml"/>
  <Override PartName="/ppt/slideLayouts/slideLayout2156.xml" ContentType="application/vnd.openxmlformats-officedocument.presentationml.slideLayout+xml"/>
  <Override PartName="/ppt/slideLayouts/slideLayout2157.xml" ContentType="application/vnd.openxmlformats-officedocument.presentationml.slideLayout+xml"/>
  <Override PartName="/ppt/slideLayouts/slideLayout2158.xml" ContentType="application/vnd.openxmlformats-officedocument.presentationml.slideLayout+xml"/>
  <Override PartName="/ppt/slideLayouts/slideLayout2159.xml" ContentType="application/vnd.openxmlformats-officedocument.presentationml.slideLayout+xml"/>
  <Override PartName="/ppt/slideLayouts/slideLayout2160.xml" ContentType="application/vnd.openxmlformats-officedocument.presentationml.slideLayout+xml"/>
  <Override PartName="/ppt/slideLayouts/slideLayout2161.xml" ContentType="application/vnd.openxmlformats-officedocument.presentationml.slideLayout+xml"/>
  <Override PartName="/ppt/slideLayouts/slideLayout2162.xml" ContentType="application/vnd.openxmlformats-officedocument.presentationml.slideLayout+xml"/>
  <Override PartName="/ppt/slideLayouts/slideLayout2163.xml" ContentType="application/vnd.openxmlformats-officedocument.presentationml.slideLayout+xml"/>
  <Override PartName="/ppt/slideLayouts/slideLayout2164.xml" ContentType="application/vnd.openxmlformats-officedocument.presentationml.slideLayout+xml"/>
  <Override PartName="/ppt/slideLayouts/slideLayout2165.xml" ContentType="application/vnd.openxmlformats-officedocument.presentationml.slideLayout+xml"/>
  <Override PartName="/ppt/slideLayouts/slideLayout2166.xml" ContentType="application/vnd.openxmlformats-officedocument.presentationml.slideLayout+xml"/>
  <Override PartName="/ppt/slideLayouts/slideLayout2167.xml" ContentType="application/vnd.openxmlformats-officedocument.presentationml.slideLayout+xml"/>
  <Override PartName="/ppt/slideLayouts/slideLayout2168.xml" ContentType="application/vnd.openxmlformats-officedocument.presentationml.slideLayout+xml"/>
  <Override PartName="/ppt/slideLayouts/slideLayout2169.xml" ContentType="application/vnd.openxmlformats-officedocument.presentationml.slideLayout+xml"/>
  <Override PartName="/ppt/slideLayouts/slideLayout2170.xml" ContentType="application/vnd.openxmlformats-officedocument.presentationml.slideLayout+xml"/>
  <Override PartName="/ppt/slideLayouts/slideLayout2171.xml" ContentType="application/vnd.openxmlformats-officedocument.presentationml.slideLayout+xml"/>
  <Override PartName="/ppt/slideLayouts/slideLayout2172.xml" ContentType="application/vnd.openxmlformats-officedocument.presentationml.slideLayout+xml"/>
  <Override PartName="/ppt/slideLayouts/slideLayout2173.xml" ContentType="application/vnd.openxmlformats-officedocument.presentationml.slideLayout+xml"/>
  <Override PartName="/ppt/slideLayouts/slideLayout2174.xml" ContentType="application/vnd.openxmlformats-officedocument.presentationml.slideLayout+xml"/>
  <Override PartName="/ppt/slideLayouts/slideLayout2175.xml" ContentType="application/vnd.openxmlformats-officedocument.presentationml.slideLayout+xml"/>
  <Override PartName="/ppt/slideLayouts/slideLayout2176.xml" ContentType="application/vnd.openxmlformats-officedocument.presentationml.slideLayout+xml"/>
  <Override PartName="/ppt/slideLayouts/slideLayout2177.xml" ContentType="application/vnd.openxmlformats-officedocument.presentationml.slideLayout+xml"/>
  <Override PartName="/ppt/slideLayouts/slideLayout2178.xml" ContentType="application/vnd.openxmlformats-officedocument.presentationml.slideLayout+xml"/>
  <Override PartName="/ppt/slideLayouts/slideLayout2179.xml" ContentType="application/vnd.openxmlformats-officedocument.presentationml.slideLayout+xml"/>
  <Override PartName="/ppt/slideLayouts/slideLayout2180.xml" ContentType="application/vnd.openxmlformats-officedocument.presentationml.slideLayout+xml"/>
  <Override PartName="/ppt/slideLayouts/slideLayout2181.xml" ContentType="application/vnd.openxmlformats-officedocument.presentationml.slideLayout+xml"/>
  <Override PartName="/ppt/slideLayouts/slideLayout2182.xml" ContentType="application/vnd.openxmlformats-officedocument.presentationml.slideLayout+xml"/>
  <Override PartName="/ppt/slideLayouts/slideLayout2183.xml" ContentType="application/vnd.openxmlformats-officedocument.presentationml.slideLayout+xml"/>
  <Override PartName="/ppt/slideLayouts/slideLayout2184.xml" ContentType="application/vnd.openxmlformats-officedocument.presentationml.slideLayout+xml"/>
  <Override PartName="/ppt/slideLayouts/slideLayout2185.xml" ContentType="application/vnd.openxmlformats-officedocument.presentationml.slideLayout+xml"/>
  <Override PartName="/ppt/slideLayouts/slideLayout2186.xml" ContentType="application/vnd.openxmlformats-officedocument.presentationml.slideLayout+xml"/>
  <Override PartName="/ppt/slideLayouts/slideLayout2187.xml" ContentType="application/vnd.openxmlformats-officedocument.presentationml.slideLayout+xml"/>
  <Override PartName="/ppt/slideLayouts/slideLayout2188.xml" ContentType="application/vnd.openxmlformats-officedocument.presentationml.slideLayout+xml"/>
  <Override PartName="/ppt/slideLayouts/slideLayout2189.xml" ContentType="application/vnd.openxmlformats-officedocument.presentationml.slideLayout+xml"/>
  <Override PartName="/ppt/slideLayouts/slideLayout2190.xml" ContentType="application/vnd.openxmlformats-officedocument.presentationml.slideLayout+xml"/>
  <Override PartName="/ppt/slideLayouts/slideLayout2191.xml" ContentType="application/vnd.openxmlformats-officedocument.presentationml.slideLayout+xml"/>
  <Override PartName="/ppt/slideLayouts/slideLayout2192.xml" ContentType="application/vnd.openxmlformats-officedocument.presentationml.slideLayout+xml"/>
  <Override PartName="/ppt/slideLayouts/slideLayout2193.xml" ContentType="application/vnd.openxmlformats-officedocument.presentationml.slideLayout+xml"/>
  <Override PartName="/ppt/slideLayouts/slideLayout2194.xml" ContentType="application/vnd.openxmlformats-officedocument.presentationml.slideLayout+xml"/>
  <Override PartName="/ppt/slideLayouts/slideLayout2195.xml" ContentType="application/vnd.openxmlformats-officedocument.presentationml.slideLayout+xml"/>
  <Override PartName="/ppt/slideLayouts/slideLayout2196.xml" ContentType="application/vnd.openxmlformats-officedocument.presentationml.slideLayout+xml"/>
  <Override PartName="/ppt/slideLayouts/slideLayout2197.xml" ContentType="application/vnd.openxmlformats-officedocument.presentationml.slideLayout+xml"/>
  <Override PartName="/ppt/slideLayouts/slideLayout2198.xml" ContentType="application/vnd.openxmlformats-officedocument.presentationml.slideLayout+xml"/>
  <Override PartName="/ppt/slideLayouts/slideLayout2199.xml" ContentType="application/vnd.openxmlformats-officedocument.presentationml.slideLayout+xml"/>
  <Override PartName="/ppt/slideLayouts/slideLayout2200.xml" ContentType="application/vnd.openxmlformats-officedocument.presentationml.slideLayout+xml"/>
  <Override PartName="/ppt/slideLayouts/slideLayout2201.xml" ContentType="application/vnd.openxmlformats-officedocument.presentationml.slideLayout+xml"/>
  <Override PartName="/ppt/slideLayouts/slideLayout2202.xml" ContentType="application/vnd.openxmlformats-officedocument.presentationml.slideLayout+xml"/>
  <Override PartName="/ppt/slideLayouts/slideLayout2203.xml" ContentType="application/vnd.openxmlformats-officedocument.presentationml.slideLayout+xml"/>
  <Override PartName="/ppt/slideLayouts/slideLayout2204.xml" ContentType="application/vnd.openxmlformats-officedocument.presentationml.slideLayout+xml"/>
  <Override PartName="/ppt/slideLayouts/slideLayout2205.xml" ContentType="application/vnd.openxmlformats-officedocument.presentationml.slideLayout+xml"/>
  <Override PartName="/ppt/slideLayouts/slideLayout2206.xml" ContentType="application/vnd.openxmlformats-officedocument.presentationml.slideLayout+xml"/>
  <Override PartName="/ppt/slideLayouts/slideLayout2207.xml" ContentType="application/vnd.openxmlformats-officedocument.presentationml.slideLayout+xml"/>
  <Override PartName="/ppt/slideLayouts/slideLayout2208.xml" ContentType="application/vnd.openxmlformats-officedocument.presentationml.slideLayout+xml"/>
  <Override PartName="/ppt/slideLayouts/slideLayout2209.xml" ContentType="application/vnd.openxmlformats-officedocument.presentationml.slideLayout+xml"/>
  <Override PartName="/ppt/slideLayouts/slideLayout2210.xml" ContentType="application/vnd.openxmlformats-officedocument.presentationml.slideLayout+xml"/>
  <Override PartName="/ppt/slideLayouts/slideLayout2211.xml" ContentType="application/vnd.openxmlformats-officedocument.presentationml.slideLayout+xml"/>
  <Override PartName="/ppt/slideLayouts/slideLayout2212.xml" ContentType="application/vnd.openxmlformats-officedocument.presentationml.slideLayout+xml"/>
  <Override PartName="/ppt/slideLayouts/slideLayout2213.xml" ContentType="application/vnd.openxmlformats-officedocument.presentationml.slideLayout+xml"/>
  <Override PartName="/ppt/slideLayouts/slideLayout2214.xml" ContentType="application/vnd.openxmlformats-officedocument.presentationml.slideLayout+xml"/>
  <Override PartName="/ppt/slideLayouts/slideLayout2215.xml" ContentType="application/vnd.openxmlformats-officedocument.presentationml.slideLayout+xml"/>
  <Override PartName="/ppt/slideLayouts/slideLayout2216.xml" ContentType="application/vnd.openxmlformats-officedocument.presentationml.slideLayout+xml"/>
  <Override PartName="/ppt/slideLayouts/slideLayout2217.xml" ContentType="application/vnd.openxmlformats-officedocument.presentationml.slideLayout+xml"/>
  <Override PartName="/ppt/slideLayouts/slideLayout2218.xml" ContentType="application/vnd.openxmlformats-officedocument.presentationml.slideLayout+xml"/>
  <Override PartName="/ppt/slideLayouts/slideLayout2219.xml" ContentType="application/vnd.openxmlformats-officedocument.presentationml.slideLayout+xml"/>
  <Override PartName="/ppt/slideLayouts/slideLayout2220.xml" ContentType="application/vnd.openxmlformats-officedocument.presentationml.slideLayout+xml"/>
  <Override PartName="/ppt/slideLayouts/slideLayout2221.xml" ContentType="application/vnd.openxmlformats-officedocument.presentationml.slideLayout+xml"/>
  <Override PartName="/ppt/slideLayouts/slideLayout2222.xml" ContentType="application/vnd.openxmlformats-officedocument.presentationml.slideLayout+xml"/>
  <Override PartName="/ppt/slideLayouts/slideLayout2223.xml" ContentType="application/vnd.openxmlformats-officedocument.presentationml.slideLayout+xml"/>
  <Override PartName="/ppt/slideLayouts/slideLayout2224.xml" ContentType="application/vnd.openxmlformats-officedocument.presentationml.slideLayout+xml"/>
  <Override PartName="/ppt/slideLayouts/slideLayout2225.xml" ContentType="application/vnd.openxmlformats-officedocument.presentationml.slideLayout+xml"/>
  <Override PartName="/ppt/slideLayouts/slideLayout2226.xml" ContentType="application/vnd.openxmlformats-officedocument.presentationml.slideLayout+xml"/>
  <Override PartName="/ppt/slideLayouts/slideLayout2227.xml" ContentType="application/vnd.openxmlformats-officedocument.presentationml.slideLayout+xml"/>
  <Override PartName="/ppt/slideLayouts/slideLayout2228.xml" ContentType="application/vnd.openxmlformats-officedocument.presentationml.slideLayout+xml"/>
  <Override PartName="/ppt/slideLayouts/slideLayout2229.xml" ContentType="application/vnd.openxmlformats-officedocument.presentationml.slideLayout+xml"/>
  <Override PartName="/ppt/slideLayouts/slideLayout2230.xml" ContentType="application/vnd.openxmlformats-officedocument.presentationml.slideLayout+xml"/>
  <Override PartName="/ppt/slideLayouts/slideLayout2231.xml" ContentType="application/vnd.openxmlformats-officedocument.presentationml.slideLayout+xml"/>
  <Override PartName="/ppt/slideLayouts/slideLayout2232.xml" ContentType="application/vnd.openxmlformats-officedocument.presentationml.slideLayout+xml"/>
  <Override PartName="/ppt/slideLayouts/slideLayout2233.xml" ContentType="application/vnd.openxmlformats-officedocument.presentationml.slideLayout+xml"/>
  <Override PartName="/ppt/slideLayouts/slideLayout2234.xml" ContentType="application/vnd.openxmlformats-officedocument.presentationml.slideLayout+xml"/>
  <Override PartName="/ppt/slideLayouts/slideLayout2235.xml" ContentType="application/vnd.openxmlformats-officedocument.presentationml.slideLayout+xml"/>
  <Override PartName="/ppt/slideLayouts/slideLayout2236.xml" ContentType="application/vnd.openxmlformats-officedocument.presentationml.slideLayout+xml"/>
  <Override PartName="/ppt/slideLayouts/slideLayout2237.xml" ContentType="application/vnd.openxmlformats-officedocument.presentationml.slideLayout+xml"/>
  <Override PartName="/ppt/slideLayouts/slideLayout2238.xml" ContentType="application/vnd.openxmlformats-officedocument.presentationml.slideLayout+xml"/>
  <Override PartName="/ppt/slideLayouts/slideLayout2239.xml" ContentType="application/vnd.openxmlformats-officedocument.presentationml.slideLayout+xml"/>
  <Override PartName="/ppt/slideLayouts/slideLayout2240.xml" ContentType="application/vnd.openxmlformats-officedocument.presentationml.slideLayout+xml"/>
  <Override PartName="/ppt/slideLayouts/slideLayout2241.xml" ContentType="application/vnd.openxmlformats-officedocument.presentationml.slideLayout+xml"/>
  <Override PartName="/ppt/slideLayouts/slideLayout2242.xml" ContentType="application/vnd.openxmlformats-officedocument.presentationml.slideLayout+xml"/>
  <Override PartName="/ppt/slideLayouts/slideLayout2243.xml" ContentType="application/vnd.openxmlformats-officedocument.presentationml.slideLayout+xml"/>
  <Override PartName="/ppt/slideLayouts/slideLayout2244.xml" ContentType="application/vnd.openxmlformats-officedocument.presentationml.slideLayout+xml"/>
  <Override PartName="/ppt/slideLayouts/slideLayout2245.xml" ContentType="application/vnd.openxmlformats-officedocument.presentationml.slideLayout+xml"/>
  <Override PartName="/ppt/slideLayouts/slideLayout2246.xml" ContentType="application/vnd.openxmlformats-officedocument.presentationml.slideLayout+xml"/>
  <Override PartName="/ppt/slideLayouts/slideLayout2247.xml" ContentType="application/vnd.openxmlformats-officedocument.presentationml.slideLayout+xml"/>
  <Override PartName="/ppt/slideLayouts/slideLayout2248.xml" ContentType="application/vnd.openxmlformats-officedocument.presentationml.slideLayout+xml"/>
  <Override PartName="/ppt/slideLayouts/slideLayout2249.xml" ContentType="application/vnd.openxmlformats-officedocument.presentationml.slideLayout+xml"/>
  <Override PartName="/ppt/slideLayouts/slideLayout2250.xml" ContentType="application/vnd.openxmlformats-officedocument.presentationml.slideLayout+xml"/>
  <Override PartName="/ppt/slideLayouts/slideLayout2251.xml" ContentType="application/vnd.openxmlformats-officedocument.presentationml.slideLayout+xml"/>
  <Override PartName="/ppt/slideLayouts/slideLayout2252.xml" ContentType="application/vnd.openxmlformats-officedocument.presentationml.slideLayout+xml"/>
  <Override PartName="/ppt/slideLayouts/slideLayout2253.xml" ContentType="application/vnd.openxmlformats-officedocument.presentationml.slideLayout+xml"/>
  <Override PartName="/ppt/slideLayouts/slideLayout2254.xml" ContentType="application/vnd.openxmlformats-officedocument.presentationml.slideLayout+xml"/>
  <Override PartName="/ppt/slideLayouts/slideLayout2255.xml" ContentType="application/vnd.openxmlformats-officedocument.presentationml.slideLayout+xml"/>
  <Override PartName="/ppt/slideLayouts/slideLayout2256.xml" ContentType="application/vnd.openxmlformats-officedocument.presentationml.slideLayout+xml"/>
  <Override PartName="/ppt/slideLayouts/slideLayout2257.xml" ContentType="application/vnd.openxmlformats-officedocument.presentationml.slideLayout+xml"/>
  <Override PartName="/ppt/slideLayouts/slideLayout2258.xml" ContentType="application/vnd.openxmlformats-officedocument.presentationml.slideLayout+xml"/>
  <Override PartName="/ppt/slideLayouts/slideLayout2259.xml" ContentType="application/vnd.openxmlformats-officedocument.presentationml.slideLayout+xml"/>
  <Override PartName="/ppt/slideLayouts/slideLayout2260.xml" ContentType="application/vnd.openxmlformats-officedocument.presentationml.slideLayout+xml"/>
  <Override PartName="/ppt/slideLayouts/slideLayout2261.xml" ContentType="application/vnd.openxmlformats-officedocument.presentationml.slideLayout+xml"/>
  <Override PartName="/ppt/slideLayouts/slideLayout2262.xml" ContentType="application/vnd.openxmlformats-officedocument.presentationml.slideLayout+xml"/>
  <Override PartName="/ppt/slideLayouts/slideLayout2263.xml" ContentType="application/vnd.openxmlformats-officedocument.presentationml.slideLayout+xml"/>
  <Override PartName="/ppt/slideLayouts/slideLayout2264.xml" ContentType="application/vnd.openxmlformats-officedocument.presentationml.slideLayout+xml"/>
  <Override PartName="/ppt/slideLayouts/slideLayout2265.xml" ContentType="application/vnd.openxmlformats-officedocument.presentationml.slideLayout+xml"/>
  <Override PartName="/ppt/slideLayouts/slideLayout2266.xml" ContentType="application/vnd.openxmlformats-officedocument.presentationml.slideLayout+xml"/>
  <Override PartName="/ppt/slideLayouts/slideLayout2267.xml" ContentType="application/vnd.openxmlformats-officedocument.presentationml.slideLayout+xml"/>
  <Override PartName="/ppt/slideLayouts/slideLayout2268.xml" ContentType="application/vnd.openxmlformats-officedocument.presentationml.slideLayout+xml"/>
  <Override PartName="/ppt/slideLayouts/slideLayout2269.xml" ContentType="application/vnd.openxmlformats-officedocument.presentationml.slideLayout+xml"/>
  <Override PartName="/ppt/slideLayouts/slideLayout2270.xml" ContentType="application/vnd.openxmlformats-officedocument.presentationml.slideLayout+xml"/>
  <Override PartName="/ppt/slideLayouts/slideLayout2271.xml" ContentType="application/vnd.openxmlformats-officedocument.presentationml.slideLayout+xml"/>
  <Override PartName="/ppt/slideLayouts/slideLayout2272.xml" ContentType="application/vnd.openxmlformats-officedocument.presentationml.slideLayout+xml"/>
  <Override PartName="/ppt/slideLayouts/slideLayout2273.xml" ContentType="application/vnd.openxmlformats-officedocument.presentationml.slideLayout+xml"/>
  <Override PartName="/ppt/slideLayouts/slideLayout2274.xml" ContentType="application/vnd.openxmlformats-officedocument.presentationml.slideLayout+xml"/>
  <Override PartName="/ppt/slideLayouts/slideLayout2275.xml" ContentType="application/vnd.openxmlformats-officedocument.presentationml.slideLayout+xml"/>
  <Override PartName="/ppt/slideLayouts/slideLayout2276.xml" ContentType="application/vnd.openxmlformats-officedocument.presentationml.slideLayout+xml"/>
  <Override PartName="/ppt/slideLayouts/slideLayout2277.xml" ContentType="application/vnd.openxmlformats-officedocument.presentationml.slideLayout+xml"/>
  <Override PartName="/ppt/slideLayouts/slideLayout2278.xml" ContentType="application/vnd.openxmlformats-officedocument.presentationml.slideLayout+xml"/>
  <Override PartName="/ppt/slideLayouts/slideLayout2279.xml" ContentType="application/vnd.openxmlformats-officedocument.presentationml.slideLayout+xml"/>
  <Override PartName="/ppt/slideLayouts/slideLayout2280.xml" ContentType="application/vnd.openxmlformats-officedocument.presentationml.slideLayout+xml"/>
  <Override PartName="/ppt/slideLayouts/slideLayout2281.xml" ContentType="application/vnd.openxmlformats-officedocument.presentationml.slideLayout+xml"/>
  <Override PartName="/ppt/slideLayouts/slideLayout2282.xml" ContentType="application/vnd.openxmlformats-officedocument.presentationml.slideLayout+xml"/>
  <Override PartName="/ppt/slideLayouts/slideLayout2283.xml" ContentType="application/vnd.openxmlformats-officedocument.presentationml.slideLayout+xml"/>
  <Override PartName="/ppt/slideLayouts/slideLayout2284.xml" ContentType="application/vnd.openxmlformats-officedocument.presentationml.slideLayout+xml"/>
  <Override PartName="/ppt/slideLayouts/slideLayout2285.xml" ContentType="application/vnd.openxmlformats-officedocument.presentationml.slideLayout+xml"/>
  <Override PartName="/ppt/slideLayouts/slideLayout2286.xml" ContentType="application/vnd.openxmlformats-officedocument.presentationml.slideLayout+xml"/>
  <Override PartName="/ppt/slideLayouts/slideLayout2287.xml" ContentType="application/vnd.openxmlformats-officedocument.presentationml.slideLayout+xml"/>
  <Override PartName="/ppt/slideLayouts/slideLayout2288.xml" ContentType="application/vnd.openxmlformats-officedocument.presentationml.slideLayout+xml"/>
  <Override PartName="/ppt/slideLayouts/slideLayout2289.xml" ContentType="application/vnd.openxmlformats-officedocument.presentationml.slideLayout+xml"/>
  <Override PartName="/ppt/slideLayouts/slideLayout2290.xml" ContentType="application/vnd.openxmlformats-officedocument.presentationml.slideLayout+xml"/>
  <Override PartName="/ppt/slideLayouts/slideLayout2291.xml" ContentType="application/vnd.openxmlformats-officedocument.presentationml.slideLayout+xml"/>
  <Override PartName="/ppt/slideLayouts/slideLayout2292.xml" ContentType="application/vnd.openxmlformats-officedocument.presentationml.slideLayout+xml"/>
  <Override PartName="/ppt/slideLayouts/slideLayout2293.xml" ContentType="application/vnd.openxmlformats-officedocument.presentationml.slideLayout+xml"/>
  <Override PartName="/ppt/slideLayouts/slideLayout2294.xml" ContentType="application/vnd.openxmlformats-officedocument.presentationml.slideLayout+xml"/>
  <Override PartName="/ppt/slideLayouts/slideLayout2295.xml" ContentType="application/vnd.openxmlformats-officedocument.presentationml.slideLayout+xml"/>
  <Override PartName="/ppt/slideLayouts/slideLayout2296.xml" ContentType="application/vnd.openxmlformats-officedocument.presentationml.slideLayout+xml"/>
  <Override PartName="/ppt/slideLayouts/slideLayout2297.xml" ContentType="application/vnd.openxmlformats-officedocument.presentationml.slideLayout+xml"/>
  <Override PartName="/ppt/slideLayouts/slideLayout2298.xml" ContentType="application/vnd.openxmlformats-officedocument.presentationml.slideLayout+xml"/>
  <Override PartName="/ppt/slideLayouts/slideLayout2299.xml" ContentType="application/vnd.openxmlformats-officedocument.presentationml.slideLayout+xml"/>
  <Override PartName="/ppt/slideLayouts/slideLayout2300.xml" ContentType="application/vnd.openxmlformats-officedocument.presentationml.slideLayout+xml"/>
  <Override PartName="/ppt/slideLayouts/slideLayout2301.xml" ContentType="application/vnd.openxmlformats-officedocument.presentationml.slideLayout+xml"/>
  <Override PartName="/ppt/slideLayouts/slideLayout2302.xml" ContentType="application/vnd.openxmlformats-officedocument.presentationml.slideLayout+xml"/>
  <Override PartName="/ppt/slideLayouts/slideLayout2303.xml" ContentType="application/vnd.openxmlformats-officedocument.presentationml.slideLayout+xml"/>
  <Override PartName="/ppt/slideLayouts/slideLayout2304.xml" ContentType="application/vnd.openxmlformats-officedocument.presentationml.slideLayout+xml"/>
  <Override PartName="/ppt/slideLayouts/slideLayout2305.xml" ContentType="application/vnd.openxmlformats-officedocument.presentationml.slideLayout+xml"/>
  <Override PartName="/ppt/slideLayouts/slideLayout2306.xml" ContentType="application/vnd.openxmlformats-officedocument.presentationml.slideLayout+xml"/>
  <Override PartName="/ppt/slideLayouts/slideLayout2307.xml" ContentType="application/vnd.openxmlformats-officedocument.presentationml.slideLayout+xml"/>
  <Override PartName="/ppt/slideLayouts/slideLayout2308.xml" ContentType="application/vnd.openxmlformats-officedocument.presentationml.slideLayout+xml"/>
  <Override PartName="/ppt/slideLayouts/slideLayout2309.xml" ContentType="application/vnd.openxmlformats-officedocument.presentationml.slideLayout+xml"/>
  <Override PartName="/ppt/slideLayouts/slideLayout2310.xml" ContentType="application/vnd.openxmlformats-officedocument.presentationml.slideLayout+xml"/>
  <Override PartName="/ppt/slideLayouts/slideLayout2311.xml" ContentType="application/vnd.openxmlformats-officedocument.presentationml.slideLayout+xml"/>
  <Override PartName="/ppt/slideLayouts/slideLayout2312.xml" ContentType="application/vnd.openxmlformats-officedocument.presentationml.slideLayout+xml"/>
  <Override PartName="/ppt/slideLayouts/slideLayout2313.xml" ContentType="application/vnd.openxmlformats-officedocument.presentationml.slideLayout+xml"/>
  <Override PartName="/ppt/slideLayouts/slideLayout2314.xml" ContentType="application/vnd.openxmlformats-officedocument.presentationml.slideLayout+xml"/>
  <Override PartName="/ppt/slideLayouts/slideLayout2315.xml" ContentType="application/vnd.openxmlformats-officedocument.presentationml.slideLayout+xml"/>
  <Override PartName="/ppt/slideLayouts/slideLayout2316.xml" ContentType="application/vnd.openxmlformats-officedocument.presentationml.slideLayout+xml"/>
  <Override PartName="/ppt/slideLayouts/slideLayout2317.xml" ContentType="application/vnd.openxmlformats-officedocument.presentationml.slideLayout+xml"/>
  <Override PartName="/ppt/slideLayouts/slideLayout2318.xml" ContentType="application/vnd.openxmlformats-officedocument.presentationml.slideLayout+xml"/>
  <Override PartName="/ppt/slideLayouts/slideLayout2319.xml" ContentType="application/vnd.openxmlformats-officedocument.presentationml.slideLayout+xml"/>
  <Override PartName="/ppt/slideLayouts/slideLayout2320.xml" ContentType="application/vnd.openxmlformats-officedocument.presentationml.slideLayout+xml"/>
  <Override PartName="/ppt/slideLayouts/slideLayout2321.xml" ContentType="application/vnd.openxmlformats-officedocument.presentationml.slideLayout+xml"/>
  <Override PartName="/ppt/slideLayouts/slideLayout2322.xml" ContentType="application/vnd.openxmlformats-officedocument.presentationml.slideLayout+xml"/>
  <Override PartName="/ppt/slideLayouts/slideLayout2323.xml" ContentType="application/vnd.openxmlformats-officedocument.presentationml.slideLayout+xml"/>
  <Override PartName="/ppt/slideLayouts/slideLayout2324.xml" ContentType="application/vnd.openxmlformats-officedocument.presentationml.slideLayout+xml"/>
  <Override PartName="/ppt/slideLayouts/slideLayout2325.xml" ContentType="application/vnd.openxmlformats-officedocument.presentationml.slideLayout+xml"/>
  <Override PartName="/ppt/slideLayouts/slideLayout2326.xml" ContentType="application/vnd.openxmlformats-officedocument.presentationml.slideLayout+xml"/>
  <Override PartName="/ppt/slideLayouts/slideLayout2327.xml" ContentType="application/vnd.openxmlformats-officedocument.presentationml.slideLayout+xml"/>
  <Override PartName="/ppt/slideLayouts/slideLayout2328.xml" ContentType="application/vnd.openxmlformats-officedocument.presentationml.slideLayout+xml"/>
  <Override PartName="/ppt/slideLayouts/slideLayout2329.xml" ContentType="application/vnd.openxmlformats-officedocument.presentationml.slideLayout+xml"/>
  <Override PartName="/ppt/slideLayouts/slideLayout2330.xml" ContentType="application/vnd.openxmlformats-officedocument.presentationml.slideLayout+xml"/>
  <Override PartName="/ppt/slideLayouts/slideLayout2331.xml" ContentType="application/vnd.openxmlformats-officedocument.presentationml.slideLayout+xml"/>
  <Override PartName="/ppt/slideLayouts/slideLayout2332.xml" ContentType="application/vnd.openxmlformats-officedocument.presentationml.slideLayout+xml"/>
  <Override PartName="/ppt/slideLayouts/slideLayout2333.xml" ContentType="application/vnd.openxmlformats-officedocument.presentationml.slideLayout+xml"/>
  <Override PartName="/ppt/slideLayouts/slideLayout2334.xml" ContentType="application/vnd.openxmlformats-officedocument.presentationml.slideLayout+xml"/>
  <Override PartName="/ppt/slideLayouts/slideLayout2335.xml" ContentType="application/vnd.openxmlformats-officedocument.presentationml.slideLayout+xml"/>
  <Override PartName="/ppt/slideLayouts/slideLayout2336.xml" ContentType="application/vnd.openxmlformats-officedocument.presentationml.slideLayout+xml"/>
  <Override PartName="/ppt/slideLayouts/slideLayout2337.xml" ContentType="application/vnd.openxmlformats-officedocument.presentationml.slideLayout+xml"/>
  <Override PartName="/ppt/slideLayouts/slideLayout2338.xml" ContentType="application/vnd.openxmlformats-officedocument.presentationml.slideLayout+xml"/>
  <Override PartName="/ppt/slideLayouts/slideLayout2339.xml" ContentType="application/vnd.openxmlformats-officedocument.presentationml.slideLayout+xml"/>
  <Override PartName="/ppt/slideLayouts/slideLayout2340.xml" ContentType="application/vnd.openxmlformats-officedocument.presentationml.slideLayout+xml"/>
  <Override PartName="/ppt/slideLayouts/slideLayout2341.xml" ContentType="application/vnd.openxmlformats-officedocument.presentationml.slideLayout+xml"/>
  <Override PartName="/ppt/slideLayouts/slideLayout2342.xml" ContentType="application/vnd.openxmlformats-officedocument.presentationml.slideLayout+xml"/>
  <Override PartName="/ppt/slideLayouts/slideLayout2343.xml" ContentType="application/vnd.openxmlformats-officedocument.presentationml.slideLayout+xml"/>
  <Override PartName="/ppt/slideLayouts/slideLayout2344.xml" ContentType="application/vnd.openxmlformats-officedocument.presentationml.slideLayout+xml"/>
  <Override PartName="/ppt/slideLayouts/slideLayout2345.xml" ContentType="application/vnd.openxmlformats-officedocument.presentationml.slideLayout+xml"/>
  <Override PartName="/ppt/slideLayouts/slideLayout2346.xml" ContentType="application/vnd.openxmlformats-officedocument.presentationml.slideLayout+xml"/>
  <Override PartName="/ppt/slideLayouts/slideLayout2347.xml" ContentType="application/vnd.openxmlformats-officedocument.presentationml.slideLayout+xml"/>
  <Override PartName="/ppt/slideLayouts/slideLayout2348.xml" ContentType="application/vnd.openxmlformats-officedocument.presentationml.slideLayout+xml"/>
  <Override PartName="/ppt/slideLayouts/slideLayout2349.xml" ContentType="application/vnd.openxmlformats-officedocument.presentationml.slideLayout+xml"/>
  <Override PartName="/ppt/slideLayouts/slideLayout2350.xml" ContentType="application/vnd.openxmlformats-officedocument.presentationml.slideLayout+xml"/>
  <Override PartName="/ppt/slideLayouts/slideLayout2351.xml" ContentType="application/vnd.openxmlformats-officedocument.presentationml.slideLayout+xml"/>
  <Override PartName="/ppt/slideLayouts/slideLayout2352.xml" ContentType="application/vnd.openxmlformats-officedocument.presentationml.slideLayout+xml"/>
  <Override PartName="/ppt/slideLayouts/slideLayout2353.xml" ContentType="application/vnd.openxmlformats-officedocument.presentationml.slideLayout+xml"/>
  <Override PartName="/ppt/slideLayouts/slideLayout2354.xml" ContentType="application/vnd.openxmlformats-officedocument.presentationml.slideLayout+xml"/>
  <Override PartName="/ppt/slideLayouts/slideLayout2355.xml" ContentType="application/vnd.openxmlformats-officedocument.presentationml.slideLayout+xml"/>
  <Override PartName="/ppt/slideLayouts/slideLayout2356.xml" ContentType="application/vnd.openxmlformats-officedocument.presentationml.slideLayout+xml"/>
  <Override PartName="/ppt/slideLayouts/slideLayout2357.xml" ContentType="application/vnd.openxmlformats-officedocument.presentationml.slideLayout+xml"/>
  <Override PartName="/ppt/slideLayouts/slideLayout2358.xml" ContentType="application/vnd.openxmlformats-officedocument.presentationml.slideLayout+xml"/>
  <Override PartName="/ppt/slideLayouts/slideLayout2359.xml" ContentType="application/vnd.openxmlformats-officedocument.presentationml.slideLayout+xml"/>
  <Override PartName="/ppt/slideLayouts/slideLayout2360.xml" ContentType="application/vnd.openxmlformats-officedocument.presentationml.slideLayout+xml"/>
  <Override PartName="/ppt/slideLayouts/slideLayout2361.xml" ContentType="application/vnd.openxmlformats-officedocument.presentationml.slideLayout+xml"/>
  <Override PartName="/ppt/slideLayouts/slideLayout2362.xml" ContentType="application/vnd.openxmlformats-officedocument.presentationml.slideLayout+xml"/>
  <Override PartName="/ppt/slideLayouts/slideLayout2363.xml" ContentType="application/vnd.openxmlformats-officedocument.presentationml.slideLayout+xml"/>
  <Override PartName="/ppt/slideLayouts/slideLayout2364.xml" ContentType="application/vnd.openxmlformats-officedocument.presentationml.slideLayout+xml"/>
  <Override PartName="/ppt/slideLayouts/slideLayout2365.xml" ContentType="application/vnd.openxmlformats-officedocument.presentationml.slideLayout+xml"/>
  <Override PartName="/ppt/slideLayouts/slideLayout2366.xml" ContentType="application/vnd.openxmlformats-officedocument.presentationml.slideLayout+xml"/>
  <Override PartName="/ppt/slideLayouts/slideLayout2367.xml" ContentType="application/vnd.openxmlformats-officedocument.presentationml.slideLayout+xml"/>
  <Override PartName="/ppt/slideLayouts/slideLayout2368.xml" ContentType="application/vnd.openxmlformats-officedocument.presentationml.slideLayout+xml"/>
  <Override PartName="/ppt/slideLayouts/slideLayout2369.xml" ContentType="application/vnd.openxmlformats-officedocument.presentationml.slideLayout+xml"/>
  <Override PartName="/ppt/slideLayouts/slideLayout2370.xml" ContentType="application/vnd.openxmlformats-officedocument.presentationml.slideLayout+xml"/>
  <Override PartName="/ppt/slideLayouts/slideLayout2371.xml" ContentType="application/vnd.openxmlformats-officedocument.presentationml.slideLayout+xml"/>
  <Override PartName="/ppt/slideLayouts/slideLayout2372.xml" ContentType="application/vnd.openxmlformats-officedocument.presentationml.slideLayout+xml"/>
  <Override PartName="/ppt/slideLayouts/slideLayout2373.xml" ContentType="application/vnd.openxmlformats-officedocument.presentationml.slideLayout+xml"/>
  <Override PartName="/ppt/slideLayouts/slideLayout2374.xml" ContentType="application/vnd.openxmlformats-officedocument.presentationml.slideLayout+xml"/>
  <Override PartName="/ppt/slideLayouts/slideLayout2375.xml" ContentType="application/vnd.openxmlformats-officedocument.presentationml.slideLayout+xml"/>
  <Override PartName="/ppt/slideLayouts/slideLayout2376.xml" ContentType="application/vnd.openxmlformats-officedocument.presentationml.slideLayout+xml"/>
  <Override PartName="/ppt/slideLayouts/slideLayout2377.xml" ContentType="application/vnd.openxmlformats-officedocument.presentationml.slideLayout+xml"/>
  <Override PartName="/ppt/slideLayouts/slideLayout2378.xml" ContentType="application/vnd.openxmlformats-officedocument.presentationml.slideLayout+xml"/>
  <Override PartName="/ppt/slideLayouts/slideLayout2379.xml" ContentType="application/vnd.openxmlformats-officedocument.presentationml.slideLayout+xml"/>
  <Override PartName="/ppt/slideLayouts/slideLayout2380.xml" ContentType="application/vnd.openxmlformats-officedocument.presentationml.slideLayout+xml"/>
  <Override PartName="/ppt/slideLayouts/slideLayout2381.xml" ContentType="application/vnd.openxmlformats-officedocument.presentationml.slideLayout+xml"/>
  <Override PartName="/ppt/slideLayouts/slideLayout2382.xml" ContentType="application/vnd.openxmlformats-officedocument.presentationml.slideLayout+xml"/>
  <Override PartName="/ppt/slideLayouts/slideLayout2383.xml" ContentType="application/vnd.openxmlformats-officedocument.presentationml.slideLayout+xml"/>
  <Override PartName="/ppt/slideLayouts/slideLayout2384.xml" ContentType="application/vnd.openxmlformats-officedocument.presentationml.slideLayout+xml"/>
  <Override PartName="/ppt/slideLayouts/slideLayout2385.xml" ContentType="application/vnd.openxmlformats-officedocument.presentationml.slideLayout+xml"/>
  <Override PartName="/ppt/slideLayouts/slideLayout2386.xml" ContentType="application/vnd.openxmlformats-officedocument.presentationml.slideLayout+xml"/>
  <Override PartName="/ppt/slideLayouts/slideLayout2387.xml" ContentType="application/vnd.openxmlformats-officedocument.presentationml.slideLayout+xml"/>
  <Override PartName="/ppt/slideLayouts/slideLayout2388.xml" ContentType="application/vnd.openxmlformats-officedocument.presentationml.slideLayout+xml"/>
  <Override PartName="/ppt/slideLayouts/slideLayout2389.xml" ContentType="application/vnd.openxmlformats-officedocument.presentationml.slideLayout+xml"/>
  <Override PartName="/ppt/slideLayouts/slideLayout2390.xml" ContentType="application/vnd.openxmlformats-officedocument.presentationml.slideLayout+xml"/>
  <Override PartName="/ppt/slideLayouts/slideLayout2391.xml" ContentType="application/vnd.openxmlformats-officedocument.presentationml.slideLayout+xml"/>
  <Override PartName="/ppt/slideLayouts/slideLayout2392.xml" ContentType="application/vnd.openxmlformats-officedocument.presentationml.slideLayout+xml"/>
  <Override PartName="/ppt/slideLayouts/slideLayout2393.xml" ContentType="application/vnd.openxmlformats-officedocument.presentationml.slideLayout+xml"/>
  <Override PartName="/ppt/slideLayouts/slideLayout2394.xml" ContentType="application/vnd.openxmlformats-officedocument.presentationml.slideLayout+xml"/>
  <Override PartName="/ppt/slideLayouts/slideLayout2395.xml" ContentType="application/vnd.openxmlformats-officedocument.presentationml.slideLayout+xml"/>
  <Override PartName="/ppt/slideLayouts/slideLayout2396.xml" ContentType="application/vnd.openxmlformats-officedocument.presentationml.slideLayout+xml"/>
  <Override PartName="/ppt/slideLayouts/slideLayout2397.xml" ContentType="application/vnd.openxmlformats-officedocument.presentationml.slideLayout+xml"/>
  <Override PartName="/ppt/slideLayouts/slideLayout2398.xml" ContentType="application/vnd.openxmlformats-officedocument.presentationml.slideLayout+xml"/>
  <Override PartName="/ppt/slideLayouts/slideLayout2399.xml" ContentType="application/vnd.openxmlformats-officedocument.presentationml.slideLayout+xml"/>
  <Override PartName="/ppt/slideLayouts/slideLayout2400.xml" ContentType="application/vnd.openxmlformats-officedocument.presentationml.slideLayout+xml"/>
  <Override PartName="/ppt/slideLayouts/slideLayout2401.xml" ContentType="application/vnd.openxmlformats-officedocument.presentationml.slideLayout+xml"/>
  <Override PartName="/ppt/slideLayouts/slideLayout2402.xml" ContentType="application/vnd.openxmlformats-officedocument.presentationml.slideLayout+xml"/>
  <Override PartName="/ppt/slideLayouts/slideLayout2403.xml" ContentType="application/vnd.openxmlformats-officedocument.presentationml.slideLayout+xml"/>
  <Override PartName="/ppt/slideLayouts/slideLayout2404.xml" ContentType="application/vnd.openxmlformats-officedocument.presentationml.slideLayout+xml"/>
  <Override PartName="/ppt/slideLayouts/slideLayout2405.xml" ContentType="application/vnd.openxmlformats-officedocument.presentationml.slideLayout+xml"/>
  <Override PartName="/ppt/slideLayouts/slideLayout2406.xml" ContentType="application/vnd.openxmlformats-officedocument.presentationml.slideLayout+xml"/>
  <Override PartName="/ppt/slideLayouts/slideLayout2407.xml" ContentType="application/vnd.openxmlformats-officedocument.presentationml.slideLayout+xml"/>
  <Override PartName="/ppt/slideLayouts/slideLayout2408.xml" ContentType="application/vnd.openxmlformats-officedocument.presentationml.slideLayout+xml"/>
  <Override PartName="/ppt/slideLayouts/slideLayout2409.xml" ContentType="application/vnd.openxmlformats-officedocument.presentationml.slideLayout+xml"/>
  <Override PartName="/ppt/slideLayouts/slideLayout2410.xml" ContentType="application/vnd.openxmlformats-officedocument.presentationml.slideLayout+xml"/>
  <Override PartName="/ppt/slideLayouts/slideLayout2411.xml" ContentType="application/vnd.openxmlformats-officedocument.presentationml.slideLayout+xml"/>
  <Override PartName="/ppt/slideLayouts/slideLayout2412.xml" ContentType="application/vnd.openxmlformats-officedocument.presentationml.slideLayout+xml"/>
  <Override PartName="/ppt/slideLayouts/slideLayout2413.xml" ContentType="application/vnd.openxmlformats-officedocument.presentationml.slideLayout+xml"/>
  <Override PartName="/ppt/slideLayouts/slideLayout2414.xml" ContentType="application/vnd.openxmlformats-officedocument.presentationml.slideLayout+xml"/>
  <Override PartName="/ppt/slideLayouts/slideLayout2415.xml" ContentType="application/vnd.openxmlformats-officedocument.presentationml.slideLayout+xml"/>
  <Override PartName="/ppt/slideLayouts/slideLayout2416.xml" ContentType="application/vnd.openxmlformats-officedocument.presentationml.slideLayout+xml"/>
  <Override PartName="/ppt/slideLayouts/slideLayout2417.xml" ContentType="application/vnd.openxmlformats-officedocument.presentationml.slideLayout+xml"/>
  <Override PartName="/ppt/slideLayouts/slideLayout2418.xml" ContentType="application/vnd.openxmlformats-officedocument.presentationml.slideLayout+xml"/>
  <Override PartName="/ppt/slideLayouts/slideLayout2419.xml" ContentType="application/vnd.openxmlformats-officedocument.presentationml.slideLayout+xml"/>
  <Override PartName="/ppt/slideLayouts/slideLayout2420.xml" ContentType="application/vnd.openxmlformats-officedocument.presentationml.slideLayout+xml"/>
  <Override PartName="/ppt/slideLayouts/slideLayout2421.xml" ContentType="application/vnd.openxmlformats-officedocument.presentationml.slideLayout+xml"/>
  <Override PartName="/ppt/slideLayouts/slideLayout2422.xml" ContentType="application/vnd.openxmlformats-officedocument.presentationml.slideLayout+xml"/>
  <Override PartName="/ppt/slideLayouts/slideLayout2423.xml" ContentType="application/vnd.openxmlformats-officedocument.presentationml.slideLayout+xml"/>
  <Override PartName="/ppt/slideLayouts/slideLayout2424.xml" ContentType="application/vnd.openxmlformats-officedocument.presentationml.slideLayout+xml"/>
  <Override PartName="/ppt/slideLayouts/slideLayout2425.xml" ContentType="application/vnd.openxmlformats-officedocument.presentationml.slideLayout+xml"/>
  <Override PartName="/ppt/slideLayouts/slideLayout2426.xml" ContentType="application/vnd.openxmlformats-officedocument.presentationml.slideLayout+xml"/>
  <Override PartName="/ppt/slideLayouts/slideLayout2427.xml" ContentType="application/vnd.openxmlformats-officedocument.presentationml.slideLayout+xml"/>
  <Override PartName="/ppt/slideLayouts/slideLayout2428.xml" ContentType="application/vnd.openxmlformats-officedocument.presentationml.slideLayout+xml"/>
  <Override PartName="/ppt/slideLayouts/slideLayout2429.xml" ContentType="application/vnd.openxmlformats-officedocument.presentationml.slideLayout+xml"/>
  <Override PartName="/ppt/slideLayouts/slideLayout2430.xml" ContentType="application/vnd.openxmlformats-officedocument.presentationml.slideLayout+xml"/>
  <Override PartName="/ppt/slideLayouts/slideLayout2431.xml" ContentType="application/vnd.openxmlformats-officedocument.presentationml.slideLayout+xml"/>
  <Override PartName="/ppt/slideLayouts/slideLayout2432.xml" ContentType="application/vnd.openxmlformats-officedocument.presentationml.slideLayout+xml"/>
  <Override PartName="/ppt/slideLayouts/slideLayout2433.xml" ContentType="application/vnd.openxmlformats-officedocument.presentationml.slideLayout+xml"/>
  <Override PartName="/ppt/slideLayouts/slideLayout2434.xml" ContentType="application/vnd.openxmlformats-officedocument.presentationml.slideLayout+xml"/>
  <Override PartName="/ppt/slideLayouts/slideLayout2435.xml" ContentType="application/vnd.openxmlformats-officedocument.presentationml.slideLayout+xml"/>
  <Override PartName="/ppt/slideLayouts/slideLayout2436.xml" ContentType="application/vnd.openxmlformats-officedocument.presentationml.slideLayout+xml"/>
  <Override PartName="/ppt/slideLayouts/slideLayout2437.xml" ContentType="application/vnd.openxmlformats-officedocument.presentationml.slideLayout+xml"/>
  <Override PartName="/ppt/slideLayouts/slideLayout2438.xml" ContentType="application/vnd.openxmlformats-officedocument.presentationml.slideLayout+xml"/>
  <Override PartName="/ppt/slideLayouts/slideLayout2439.xml" ContentType="application/vnd.openxmlformats-officedocument.presentationml.slideLayout+xml"/>
  <Override PartName="/ppt/slideLayouts/slideLayout2440.xml" ContentType="application/vnd.openxmlformats-officedocument.presentationml.slideLayout+xml"/>
  <Override PartName="/ppt/slideLayouts/slideLayout2441.xml" ContentType="application/vnd.openxmlformats-officedocument.presentationml.slideLayout+xml"/>
  <Override PartName="/ppt/slideLayouts/slideLayout2442.xml" ContentType="application/vnd.openxmlformats-officedocument.presentationml.slideLayout+xml"/>
  <Override PartName="/ppt/slideLayouts/slideLayout2443.xml" ContentType="application/vnd.openxmlformats-officedocument.presentationml.slideLayout+xml"/>
  <Override PartName="/ppt/slideLayouts/slideLayout2444.xml" ContentType="application/vnd.openxmlformats-officedocument.presentationml.slideLayout+xml"/>
  <Override PartName="/ppt/slideLayouts/slideLayout2445.xml" ContentType="application/vnd.openxmlformats-officedocument.presentationml.slideLayout+xml"/>
  <Override PartName="/ppt/slideLayouts/slideLayout2446.xml" ContentType="application/vnd.openxmlformats-officedocument.presentationml.slideLayout+xml"/>
  <Override PartName="/ppt/slideLayouts/slideLayout2447.xml" ContentType="application/vnd.openxmlformats-officedocument.presentationml.slideLayout+xml"/>
  <Override PartName="/ppt/slideLayouts/slideLayout2448.xml" ContentType="application/vnd.openxmlformats-officedocument.presentationml.slideLayout+xml"/>
  <Override PartName="/ppt/slideLayouts/slideLayout2449.xml" ContentType="application/vnd.openxmlformats-officedocument.presentationml.slideLayout+xml"/>
  <Override PartName="/ppt/slideLayouts/slideLayout2450.xml" ContentType="application/vnd.openxmlformats-officedocument.presentationml.slideLayout+xml"/>
  <Override PartName="/ppt/slideLayouts/slideLayout2451.xml" ContentType="application/vnd.openxmlformats-officedocument.presentationml.slideLayout+xml"/>
  <Override PartName="/ppt/slideLayouts/slideLayout2452.xml" ContentType="application/vnd.openxmlformats-officedocument.presentationml.slideLayout+xml"/>
  <Override PartName="/ppt/slideLayouts/slideLayout2453.xml" ContentType="application/vnd.openxmlformats-officedocument.presentationml.slideLayout+xml"/>
  <Override PartName="/ppt/slideLayouts/slideLayout2454.xml" ContentType="application/vnd.openxmlformats-officedocument.presentationml.slideLayout+xml"/>
  <Override PartName="/ppt/slideLayouts/slideLayout2455.xml" ContentType="application/vnd.openxmlformats-officedocument.presentationml.slideLayout+xml"/>
  <Override PartName="/ppt/slideLayouts/slideLayout2456.xml" ContentType="application/vnd.openxmlformats-officedocument.presentationml.slideLayout+xml"/>
  <Override PartName="/ppt/slideLayouts/slideLayout2457.xml" ContentType="application/vnd.openxmlformats-officedocument.presentationml.slideLayout+xml"/>
  <Override PartName="/ppt/slideLayouts/slideLayout2458.xml" ContentType="application/vnd.openxmlformats-officedocument.presentationml.slideLayout+xml"/>
  <Override PartName="/ppt/slideLayouts/slideLayout2459.xml" ContentType="application/vnd.openxmlformats-officedocument.presentationml.slideLayout+xml"/>
  <Override PartName="/ppt/slideLayouts/slideLayout2460.xml" ContentType="application/vnd.openxmlformats-officedocument.presentationml.slideLayout+xml"/>
  <Override PartName="/ppt/slideLayouts/slideLayout2461.xml" ContentType="application/vnd.openxmlformats-officedocument.presentationml.slideLayout+xml"/>
  <Override PartName="/ppt/slideLayouts/slideLayout2462.xml" ContentType="application/vnd.openxmlformats-officedocument.presentationml.slideLayout+xml"/>
  <Override PartName="/ppt/slideLayouts/slideLayout2463.xml" ContentType="application/vnd.openxmlformats-officedocument.presentationml.slideLayout+xml"/>
  <Override PartName="/ppt/slideLayouts/slideLayout2464.xml" ContentType="application/vnd.openxmlformats-officedocument.presentationml.slideLayout+xml"/>
  <Override PartName="/ppt/slideLayouts/slideLayout2465.xml" ContentType="application/vnd.openxmlformats-officedocument.presentationml.slideLayout+xml"/>
  <Override PartName="/ppt/slideLayouts/slideLayout2466.xml" ContentType="application/vnd.openxmlformats-officedocument.presentationml.slideLayout+xml"/>
  <Override PartName="/ppt/slideLayouts/slideLayout2467.xml" ContentType="application/vnd.openxmlformats-officedocument.presentationml.slideLayout+xml"/>
  <Override PartName="/ppt/slideLayouts/slideLayout2468.xml" ContentType="application/vnd.openxmlformats-officedocument.presentationml.slideLayout+xml"/>
  <Override PartName="/ppt/slideLayouts/slideLayout2469.xml" ContentType="application/vnd.openxmlformats-officedocument.presentationml.slideLayout+xml"/>
  <Override PartName="/ppt/slideLayouts/slideLayout2470.xml" ContentType="application/vnd.openxmlformats-officedocument.presentationml.slideLayout+xml"/>
  <Override PartName="/ppt/slideLayouts/slideLayout2471.xml" ContentType="application/vnd.openxmlformats-officedocument.presentationml.slideLayout+xml"/>
  <Override PartName="/ppt/slideLayouts/slideLayout2472.xml" ContentType="application/vnd.openxmlformats-officedocument.presentationml.slideLayout+xml"/>
  <Override PartName="/ppt/slideLayouts/slideLayout2473.xml" ContentType="application/vnd.openxmlformats-officedocument.presentationml.slideLayout+xml"/>
  <Override PartName="/ppt/slideLayouts/slideLayout2474.xml" ContentType="application/vnd.openxmlformats-officedocument.presentationml.slideLayout+xml"/>
  <Override PartName="/ppt/slideLayouts/slideLayout2475.xml" ContentType="application/vnd.openxmlformats-officedocument.presentationml.slideLayout+xml"/>
  <Override PartName="/ppt/slideLayouts/slideLayout2476.xml" ContentType="application/vnd.openxmlformats-officedocument.presentationml.slideLayout+xml"/>
  <Override PartName="/ppt/slideLayouts/slideLayout2477.xml" ContentType="application/vnd.openxmlformats-officedocument.presentationml.slideLayout+xml"/>
  <Override PartName="/ppt/slideLayouts/slideLayout2478.xml" ContentType="application/vnd.openxmlformats-officedocument.presentationml.slideLayout+xml"/>
  <Override PartName="/ppt/slideLayouts/slideLayout2479.xml" ContentType="application/vnd.openxmlformats-officedocument.presentationml.slideLayout+xml"/>
  <Override PartName="/ppt/slideLayouts/slideLayout2480.xml" ContentType="application/vnd.openxmlformats-officedocument.presentationml.slideLayout+xml"/>
  <Override PartName="/ppt/slideLayouts/slideLayout2481.xml" ContentType="application/vnd.openxmlformats-officedocument.presentationml.slideLayout+xml"/>
  <Override PartName="/ppt/slideLayouts/slideLayout2482.xml" ContentType="application/vnd.openxmlformats-officedocument.presentationml.slideLayout+xml"/>
  <Override PartName="/ppt/slideLayouts/slideLayout2483.xml" ContentType="application/vnd.openxmlformats-officedocument.presentationml.slideLayout+xml"/>
  <Override PartName="/ppt/slideLayouts/slideLayout2484.xml" ContentType="application/vnd.openxmlformats-officedocument.presentationml.slideLayout+xml"/>
  <Override PartName="/ppt/slideLayouts/slideLayout2485.xml" ContentType="application/vnd.openxmlformats-officedocument.presentationml.slideLayout+xml"/>
  <Override PartName="/ppt/slideLayouts/slideLayout2486.xml" ContentType="application/vnd.openxmlformats-officedocument.presentationml.slideLayout+xml"/>
  <Override PartName="/ppt/slideLayouts/slideLayout2487.xml" ContentType="application/vnd.openxmlformats-officedocument.presentationml.slideLayout+xml"/>
  <Override PartName="/ppt/slideLayouts/slideLayout2488.xml" ContentType="application/vnd.openxmlformats-officedocument.presentationml.slideLayout+xml"/>
  <Override PartName="/ppt/slideLayouts/slideLayout2489.xml" ContentType="application/vnd.openxmlformats-officedocument.presentationml.slideLayout+xml"/>
  <Override PartName="/ppt/slideLayouts/slideLayout2490.xml" ContentType="application/vnd.openxmlformats-officedocument.presentationml.slideLayout+xml"/>
  <Override PartName="/ppt/slideLayouts/slideLayout2491.xml" ContentType="application/vnd.openxmlformats-officedocument.presentationml.slideLayout+xml"/>
  <Override PartName="/ppt/slideLayouts/slideLayout2492.xml" ContentType="application/vnd.openxmlformats-officedocument.presentationml.slideLayout+xml"/>
  <Override PartName="/ppt/slideLayouts/slideLayout2493.xml" ContentType="application/vnd.openxmlformats-officedocument.presentationml.slideLayout+xml"/>
  <Override PartName="/ppt/slideLayouts/slideLayout2494.xml" ContentType="application/vnd.openxmlformats-officedocument.presentationml.slideLayout+xml"/>
  <Override PartName="/ppt/slideLayouts/slideLayout2495.xml" ContentType="application/vnd.openxmlformats-officedocument.presentationml.slideLayout+xml"/>
  <Override PartName="/ppt/slideLayouts/slideLayout2496.xml" ContentType="application/vnd.openxmlformats-officedocument.presentationml.slideLayout+xml"/>
  <Override PartName="/ppt/slideLayouts/slideLayout2497.xml" ContentType="application/vnd.openxmlformats-officedocument.presentationml.slideLayout+xml"/>
  <Override PartName="/ppt/slideLayouts/slideLayout2498.xml" ContentType="application/vnd.openxmlformats-officedocument.presentationml.slideLayout+xml"/>
  <Override PartName="/ppt/slideLayouts/slideLayout2499.xml" ContentType="application/vnd.openxmlformats-officedocument.presentationml.slideLayout+xml"/>
  <Override PartName="/ppt/slideLayouts/slideLayout2500.xml" ContentType="application/vnd.openxmlformats-officedocument.presentationml.slideLayout+xml"/>
  <Override PartName="/ppt/slideLayouts/slideLayout2501.xml" ContentType="application/vnd.openxmlformats-officedocument.presentationml.slideLayout+xml"/>
  <Override PartName="/ppt/slideLayouts/slideLayout2502.xml" ContentType="application/vnd.openxmlformats-officedocument.presentationml.slideLayout+xml"/>
  <Override PartName="/ppt/slideLayouts/slideLayout2503.xml" ContentType="application/vnd.openxmlformats-officedocument.presentationml.slideLayout+xml"/>
  <Override PartName="/ppt/slideLayouts/slideLayout2504.xml" ContentType="application/vnd.openxmlformats-officedocument.presentationml.slideLayout+xml"/>
  <Override PartName="/ppt/slideLayouts/slideLayout2505.xml" ContentType="application/vnd.openxmlformats-officedocument.presentationml.slideLayout+xml"/>
  <Override PartName="/ppt/slideLayouts/slideLayout2506.xml" ContentType="application/vnd.openxmlformats-officedocument.presentationml.slideLayout+xml"/>
  <Override PartName="/ppt/slideLayouts/slideLayout2507.xml" ContentType="application/vnd.openxmlformats-officedocument.presentationml.slideLayout+xml"/>
  <Override PartName="/ppt/slideLayouts/slideLayout2508.xml" ContentType="application/vnd.openxmlformats-officedocument.presentationml.slideLayout+xml"/>
  <Override PartName="/ppt/slideLayouts/slideLayout2509.xml" ContentType="application/vnd.openxmlformats-officedocument.presentationml.slideLayout+xml"/>
  <Override PartName="/ppt/slideLayouts/slideLayout2510.xml" ContentType="application/vnd.openxmlformats-officedocument.presentationml.slideLayout+xml"/>
  <Override PartName="/ppt/slideLayouts/slideLayout2511.xml" ContentType="application/vnd.openxmlformats-officedocument.presentationml.slideLayout+xml"/>
  <Override PartName="/ppt/slideLayouts/slideLayout2512.xml" ContentType="application/vnd.openxmlformats-officedocument.presentationml.slideLayout+xml"/>
  <Override PartName="/ppt/slideLayouts/slideLayout2513.xml" ContentType="application/vnd.openxmlformats-officedocument.presentationml.slideLayout+xml"/>
  <Override PartName="/ppt/slideLayouts/slideLayout2514.xml" ContentType="application/vnd.openxmlformats-officedocument.presentationml.slideLayout+xml"/>
  <Override PartName="/ppt/slideLayouts/slideLayout2515.xml" ContentType="application/vnd.openxmlformats-officedocument.presentationml.slideLayout+xml"/>
  <Override PartName="/ppt/slideLayouts/slideLayout2516.xml" ContentType="application/vnd.openxmlformats-officedocument.presentationml.slideLayout+xml"/>
  <Override PartName="/ppt/slideLayouts/slideLayout2517.xml" ContentType="application/vnd.openxmlformats-officedocument.presentationml.slideLayout+xml"/>
  <Override PartName="/ppt/slideLayouts/slideLayout2518.xml" ContentType="application/vnd.openxmlformats-officedocument.presentationml.slideLayout+xml"/>
  <Override PartName="/ppt/slideLayouts/slideLayout2519.xml" ContentType="application/vnd.openxmlformats-officedocument.presentationml.slideLayout+xml"/>
  <Override PartName="/ppt/slideLayouts/slideLayout2520.xml" ContentType="application/vnd.openxmlformats-officedocument.presentationml.slideLayout+xml"/>
  <Override PartName="/ppt/slideLayouts/slideLayout2521.xml" ContentType="application/vnd.openxmlformats-officedocument.presentationml.slideLayout+xml"/>
  <Override PartName="/ppt/slideLayouts/slideLayout2522.xml" ContentType="application/vnd.openxmlformats-officedocument.presentationml.slideLayout+xml"/>
  <Override PartName="/ppt/slideLayouts/slideLayout2523.xml" ContentType="application/vnd.openxmlformats-officedocument.presentationml.slideLayout+xml"/>
  <Override PartName="/ppt/slideLayouts/slideLayout2524.xml" ContentType="application/vnd.openxmlformats-officedocument.presentationml.slideLayout+xml"/>
  <Override PartName="/ppt/slideLayouts/slideLayout2525.xml" ContentType="application/vnd.openxmlformats-officedocument.presentationml.slideLayout+xml"/>
  <Override PartName="/ppt/slideLayouts/slideLayout2526.xml" ContentType="application/vnd.openxmlformats-officedocument.presentationml.slideLayout+xml"/>
  <Override PartName="/ppt/slideLayouts/slideLayout2527.xml" ContentType="application/vnd.openxmlformats-officedocument.presentationml.slideLayout+xml"/>
  <Override PartName="/ppt/slideLayouts/slideLayout2528.xml" ContentType="application/vnd.openxmlformats-officedocument.presentationml.slideLayout+xml"/>
  <Override PartName="/ppt/slideLayouts/slideLayout2529.xml" ContentType="application/vnd.openxmlformats-officedocument.presentationml.slideLayout+xml"/>
  <Override PartName="/ppt/slideLayouts/slideLayout2530.xml" ContentType="application/vnd.openxmlformats-officedocument.presentationml.slideLayout+xml"/>
  <Override PartName="/ppt/slideLayouts/slideLayout2531.xml" ContentType="application/vnd.openxmlformats-officedocument.presentationml.slideLayout+xml"/>
  <Override PartName="/ppt/slideLayouts/slideLayout2532.xml" ContentType="application/vnd.openxmlformats-officedocument.presentationml.slideLayout+xml"/>
  <Override PartName="/ppt/slideLayouts/slideLayout2533.xml" ContentType="application/vnd.openxmlformats-officedocument.presentationml.slideLayout+xml"/>
  <Override PartName="/ppt/slideLayouts/slideLayout2534.xml" ContentType="application/vnd.openxmlformats-officedocument.presentationml.slideLayout+xml"/>
  <Override PartName="/ppt/slideLayouts/slideLayout2535.xml" ContentType="application/vnd.openxmlformats-officedocument.presentationml.slideLayout+xml"/>
  <Override PartName="/ppt/slideLayouts/slideLayout2536.xml" ContentType="application/vnd.openxmlformats-officedocument.presentationml.slideLayout+xml"/>
  <Override PartName="/ppt/slideLayouts/slideLayout2537.xml" ContentType="application/vnd.openxmlformats-officedocument.presentationml.slideLayout+xml"/>
  <Override PartName="/ppt/slideLayouts/slideLayout2538.xml" ContentType="application/vnd.openxmlformats-officedocument.presentationml.slideLayout+xml"/>
  <Override PartName="/ppt/slideLayouts/slideLayout2539.xml" ContentType="application/vnd.openxmlformats-officedocument.presentationml.slideLayout+xml"/>
  <Override PartName="/ppt/slideLayouts/slideLayout2540.xml" ContentType="application/vnd.openxmlformats-officedocument.presentationml.slideLayout+xml"/>
  <Override PartName="/ppt/slideLayouts/slideLayout2541.xml" ContentType="application/vnd.openxmlformats-officedocument.presentationml.slideLayout+xml"/>
  <Override PartName="/ppt/slideLayouts/slideLayout2542.xml" ContentType="application/vnd.openxmlformats-officedocument.presentationml.slideLayout+xml"/>
  <Override PartName="/ppt/slideLayouts/slideLayout2543.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6.xml" ContentType="application/vnd.openxmlformats-officedocument.presentationml.tags+xml"/>
  <Override PartName="/ppt/notesSlides/notesSlide3.xml" ContentType="application/vnd.openxmlformats-officedocument.presentationml.notesSlide+xml"/>
  <Override PartName="/ppt/comments/modernComment_13F_652FAC1D.xml" ContentType="application/vnd.ms-powerpoint.comments+xml"/>
  <Override PartName="/ppt/notesSlides/notesSlide4.xml" ContentType="application/vnd.openxmlformats-officedocument.presentationml.notesSlide+xml"/>
  <Override PartName="/ppt/comments/modernComment_597_43CF335.xml" ContentType="application/vnd.ms-powerpoint.comments+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modernComment_3BD_B8501D3B.xml" ContentType="application/vnd.ms-powerpoint.comments+xml"/>
  <Override PartName="/ppt/notesSlides/notesSlide7.xml" ContentType="application/vnd.openxmlformats-officedocument.presentationml.notesSlide+xml"/>
  <Override PartName="/ppt/comments/modernComment_3BE_C1EE5ACA.xml" ContentType="application/vnd.ms-powerpoint.comments+xml"/>
  <Override PartName="/ppt/notesSlides/notesSlide8.xml" ContentType="application/vnd.openxmlformats-officedocument.presentationml.notesSlide+xml"/>
  <Override PartName="/ppt/notesSlides/notesSlide9.xml" ContentType="application/vnd.openxmlformats-officedocument.presentationml.notesSlide+xml"/>
  <Override PartName="/ppt/comments/modernComment_101_0.xml" ContentType="application/vnd.ms-powerpoint.comment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omments/modernComment_58A_2FB2A3D9.xml" ContentType="application/vnd.ms-powerpoint.comment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93645" r:id="rId1"/>
    <p:sldMasterId id="2147484583" r:id="rId2"/>
    <p:sldMasterId id="2147485295" r:id="rId3"/>
    <p:sldMasterId id="2147493744" r:id="rId4"/>
    <p:sldMasterId id="2147493526" r:id="rId5"/>
    <p:sldMasterId id="2147490002" r:id="rId6"/>
    <p:sldMasterId id="2147484049" r:id="rId7"/>
    <p:sldMasterId id="2147485258" r:id="rId8"/>
    <p:sldMasterId id="2147485270" r:id="rId9"/>
    <p:sldMasterId id="2147485578" r:id="rId10"/>
    <p:sldMasterId id="2147483648" r:id="rId11"/>
    <p:sldMasterId id="2147493079" r:id="rId12"/>
    <p:sldMasterId id="2147493756" r:id="rId13"/>
  </p:sldMasterIdLst>
  <p:notesMasterIdLst>
    <p:notesMasterId r:id="rId45"/>
  </p:notesMasterIdLst>
  <p:sldIdLst>
    <p:sldId id="965" r:id="rId14"/>
    <p:sldId id="833" r:id="rId15"/>
    <p:sldId id="947" r:id="rId16"/>
    <p:sldId id="319" r:id="rId17"/>
    <p:sldId id="1431" r:id="rId18"/>
    <p:sldId id="964" r:id="rId19"/>
    <p:sldId id="957" r:id="rId20"/>
    <p:sldId id="958" r:id="rId21"/>
    <p:sldId id="1430" r:id="rId22"/>
    <p:sldId id="1423" r:id="rId23"/>
    <p:sldId id="941" r:id="rId24"/>
    <p:sldId id="257" r:id="rId25"/>
    <p:sldId id="962" r:id="rId26"/>
    <p:sldId id="1435" r:id="rId27"/>
    <p:sldId id="967" r:id="rId28"/>
    <p:sldId id="266" r:id="rId29"/>
    <p:sldId id="275" r:id="rId30"/>
    <p:sldId id="963" r:id="rId31"/>
    <p:sldId id="968" r:id="rId32"/>
    <p:sldId id="1418" r:id="rId33"/>
    <p:sldId id="277" r:id="rId34"/>
    <p:sldId id="276" r:id="rId35"/>
    <p:sldId id="955" r:id="rId36"/>
    <p:sldId id="1436" r:id="rId37"/>
    <p:sldId id="1434" r:id="rId38"/>
    <p:sldId id="1429" r:id="rId39"/>
    <p:sldId id="1427" r:id="rId40"/>
    <p:sldId id="961" r:id="rId41"/>
    <p:sldId id="1421" r:id="rId42"/>
    <p:sldId id="1422" r:id="rId43"/>
    <p:sldId id="959"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slide" Target="slides/slide31.xml"/><Relationship Id="rId52" Type="http://schemas.microsoft.com/office/2018/10/relationships/authors" Target="author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theme" Target="theme/theme1.xml"/><Relationship Id="rId8" Type="http://schemas.openxmlformats.org/officeDocument/2006/relationships/slideMaster" Target="slideMasters/slideMaster8.xml"/><Relationship Id="rId51" Type="http://schemas.microsoft.com/office/2015/10/relationships/revisionInfo" Target="revisionInfo.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presProps" Target="presProps.xml"/><Relationship Id="rId20" Type="http://schemas.openxmlformats.org/officeDocument/2006/relationships/slide" Target="slides/slide7.xml"/><Relationship Id="rId41"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AF71CA5-246F-E2FA-15C5-050B75BC31B9}"/>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64182E44-8A62-F503-7E88-DBA1FD6B60D3}"/>
              </a:ext>
            </a:extLst>
          </p:cNvPr>
          <p:cNvSpPr txBox="1">
            <a:spLocks noGrp="1"/>
          </p:cNvSpPr>
          <p:nvPr>
            <p:ph type="body" sz="quarter" idx="1"/>
          </p:nvPr>
        </p:nvSpPr>
        <p:spPr/>
        <p:txBody>
          <a:bodyPr/>
          <a:lstStyle/>
          <a:p>
            <a:endParaRPr lang="en-US"/>
          </a:p>
        </p:txBody>
      </p:sp>
      <p:sp>
        <p:nvSpPr>
          <p:cNvPr id="4" name="Slide Number Placeholder 3">
            <a:extLst>
              <a:ext uri="{FF2B5EF4-FFF2-40B4-BE49-F238E27FC236}">
                <a16:creationId xmlns:a16="http://schemas.microsoft.com/office/drawing/2014/main" id="{5492AC56-F3C1-3CE1-DB90-F7C25F20B2D5}"/>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fld id="{3FA04E76-8E5B-4365-8B6D-A6FEB0516991}" type="slidenum">
              <a:rPr kumimoji="0" sz="1800" b="0" i="0" u="none" strike="noStrike" kern="0" cap="none" spc="0" normalizeH="0" baseline="0" noProof="0">
                <a:ln>
                  <a:noFill/>
                </a:ln>
                <a:solidFill>
                  <a:srgbClr val="000000"/>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t>1</a:t>
            </a:fld>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D5DC79B-8FAC-4387-9654-6F7DBAE16094}" type="slidenum">
              <a:rPr lang="en-US" smtClean="0"/>
              <a:t>13</a:t>
            </a:fld>
            <a:endParaRPr lang="en-US"/>
          </a:p>
        </p:txBody>
      </p:sp>
    </p:spTree>
    <p:extLst>
      <p:ext uri="{BB962C8B-B14F-4D97-AF65-F5344CB8AC3E}">
        <p14:creationId xmlns:p14="http://schemas.microsoft.com/office/powerpoint/2010/main" val="17106446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203"/>
        <p:cNvGrpSpPr/>
        <p:nvPr/>
      </p:nvGrpSpPr>
      <p:grpSpPr>
        <a:xfrm>
          <a:off x="0" y="0"/>
          <a:ext cx="0" cy="0"/>
          <a:chOff x="0" y="0"/>
          <a:chExt cx="0" cy="0"/>
        </a:xfrm>
      </p:grpSpPr>
      <p:sp>
        <p:nvSpPr>
          <p:cNvPr id="24204" name="Google Shape;24204;p2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4205" name="Google Shape;24205;p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589"/>
        <p:cNvGrpSpPr/>
        <p:nvPr/>
      </p:nvGrpSpPr>
      <p:grpSpPr>
        <a:xfrm>
          <a:off x="0" y="0"/>
          <a:ext cx="0" cy="0"/>
          <a:chOff x="0" y="0"/>
          <a:chExt cx="0" cy="0"/>
        </a:xfrm>
      </p:grpSpPr>
      <p:sp>
        <p:nvSpPr>
          <p:cNvPr id="16590" name="Google Shape;16590;p27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dirty="0"/>
              <a:t>Spend a little time here going over this.</a:t>
            </a:r>
            <a:endParaRPr dirty="0"/>
          </a:p>
        </p:txBody>
      </p:sp>
      <p:sp>
        <p:nvSpPr>
          <p:cNvPr id="16591" name="Google Shape;16591;p27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3813611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84"/>
        <p:cNvGrpSpPr/>
        <p:nvPr/>
      </p:nvGrpSpPr>
      <p:grpSpPr>
        <a:xfrm>
          <a:off x="0" y="0"/>
          <a:ext cx="0" cy="0"/>
          <a:chOff x="0" y="0"/>
          <a:chExt cx="0" cy="0"/>
        </a:xfrm>
      </p:grpSpPr>
      <p:sp>
        <p:nvSpPr>
          <p:cNvPr id="6885" name="Google Shape;6885;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886" name="Google Shape;6886;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6887" name="Google Shape;6887;p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18</a:t>
            </a:fld>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619"/>
        <p:cNvGrpSpPr/>
        <p:nvPr/>
      </p:nvGrpSpPr>
      <p:grpSpPr>
        <a:xfrm>
          <a:off x="0" y="0"/>
          <a:ext cx="0" cy="0"/>
          <a:chOff x="0" y="0"/>
          <a:chExt cx="0" cy="0"/>
        </a:xfrm>
      </p:grpSpPr>
      <p:sp>
        <p:nvSpPr>
          <p:cNvPr id="16620" name="Google Shape;16620;g35b7e9ef692_0_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6621" name="Google Shape;16621;g35b7e9ef692_0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604"/>
        <p:cNvGrpSpPr/>
        <p:nvPr/>
      </p:nvGrpSpPr>
      <p:grpSpPr>
        <a:xfrm>
          <a:off x="0" y="0"/>
          <a:ext cx="0" cy="0"/>
          <a:chOff x="0" y="0"/>
          <a:chExt cx="0" cy="0"/>
        </a:xfrm>
      </p:grpSpPr>
      <p:sp>
        <p:nvSpPr>
          <p:cNvPr id="16605" name="Google Shape;16605;p27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dirty="0"/>
              <a:t>For those who are pumping or those who need a quiet place to go or to pray.</a:t>
            </a:r>
            <a:endParaRPr dirty="0"/>
          </a:p>
        </p:txBody>
      </p:sp>
      <p:sp>
        <p:nvSpPr>
          <p:cNvPr id="16606" name="Google Shape;16606;p27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EC920B-48D5-2A0D-39EA-55F0EAF9F4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FEB938-67D6-37C7-F20F-41EF76ECC3D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0ABDD1-F82F-3507-991F-34F3C345051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39FEBF9-6215-F7E9-659F-30FAC11570C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7C1333-85B3-43F2-B15D-AE45883927E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65420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557"/>
        <p:cNvGrpSpPr/>
        <p:nvPr/>
      </p:nvGrpSpPr>
      <p:grpSpPr>
        <a:xfrm>
          <a:off x="0" y="0"/>
          <a:ext cx="0" cy="0"/>
          <a:chOff x="0" y="0"/>
          <a:chExt cx="0" cy="0"/>
        </a:xfrm>
      </p:grpSpPr>
      <p:sp>
        <p:nvSpPr>
          <p:cNvPr id="20558" name="Google Shape;20558;p4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559" name="Google Shape;20559;p4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dirty="0"/>
              <a:t>Can we remove from neonatal day, and put in a webinar? </a:t>
            </a:r>
            <a:endParaRPr dirty="0"/>
          </a:p>
        </p:txBody>
      </p:sp>
      <p:sp>
        <p:nvSpPr>
          <p:cNvPr id="20560" name="Google Shape;20560;p49: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26</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97"/>
        <p:cNvGrpSpPr/>
        <p:nvPr/>
      </p:nvGrpSpPr>
      <p:grpSpPr>
        <a:xfrm>
          <a:off x="0" y="0"/>
          <a:ext cx="0" cy="0"/>
          <a:chOff x="0" y="0"/>
          <a:chExt cx="0" cy="0"/>
        </a:xfrm>
      </p:grpSpPr>
      <p:sp>
        <p:nvSpPr>
          <p:cNvPr id="20098" name="Google Shape;20098;p23:notes"/>
          <p:cNvSpPr txBox="1">
            <a:spLocks noGrp="1"/>
          </p:cNvSpPr>
          <p:nvPr>
            <p:ph type="body" idx="1"/>
          </p:nvPr>
        </p:nvSpPr>
        <p:spPr>
          <a:xfrm>
            <a:off x="685800" y="4400550"/>
            <a:ext cx="5486400" cy="3600450"/>
          </a:xfrm>
          <a:prstGeom prst="rect">
            <a:avLst/>
          </a:prstGeom>
          <a:noFill/>
          <a:ln>
            <a:noFill/>
          </a:ln>
        </p:spPr>
        <p:txBody>
          <a:bodyPr spcFirstLastPara="1" wrap="square" lIns="91400" tIns="45700" rIns="91400" bIns="45700" anchor="t" anchorCtr="0">
            <a:noAutofit/>
          </a:bodyPr>
          <a:lstStyle/>
          <a:p>
            <a:pPr marL="0" lvl="0" indent="0" algn="l" rtl="0">
              <a:spcBef>
                <a:spcPts val="0"/>
              </a:spcBef>
              <a:spcAft>
                <a:spcPts val="0"/>
              </a:spcAft>
              <a:buNone/>
            </a:pPr>
            <a:endParaRPr/>
          </a:p>
        </p:txBody>
      </p:sp>
      <p:sp>
        <p:nvSpPr>
          <p:cNvPr id="20099" name="Google Shape;20099;p2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to rotating slides </a:t>
            </a:r>
          </a:p>
        </p:txBody>
      </p:sp>
      <p:sp>
        <p:nvSpPr>
          <p:cNvPr id="4" name="Slide Number Placeholder 3"/>
          <p:cNvSpPr>
            <a:spLocks noGrp="1"/>
          </p:cNvSpPr>
          <p:nvPr>
            <p:ph type="sldNum" sz="quarter" idx="5"/>
          </p:nvPr>
        </p:nvSpPr>
        <p:spPr/>
        <p:txBody>
          <a:bodyPr/>
          <a:lstStyle/>
          <a:p>
            <a:fld id="{737C1333-85B3-43F2-B15D-AE45883927EA}" type="slidenum">
              <a:rPr lang="en-US" smtClean="0"/>
              <a:t>29</a:t>
            </a:fld>
            <a:endParaRPr lang="en-US"/>
          </a:p>
        </p:txBody>
      </p:sp>
    </p:spTree>
    <p:extLst>
      <p:ext uri="{BB962C8B-B14F-4D97-AF65-F5344CB8AC3E}">
        <p14:creationId xmlns:p14="http://schemas.microsoft.com/office/powerpoint/2010/main" val="9182224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Google Shape;3619;p2:notes">
            <a:extLst>
              <a:ext uri="{FF2B5EF4-FFF2-40B4-BE49-F238E27FC236}">
                <a16:creationId xmlns:a16="http://schemas.microsoft.com/office/drawing/2014/main" id="{F1AF8D06-C42C-08BC-4C8B-0B671661334A}"/>
              </a:ext>
            </a:extLst>
          </p:cNvPr>
          <p:cNvSpPr>
            <a:spLocks noGrp="1" noRot="1" noChangeAspect="1"/>
          </p:cNvSpPr>
          <p:nvPr>
            <p:ph type="sldImg"/>
          </p:nvPr>
        </p:nvSpPr>
        <p:spPr>
          <a:xfrm>
            <a:off x="685800" y="1143000"/>
            <a:ext cx="5486400" cy="3086100"/>
          </a:xfrm>
          <a:ln w="12701" cap="flat">
            <a:solidFill>
              <a:srgbClr val="000000"/>
            </a:solidFill>
            <a:prstDash val="solid"/>
            <a:round/>
          </a:ln>
        </p:spPr>
      </p:sp>
      <p:sp>
        <p:nvSpPr>
          <p:cNvPr id="3" name="Google Shape;3620;p2:notes">
            <a:extLst>
              <a:ext uri="{FF2B5EF4-FFF2-40B4-BE49-F238E27FC236}">
                <a16:creationId xmlns:a16="http://schemas.microsoft.com/office/drawing/2014/main" id="{BEE65242-4E74-7E46-33CE-291202AA38FD}"/>
              </a:ext>
            </a:extLst>
          </p:cNvPr>
          <p:cNvSpPr txBox="1">
            <a:spLocks noGrp="1"/>
          </p:cNvSpPr>
          <p:nvPr>
            <p:ph type="body" sz="quarter" idx="1"/>
          </p:nvPr>
        </p:nvSpPr>
        <p:spPr/>
        <p:txBody>
          <a:bodyPr lIns="91421" tIns="45701" rIns="91421" bIns="45701"/>
          <a:lstStyle/>
          <a:p>
            <a:endParaRPr lang="en-US"/>
          </a:p>
        </p:txBody>
      </p:sp>
      <p:sp>
        <p:nvSpPr>
          <p:cNvPr id="4" name="Google Shape;3621;p2:notes">
            <a:extLst>
              <a:ext uri="{FF2B5EF4-FFF2-40B4-BE49-F238E27FC236}">
                <a16:creationId xmlns:a16="http://schemas.microsoft.com/office/drawing/2014/main" id="{03140D0B-5EF6-5C4E-3DA8-A5188C5BA58C}"/>
              </a:ext>
            </a:extLst>
          </p:cNvPr>
          <p:cNvSpPr txBox="1"/>
          <p:nvPr/>
        </p:nvSpPr>
        <p:spPr>
          <a:xfrm>
            <a:off x="3884608" y="8685208"/>
            <a:ext cx="2971800" cy="458791"/>
          </a:xfrm>
          <a:prstGeom prst="rect">
            <a:avLst/>
          </a:prstGeom>
          <a:noFill/>
          <a:ln cap="flat">
            <a:noFill/>
          </a:ln>
        </p:spPr>
        <p:txBody>
          <a:bodyPr vert="horz" wrap="square" lIns="91421" tIns="45701" rIns="91421" bIns="45701" anchor="b"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A0E438B8-6FEC-4155-A73D-1BC30ABF8D8A}" type="slidenum">
              <a:t>2</a:t>
            </a:fld>
            <a:endParaRPr lang="en-US" sz="1200" b="0" i="0" u="none" strike="noStrike" kern="1200" cap="none" spc="0" baseline="0">
              <a:solidFill>
                <a:srgbClr val="000000"/>
              </a:solidFill>
              <a:uFillTx/>
              <a:latin typeface="Calibri"/>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17233E-5D7E-6B3F-C9AC-9A9E1315DA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0EF3DF-7B1C-4E5E-13F2-64BD0FA7FF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8F790B2-228D-138F-87C5-A32C69A0C50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993204B-50A8-4E26-122F-2E79B12B0AF8}"/>
              </a:ext>
            </a:extLst>
          </p:cNvPr>
          <p:cNvSpPr>
            <a:spLocks noGrp="1"/>
          </p:cNvSpPr>
          <p:nvPr>
            <p:ph type="sldNum" sz="quarter" idx="5"/>
          </p:nvPr>
        </p:nvSpPr>
        <p:spPr/>
        <p:txBody>
          <a:bodyPr/>
          <a:lstStyle/>
          <a:p>
            <a:fld id="{737C1333-85B3-43F2-B15D-AE45883927EA}" type="slidenum">
              <a:rPr lang="en-US" smtClean="0"/>
              <a:t>30</a:t>
            </a:fld>
            <a:endParaRPr lang="en-US"/>
          </a:p>
        </p:txBody>
      </p:sp>
    </p:spTree>
    <p:extLst>
      <p:ext uri="{BB962C8B-B14F-4D97-AF65-F5344CB8AC3E}">
        <p14:creationId xmlns:p14="http://schemas.microsoft.com/office/powerpoint/2010/main" val="7918844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58AE31-44DF-4B3C-AF6C-C155431FD4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95162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030851-0D57-6D3A-5BB7-063778A5B85E}"/>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0AC55694-CFB2-A42E-E90E-6E2A92C8A804}"/>
              </a:ext>
            </a:extLst>
          </p:cNvPr>
          <p:cNvSpPr txBox="1">
            <a:spLocks noGrp="1"/>
          </p:cNvSpPr>
          <p:nvPr>
            <p:ph type="body" sz="quarter" idx="1"/>
          </p:nvPr>
        </p:nvSpPr>
        <p:spPr/>
        <p:txBody>
          <a:bodyPr/>
          <a:lstStyle/>
          <a:p>
            <a:endParaRPr lang="en-US"/>
          </a:p>
        </p:txBody>
      </p:sp>
      <p:sp>
        <p:nvSpPr>
          <p:cNvPr id="4" name="Slide Number Placeholder 3">
            <a:extLst>
              <a:ext uri="{FF2B5EF4-FFF2-40B4-BE49-F238E27FC236}">
                <a16:creationId xmlns:a16="http://schemas.microsoft.com/office/drawing/2014/main" id="{54456CB0-9385-82B3-E3D3-FA78AA01813C}"/>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fld id="{F63DE0B7-128E-4D7B-99C3-099AC95E5395}" type="slidenum">
              <a:rPr kumimoji="0" sz="1800" b="0" i="0" u="none" strike="noStrike" kern="0" cap="none" spc="0" normalizeH="0" baseline="0" noProof="0">
                <a:ln>
                  <a:noFill/>
                </a:ln>
                <a:solidFill>
                  <a:srgbClr val="000000"/>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t>5</a:t>
            </a:fld>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36505788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17"/>
        <p:cNvGrpSpPr/>
        <p:nvPr/>
      </p:nvGrpSpPr>
      <p:grpSpPr>
        <a:xfrm>
          <a:off x="0" y="0"/>
          <a:ext cx="0" cy="0"/>
          <a:chOff x="0" y="0"/>
          <a:chExt cx="0" cy="0"/>
        </a:xfrm>
      </p:grpSpPr>
      <p:sp>
        <p:nvSpPr>
          <p:cNvPr id="9018" name="Google Shape;9018;p5:notes"/>
          <p:cNvSpPr txBox="1">
            <a:spLocks noGrp="1"/>
          </p:cNvSpPr>
          <p:nvPr>
            <p:ph type="body" idx="1"/>
          </p:nvPr>
        </p:nvSpPr>
        <p:spPr>
          <a:xfrm>
            <a:off x="1219200" y="3257550"/>
            <a:ext cx="9753600" cy="30861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a:t>Make more consistent. </a:t>
            </a:r>
            <a:endParaRPr/>
          </a:p>
        </p:txBody>
      </p:sp>
      <p:sp>
        <p:nvSpPr>
          <p:cNvPr id="9019" name="Google Shape;9019;p5:notes"/>
          <p:cNvSpPr>
            <a:spLocks noGrp="1" noRot="1" noChangeAspect="1"/>
          </p:cNvSpPr>
          <p:nvPr>
            <p:ph type="sldImg" idx="2"/>
          </p:nvPr>
        </p:nvSpPr>
        <p:spPr>
          <a:xfrm>
            <a:off x="3810000" y="514350"/>
            <a:ext cx="4573588" cy="25717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8366025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nd up if you are a bedside nurse recipient.</a:t>
            </a:r>
          </a:p>
        </p:txBody>
      </p:sp>
      <p:sp>
        <p:nvSpPr>
          <p:cNvPr id="4" name="Slide Number Placeholder 3"/>
          <p:cNvSpPr>
            <a:spLocks noGrp="1"/>
          </p:cNvSpPr>
          <p:nvPr>
            <p:ph type="sldNum" sz="quarter" idx="5"/>
          </p:nvPr>
        </p:nvSpPr>
        <p:spPr/>
        <p:txBody>
          <a:bodyPr/>
          <a:lstStyle/>
          <a:p>
            <a:fld id="{ED5DC79B-8FAC-4387-9654-6F7DBAE16094}" type="slidenum">
              <a:rPr lang="en-US" smtClean="0"/>
              <a:t>7</a:t>
            </a:fld>
            <a:endParaRPr lang="en-US"/>
          </a:p>
        </p:txBody>
      </p:sp>
    </p:spTree>
    <p:extLst>
      <p:ext uri="{BB962C8B-B14F-4D97-AF65-F5344CB8AC3E}">
        <p14:creationId xmlns:p14="http://schemas.microsoft.com/office/powerpoint/2010/main" val="10256303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nd up if you are a parent partner.</a:t>
            </a:r>
          </a:p>
        </p:txBody>
      </p:sp>
      <p:sp>
        <p:nvSpPr>
          <p:cNvPr id="4" name="Slide Number Placeholder 3"/>
          <p:cNvSpPr>
            <a:spLocks noGrp="1"/>
          </p:cNvSpPr>
          <p:nvPr>
            <p:ph type="sldNum" sz="quarter" idx="5"/>
          </p:nvPr>
        </p:nvSpPr>
        <p:spPr/>
        <p:txBody>
          <a:bodyPr/>
          <a:lstStyle/>
          <a:p>
            <a:fld id="{737C1333-85B3-43F2-B15D-AE45883927EA}" type="slidenum">
              <a:rPr lang="en-US" smtClean="0"/>
              <a:t>8</a:t>
            </a:fld>
            <a:endParaRPr lang="en-US"/>
          </a:p>
        </p:txBody>
      </p:sp>
    </p:spTree>
    <p:extLst>
      <p:ext uri="{BB962C8B-B14F-4D97-AF65-F5344CB8AC3E}">
        <p14:creationId xmlns:p14="http://schemas.microsoft.com/office/powerpoint/2010/main" val="23843433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475">
          <a:extLst>
            <a:ext uri="{FF2B5EF4-FFF2-40B4-BE49-F238E27FC236}">
              <a16:creationId xmlns:a16="http://schemas.microsoft.com/office/drawing/2014/main" id="{47B49D44-940A-46A8-A61E-9AEC2E6BE1CA}"/>
            </a:ext>
          </a:extLst>
        </p:cNvPr>
        <p:cNvGrpSpPr/>
        <p:nvPr/>
      </p:nvGrpSpPr>
      <p:grpSpPr>
        <a:xfrm>
          <a:off x="0" y="0"/>
          <a:ext cx="0" cy="0"/>
          <a:chOff x="0" y="0"/>
          <a:chExt cx="0" cy="0"/>
        </a:xfrm>
      </p:grpSpPr>
      <p:sp>
        <p:nvSpPr>
          <p:cNvPr id="51476" name="Google Shape;51476;p7:notes">
            <a:extLst>
              <a:ext uri="{FF2B5EF4-FFF2-40B4-BE49-F238E27FC236}">
                <a16:creationId xmlns:a16="http://schemas.microsoft.com/office/drawing/2014/main" id="{CD3EDB3B-3ED5-EA6E-0A81-5C0730805459}"/>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1477" name="Google Shape;51477;p7:notes">
            <a:extLst>
              <a:ext uri="{FF2B5EF4-FFF2-40B4-BE49-F238E27FC236}">
                <a16:creationId xmlns:a16="http://schemas.microsoft.com/office/drawing/2014/main" id="{1A5356A8-636B-485A-4631-B8E22D86B6E4}"/>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Clr>
                <a:srgbClr val="000000"/>
              </a:buClr>
              <a:buSzPts val="1400"/>
              <a:buFont typeface="Arial"/>
              <a:buNone/>
            </a:pPr>
            <a:endParaRPr lang="en-US"/>
          </a:p>
        </p:txBody>
      </p:sp>
      <p:sp>
        <p:nvSpPr>
          <p:cNvPr id="51478" name="Google Shape;51478;p7:notes">
            <a:extLst>
              <a:ext uri="{FF2B5EF4-FFF2-40B4-BE49-F238E27FC236}">
                <a16:creationId xmlns:a16="http://schemas.microsoft.com/office/drawing/2014/main" id="{56B55F20-8772-4325-CFE8-C97E7521D2B9}"/>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0</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9071754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41"/>
        <p:cNvGrpSpPr/>
        <p:nvPr/>
      </p:nvGrpSpPr>
      <p:grpSpPr>
        <a:xfrm>
          <a:off x="0" y="0"/>
          <a:ext cx="0" cy="0"/>
          <a:chOff x="0" y="0"/>
          <a:chExt cx="0" cy="0"/>
        </a:xfrm>
      </p:grpSpPr>
      <p:sp>
        <p:nvSpPr>
          <p:cNvPr id="6842" name="Google Shape;6842;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dirty="0"/>
              <a:t>Find this in your folder and get it out!</a:t>
            </a:r>
            <a:endParaRPr dirty="0"/>
          </a:p>
        </p:txBody>
      </p:sp>
      <p:sp>
        <p:nvSpPr>
          <p:cNvPr id="6843" name="Google Shape;6843;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00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00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00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00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00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0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006.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00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0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0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10.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011.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0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0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0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0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0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0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0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0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20.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02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02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0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0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0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02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0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0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0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0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0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0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03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035.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03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03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03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03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0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04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Master" Target="../slideMasters/slideMaster5.xml"/></Relationships>
</file>

<file path=ppt/slideLayouts/_rels/slideLayout1043.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5.xml"/></Relationships>
</file>

<file path=ppt/slideLayouts/_rels/slideLayout104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104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1046.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5.xml"/></Relationships>
</file>

<file path=ppt/slideLayouts/_rels/slideLayout1047.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5.xml"/></Relationships>
</file>

<file path=ppt/slideLayouts/_rels/slideLayout104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77.png"/><Relationship Id="rId1" Type="http://schemas.openxmlformats.org/officeDocument/2006/relationships/slideMaster" Target="../slideMasters/slideMaster5.xml"/></Relationships>
</file>

<file path=ppt/slideLayouts/_rels/slideLayout104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78.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5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5.xml"/></Relationships>
</file>

<file path=ppt/slideLayouts/_rels/slideLayout105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05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05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0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05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2.xml"/><Relationship Id="rId6" Type="http://schemas.openxmlformats.org/officeDocument/2006/relationships/image" Target="../media/image55.emf"/><Relationship Id="rId5" Type="http://schemas.openxmlformats.org/officeDocument/2006/relationships/image" Target="../media/image54.emf"/><Relationship Id="rId4" Type="http://schemas.openxmlformats.org/officeDocument/2006/relationships/image" Target="../media/image53.emf"/></Relationships>
</file>

<file path=ppt/slideLayouts/_rels/slideLayout1056.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6.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1.bin"/><Relationship Id="rId5" Type="http://schemas.openxmlformats.org/officeDocument/2006/relationships/image" Target="../media/image53.emf"/><Relationship Id="rId4" Type="http://schemas.openxmlformats.org/officeDocument/2006/relationships/oleObject" Target="../embeddings/oleObject2.bin"/></Relationships>
</file>

<file path=ppt/slideLayouts/_rels/slideLayout10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058.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6.jpe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1.bin"/><Relationship Id="rId5" Type="http://schemas.openxmlformats.org/officeDocument/2006/relationships/image" Target="../media/image53.emf"/><Relationship Id="rId4" Type="http://schemas.openxmlformats.org/officeDocument/2006/relationships/oleObject" Target="../embeddings/oleObject2.bin"/></Relationships>
</file>

<file path=ppt/slideLayouts/_rels/slideLayout1059.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6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83.png"/><Relationship Id="rId1" Type="http://schemas.openxmlformats.org/officeDocument/2006/relationships/slideMaster" Target="../slideMasters/slideMaster5.xml"/></Relationships>
</file>

<file path=ppt/slideLayouts/_rels/slideLayout10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06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063.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5.xml"/></Relationships>
</file>

<file path=ppt/slideLayouts/_rels/slideLayout106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5.xml"/></Relationships>
</file>

<file path=ppt/slideLayouts/_rels/slideLayout106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106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106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1068.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106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70.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0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0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073.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074.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07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07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07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0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079.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80.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08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08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0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0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0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08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08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088.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089.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90.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09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09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09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094.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0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096.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09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09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09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0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10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10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10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10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10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106.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10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10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10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1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11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11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113.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1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1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11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111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111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12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12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12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12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12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1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12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112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112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3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13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13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13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13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5.xml"/></Relationships>
</file>

<file path=ppt/slideLayouts/_rels/slideLayout113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5.xml"/></Relationships>
</file>

<file path=ppt/slideLayouts/_rels/slideLayout113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5.xml"/></Relationships>
</file>

<file path=ppt/slideLayouts/_rels/slideLayout113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5.xml"/></Relationships>
</file>

<file path=ppt/slideLayouts/_rels/slideLayout113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5.xml"/></Relationships>
</file>

<file path=ppt/slideLayouts/_rels/slideLayout113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4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5.xml"/></Relationships>
</file>

<file path=ppt/slideLayouts/_rels/slideLayout114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5.xml"/></Relationships>
</file>

<file path=ppt/slideLayouts/_rels/slideLayout114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5.xml"/></Relationships>
</file>

<file path=ppt/slideLayouts/_rels/slideLayout114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5.xml"/></Relationships>
</file>

<file path=ppt/slideLayouts/_rels/slideLayout114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14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14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14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14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14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50.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5.xml"/></Relationships>
</file>

<file path=ppt/slideLayouts/_rels/slideLayout1151.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5.xml"/></Relationships>
</file>

<file path=ppt/slideLayouts/_rels/slideLayout115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5.xml"/></Relationships>
</file>

<file path=ppt/slideLayouts/_rels/slideLayout1153.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15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15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15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15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15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15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6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7.xml"/><Relationship Id="rId6" Type="http://schemas.openxmlformats.org/officeDocument/2006/relationships/image" Target="../media/image55.emf"/><Relationship Id="rId5" Type="http://schemas.openxmlformats.org/officeDocument/2006/relationships/image" Target="../media/image54.emf"/><Relationship Id="rId4" Type="http://schemas.openxmlformats.org/officeDocument/2006/relationships/image" Target="../media/image53.emf"/></Relationships>
</file>

<file path=ppt/slideLayouts/_rels/slideLayout1161.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6.jpe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oleObject" Target="../embeddings/oleObject1.bin"/><Relationship Id="rId5" Type="http://schemas.openxmlformats.org/officeDocument/2006/relationships/image" Target="../media/image53.emf"/><Relationship Id="rId4" Type="http://schemas.openxmlformats.org/officeDocument/2006/relationships/oleObject" Target="../embeddings/oleObject2.bin"/></Relationships>
</file>

<file path=ppt/slideLayouts/_rels/slideLayout1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1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16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Master" Target="../slideMasters/slideMaster5.xml"/></Relationships>
</file>

<file path=ppt/slideLayouts/_rels/slideLayout116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5.xml"/></Relationships>
</file>

<file path=ppt/slideLayouts/_rels/slideLayout116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1167.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5.xml"/></Relationships>
</file>

<file path=ppt/slideLayouts/_rels/slideLayout116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116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7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5.xml"/></Relationships>
</file>

<file path=ppt/slideLayouts/_rels/slideLayout11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17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1173.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5.xml"/></Relationships>
</file>

<file path=ppt/slideLayouts/_rels/slideLayout117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5.xml"/></Relationships>
</file>

<file path=ppt/slideLayouts/_rels/slideLayout117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5.xml"/></Relationships>
</file>

<file path=ppt/slideLayouts/_rels/slideLayout117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1177.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5.xml"/></Relationships>
</file>

<file path=ppt/slideLayouts/_rels/slideLayout117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Master" Target="../slideMasters/slideMaster5.xml"/></Relationships>
</file>

<file path=ppt/slideLayouts/_rels/slideLayout11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1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181.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68.jpe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1.bin"/><Relationship Id="rId5" Type="http://schemas.openxmlformats.org/officeDocument/2006/relationships/image" Target="../media/image53.emf"/><Relationship Id="rId4" Type="http://schemas.openxmlformats.org/officeDocument/2006/relationships/oleObject" Target="../embeddings/oleObject2.bin"/></Relationships>
</file>

<file path=ppt/slideLayouts/_rels/slideLayout1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5.xml"/><Relationship Id="rId1" Type="http://schemas.openxmlformats.org/officeDocument/2006/relationships/tags" Target="../tags/tag12.xml"/></Relationships>
</file>

<file path=ppt/slideLayouts/_rels/slideLayout11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1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18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11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8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slideMaster" Target="../slideMasters/slideMaster5.xml"/><Relationship Id="rId1" Type="http://schemas.openxmlformats.org/officeDocument/2006/relationships/tags" Target="../tags/tag13.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19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5.xml"/><Relationship Id="rId1" Type="http://schemas.openxmlformats.org/officeDocument/2006/relationships/tags" Target="../tags/tag14.xml"/></Relationships>
</file>

<file path=ppt/slideLayouts/_rels/slideLayout119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19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19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83.png"/><Relationship Id="rId1" Type="http://schemas.openxmlformats.org/officeDocument/2006/relationships/slideMaster" Target="../slideMasters/slideMaster5.xml"/></Relationships>
</file>

<file path=ppt/slideLayouts/_rels/slideLayout1194.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image" Target="../media/image84.png"/><Relationship Id="rId1" Type="http://schemas.openxmlformats.org/officeDocument/2006/relationships/slideMaster" Target="../slideMasters/slideMaster5.xml"/></Relationships>
</file>

<file path=ppt/slideLayouts/_rels/slideLayout1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200.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5.xml"/></Relationships>
</file>

<file path=ppt/slideLayouts/_rels/slideLayout1201.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68.jpe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1.bin"/><Relationship Id="rId5" Type="http://schemas.openxmlformats.org/officeDocument/2006/relationships/image" Target="../media/image53.emf"/><Relationship Id="rId4" Type="http://schemas.openxmlformats.org/officeDocument/2006/relationships/oleObject" Target="../embeddings/oleObject2.bin"/></Relationships>
</file>

<file path=ppt/slideLayouts/_rels/slideLayout120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0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5.xml"/><Relationship Id="rId1" Type="http://schemas.openxmlformats.org/officeDocument/2006/relationships/tags" Target="../tags/tag17.xml"/></Relationships>
</file>

<file path=ppt/slideLayouts/_rels/slideLayout120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12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2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20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5.xml"/><Relationship Id="rId1" Type="http://schemas.openxmlformats.org/officeDocument/2006/relationships/tags" Target="../tags/tag18.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2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21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12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13.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14.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21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21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21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21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21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220.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22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22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22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22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22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226.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2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228.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29.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230.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3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19.xml"/><Relationship Id="rId6" Type="http://schemas.openxmlformats.org/officeDocument/2006/relationships/image" Target="../media/image55.emf"/><Relationship Id="rId5" Type="http://schemas.openxmlformats.org/officeDocument/2006/relationships/image" Target="../media/image54.emf"/><Relationship Id="rId4" Type="http://schemas.openxmlformats.org/officeDocument/2006/relationships/image" Target="../media/image53.emf"/></Relationships>
</file>

<file path=ppt/slideLayouts/_rels/slideLayout123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33.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234.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2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2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2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23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2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4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24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24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24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20.xml"/><Relationship Id="rId6" Type="http://schemas.openxmlformats.org/officeDocument/2006/relationships/image" Target="../media/image55.emf"/><Relationship Id="rId5" Type="http://schemas.openxmlformats.org/officeDocument/2006/relationships/image" Target="../media/image54.emf"/><Relationship Id="rId4" Type="http://schemas.openxmlformats.org/officeDocument/2006/relationships/image" Target="../media/image53.emf"/></Relationships>
</file>

<file path=ppt/slideLayouts/_rels/slideLayout1246.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6.jpe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oleObject" Target="../embeddings/oleObject1.bin"/><Relationship Id="rId5" Type="http://schemas.openxmlformats.org/officeDocument/2006/relationships/image" Target="../media/image53.emf"/><Relationship Id="rId4" Type="http://schemas.openxmlformats.org/officeDocument/2006/relationships/oleObject" Target="../embeddings/oleObject2.bin"/></Relationships>
</file>

<file path=ppt/slideLayouts/_rels/slideLayout124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24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2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25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25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5.xml"/><Relationship Id="rId1" Type="http://schemas.openxmlformats.org/officeDocument/2006/relationships/tags" Target="../tags/tag23.xml"/></Relationships>
</file>

<file path=ppt/slideLayouts/_rels/slideLayout125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5.xml"/><Relationship Id="rId1" Type="http://schemas.openxmlformats.org/officeDocument/2006/relationships/tags" Target="../tags/tag24.xml"/></Relationships>
</file>

<file path=ppt/slideLayouts/_rels/slideLayout12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25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25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25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2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2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25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260.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5.xml"/></Relationships>
</file>

<file path=ppt/slideLayouts/_rels/slideLayout126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26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68.jpe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oleObject" Target="../embeddings/oleObject1.bin"/><Relationship Id="rId5" Type="http://schemas.openxmlformats.org/officeDocument/2006/relationships/image" Target="../media/image53.emf"/><Relationship Id="rId4" Type="http://schemas.openxmlformats.org/officeDocument/2006/relationships/oleObject" Target="../embeddings/oleObject2.bin"/></Relationships>
</file>

<file path=ppt/slideLayouts/_rels/slideLayout12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26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26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266.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26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26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26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27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27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27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2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7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7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76.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7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7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7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28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8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8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28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128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8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slideMaster" Target="../slideMasters/slideMaster5.xml"/><Relationship Id="rId1" Type="http://schemas.openxmlformats.org/officeDocument/2006/relationships/tags" Target="../tags/tag27.xml"/></Relationships>
</file>

<file path=ppt/slideLayouts/_rels/slideLayout128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5.xml"/><Relationship Id="rId1" Type="http://schemas.openxmlformats.org/officeDocument/2006/relationships/tags" Target="../tags/tag28.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290.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91.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29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29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29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295.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296.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29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29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29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0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30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30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303.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304.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305.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306.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07.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30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29.xml"/><Relationship Id="rId6" Type="http://schemas.openxmlformats.org/officeDocument/2006/relationships/image" Target="../media/image55.emf"/><Relationship Id="rId5" Type="http://schemas.openxmlformats.org/officeDocument/2006/relationships/image" Target="../media/image54.emf"/><Relationship Id="rId4" Type="http://schemas.openxmlformats.org/officeDocument/2006/relationships/image" Target="../media/image53.emf"/></Relationships>
</file>

<file path=ppt/slideLayouts/_rels/slideLayout1309.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310.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31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3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3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3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31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3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3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31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3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3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32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30.xml"/><Relationship Id="rId6" Type="http://schemas.openxmlformats.org/officeDocument/2006/relationships/image" Target="../media/image55.emf"/><Relationship Id="rId5" Type="http://schemas.openxmlformats.org/officeDocument/2006/relationships/image" Target="../media/image54.emf"/><Relationship Id="rId4" Type="http://schemas.openxmlformats.org/officeDocument/2006/relationships/image" Target="../media/image53.emf"/></Relationships>
</file>

<file path=ppt/slideLayouts/_rels/slideLayout1323.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6.jpe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oleObject" Target="../embeddings/oleObject1.bin"/><Relationship Id="rId5" Type="http://schemas.openxmlformats.org/officeDocument/2006/relationships/image" Target="../media/image53.emf"/><Relationship Id="rId4" Type="http://schemas.openxmlformats.org/officeDocument/2006/relationships/oleObject" Target="../embeddings/oleObject2.bin"/></Relationships>
</file>

<file path=ppt/slideLayouts/_rels/slideLayout132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3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3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32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3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5.xml"/><Relationship Id="rId1" Type="http://schemas.openxmlformats.org/officeDocument/2006/relationships/tags" Target="../tags/tag33.xml"/></Relationships>
</file>

<file path=ppt/slideLayouts/_rels/slideLayout132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5.xml"/><Relationship Id="rId1" Type="http://schemas.openxmlformats.org/officeDocument/2006/relationships/tags" Target="../tags/tag34.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3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5.xml"/><Relationship Id="rId1" Type="http://schemas.openxmlformats.org/officeDocument/2006/relationships/tags" Target="../tags/tag35.xml"/></Relationships>
</file>

<file path=ppt/slideLayouts/_rels/slideLayout1331.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3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333.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33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133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133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133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133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133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34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1341.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3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3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3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3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3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3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3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35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3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3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3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3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3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3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36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6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37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7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7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7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7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7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7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37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38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38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38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38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38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38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38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38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38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38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39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39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9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39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39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39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39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39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39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39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40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40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40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40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4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0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40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40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40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40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41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141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41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41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41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4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41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41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41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141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420.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142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42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42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42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42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42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42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42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42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43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4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43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4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43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4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4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43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4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4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4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44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1442.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6.xml"/></Relationships>
</file>

<file path=ppt/slideLayouts/_rels/slideLayout144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4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6.xml"/></Relationships>
</file>

<file path=ppt/slideLayouts/_rels/slideLayout144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44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44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45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jpeg"/><Relationship Id="rId1" Type="http://schemas.openxmlformats.org/officeDocument/2006/relationships/slideMaster" Target="../slideMasters/slideMaster6.xml"/></Relationships>
</file>

<file path=ppt/slideLayouts/_rels/slideLayout145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Master" Target="../slideMasters/slideMaster6.xml"/></Relationships>
</file>

<file path=ppt/slideLayouts/_rels/slideLayout1452.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jpeg"/><Relationship Id="rId1" Type="http://schemas.openxmlformats.org/officeDocument/2006/relationships/slideMaster" Target="../slideMasters/slideMaster6.xml"/></Relationships>
</file>

<file path=ppt/slideLayouts/_rels/slideLayout145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6.jpeg"/><Relationship Id="rId1" Type="http://schemas.openxmlformats.org/officeDocument/2006/relationships/slideMaster" Target="../slideMasters/slideMaster6.xml"/></Relationships>
</file>

<file path=ppt/slideLayouts/_rels/slideLayout145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7.jpeg"/><Relationship Id="rId1" Type="http://schemas.openxmlformats.org/officeDocument/2006/relationships/slideMaster" Target="../slideMasters/slideMaster6.xml"/></Relationships>
</file>

<file path=ppt/slideLayouts/_rels/slideLayout1455.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jpeg"/><Relationship Id="rId1" Type="http://schemas.openxmlformats.org/officeDocument/2006/relationships/slideMaster" Target="../slideMasters/slideMaster6.xml"/></Relationships>
</file>

<file path=ppt/slideLayouts/_rels/slideLayout14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8.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Master" Target="../slideMasters/slideMaster6.xml"/></Relationships>
</file>

<file path=ppt/slideLayouts/_rels/slideLayout1459.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2.pn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460.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image" Target="../media/image84.png"/><Relationship Id="rId1" Type="http://schemas.openxmlformats.org/officeDocument/2006/relationships/slideMaster" Target="../slideMasters/slideMaster6.xml"/></Relationships>
</file>

<file path=ppt/slideLayouts/_rels/slideLayout1461.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Master" Target="../slideMasters/slideMaster6.xml"/></Relationships>
</file>

<file path=ppt/slideLayouts/_rels/slideLayout1462.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6.xml"/></Relationships>
</file>

<file path=ppt/slideLayouts/_rels/slideLayout1463.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Master" Target="../slideMasters/slideMaster6.xml"/></Relationships>
</file>

<file path=ppt/slideLayouts/_rels/slideLayout14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5.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Master" Target="../slideMasters/slideMaster6.xml"/></Relationships>
</file>

<file path=ppt/slideLayouts/_rels/slideLayout14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46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92.png"/><Relationship Id="rId1" Type="http://schemas.openxmlformats.org/officeDocument/2006/relationships/slideMaster" Target="../slideMasters/slideMaster6.xml"/></Relationships>
</file>

<file path=ppt/slideLayouts/_rels/slideLayout1468.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96.jpeg"/><Relationship Id="rId1" Type="http://schemas.openxmlformats.org/officeDocument/2006/relationships/slideMaster" Target="../slideMasters/slideMaster6.xml"/></Relationships>
</file>

<file path=ppt/slideLayouts/_rels/slideLayout146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97.jpe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4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4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47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4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4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4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4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4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4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7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48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148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148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148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148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48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48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48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48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4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49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49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4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4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49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49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49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49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49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49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50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50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50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50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50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50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50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50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5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50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5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5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51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151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151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151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151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151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7.xml"/></Relationships>
</file>

<file path=ppt/slideLayouts/_rels/slideLayout151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7.xml"/></Relationships>
</file>

<file path=ppt/slideLayouts/_rels/slideLayout15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5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5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5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5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5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5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5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5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5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5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5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5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5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5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5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5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5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53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53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53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54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54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54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54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54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54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5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5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5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54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55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7.xml"/></Relationships>
</file>

<file path=ppt/slideLayouts/_rels/slideLayout155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7.xml"/></Relationships>
</file>

<file path=ppt/slideLayouts/_rels/slideLayout155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7.xml"/></Relationships>
</file>

<file path=ppt/slideLayouts/_rels/slideLayout155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7.xml"/></Relationships>
</file>

<file path=ppt/slideLayouts/_rels/slideLayout155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7.xml"/></Relationships>
</file>

<file path=ppt/slideLayouts/_rels/slideLayout155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7.xml"/></Relationships>
</file>

<file path=ppt/slideLayouts/_rels/slideLayout155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7.xml"/></Relationships>
</file>

<file path=ppt/slideLayouts/_rels/slideLayout155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7.xml"/></Relationships>
</file>

<file path=ppt/slideLayouts/_rels/slideLayout155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5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5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56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56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56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5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56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56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56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56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56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5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5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57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57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5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57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57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57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5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57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5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58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58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5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5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5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58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58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58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58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59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59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59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59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7.xml"/></Relationships>
</file>

<file path=ppt/slideLayouts/_rels/slideLayout159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7.xml"/></Relationships>
</file>

<file path=ppt/slideLayouts/_rels/slideLayout159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59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59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59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59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60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60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60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60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60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60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60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7.xml"/></Relationships>
</file>

<file path=ppt/slideLayouts/_rels/slideLayout160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7.xml"/></Relationships>
</file>

<file path=ppt/slideLayouts/_rels/slideLayout160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7.xml"/></Relationships>
</file>

<file path=ppt/slideLayouts/_rels/slideLayout160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61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7.xml"/></Relationships>
</file>

<file path=ppt/slideLayouts/_rels/slideLayout161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7.xml"/></Relationships>
</file>

<file path=ppt/slideLayouts/_rels/slideLayout161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7.xml"/></Relationships>
</file>

<file path=ppt/slideLayouts/_rels/slideLayout161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7.xml"/></Relationships>
</file>

<file path=ppt/slideLayouts/_rels/slideLayout161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7.xml"/></Relationships>
</file>

<file path=ppt/slideLayouts/_rels/slideLayout161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7.xml"/></Relationships>
</file>

<file path=ppt/slideLayouts/_rels/slideLayout161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16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82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82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82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7.xml"/></Relationships>
</file>

<file path=ppt/slideLayouts/_rels/slideLayout182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7.xml"/></Relationships>
</file>

<file path=ppt/slideLayouts/_rels/slideLayout182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8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8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8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8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8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8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8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8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8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8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8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84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84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84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84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84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84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84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84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85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7.xml"/></Relationships>
</file>

<file path=ppt/slideLayouts/_rels/slideLayout185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7.xml"/></Relationships>
</file>

<file path=ppt/slideLayouts/_rels/slideLayout185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85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85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85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85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7.xml"/></Relationships>
</file>

<file path=ppt/slideLayouts/_rels/slideLayout185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7.xml"/></Relationships>
</file>

<file path=ppt/slideLayouts/_rels/slideLayout185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7.xml"/></Relationships>
</file>

<file path=ppt/slideLayouts/_rels/slideLayout185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86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7.xml"/></Relationships>
</file>

<file path=ppt/slideLayouts/_rels/slideLayout186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7.xml"/></Relationships>
</file>

<file path=ppt/slideLayouts/_rels/slideLayout186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7.xml"/></Relationships>
</file>

<file path=ppt/slideLayouts/_rels/slideLayout186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7.xml"/></Relationships>
</file>

<file path=ppt/slideLayouts/_rels/slideLayout186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7.xml"/></Relationships>
</file>

<file path=ppt/slideLayouts/_rels/slideLayout186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7.xml"/></Relationships>
</file>

<file path=ppt/slideLayouts/_rels/slideLayout18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8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868.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70.png"/><Relationship Id="rId1" Type="http://schemas.openxmlformats.org/officeDocument/2006/relationships/slideMaster" Target="../slideMasters/slideMaster7.xml"/></Relationships>
</file>

<file path=ppt/slideLayouts/_rels/slideLayout1869.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87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60.png"/><Relationship Id="rId1" Type="http://schemas.openxmlformats.org/officeDocument/2006/relationships/slideMaster" Target="../slideMasters/slideMaster7.xml"/></Relationships>
</file>

<file path=ppt/slideLayouts/_rels/slideLayout187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60.png"/><Relationship Id="rId1" Type="http://schemas.openxmlformats.org/officeDocument/2006/relationships/slideMaster" Target="../slideMasters/slideMaster7.xml"/></Relationships>
</file>

<file path=ppt/slideLayouts/_rels/slideLayout1872.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7.xml"/></Relationships>
</file>

<file path=ppt/slideLayouts/_rels/slideLayout1873.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7.xml"/></Relationships>
</file>

<file path=ppt/slideLayouts/_rels/slideLayout187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77.png"/><Relationship Id="rId1" Type="http://schemas.openxmlformats.org/officeDocument/2006/relationships/slideMaster" Target="../slideMasters/slideMaster7.xml"/></Relationships>
</file>

<file path=ppt/slideLayouts/_rels/slideLayout1875.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78.png"/><Relationship Id="rId1" Type="http://schemas.openxmlformats.org/officeDocument/2006/relationships/slideMaster" Target="../slideMasters/slideMaster7.xml"/></Relationships>
</file>

<file path=ppt/slideLayouts/_rels/slideLayout187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187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7.xml"/></Relationships>
</file>

<file path=ppt/slideLayouts/_rels/slideLayout187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0.png"/><Relationship Id="rId1" Type="http://schemas.openxmlformats.org/officeDocument/2006/relationships/slideMaster" Target="../slideMasters/slideMaster7.xml"/></Relationships>
</file>

<file path=ppt/slideLayouts/_rels/slideLayout187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88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7.xml"/></Relationships>
</file>

<file path=ppt/slideLayouts/_rels/slideLayout188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Master" Target="../slideMasters/slideMaster7.xml"/></Relationships>
</file>

<file path=ppt/slideLayouts/_rels/slideLayout1882.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56.png"/><Relationship Id="rId1" Type="http://schemas.openxmlformats.org/officeDocument/2006/relationships/slideMaster" Target="../slideMasters/slideMaster7.xml"/></Relationships>
</file>

<file path=ppt/slideLayouts/_rels/slideLayout188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7.xml"/></Relationships>
</file>

<file path=ppt/slideLayouts/_rels/slideLayout188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7.xml"/></Relationships>
</file>

<file path=ppt/slideLayouts/_rels/slideLayout188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7.xml"/></Relationships>
</file>

<file path=ppt/slideLayouts/_rels/slideLayout188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88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0.png"/><Relationship Id="rId1" Type="http://schemas.openxmlformats.org/officeDocument/2006/relationships/slideMaster" Target="../slideMasters/slideMaster7.xml"/></Relationships>
</file>

<file path=ppt/slideLayouts/_rels/slideLayout188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7.xml"/></Relationships>
</file>

<file path=ppt/slideLayouts/_rels/slideLayout188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89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89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892.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7.xml"/></Relationships>
</file>

<file path=ppt/slideLayouts/_rels/slideLayout18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7.xml"/></Relationships>
</file>

<file path=ppt/slideLayouts/_rels/slideLayout18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89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189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899.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90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7.xml"/></Relationships>
</file>

<file path=ppt/slideLayouts/_rels/slideLayout190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90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90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90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90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90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90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90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90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91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91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91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91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91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7.xml"/></Relationships>
</file>

<file path=ppt/slideLayouts/_rels/slideLayout19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7.xml"/></Relationships>
</file>

<file path=ppt/slideLayouts/_rels/slideLayout19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91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92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92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92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92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92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92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92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92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92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92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93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93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7.xml"/></Relationships>
</file>

<file path=ppt/slideLayouts/_rels/slideLayout19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9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9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9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9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9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938.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9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9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94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9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9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9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9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9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9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9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94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19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9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9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95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19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9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9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9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9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19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9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9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9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96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9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9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9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9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9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19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9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9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97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9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9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9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9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9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9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98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9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9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98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98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98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98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98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98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98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99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99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199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199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199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199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199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199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199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199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200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200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200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00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200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00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0.xml"/></Relationships>
</file>

<file path=ppt/slideLayouts/_rels/slideLayout200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200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200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200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20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20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20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20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20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20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20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20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202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20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20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202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02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202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202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202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0.xml"/></Relationships>
</file>

<file path=ppt/slideLayouts/_rels/slideLayout202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0.xml"/></Relationships>
</file>

<file path=ppt/slideLayouts/_rels/slideLayout202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203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0.xml"/></Relationships>
</file>

<file path=ppt/slideLayouts/_rels/slideLayout203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0.xml"/></Relationships>
</file>

<file path=ppt/slideLayouts/_rels/slideLayout203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0.xml"/></Relationships>
</file>

<file path=ppt/slideLayouts/_rels/slideLayout203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0.xml"/></Relationships>
</file>

<file path=ppt/slideLayouts/_rels/slideLayout203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0.xml"/></Relationships>
</file>

<file path=ppt/slideLayouts/_rels/slideLayout203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0.xml"/></Relationships>
</file>

<file path=ppt/slideLayouts/_rels/slideLayout203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0.xml"/></Relationships>
</file>

<file path=ppt/slideLayouts/_rels/slideLayout20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1.png"/><Relationship Id="rId1" Type="http://schemas.openxmlformats.org/officeDocument/2006/relationships/slideMaster" Target="../slideMasters/slideMaster10.xml"/></Relationships>
</file>

<file path=ppt/slideLayouts/_rels/slideLayout203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0.xml"/></Relationships>
</file>

<file path=ppt/slideLayouts/_rels/slideLayout203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04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0.xml"/></Relationships>
</file>

<file path=ppt/slideLayouts/_rels/slideLayout204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0.xml"/></Relationships>
</file>

<file path=ppt/slideLayouts/_rels/slideLayout204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0.xml"/></Relationships>
</file>

<file path=ppt/slideLayouts/_rels/slideLayout204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0.xml"/></Relationships>
</file>

<file path=ppt/slideLayouts/_rels/slideLayout204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0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04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04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04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0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0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05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05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05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05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2055.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10.xml"/></Relationships>
</file>

<file path=ppt/slideLayouts/_rels/slideLayout205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20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06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06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0.xml"/></Relationships>
</file>

<file path=ppt/slideLayouts/_rels/slideLayout206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06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jpeg"/><Relationship Id="rId1" Type="http://schemas.openxmlformats.org/officeDocument/2006/relationships/slideMaster" Target="../slideMasters/slideMaster10.xml"/></Relationships>
</file>

<file path=ppt/slideLayouts/_rels/slideLayout206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Master" Target="../slideMasters/slideMaster10.xml"/></Relationships>
</file>

<file path=ppt/slideLayouts/_rels/slideLayout206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jpeg"/><Relationship Id="rId1" Type="http://schemas.openxmlformats.org/officeDocument/2006/relationships/slideMaster" Target="../slideMasters/slideMaster10.xml"/></Relationships>
</file>

<file path=ppt/slideLayouts/_rels/slideLayout206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206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2068.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jpeg"/><Relationship Id="rId1" Type="http://schemas.openxmlformats.org/officeDocument/2006/relationships/slideMaster" Target="../slideMasters/slideMaster10.xml"/></Relationships>
</file>

<file path=ppt/slideLayouts/_rels/slideLayout20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20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1.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Master" Target="../slideMasters/slideMaster10.xml"/></Relationships>
</file>

<file path=ppt/slideLayouts/_rels/slideLayout2072.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2.png"/><Relationship Id="rId1" Type="http://schemas.openxmlformats.org/officeDocument/2006/relationships/slideMaster" Target="../slideMasters/slideMaster10.xml"/></Relationships>
</file>

<file path=ppt/slideLayouts/_rels/slideLayout2073.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image" Target="../media/image84.png"/><Relationship Id="rId1" Type="http://schemas.openxmlformats.org/officeDocument/2006/relationships/slideMaster" Target="../slideMasters/slideMaster10.xml"/></Relationships>
</file>

<file path=ppt/slideLayouts/_rels/slideLayout2074.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Master" Target="../slideMasters/slideMaster10.xml"/></Relationships>
</file>

<file path=ppt/slideLayouts/_rels/slideLayout2075.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10.xml"/></Relationships>
</file>

<file path=ppt/slideLayouts/_rels/slideLayout2076.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Master" Target="../slideMasters/slideMaster10.xml"/></Relationships>
</file>

<file path=ppt/slideLayouts/_rels/slideLayout20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8.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Master" Target="../slideMasters/slideMaster10.xml"/></Relationships>
</file>

<file path=ppt/slideLayouts/_rels/slideLayout20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208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92.png"/><Relationship Id="rId1" Type="http://schemas.openxmlformats.org/officeDocument/2006/relationships/slideMaster" Target="../slideMasters/slideMaster10.xml"/></Relationships>
</file>

<file path=ppt/slideLayouts/_rels/slideLayout2081.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208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20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2.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2.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22.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423.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424.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25.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29.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3.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3.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3.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3.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3.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3.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3.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3.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3.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3.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3.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3.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3.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3.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3.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4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491.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oleObject" Target="../embeddings/oleObject1.bin"/><Relationship Id="rId1" Type="http://schemas.openxmlformats.org/officeDocument/2006/relationships/slideMaster" Target="../slideMasters/slideMaster3.xml"/><Relationship Id="rId5" Type="http://schemas.openxmlformats.org/officeDocument/2006/relationships/image" Target="../media/image55.emf"/><Relationship Id="rId4" Type="http://schemas.openxmlformats.org/officeDocument/2006/relationships/image" Target="../media/image54.emf"/></Relationships>
</file>

<file path=ppt/slideLayouts/_rels/slideLayout492.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oleObject" Target="../embeddings/oleObject2.bin"/><Relationship Id="rId1" Type="http://schemas.openxmlformats.org/officeDocument/2006/relationships/slideMaster" Target="../slideMasters/slideMaster3.xml"/><Relationship Id="rId5" Type="http://schemas.openxmlformats.org/officeDocument/2006/relationships/image" Target="../media/image36.jpeg"/><Relationship Id="rId4" Type="http://schemas.openxmlformats.org/officeDocument/2006/relationships/oleObject" Target="../embeddings/oleObject1.bin"/></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9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49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9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4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3.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3.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3.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3.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3.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3.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3.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3.xml"/></Relationships>
</file>

<file path=ppt/slideLayouts/_rels/slideLayout54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3.xml"/></Relationships>
</file>

<file path=ppt/slideLayouts/_rels/slideLayout54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3.xml"/></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3.xml"/></Relationships>
</file>

<file path=ppt/slideLayouts/_rels/slideLayout54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3.xml"/></Relationships>
</file>

<file path=ppt/slideLayouts/_rels/slideLayout54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3.xml"/></Relationships>
</file>

<file path=ppt/slideLayouts/_rels/slideLayout54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3.xml"/></Relationships>
</file>

<file path=ppt/slideLayouts/_rels/slideLayout54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3.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55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556.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oleObject" Target="../embeddings/oleObject1.bin"/><Relationship Id="rId1" Type="http://schemas.openxmlformats.org/officeDocument/2006/relationships/slideMaster" Target="../slideMasters/slideMaster3.xml"/><Relationship Id="rId5" Type="http://schemas.openxmlformats.org/officeDocument/2006/relationships/image" Target="../media/image55.emf"/><Relationship Id="rId4" Type="http://schemas.openxmlformats.org/officeDocument/2006/relationships/image" Target="../media/image54.emf"/></Relationships>
</file>

<file path=ppt/slideLayouts/_rels/slideLayout557.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oleObject" Target="../embeddings/oleObject2.bin"/><Relationship Id="rId1" Type="http://schemas.openxmlformats.org/officeDocument/2006/relationships/slideMaster" Target="../slideMasters/slideMaster3.xml"/><Relationship Id="rId5" Type="http://schemas.openxmlformats.org/officeDocument/2006/relationships/image" Target="../media/image36.jpeg"/><Relationship Id="rId4" Type="http://schemas.openxmlformats.org/officeDocument/2006/relationships/oleObject" Target="../embeddings/oleObject1.bin"/></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Master" Target="../slideMasters/slideMaster3.xml"/></Relationships>
</file>

<file path=ppt/slideLayouts/_rels/slideLayout56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3.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3.xml"/></Relationships>
</file>

<file path=ppt/slideLayouts/_rels/slideLayout56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3.xml"/></Relationships>
</file>

<file path=ppt/slideLayouts/_rels/slideLayout56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3.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3.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56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Master" Target="../slideMasters/slideMaster3.xml"/></Relationships>
</file>

<file path=ppt/slideLayouts/_rels/slideLayout5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6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0.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571.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3.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3.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3.xml"/></Relationships>
</file>

<file path=ppt/slideLayouts/_rels/slideLayout574.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oleObject" Target="../embeddings/oleObject2.bin"/><Relationship Id="rId1" Type="http://schemas.openxmlformats.org/officeDocument/2006/relationships/slideMaster" Target="../slideMasters/slideMaster3.xml"/><Relationship Id="rId5" Type="http://schemas.openxmlformats.org/officeDocument/2006/relationships/image" Target="../media/image68.jpeg"/><Relationship Id="rId4" Type="http://schemas.openxmlformats.org/officeDocument/2006/relationships/oleObject" Target="../embeddings/oleObject1.bin"/></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7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3.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583.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84.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58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58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58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588.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589.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59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59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59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59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Master" Target="../slideMasters/slideMaster3.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3.xml"/></Relationships>
</file>

<file path=ppt/slideLayouts/_rels/slideLayout59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60.png"/><Relationship Id="rId1" Type="http://schemas.openxmlformats.org/officeDocument/2006/relationships/slideMaster" Target="../slideMasters/slideMaster3.xml"/></Relationships>
</file>

<file path=ppt/slideLayouts/_rels/slideLayout59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60.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600.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3.xml"/></Relationships>
</file>

<file path=ppt/slideLayouts/_rels/slideLayout601.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3.xml"/></Relationships>
</file>

<file path=ppt/slideLayouts/_rels/slideLayout60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77.png"/><Relationship Id="rId1" Type="http://schemas.openxmlformats.org/officeDocument/2006/relationships/slideMaster" Target="../slideMasters/slideMaster3.xml"/></Relationships>
</file>

<file path=ppt/slideLayouts/_rels/slideLayout60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78.png"/><Relationship Id="rId1" Type="http://schemas.openxmlformats.org/officeDocument/2006/relationships/slideMaster" Target="../slideMasters/slideMaster3.xml"/></Relationships>
</file>

<file path=ppt/slideLayouts/_rels/slideLayout60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0.png"/><Relationship Id="rId1" Type="http://schemas.openxmlformats.org/officeDocument/2006/relationships/slideMaster" Target="../slideMasters/slideMaster3.xml"/></Relationships>
</file>

<file path=ppt/slideLayouts/_rels/slideLayout605.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3.xml"/></Relationships>
</file>

<file path=ppt/slideLayouts/_rels/slideLayout60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607.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3.xml"/></Relationships>
</file>

<file path=ppt/slideLayouts/_rels/slideLayout60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3.xml"/></Relationships>
</file>

<file path=ppt/slideLayouts/_rels/slideLayout609.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10.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oleObject" Target="../embeddings/oleObject2.bin"/><Relationship Id="rId1" Type="http://schemas.openxmlformats.org/officeDocument/2006/relationships/slideMaster" Target="../slideMasters/slideMaster3.xml"/><Relationship Id="rId5" Type="http://schemas.openxmlformats.org/officeDocument/2006/relationships/image" Target="../media/image68.jpeg"/><Relationship Id="rId4" Type="http://schemas.openxmlformats.org/officeDocument/2006/relationships/oleObject" Target="../embeddings/oleObject1.bin"/></Relationships>
</file>

<file path=ppt/slideLayouts/_rels/slideLayout6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1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6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14.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3.xml"/></Relationships>
</file>

<file path=ppt/slideLayouts/_rels/slideLayout61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61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618.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3.xml"/></Relationships>
</file>

<file path=ppt/slideLayouts/_rels/slideLayout619.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20.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3.xml"/></Relationships>
</file>

<file path=ppt/slideLayouts/_rels/slideLayout621.xml.rels><?xml version="1.0" encoding="UTF-8" standalone="yes"?>
<Relationships xmlns="http://schemas.openxmlformats.org/package/2006/relationships"><Relationship Id="rId3" Type="http://schemas.openxmlformats.org/officeDocument/2006/relationships/image" Target="../media/image81.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23.xml.rels><?xml version="1.0" encoding="UTF-8" standalone="yes"?>
<Relationships xmlns="http://schemas.openxmlformats.org/package/2006/relationships"><Relationship Id="rId3" Type="http://schemas.openxmlformats.org/officeDocument/2006/relationships/image" Target="../media/image81.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24.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25.xml.rels><?xml version="1.0" encoding="UTF-8" standalone="yes"?>
<Relationships xmlns="http://schemas.openxmlformats.org/package/2006/relationships"><Relationship Id="rId3" Type="http://schemas.openxmlformats.org/officeDocument/2006/relationships/image" Target="../media/image81.sv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26.xml.rels><?xml version="1.0" encoding="UTF-8" standalone="yes"?>
<Relationships xmlns="http://schemas.openxmlformats.org/package/2006/relationships"><Relationship Id="rId3" Type="http://schemas.openxmlformats.org/officeDocument/2006/relationships/image" Target="../media/image81.svg"/><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627.xml.rels><?xml version="1.0" encoding="UTF-8" standalone="yes"?>
<Relationships xmlns="http://schemas.openxmlformats.org/package/2006/relationships"><Relationship Id="rId3" Type="http://schemas.openxmlformats.org/officeDocument/2006/relationships/image" Target="../media/image81.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28.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629.xml.rels><?xml version="1.0" encoding="UTF-8" standalone="yes"?>
<Relationships xmlns="http://schemas.openxmlformats.org/package/2006/relationships"><Relationship Id="rId3" Type="http://schemas.openxmlformats.org/officeDocument/2006/relationships/image" Target="../media/image81.svg"/><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3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632.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6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35.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3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3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6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39.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4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41.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43.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44.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6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47.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49.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5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65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65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65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65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65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65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6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661.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662.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oleObject" Target="../embeddings/oleObject1.bin"/><Relationship Id="rId1" Type="http://schemas.openxmlformats.org/officeDocument/2006/relationships/slideMaster" Target="../slideMasters/slideMaster3.xml"/><Relationship Id="rId5" Type="http://schemas.openxmlformats.org/officeDocument/2006/relationships/image" Target="../media/image55.emf"/><Relationship Id="rId4" Type="http://schemas.openxmlformats.org/officeDocument/2006/relationships/image" Target="../media/image54.emf"/></Relationships>
</file>

<file path=ppt/slideLayouts/_rels/slideLayout663.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oleObject" Target="../embeddings/oleObject2.bin"/><Relationship Id="rId1" Type="http://schemas.openxmlformats.org/officeDocument/2006/relationships/slideMaster" Target="../slideMasters/slideMaster3.xml"/><Relationship Id="rId5" Type="http://schemas.openxmlformats.org/officeDocument/2006/relationships/image" Target="../media/image36.jpeg"/><Relationship Id="rId4" Type="http://schemas.openxmlformats.org/officeDocument/2006/relationships/oleObject" Target="../embeddings/oleObject1.bin"/></Relationships>
</file>

<file path=ppt/slideLayouts/_rels/slideLayout664.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oleObject" Target="../embeddings/oleObject2.bin"/><Relationship Id="rId1" Type="http://schemas.openxmlformats.org/officeDocument/2006/relationships/slideMaster" Target="../slideMasters/slideMaster3.xml"/><Relationship Id="rId5" Type="http://schemas.openxmlformats.org/officeDocument/2006/relationships/image" Target="../media/image68.jpeg"/><Relationship Id="rId4" Type="http://schemas.openxmlformats.org/officeDocument/2006/relationships/oleObject" Target="../embeddings/oleObject1.bin"/></Relationships>
</file>

<file path=ppt/slideLayouts/_rels/slideLayout66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66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7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67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67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67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67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3.xml"/></Relationships>
</file>

<file path=ppt/slideLayouts/_rels/slideLayout675.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oleObject" Target="../embeddings/oleObject1.bin"/><Relationship Id="rId1" Type="http://schemas.openxmlformats.org/officeDocument/2006/relationships/slideMaster" Target="../slideMasters/slideMaster3.xml"/><Relationship Id="rId5" Type="http://schemas.openxmlformats.org/officeDocument/2006/relationships/image" Target="../media/image55.emf"/><Relationship Id="rId4" Type="http://schemas.openxmlformats.org/officeDocument/2006/relationships/image" Target="../media/image54.emf"/></Relationships>
</file>

<file path=ppt/slideLayouts/_rels/slideLayout676.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oleObject" Target="../embeddings/oleObject2.bin"/><Relationship Id="rId1" Type="http://schemas.openxmlformats.org/officeDocument/2006/relationships/slideMaster" Target="../slideMasters/slideMaster3.xml"/><Relationship Id="rId5" Type="http://schemas.openxmlformats.org/officeDocument/2006/relationships/image" Target="../media/image36.jpeg"/><Relationship Id="rId4" Type="http://schemas.openxmlformats.org/officeDocument/2006/relationships/oleObject" Target="../embeddings/oleObject1.bin"/></Relationships>
</file>

<file path=ppt/slideLayouts/_rels/slideLayout67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678.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oleObject" Target="../embeddings/oleObject2.bin"/><Relationship Id="rId1" Type="http://schemas.openxmlformats.org/officeDocument/2006/relationships/slideMaster" Target="../slideMasters/slideMaster3.xml"/><Relationship Id="rId5" Type="http://schemas.openxmlformats.org/officeDocument/2006/relationships/image" Target="../media/image68.jpeg"/><Relationship Id="rId4" Type="http://schemas.openxmlformats.org/officeDocument/2006/relationships/oleObject" Target="../embeddings/oleObject1.bin"/></Relationships>
</file>

<file path=ppt/slideLayouts/_rels/slideLayout67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80.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3.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68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68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684.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3.xml"/></Relationships>
</file>

<file path=ppt/slideLayouts/_rels/slideLayout68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68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70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70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70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0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0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70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10.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13.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7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1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2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7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2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72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72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72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72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72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728.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72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30.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7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7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73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73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7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7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73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7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7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74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74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743.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744.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7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74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74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74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7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75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7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57.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5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6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65.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76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76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768.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6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slideMaster" Target="../slideMasters/slideMaster5.xml"/><Relationship Id="rId1" Type="http://schemas.openxmlformats.org/officeDocument/2006/relationships/tags" Target="../tags/tag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7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77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77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77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77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77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77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77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77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77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8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7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8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8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8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88.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89.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9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9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9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9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9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9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9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9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79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79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80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80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80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80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80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80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80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80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80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80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8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13.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19.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8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8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8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26.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82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82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82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3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83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83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83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834.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8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8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8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8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8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8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8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8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8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8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846.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8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848.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8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85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8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8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85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85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8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57.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5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5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60.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6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86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86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864.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865.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86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8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86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86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7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87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87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7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874.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875.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876.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877.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8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7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8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8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83.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8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8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8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8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8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8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9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9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89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89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89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89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896.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89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89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89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0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90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90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90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904.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9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0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90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90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1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91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91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91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91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91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5.xml"/></Relationships>
</file>

<file path=ppt/slideLayouts/_rels/slideLayout91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1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91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91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2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92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92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92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92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92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92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92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92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92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3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93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93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93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93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93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93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93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93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93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4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94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94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5.xml"/></Relationships>
</file>

<file path=ppt/slideLayouts/_rels/slideLayout94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5.xml"/></Relationships>
</file>

<file path=ppt/slideLayouts/_rels/slideLayout94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5.xml"/></Relationships>
</file>

<file path=ppt/slideLayouts/_rels/slideLayout94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5.xml"/></Relationships>
</file>

<file path=ppt/slideLayouts/_rels/slideLayout94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5.xml"/></Relationships>
</file>

<file path=ppt/slideLayouts/_rels/slideLayout94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5.xml"/></Relationships>
</file>

<file path=ppt/slideLayouts/_rels/slideLayout94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5.xml"/></Relationships>
</file>

<file path=ppt/slideLayouts/_rels/slideLayout94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5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5.xml"/></Relationships>
</file>

<file path=ppt/slideLayouts/_rels/slideLayout95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5.xml"/></Relationships>
</file>

<file path=ppt/slideLayouts/_rels/slideLayout95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5.xml"/></Relationships>
</file>

<file path=ppt/slideLayouts/_rels/slideLayout95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5.xml"/></Relationships>
</file>

<file path=ppt/slideLayouts/_rels/slideLayout95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5.xml"/></Relationships>
</file>

<file path=ppt/slideLayouts/_rels/slideLayout95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95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95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5.xml"/></Relationships>
</file>

<file path=ppt/slideLayouts/_rels/slideLayout95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5.xml"/></Relationships>
</file>

<file path=ppt/slideLayouts/_rels/slideLayout95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6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5.xml"/></Relationships>
</file>

<file path=ppt/slideLayouts/_rels/slideLayout96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5.xml"/></Relationships>
</file>

<file path=ppt/slideLayouts/_rels/slideLayout96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5.xml"/></Relationships>
</file>

<file path=ppt/slideLayouts/_rels/slideLayout96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96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9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9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9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969.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9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9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9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9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97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976.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97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97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97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8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98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98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983.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98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98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98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98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98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9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9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99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99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99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99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99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996.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99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998.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99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Title Only">
  <p:cSld name="Title Only 4">
    <p:spTree>
      <p:nvGrpSpPr>
        <p:cNvPr id="1" name="Shape 9965"/>
        <p:cNvGrpSpPr/>
        <p:nvPr/>
      </p:nvGrpSpPr>
      <p:grpSpPr>
        <a:xfrm>
          <a:off x="0" y="0"/>
          <a:ext cx="0" cy="0"/>
          <a:chOff x="0" y="0"/>
          <a:chExt cx="0" cy="0"/>
        </a:xfrm>
      </p:grpSpPr>
      <p:grpSp>
        <p:nvGrpSpPr>
          <p:cNvPr id="9966" name="Google Shape;9966;p1404"/>
          <p:cNvGrpSpPr/>
          <p:nvPr/>
        </p:nvGrpSpPr>
        <p:grpSpPr>
          <a:xfrm>
            <a:off x="7191542" y="1"/>
            <a:ext cx="5000459" cy="1425992"/>
            <a:chOff x="7191542" y="1"/>
            <a:chExt cx="5000459" cy="1425992"/>
          </a:xfrm>
        </p:grpSpPr>
        <p:pic>
          <p:nvPicPr>
            <p:cNvPr id="9967" name="Google Shape;9967;p14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68" name="Google Shape;9968;p1404"/>
            <p:cNvGrpSpPr/>
            <p:nvPr/>
          </p:nvGrpSpPr>
          <p:grpSpPr>
            <a:xfrm>
              <a:off x="7191542" y="1"/>
              <a:ext cx="5000459" cy="1425992"/>
              <a:chOff x="7186272" y="0"/>
              <a:chExt cx="5005729" cy="1427495"/>
            </a:xfrm>
          </p:grpSpPr>
          <p:sp>
            <p:nvSpPr>
              <p:cNvPr id="9969" name="Google Shape;9969;p14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970" name="Google Shape;9970;p14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971" name="Google Shape;9971;p140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72" name="Google Shape;9972;p14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973" name="Google Shape;9973;p14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74" name="Google Shape;9974;p14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00.xml><?xml version="1.0" encoding="utf-8"?>
<p:sldLayout xmlns:a="http://schemas.openxmlformats.org/drawingml/2006/main" xmlns:r="http://schemas.openxmlformats.org/officeDocument/2006/relationships" xmlns:p="http://schemas.openxmlformats.org/presentationml/2006/main" type="twoObj" preserve="1">
  <p:cSld name="2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90135929"/>
      </p:ext>
    </p:extLst>
  </p:cSld>
  <p:clrMapOvr>
    <a:masterClrMapping/>
  </p:clrMapOvr>
</p:sldLayout>
</file>

<file path=ppt/slideLayouts/slideLayout1001.xml><?xml version="1.0" encoding="utf-8"?>
<p:sldLayout xmlns:a="http://schemas.openxmlformats.org/drawingml/2006/main" xmlns:r="http://schemas.openxmlformats.org/officeDocument/2006/relationships" xmlns:p="http://schemas.openxmlformats.org/presentationml/2006/main" type="twoTxTwoObj" preserve="1">
  <p:cSld name="2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05191274"/>
      </p:ext>
    </p:extLst>
  </p:cSld>
  <p:clrMapOvr>
    <a:masterClrMapping/>
  </p:clrMapOvr>
</p:sldLayout>
</file>

<file path=ppt/slideLayouts/slideLayout1002.xml><?xml version="1.0" encoding="utf-8"?>
<p:sldLayout xmlns:a="http://schemas.openxmlformats.org/drawingml/2006/main" xmlns:r="http://schemas.openxmlformats.org/officeDocument/2006/relationships" xmlns:p="http://schemas.openxmlformats.org/presentationml/2006/main" type="titleOnly" preserve="1">
  <p:cSld name="2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9909549"/>
      </p:ext>
    </p:extLst>
  </p:cSld>
  <p:clrMapOvr>
    <a:masterClrMapping/>
  </p:clrMapOvr>
</p:sldLayout>
</file>

<file path=ppt/slideLayouts/slideLayout1003.xml><?xml version="1.0" encoding="utf-8"?>
<p:sldLayout xmlns:a="http://schemas.openxmlformats.org/drawingml/2006/main" xmlns:r="http://schemas.openxmlformats.org/officeDocument/2006/relationships" xmlns:p="http://schemas.openxmlformats.org/presentationml/2006/main" preserve="1" userDrawn="1">
  <p:cSld name="2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84147592"/>
      </p:ext>
    </p:extLst>
  </p:cSld>
  <p:clrMapOvr>
    <a:masterClrMapping/>
  </p:clrMapOvr>
</p:sldLayout>
</file>

<file path=ppt/slideLayouts/slideLayout1004.xml><?xml version="1.0" encoding="utf-8"?>
<p:sldLayout xmlns:a="http://schemas.openxmlformats.org/drawingml/2006/main" xmlns:r="http://schemas.openxmlformats.org/officeDocument/2006/relationships" xmlns:p="http://schemas.openxmlformats.org/presentationml/2006/main" type="blank" preserve="1">
  <p:cSld name="2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91410728"/>
      </p:ext>
    </p:extLst>
  </p:cSld>
  <p:clrMapOvr>
    <a:masterClrMapping/>
  </p:clrMapOvr>
</p:sldLayout>
</file>

<file path=ppt/slideLayouts/slideLayout10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100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00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100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100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End">
  <p:cSld name="End 5">
    <p:spTree>
      <p:nvGrpSpPr>
        <p:cNvPr id="1" name="Shape 9975"/>
        <p:cNvGrpSpPr/>
        <p:nvPr/>
      </p:nvGrpSpPr>
      <p:grpSpPr>
        <a:xfrm>
          <a:off x="0" y="0"/>
          <a:ext cx="0" cy="0"/>
          <a:chOff x="0" y="0"/>
          <a:chExt cx="0" cy="0"/>
        </a:xfrm>
      </p:grpSpPr>
      <p:grpSp>
        <p:nvGrpSpPr>
          <p:cNvPr id="9976" name="Google Shape;9976;p1405"/>
          <p:cNvGrpSpPr/>
          <p:nvPr/>
        </p:nvGrpSpPr>
        <p:grpSpPr>
          <a:xfrm>
            <a:off x="0" y="0"/>
            <a:ext cx="12192000" cy="2148830"/>
            <a:chOff x="0" y="0"/>
            <a:chExt cx="12192000" cy="2148830"/>
          </a:xfrm>
        </p:grpSpPr>
        <p:sp>
          <p:nvSpPr>
            <p:cNvPr id="9977" name="Google Shape;9977;p140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978" name="Google Shape;9978;p140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9979" name="Google Shape;9979;p140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980" name="Google Shape;9980;p140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81" name="Google Shape;9981;p140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9982" name="Google Shape;9982;p140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983" name="Google Shape;9983;p140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01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01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10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10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10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10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1016.xml><?xml version="1.0" encoding="utf-8"?>
<p:sldLayout xmlns:a="http://schemas.openxmlformats.org/drawingml/2006/main" xmlns:r="http://schemas.openxmlformats.org/officeDocument/2006/relationships" xmlns:p="http://schemas.openxmlformats.org/presentationml/2006/main" preserve="1" userDrawn="1">
  <p:cSld name="1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600939483"/>
      </p:ext>
    </p:extLst>
  </p:cSld>
  <p:clrMapOvr>
    <a:masterClrMapping/>
  </p:clrMapOvr>
</p:sldLayout>
</file>

<file path=ppt/slideLayouts/slideLayout10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1018.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15371302"/>
      </p:ext>
    </p:extLst>
  </p:cSld>
  <p:clrMapOvr>
    <a:masterClrMapping/>
  </p:clrMapOvr>
</p:sldLayout>
</file>

<file path=ppt/slideLayouts/slideLayout1019.xml><?xml version="1.0" encoding="utf-8"?>
<p:sldLayout xmlns:a="http://schemas.openxmlformats.org/drawingml/2006/main" xmlns:r="http://schemas.openxmlformats.org/officeDocument/2006/relationships" xmlns:p="http://schemas.openxmlformats.org/presentationml/2006/main" preserve="1" userDrawn="1">
  <p:cSld name="2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20682479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Blank">
  <p:cSld name="Blank 3">
    <p:spTree>
      <p:nvGrpSpPr>
        <p:cNvPr id="1" name="Shape 9984"/>
        <p:cNvGrpSpPr/>
        <p:nvPr/>
      </p:nvGrpSpPr>
      <p:grpSpPr>
        <a:xfrm>
          <a:off x="0" y="0"/>
          <a:ext cx="0" cy="0"/>
          <a:chOff x="0" y="0"/>
          <a:chExt cx="0" cy="0"/>
        </a:xfrm>
      </p:grpSpPr>
      <p:sp>
        <p:nvSpPr>
          <p:cNvPr id="9985" name="Google Shape;9985;p14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986" name="Google Shape;9986;p14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87" name="Google Shape;9987;p14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988" name="Google Shape;9988;p1406"/>
          <p:cNvGrpSpPr/>
          <p:nvPr/>
        </p:nvGrpSpPr>
        <p:grpSpPr>
          <a:xfrm>
            <a:off x="7191542" y="1"/>
            <a:ext cx="5000459" cy="1425992"/>
            <a:chOff x="7191542" y="1"/>
            <a:chExt cx="5000459" cy="1425992"/>
          </a:xfrm>
        </p:grpSpPr>
        <p:pic>
          <p:nvPicPr>
            <p:cNvPr id="9989" name="Google Shape;9989;p14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90" name="Google Shape;9990;p1406"/>
            <p:cNvGrpSpPr/>
            <p:nvPr/>
          </p:nvGrpSpPr>
          <p:grpSpPr>
            <a:xfrm>
              <a:off x="7191542" y="1"/>
              <a:ext cx="5000459" cy="1425992"/>
              <a:chOff x="7186272" y="0"/>
              <a:chExt cx="5005729" cy="1427495"/>
            </a:xfrm>
          </p:grpSpPr>
          <p:sp>
            <p:nvSpPr>
              <p:cNvPr id="9991" name="Google Shape;9991;p14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992" name="Google Shape;9992;p14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02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0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0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0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024.xml><?xml version="1.0" encoding="utf-8"?>
<p:sldLayout xmlns:a="http://schemas.openxmlformats.org/drawingml/2006/main" xmlns:r="http://schemas.openxmlformats.org/officeDocument/2006/relationships" xmlns:p="http://schemas.openxmlformats.org/presentationml/2006/main" preserve="1" userDrawn="1">
  <p:cSld name="2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621020362"/>
      </p:ext>
    </p:extLst>
  </p:cSld>
  <p:clrMapOvr>
    <a:masterClrMapping/>
  </p:clrMapOvr>
</p:sldLayout>
</file>

<file path=ppt/slideLayouts/slideLayout1025.xml><?xml version="1.0" encoding="utf-8"?>
<p:sldLayout xmlns:a="http://schemas.openxmlformats.org/drawingml/2006/main" xmlns:r="http://schemas.openxmlformats.org/officeDocument/2006/relationships" xmlns:p="http://schemas.openxmlformats.org/presentationml/2006/main" preserve="1" userDrawn="1">
  <p:cSld name="1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12772530"/>
      </p:ext>
    </p:extLst>
  </p:cSld>
  <p:clrMapOvr>
    <a:masterClrMapping/>
  </p:clrMapOvr>
</p:sldLayout>
</file>

<file path=ppt/slideLayouts/slideLayout10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0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028.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102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357221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Quotation">
  <p:cSld name="Quotation 8">
    <p:spTree>
      <p:nvGrpSpPr>
        <p:cNvPr id="1" name="Shape 9993"/>
        <p:cNvGrpSpPr/>
        <p:nvPr/>
      </p:nvGrpSpPr>
      <p:grpSpPr>
        <a:xfrm>
          <a:off x="0" y="0"/>
          <a:ext cx="0" cy="0"/>
          <a:chOff x="0" y="0"/>
          <a:chExt cx="0" cy="0"/>
        </a:xfrm>
      </p:grpSpPr>
      <p:sp>
        <p:nvSpPr>
          <p:cNvPr id="9994" name="Google Shape;9994;p140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995" name="Google Shape;9995;p140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96" name="Google Shape;9996;p140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97" name="Google Shape;9997;p14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998" name="Google Shape;9998;p14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99" name="Google Shape;9999;p14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000" name="Google Shape;10000;p1407"/>
          <p:cNvGrpSpPr/>
          <p:nvPr/>
        </p:nvGrpSpPr>
        <p:grpSpPr>
          <a:xfrm>
            <a:off x="7191542" y="1"/>
            <a:ext cx="5000459" cy="1425992"/>
            <a:chOff x="7191542" y="1"/>
            <a:chExt cx="5000459" cy="1425992"/>
          </a:xfrm>
        </p:grpSpPr>
        <p:pic>
          <p:nvPicPr>
            <p:cNvPr id="10001" name="Google Shape;10001;p14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02" name="Google Shape;10002;p1407"/>
            <p:cNvGrpSpPr/>
            <p:nvPr/>
          </p:nvGrpSpPr>
          <p:grpSpPr>
            <a:xfrm>
              <a:off x="7191542" y="1"/>
              <a:ext cx="5000459" cy="1425992"/>
              <a:chOff x="7186272" y="0"/>
              <a:chExt cx="5005729" cy="1427495"/>
            </a:xfrm>
          </p:grpSpPr>
          <p:sp>
            <p:nvSpPr>
              <p:cNvPr id="10003" name="Google Shape;10003;p14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004" name="Google Shape;10004;p14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005" name="Google Shape;10005;p140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03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02549073"/>
      </p:ext>
    </p:extLst>
  </p:cSld>
  <p:clrMapOvr>
    <a:masterClrMapping/>
  </p:clrMapOvr>
</p:sldLayout>
</file>

<file path=ppt/slideLayouts/slideLayout10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8542806"/>
      </p:ext>
    </p:extLst>
  </p:cSld>
  <p:clrMapOvr>
    <a:masterClrMapping/>
  </p:clrMapOvr>
</p:sldLayout>
</file>

<file path=ppt/slideLayouts/slideLayout10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7421487"/>
      </p:ext>
    </p:extLst>
  </p:cSld>
  <p:clrMapOvr>
    <a:masterClrMapping/>
  </p:clrMapOvr>
</p:sldLayout>
</file>

<file path=ppt/slideLayouts/slideLayout10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3143663"/>
      </p:ext>
    </p:extLst>
  </p:cSld>
  <p:clrMapOvr>
    <a:masterClrMapping/>
  </p:clrMapOvr>
</p:sldLayout>
</file>

<file path=ppt/slideLayouts/slideLayout1034.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04245631"/>
      </p:ext>
    </p:extLst>
  </p:cSld>
  <p:clrMapOvr>
    <a:masterClrMapping/>
  </p:clrMapOvr>
</p:sldLayout>
</file>

<file path=ppt/slideLayouts/slideLayout1035.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05941023"/>
      </p:ext>
    </p:extLst>
  </p:cSld>
  <p:clrMapOvr>
    <a:masterClrMapping/>
  </p:clrMapOvr>
</p:sldLayout>
</file>

<file path=ppt/slideLayouts/slideLayout1036.xml><?xml version="1.0" encoding="utf-8"?>
<p:sldLayout xmlns:a="http://schemas.openxmlformats.org/drawingml/2006/main" xmlns:r="http://schemas.openxmlformats.org/officeDocument/2006/relationships" xmlns:p="http://schemas.openxmlformats.org/presentationml/2006/main" type="obj" preserve="1">
  <p:cSld name="2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1857004"/>
      </p:ext>
    </p:extLst>
  </p:cSld>
  <p:clrMapOvr>
    <a:masterClrMapping/>
  </p:clrMapOvr>
</p:sldLayout>
</file>

<file path=ppt/slideLayouts/slideLayout1037.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84191279"/>
      </p:ext>
    </p:extLst>
  </p:cSld>
  <p:clrMapOvr>
    <a:masterClrMapping/>
  </p:clrMapOvr>
</p:sldLayout>
</file>

<file path=ppt/slideLayouts/slideLayout1038.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27474636"/>
      </p:ext>
    </p:extLst>
  </p:cSld>
  <p:clrMapOvr>
    <a:masterClrMapping/>
  </p:clrMapOvr>
</p:sldLayout>
</file>

<file path=ppt/slideLayouts/slideLayout1039.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4813905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Quotation">
  <p:cSld name="Quotation 8 2">
    <p:spTree>
      <p:nvGrpSpPr>
        <p:cNvPr id="1" name="Shape 10006"/>
        <p:cNvGrpSpPr/>
        <p:nvPr/>
      </p:nvGrpSpPr>
      <p:grpSpPr>
        <a:xfrm>
          <a:off x="0" y="0"/>
          <a:ext cx="0" cy="0"/>
          <a:chOff x="0" y="0"/>
          <a:chExt cx="0" cy="0"/>
        </a:xfrm>
      </p:grpSpPr>
      <p:sp>
        <p:nvSpPr>
          <p:cNvPr id="10007" name="Google Shape;10007;p140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008" name="Google Shape;10008;p140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009" name="Google Shape;10009;p140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10" name="Google Shape;10010;p14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011" name="Google Shape;10011;p14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12" name="Google Shape;10012;p14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013" name="Google Shape;10013;p1408"/>
          <p:cNvGrpSpPr/>
          <p:nvPr/>
        </p:nvGrpSpPr>
        <p:grpSpPr>
          <a:xfrm>
            <a:off x="7191542" y="1"/>
            <a:ext cx="5000459" cy="1425992"/>
            <a:chOff x="7191542" y="1"/>
            <a:chExt cx="5000459" cy="1425992"/>
          </a:xfrm>
        </p:grpSpPr>
        <p:pic>
          <p:nvPicPr>
            <p:cNvPr id="10014" name="Google Shape;10014;p14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15" name="Google Shape;10015;p1408"/>
            <p:cNvGrpSpPr/>
            <p:nvPr/>
          </p:nvGrpSpPr>
          <p:grpSpPr>
            <a:xfrm>
              <a:off x="7191542" y="1"/>
              <a:ext cx="5000459" cy="1425992"/>
              <a:chOff x="7186272" y="0"/>
              <a:chExt cx="5005729" cy="1427495"/>
            </a:xfrm>
          </p:grpSpPr>
          <p:sp>
            <p:nvSpPr>
              <p:cNvPr id="10016" name="Google Shape;10016;p14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017" name="Google Shape;10017;p14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018" name="Google Shape;10018;p140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040.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56222337"/>
      </p:ext>
    </p:extLst>
  </p:cSld>
  <p:clrMapOvr>
    <a:masterClrMapping/>
  </p:clrMapOvr>
</p:sldLayout>
</file>

<file path=ppt/slideLayouts/slideLayout1041.xml><?xml version="1.0" encoding="utf-8"?>
<p:sldLayout xmlns:a="http://schemas.openxmlformats.org/drawingml/2006/main" xmlns:r="http://schemas.openxmlformats.org/officeDocument/2006/relationships" xmlns:p="http://schemas.openxmlformats.org/presentationml/2006/main" matchingName="Photo Slide">
  <p:cSld name="16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31007680"/>
      </p:ext>
    </p:extLst>
  </p:cSld>
  <p:clrMapOvr>
    <a:masterClrMapping/>
  </p:clrMapOvr>
</p:sldLayout>
</file>

<file path=ppt/slideLayouts/slideLayout1042.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4"/>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3"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1043.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4" y="365130"/>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4" y="1825630"/>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289008"/>
      </p:ext>
    </p:extLst>
  </p:cSld>
  <p:clrMapOvr>
    <a:masterClrMapping/>
  </p:clrMapOvr>
</p:sldLayout>
</file>

<file path=ppt/slideLayouts/slideLayout1044.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44353" t="41308" r="41308" b="44537"/>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1045.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1046.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1047.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6"/>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6"/>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619806002"/>
      </p:ext>
    </p:extLst>
  </p:cSld>
  <p:clrMapOvr>
    <a:masterClrMapping/>
  </p:clrMapOvr>
</p:sldLayout>
</file>

<file path=ppt/slideLayouts/slideLayout1048.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7"/>
            <a:ext cx="1821552" cy="958089"/>
          </a:xfrm>
          <a:prstGeom prst="rect">
            <a:avLst/>
          </a:prstGeom>
        </p:spPr>
      </p:pic>
    </p:spTree>
    <p:extLst>
      <p:ext uri="{BB962C8B-B14F-4D97-AF65-F5344CB8AC3E}">
        <p14:creationId xmlns:p14="http://schemas.microsoft.com/office/powerpoint/2010/main" val="565887101"/>
      </p:ext>
    </p:extLst>
  </p:cSld>
  <p:clrMapOvr>
    <a:masterClrMapping/>
  </p:clrMapOvr>
</p:sldLayout>
</file>

<file path=ppt/slideLayouts/slideLayout1049.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4"/>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3"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Cover">
  <p:cSld name="Cover 7">
    <p:spTree>
      <p:nvGrpSpPr>
        <p:cNvPr id="1" name="Shape 10019"/>
        <p:cNvGrpSpPr/>
        <p:nvPr/>
      </p:nvGrpSpPr>
      <p:grpSpPr>
        <a:xfrm>
          <a:off x="0" y="0"/>
          <a:ext cx="0" cy="0"/>
          <a:chOff x="0" y="0"/>
          <a:chExt cx="0" cy="0"/>
        </a:xfrm>
      </p:grpSpPr>
      <p:sp>
        <p:nvSpPr>
          <p:cNvPr id="10020" name="Google Shape;10020;p140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021" name="Google Shape;10021;p140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022" name="Google Shape;10022;p140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023" name="Google Shape;10023;p1409"/>
          <p:cNvSpPr>
            <a:spLocks noGrp="1"/>
          </p:cNvSpPr>
          <p:nvPr>
            <p:ph type="pic" idx="2"/>
          </p:nvPr>
        </p:nvSpPr>
        <p:spPr>
          <a:xfrm>
            <a:off x="7118684" y="233915"/>
            <a:ext cx="5073316" cy="5943600"/>
          </a:xfrm>
          <a:prstGeom prst="rect">
            <a:avLst/>
          </a:prstGeom>
          <a:noFill/>
          <a:ln>
            <a:noFill/>
          </a:ln>
        </p:spPr>
      </p:sp>
      <p:grpSp>
        <p:nvGrpSpPr>
          <p:cNvPr id="10024" name="Google Shape;10024;p1409"/>
          <p:cNvGrpSpPr/>
          <p:nvPr/>
        </p:nvGrpSpPr>
        <p:grpSpPr>
          <a:xfrm>
            <a:off x="0" y="5020348"/>
            <a:ext cx="12192000" cy="1837653"/>
            <a:chOff x="0" y="5020348"/>
            <a:chExt cx="12192000" cy="1837653"/>
          </a:xfrm>
        </p:grpSpPr>
        <p:sp>
          <p:nvSpPr>
            <p:cNvPr id="10025" name="Google Shape;10025;p140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026" name="Google Shape;10026;p140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027" name="Google Shape;10027;p140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05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30"/>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5634235"/>
      </p:ext>
    </p:extLst>
  </p:cSld>
  <p:clrMapOvr>
    <a:masterClrMapping/>
  </p:clrMapOvr>
</p:sldLayout>
</file>

<file path=ppt/slideLayouts/slideLayout1051.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64217733"/>
      </p:ext>
    </p:extLst>
  </p:cSld>
  <p:clrMapOvr>
    <a:masterClrMapping/>
  </p:clrMapOvr>
</p:sldLayout>
</file>

<file path=ppt/slideLayouts/slideLayout105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053.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046074953"/>
      </p:ext>
    </p:extLst>
  </p:cSld>
  <p:clrMapOvr>
    <a:masterClrMapping/>
  </p:clrMapOvr>
</p:sldLayout>
</file>

<file path=ppt/slideLayouts/slideLayout1054.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48463225"/>
      </p:ext>
    </p:extLst>
  </p:cSld>
  <p:clrMapOvr>
    <a:masterClrMapping/>
  </p:clrMapOvr>
</p:sldLayout>
</file>

<file path=ppt/slideLayouts/slideLayout1055.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951471944"/>
      </p:ext>
    </p:extLst>
  </p:cSld>
  <p:clrMapOvr>
    <a:masterClrMapping/>
  </p:clrMapOvr>
</p:sldLayout>
</file>

<file path=ppt/slideLayouts/slideLayout1056.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5"/>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6" y="224842"/>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6" y="917199"/>
            <a:ext cx="11715725" cy="4958671"/>
          </a:xfrm>
          <a:prstGeom prst="rect">
            <a:avLst/>
          </a:prstGeom>
        </p:spPr>
        <p:txBody>
          <a:bodyPr/>
          <a:lstStyle>
            <a:lvl1pPr marL="381028" indent="-381028">
              <a:buFont typeface="Wingdings" panose="05000000000000000000" pitchFamily="2" charset="2"/>
              <a:buChar char="§"/>
              <a:defRPr sz="1867" b="1"/>
            </a:lvl1pPr>
            <a:lvl2pPr marL="609646" indent="-296356">
              <a:buFont typeface="Arial" panose="020B0604020202020204" pitchFamily="34" charset="0"/>
              <a:buChar char="̶"/>
              <a:defRPr sz="1867"/>
            </a:lvl2pPr>
            <a:lvl3pPr marL="922936" indent="-313291">
              <a:buFont typeface="Arial" panose="020B0604020202020204" pitchFamily="34" charset="0"/>
              <a:buChar char="•"/>
              <a:defRPr sz="1867"/>
            </a:lvl3pPr>
            <a:lvl4pPr marL="1219292" indent="-296356">
              <a:buFont typeface="Wingdings" panose="05000000000000000000" pitchFamily="2" charset="2"/>
              <a:buChar char="ü"/>
              <a:defRPr sz="1867"/>
            </a:lvl4pPr>
            <a:lvl5pPr marL="1532582" indent="-31329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9" y="5969003"/>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3" y="5969002"/>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7987719"/>
      </p:ext>
    </p:extLst>
  </p:cSld>
  <p:clrMapOvr>
    <a:masterClrMapping/>
  </p:clrMapOvr>
</p:sldLayout>
</file>

<file path=ppt/slideLayouts/slideLayout1057.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4"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46" lvl="0" indent="-342934" algn="l">
              <a:lnSpc>
                <a:spcPct val="100000"/>
              </a:lnSpc>
              <a:spcBef>
                <a:spcPts val="1000"/>
              </a:spcBef>
              <a:spcAft>
                <a:spcPts val="0"/>
              </a:spcAft>
              <a:buSzPts val="1800"/>
              <a:buChar char="•"/>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9783795"/>
      </p:ext>
    </p:extLst>
  </p:cSld>
  <p:clrMapOvr>
    <a:masterClrMapping/>
  </p:clrMapOvr>
</p:sldLayout>
</file>

<file path=ppt/slideLayouts/slideLayout1058.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4491010"/>
      </p:ext>
    </p:extLst>
  </p:cSld>
  <p:clrMapOvr>
    <a:masterClrMapping/>
  </p:clrMapOvr>
</p:sldLayout>
</file>

<file path=ppt/slideLayouts/slideLayout105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30"/>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563423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Divider">
  <p:cSld name="Divider 8">
    <p:spTree>
      <p:nvGrpSpPr>
        <p:cNvPr id="1" name="Shape 10028"/>
        <p:cNvGrpSpPr/>
        <p:nvPr/>
      </p:nvGrpSpPr>
      <p:grpSpPr>
        <a:xfrm>
          <a:off x="0" y="0"/>
          <a:ext cx="0" cy="0"/>
          <a:chOff x="0" y="0"/>
          <a:chExt cx="0" cy="0"/>
        </a:xfrm>
      </p:grpSpPr>
      <p:grpSp>
        <p:nvGrpSpPr>
          <p:cNvPr id="10029" name="Google Shape;10029;p1410"/>
          <p:cNvGrpSpPr/>
          <p:nvPr/>
        </p:nvGrpSpPr>
        <p:grpSpPr>
          <a:xfrm>
            <a:off x="0" y="5020347"/>
            <a:ext cx="12192000" cy="1837653"/>
            <a:chOff x="0" y="5020347"/>
            <a:chExt cx="12192000" cy="1837653"/>
          </a:xfrm>
        </p:grpSpPr>
        <p:sp>
          <p:nvSpPr>
            <p:cNvPr id="10030" name="Google Shape;10030;p141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031" name="Google Shape;10031;p141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032" name="Google Shape;10032;p141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033" name="Google Shape;10033;p141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034" name="Google Shape;10034;p141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035" name="Google Shape;10035;p141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060.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1061.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48463225"/>
      </p:ext>
    </p:extLst>
  </p:cSld>
  <p:clrMapOvr>
    <a:masterClrMapping/>
  </p:clrMapOvr>
</p:sldLayout>
</file>

<file path=ppt/slideLayouts/slideLayout1062.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063.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06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065.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57588440"/>
      </p:ext>
    </p:extLst>
  </p:cSld>
  <p:clrMapOvr>
    <a:masterClrMapping/>
  </p:clrMapOvr>
</p:sldLayout>
</file>

<file path=ppt/slideLayouts/slideLayout1066.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49599417"/>
      </p:ext>
    </p:extLst>
  </p:cSld>
  <p:clrMapOvr>
    <a:masterClrMapping/>
  </p:clrMapOvr>
</p:sldLayout>
</file>

<file path=ppt/slideLayouts/slideLayout1067.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96378958"/>
      </p:ext>
    </p:extLst>
  </p:cSld>
  <p:clrMapOvr>
    <a:masterClrMapping/>
  </p:clrMapOvr>
</p:sldLayout>
</file>

<file path=ppt/slideLayouts/slideLayout1068.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83184255"/>
      </p:ext>
    </p:extLst>
  </p:cSld>
  <p:clrMapOvr>
    <a:masterClrMapping/>
  </p:clrMapOvr>
</p:sldLayout>
</file>

<file path=ppt/slideLayouts/slideLayout1069.xml><?xml version="1.0" encoding="utf-8"?>
<p:sldLayout xmlns:a="http://schemas.openxmlformats.org/drawingml/2006/main" xmlns:r="http://schemas.openxmlformats.org/officeDocument/2006/relationships" xmlns:p="http://schemas.openxmlformats.org/presentationml/2006/main" type="obj" preserve="1">
  <p:cSld name="1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1823797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Photo Slide">
  <p:cSld name="Photo Slide 7">
    <p:spTree>
      <p:nvGrpSpPr>
        <p:cNvPr id="1" name="Shape 10036"/>
        <p:cNvGrpSpPr/>
        <p:nvPr/>
      </p:nvGrpSpPr>
      <p:grpSpPr>
        <a:xfrm>
          <a:off x="0" y="0"/>
          <a:ext cx="0" cy="0"/>
          <a:chOff x="0" y="0"/>
          <a:chExt cx="0" cy="0"/>
        </a:xfrm>
      </p:grpSpPr>
      <p:sp>
        <p:nvSpPr>
          <p:cNvPr id="10037" name="Google Shape;10037;p14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038" name="Google Shape;10038;p14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039" name="Google Shape;10039;p1411"/>
          <p:cNvGrpSpPr/>
          <p:nvPr/>
        </p:nvGrpSpPr>
        <p:grpSpPr>
          <a:xfrm>
            <a:off x="0" y="5379426"/>
            <a:ext cx="2807368" cy="753891"/>
            <a:chOff x="0" y="5379426"/>
            <a:chExt cx="2807368" cy="753891"/>
          </a:xfrm>
        </p:grpSpPr>
        <p:sp>
          <p:nvSpPr>
            <p:cNvPr id="10040" name="Google Shape;10040;p14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041" name="Google Shape;10041;p14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0042" name="Google Shape;10042;p1411"/>
          <p:cNvSpPr>
            <a:spLocks noGrp="1"/>
          </p:cNvSpPr>
          <p:nvPr>
            <p:ph type="pic" idx="2"/>
          </p:nvPr>
        </p:nvSpPr>
        <p:spPr>
          <a:xfrm>
            <a:off x="2807368" y="457202"/>
            <a:ext cx="8915400" cy="5943598"/>
          </a:xfrm>
          <a:prstGeom prst="rect">
            <a:avLst/>
          </a:prstGeom>
          <a:noFill/>
          <a:ln>
            <a:noFill/>
          </a:ln>
        </p:spPr>
      </p:sp>
      <p:pic>
        <p:nvPicPr>
          <p:cNvPr id="10043" name="Google Shape;10043;p14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07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107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690513"/>
      </p:ext>
    </p:extLst>
  </p:cSld>
  <p:clrMapOvr>
    <a:masterClrMapping/>
  </p:clrMapOvr>
</p:sldLayout>
</file>

<file path=ppt/slideLayouts/slideLayout10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3572776"/>
      </p:ext>
    </p:extLst>
  </p:cSld>
  <p:clrMapOvr>
    <a:masterClrMapping/>
  </p:clrMapOvr>
</p:sldLayout>
</file>

<file path=ppt/slideLayouts/slideLayout1073.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107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1075.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0/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1076.xml><?xml version="1.0" encoding="utf-8"?>
<p:sldLayout xmlns:a="http://schemas.openxmlformats.org/drawingml/2006/main" xmlns:r="http://schemas.openxmlformats.org/officeDocument/2006/relationships" xmlns:p="http://schemas.openxmlformats.org/presentationml/2006/main" preserve="1" userDrawn="1">
  <p:cSld name="2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49841392"/>
      </p:ext>
    </p:extLst>
  </p:cSld>
  <p:clrMapOvr>
    <a:masterClrMapping/>
  </p:clrMapOvr>
</p:sldLayout>
</file>

<file path=ppt/slideLayouts/slideLayout1077.xml><?xml version="1.0" encoding="utf-8"?>
<p:sldLayout xmlns:a="http://schemas.openxmlformats.org/drawingml/2006/main" xmlns:r="http://schemas.openxmlformats.org/officeDocument/2006/relationships" xmlns:p="http://schemas.openxmlformats.org/presentationml/2006/main" preserve="1" userDrawn="1">
  <p:cSld name="2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60590543"/>
      </p:ext>
    </p:extLst>
  </p:cSld>
  <p:clrMapOvr>
    <a:masterClrMapping/>
  </p:clrMapOvr>
</p:sldLayout>
</file>

<file path=ppt/slideLayouts/slideLayout1078.xml><?xml version="1.0" encoding="utf-8"?>
<p:sldLayout xmlns:a="http://schemas.openxmlformats.org/drawingml/2006/main" xmlns:r="http://schemas.openxmlformats.org/officeDocument/2006/relationships" xmlns:p="http://schemas.openxmlformats.org/presentationml/2006/main" preserve="1" userDrawn="1">
  <p:cSld name="2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87284394"/>
      </p:ext>
    </p:extLst>
  </p:cSld>
  <p:clrMapOvr>
    <a:masterClrMapping/>
  </p:clrMapOvr>
</p:sldLayout>
</file>

<file path=ppt/slideLayouts/slideLayout1079.xml><?xml version="1.0" encoding="utf-8"?>
<p:sldLayout xmlns:a="http://schemas.openxmlformats.org/drawingml/2006/main" xmlns:r="http://schemas.openxmlformats.org/officeDocument/2006/relationships" xmlns:p="http://schemas.openxmlformats.org/presentationml/2006/main" type="obj" preserve="1">
  <p:cSld name="5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5545686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Quotation">
  <p:cSld name="Quotation 9">
    <p:spTree>
      <p:nvGrpSpPr>
        <p:cNvPr id="1" name="Shape 10044"/>
        <p:cNvGrpSpPr/>
        <p:nvPr/>
      </p:nvGrpSpPr>
      <p:grpSpPr>
        <a:xfrm>
          <a:off x="0" y="0"/>
          <a:ext cx="0" cy="0"/>
          <a:chOff x="0" y="0"/>
          <a:chExt cx="0" cy="0"/>
        </a:xfrm>
      </p:grpSpPr>
      <p:sp>
        <p:nvSpPr>
          <p:cNvPr id="10045" name="Google Shape;10045;p141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046" name="Google Shape;10046;p141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047" name="Google Shape;10047;p141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48" name="Google Shape;10048;p14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049" name="Google Shape;10049;p14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50" name="Google Shape;10050;p14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051" name="Google Shape;10051;p1412"/>
          <p:cNvGrpSpPr/>
          <p:nvPr/>
        </p:nvGrpSpPr>
        <p:grpSpPr>
          <a:xfrm>
            <a:off x="7191542" y="1"/>
            <a:ext cx="5000459" cy="1425992"/>
            <a:chOff x="7191542" y="1"/>
            <a:chExt cx="5000459" cy="1425992"/>
          </a:xfrm>
        </p:grpSpPr>
        <p:pic>
          <p:nvPicPr>
            <p:cNvPr id="10052" name="Google Shape;10052;p14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53" name="Google Shape;10053;p1412"/>
            <p:cNvGrpSpPr/>
            <p:nvPr/>
          </p:nvGrpSpPr>
          <p:grpSpPr>
            <a:xfrm>
              <a:off x="7191542" y="1"/>
              <a:ext cx="5000459" cy="1425992"/>
              <a:chOff x="7186272" y="0"/>
              <a:chExt cx="5005729" cy="1427495"/>
            </a:xfrm>
          </p:grpSpPr>
          <p:sp>
            <p:nvSpPr>
              <p:cNvPr id="10054" name="Google Shape;10054;p14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055" name="Google Shape;10055;p14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056" name="Google Shape;10056;p141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080.xml><?xml version="1.0" encoding="utf-8"?>
<p:sldLayout xmlns:a="http://schemas.openxmlformats.org/drawingml/2006/main" xmlns:r="http://schemas.openxmlformats.org/officeDocument/2006/relationships" xmlns:p="http://schemas.openxmlformats.org/presentationml/2006/main" type="obj" preserve="1">
  <p:cSld name="5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49996232"/>
      </p:ext>
    </p:extLst>
  </p:cSld>
  <p:clrMapOvr>
    <a:masterClrMapping/>
  </p:clrMapOvr>
</p:sldLayout>
</file>

<file path=ppt/slideLayouts/slideLayout1081.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9406647"/>
      </p:ext>
    </p:extLst>
  </p:cSld>
  <p:clrMapOvr>
    <a:masterClrMapping/>
  </p:clrMapOvr>
</p:sldLayout>
</file>

<file path=ppt/slideLayouts/slideLayout1082.xml><?xml version="1.0" encoding="utf-8"?>
<p:sldLayout xmlns:a="http://schemas.openxmlformats.org/drawingml/2006/main" xmlns:r="http://schemas.openxmlformats.org/officeDocument/2006/relationships" xmlns:p="http://schemas.openxmlformats.org/presentationml/2006/main" type="twoObj" preserve="1">
  <p:cSld name="2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3326543"/>
      </p:ext>
    </p:extLst>
  </p:cSld>
  <p:clrMapOvr>
    <a:masterClrMapping/>
  </p:clrMapOvr>
</p:sldLayout>
</file>

<file path=ppt/slideLayouts/slideLayout1083.xml><?xml version="1.0" encoding="utf-8"?>
<p:sldLayout xmlns:a="http://schemas.openxmlformats.org/drawingml/2006/main" xmlns:r="http://schemas.openxmlformats.org/officeDocument/2006/relationships" xmlns:p="http://schemas.openxmlformats.org/presentationml/2006/main" type="twoTxTwoObj" preserve="1">
  <p:cSld name="2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99462820"/>
      </p:ext>
    </p:extLst>
  </p:cSld>
  <p:clrMapOvr>
    <a:masterClrMapping/>
  </p:clrMapOvr>
</p:sldLayout>
</file>

<file path=ppt/slideLayouts/slideLayout1084.xml><?xml version="1.0" encoding="utf-8"?>
<p:sldLayout xmlns:a="http://schemas.openxmlformats.org/drawingml/2006/main" xmlns:r="http://schemas.openxmlformats.org/officeDocument/2006/relationships" xmlns:p="http://schemas.openxmlformats.org/presentationml/2006/main" type="titleOnly" preserve="1">
  <p:cSld name="2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23163570"/>
      </p:ext>
    </p:extLst>
  </p:cSld>
  <p:clrMapOvr>
    <a:masterClrMapping/>
  </p:clrMapOvr>
</p:sldLayout>
</file>

<file path=ppt/slideLayouts/slideLayout1085.xml><?xml version="1.0" encoding="utf-8"?>
<p:sldLayout xmlns:a="http://schemas.openxmlformats.org/drawingml/2006/main" xmlns:r="http://schemas.openxmlformats.org/officeDocument/2006/relationships" xmlns:p="http://schemas.openxmlformats.org/presentationml/2006/main" preserve="1" userDrawn="1">
  <p:cSld name="2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46706464"/>
      </p:ext>
    </p:extLst>
  </p:cSld>
  <p:clrMapOvr>
    <a:masterClrMapping/>
  </p:clrMapOvr>
</p:sldLayout>
</file>

<file path=ppt/slideLayouts/slideLayout1086.xml><?xml version="1.0" encoding="utf-8"?>
<p:sldLayout xmlns:a="http://schemas.openxmlformats.org/drawingml/2006/main" xmlns:r="http://schemas.openxmlformats.org/officeDocument/2006/relationships" xmlns:p="http://schemas.openxmlformats.org/presentationml/2006/main" type="blank" preserve="1">
  <p:cSld name="2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786183613"/>
      </p:ext>
    </p:extLst>
  </p:cSld>
  <p:clrMapOvr>
    <a:masterClrMapping/>
  </p:clrMapOvr>
</p:sldLayout>
</file>

<file path=ppt/slideLayouts/slideLayout1087.xml><?xml version="1.0" encoding="utf-8"?>
<p:sldLayout xmlns:a="http://schemas.openxmlformats.org/drawingml/2006/main" xmlns:r="http://schemas.openxmlformats.org/officeDocument/2006/relationships" xmlns:p="http://schemas.openxmlformats.org/presentationml/2006/main" type="obj" preserve="1">
  <p:cSld name="5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82489994"/>
      </p:ext>
    </p:extLst>
  </p:cSld>
  <p:clrMapOvr>
    <a:masterClrMapping/>
  </p:clrMapOvr>
</p:sldLayout>
</file>

<file path=ppt/slideLayouts/slideLayout1088.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56043969"/>
      </p:ext>
    </p:extLst>
  </p:cSld>
  <p:clrMapOvr>
    <a:masterClrMapping/>
  </p:clrMapOvr>
</p:sldLayout>
</file>

<file path=ppt/slideLayouts/slideLayout1089.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0302911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Quotation">
  <p:cSld name="Quotation 10">
    <p:spTree>
      <p:nvGrpSpPr>
        <p:cNvPr id="1" name="Shape 10057"/>
        <p:cNvGrpSpPr/>
        <p:nvPr/>
      </p:nvGrpSpPr>
      <p:grpSpPr>
        <a:xfrm>
          <a:off x="0" y="0"/>
          <a:ext cx="0" cy="0"/>
          <a:chOff x="0" y="0"/>
          <a:chExt cx="0" cy="0"/>
        </a:xfrm>
      </p:grpSpPr>
      <p:sp>
        <p:nvSpPr>
          <p:cNvPr id="10058" name="Google Shape;10058;p141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059" name="Google Shape;10059;p141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060" name="Google Shape;10060;p141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61" name="Google Shape;10061;p14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062" name="Google Shape;10062;p14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63" name="Google Shape;10063;p14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064" name="Google Shape;10064;p1413"/>
          <p:cNvGrpSpPr/>
          <p:nvPr/>
        </p:nvGrpSpPr>
        <p:grpSpPr>
          <a:xfrm>
            <a:off x="7191542" y="1"/>
            <a:ext cx="5000459" cy="1425992"/>
            <a:chOff x="7191542" y="1"/>
            <a:chExt cx="5000459" cy="1425992"/>
          </a:xfrm>
        </p:grpSpPr>
        <p:pic>
          <p:nvPicPr>
            <p:cNvPr id="10065" name="Google Shape;10065;p14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66" name="Google Shape;10066;p1413"/>
            <p:cNvGrpSpPr/>
            <p:nvPr/>
          </p:nvGrpSpPr>
          <p:grpSpPr>
            <a:xfrm>
              <a:off x="7191542" y="1"/>
              <a:ext cx="5000459" cy="1425992"/>
              <a:chOff x="7186272" y="0"/>
              <a:chExt cx="5005729" cy="1427495"/>
            </a:xfrm>
          </p:grpSpPr>
          <p:sp>
            <p:nvSpPr>
              <p:cNvPr id="10067" name="Google Shape;10067;p14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068" name="Google Shape;10068;p14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069" name="Google Shape;10069;p141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090.xml><?xml version="1.0" encoding="utf-8"?>
<p:sldLayout xmlns:a="http://schemas.openxmlformats.org/drawingml/2006/main" xmlns:r="http://schemas.openxmlformats.org/officeDocument/2006/relationships" xmlns:p="http://schemas.openxmlformats.org/presentationml/2006/main" type="obj" preserve="1">
  <p:cSld name="5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34075629"/>
      </p:ext>
    </p:extLst>
  </p:cSld>
  <p:clrMapOvr>
    <a:masterClrMapping/>
  </p:clrMapOvr>
</p:sldLayout>
</file>

<file path=ppt/slideLayouts/slideLayout1091.xml><?xml version="1.0" encoding="utf-8"?>
<p:sldLayout xmlns:a="http://schemas.openxmlformats.org/drawingml/2006/main" xmlns:r="http://schemas.openxmlformats.org/officeDocument/2006/relationships" xmlns:p="http://schemas.openxmlformats.org/presentationml/2006/main" preserve="1" userDrawn="1">
  <p:cSld name="2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467764"/>
      </p:ext>
    </p:extLst>
  </p:cSld>
  <p:clrMapOvr>
    <a:masterClrMapping/>
  </p:clrMapOvr>
</p:sldLayout>
</file>

<file path=ppt/slideLayouts/slideLayout1092.xml><?xml version="1.0" encoding="utf-8"?>
<p:sldLayout xmlns:a="http://schemas.openxmlformats.org/drawingml/2006/main" xmlns:r="http://schemas.openxmlformats.org/officeDocument/2006/relationships" xmlns:p="http://schemas.openxmlformats.org/presentationml/2006/main" preserve="1" userDrawn="1">
  <p:cSld name="2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000535700"/>
      </p:ext>
    </p:extLst>
  </p:cSld>
  <p:clrMapOvr>
    <a:masterClrMapping/>
  </p:clrMapOvr>
</p:sldLayout>
</file>

<file path=ppt/slideLayouts/slideLayout1093.xml><?xml version="1.0" encoding="utf-8"?>
<p:sldLayout xmlns:a="http://schemas.openxmlformats.org/drawingml/2006/main" xmlns:r="http://schemas.openxmlformats.org/officeDocument/2006/relationships" xmlns:p="http://schemas.openxmlformats.org/presentationml/2006/main" preserve="1" userDrawn="1">
  <p:cSld name="2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776079100"/>
      </p:ext>
    </p:extLst>
  </p:cSld>
  <p:clrMapOvr>
    <a:masterClrMapping/>
  </p:clrMapOvr>
</p:sldLayout>
</file>

<file path=ppt/slideLayouts/slideLayout1094.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109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20637423"/>
      </p:ext>
    </p:extLst>
  </p:cSld>
  <p:clrMapOvr>
    <a:masterClrMapping/>
  </p:clrMapOvr>
</p:sldLayout>
</file>

<file path=ppt/slideLayouts/slideLayout109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0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0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0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matchingName="Quotation">
  <p:cSld name="Quotation 9 2">
    <p:spTree>
      <p:nvGrpSpPr>
        <p:cNvPr id="1" name="Shape 10070"/>
        <p:cNvGrpSpPr/>
        <p:nvPr/>
      </p:nvGrpSpPr>
      <p:grpSpPr>
        <a:xfrm>
          <a:off x="0" y="0"/>
          <a:ext cx="0" cy="0"/>
          <a:chOff x="0" y="0"/>
          <a:chExt cx="0" cy="0"/>
        </a:xfrm>
      </p:grpSpPr>
      <p:sp>
        <p:nvSpPr>
          <p:cNvPr id="10071" name="Google Shape;10071;p14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072" name="Google Shape;10072;p14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073" name="Google Shape;10073;p14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74" name="Google Shape;10074;p14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075" name="Google Shape;10075;p14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76" name="Google Shape;10076;p14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077" name="Google Shape;10077;p1414"/>
          <p:cNvGrpSpPr/>
          <p:nvPr/>
        </p:nvGrpSpPr>
        <p:grpSpPr>
          <a:xfrm>
            <a:off x="7191542" y="1"/>
            <a:ext cx="5000459" cy="1425992"/>
            <a:chOff x="7191542" y="1"/>
            <a:chExt cx="5000459" cy="1425992"/>
          </a:xfrm>
        </p:grpSpPr>
        <p:pic>
          <p:nvPicPr>
            <p:cNvPr id="10078" name="Google Shape;10078;p14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79" name="Google Shape;10079;p1414"/>
            <p:cNvGrpSpPr/>
            <p:nvPr/>
          </p:nvGrpSpPr>
          <p:grpSpPr>
            <a:xfrm>
              <a:off x="7191542" y="1"/>
              <a:ext cx="5000459" cy="1425992"/>
              <a:chOff x="7186272" y="0"/>
              <a:chExt cx="5005729" cy="1427495"/>
            </a:xfrm>
          </p:grpSpPr>
          <p:sp>
            <p:nvSpPr>
              <p:cNvPr id="10080" name="Google Shape;10080;p14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081" name="Google Shape;10081;p14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082" name="Google Shape;10082;p141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1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101.xml><?xml version="1.0" encoding="utf-8"?>
<p:sldLayout xmlns:a="http://schemas.openxmlformats.org/drawingml/2006/main" xmlns:r="http://schemas.openxmlformats.org/officeDocument/2006/relationships" xmlns:p="http://schemas.openxmlformats.org/presentationml/2006/main" preserve="1" userDrawn="1">
  <p:cSld name="2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15547826"/>
      </p:ext>
    </p:extLst>
  </p:cSld>
  <p:clrMapOvr>
    <a:masterClrMapping/>
  </p:clrMapOvr>
</p:sldLayout>
</file>

<file path=ppt/slideLayouts/slideLayout11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103.xml><?xml version="1.0" encoding="utf-8"?>
<p:sldLayout xmlns:a="http://schemas.openxmlformats.org/drawingml/2006/main" xmlns:r="http://schemas.openxmlformats.org/officeDocument/2006/relationships" xmlns:p="http://schemas.openxmlformats.org/presentationml/2006/main" preserve="1" userDrawn="1">
  <p:cSld name="2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4893411"/>
      </p:ext>
    </p:extLst>
  </p:cSld>
  <p:clrMapOvr>
    <a:masterClrMapping/>
  </p:clrMapOvr>
</p:sldLayout>
</file>

<file path=ppt/slideLayouts/slideLayout1104.xml><?xml version="1.0" encoding="utf-8"?>
<p:sldLayout xmlns:a="http://schemas.openxmlformats.org/drawingml/2006/main" xmlns:r="http://schemas.openxmlformats.org/officeDocument/2006/relationships" xmlns:p="http://schemas.openxmlformats.org/presentationml/2006/main" preserve="1" userDrawn="1">
  <p:cSld name="2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568906185"/>
      </p:ext>
    </p:extLst>
  </p:cSld>
  <p:clrMapOvr>
    <a:masterClrMapping/>
  </p:clrMapOvr>
</p:sldLayout>
</file>

<file path=ppt/slideLayouts/slideLayout1105.xml><?xml version="1.0" encoding="utf-8"?>
<p:sldLayout xmlns:a="http://schemas.openxmlformats.org/drawingml/2006/main" xmlns:r="http://schemas.openxmlformats.org/officeDocument/2006/relationships" xmlns:p="http://schemas.openxmlformats.org/presentationml/2006/main" preserve="1" userDrawn="1">
  <p:cSld name="2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247701833"/>
      </p:ext>
    </p:extLst>
  </p:cSld>
  <p:clrMapOvr>
    <a:masterClrMapping/>
  </p:clrMapOvr>
</p:sldLayout>
</file>

<file path=ppt/slideLayouts/slideLayout1106.xml><?xml version="1.0" encoding="utf-8"?>
<p:sldLayout xmlns:a="http://schemas.openxmlformats.org/drawingml/2006/main" xmlns:r="http://schemas.openxmlformats.org/officeDocument/2006/relationships" xmlns:p="http://schemas.openxmlformats.org/presentationml/2006/main" type="obj" preserve="1">
  <p:cSld name="5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13777444"/>
      </p:ext>
    </p:extLst>
  </p:cSld>
  <p:clrMapOvr>
    <a:masterClrMapping/>
  </p:clrMapOvr>
</p:sldLayout>
</file>

<file path=ppt/slideLayouts/slideLayout1107.xml><?xml version="1.0" encoding="utf-8"?>
<p:sldLayout xmlns:a="http://schemas.openxmlformats.org/drawingml/2006/main" xmlns:r="http://schemas.openxmlformats.org/officeDocument/2006/relationships" xmlns:p="http://schemas.openxmlformats.org/presentationml/2006/main" type="obj" preserve="1">
  <p:cSld name="3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22333651"/>
      </p:ext>
    </p:extLst>
  </p:cSld>
  <p:clrMapOvr>
    <a:masterClrMapping/>
  </p:clrMapOvr>
</p:sldLayout>
</file>

<file path=ppt/slideLayouts/slideLayout1108.xml><?xml version="1.0" encoding="utf-8"?>
<p:sldLayout xmlns:a="http://schemas.openxmlformats.org/drawingml/2006/main" xmlns:r="http://schemas.openxmlformats.org/officeDocument/2006/relationships" xmlns:p="http://schemas.openxmlformats.org/presentationml/2006/main" type="twoObj" preserve="1">
  <p:cSld name="2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28563498"/>
      </p:ext>
    </p:extLst>
  </p:cSld>
  <p:clrMapOvr>
    <a:masterClrMapping/>
  </p:clrMapOvr>
</p:sldLayout>
</file>

<file path=ppt/slideLayouts/slideLayout1109.xml><?xml version="1.0" encoding="utf-8"?>
<p:sldLayout xmlns:a="http://schemas.openxmlformats.org/drawingml/2006/main" xmlns:r="http://schemas.openxmlformats.org/officeDocument/2006/relationships" xmlns:p="http://schemas.openxmlformats.org/presentationml/2006/main" type="twoTxTwoObj" preserve="1">
  <p:cSld name="2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2851099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Quotation">
  <p:cSld name="Quotation 10 2">
    <p:spTree>
      <p:nvGrpSpPr>
        <p:cNvPr id="1" name="Shape 10083"/>
        <p:cNvGrpSpPr/>
        <p:nvPr/>
      </p:nvGrpSpPr>
      <p:grpSpPr>
        <a:xfrm>
          <a:off x="0" y="0"/>
          <a:ext cx="0" cy="0"/>
          <a:chOff x="0" y="0"/>
          <a:chExt cx="0" cy="0"/>
        </a:xfrm>
      </p:grpSpPr>
      <p:sp>
        <p:nvSpPr>
          <p:cNvPr id="10084" name="Google Shape;10084;p141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085" name="Google Shape;10085;p141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086" name="Google Shape;10086;p141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87" name="Google Shape;10087;p14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088" name="Google Shape;10088;p14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89" name="Google Shape;10089;p14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090" name="Google Shape;10090;p1415"/>
          <p:cNvGrpSpPr/>
          <p:nvPr/>
        </p:nvGrpSpPr>
        <p:grpSpPr>
          <a:xfrm>
            <a:off x="7191542" y="1"/>
            <a:ext cx="5000459" cy="1425992"/>
            <a:chOff x="7191542" y="1"/>
            <a:chExt cx="5000459" cy="1425992"/>
          </a:xfrm>
        </p:grpSpPr>
        <p:pic>
          <p:nvPicPr>
            <p:cNvPr id="10091" name="Google Shape;10091;p14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92" name="Google Shape;10092;p1415"/>
            <p:cNvGrpSpPr/>
            <p:nvPr/>
          </p:nvGrpSpPr>
          <p:grpSpPr>
            <a:xfrm>
              <a:off x="7191542" y="1"/>
              <a:ext cx="5000459" cy="1425992"/>
              <a:chOff x="7186272" y="0"/>
              <a:chExt cx="5005729" cy="1427495"/>
            </a:xfrm>
          </p:grpSpPr>
          <p:sp>
            <p:nvSpPr>
              <p:cNvPr id="10093" name="Google Shape;10093;p14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094" name="Google Shape;10094;p14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095" name="Google Shape;10095;p141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110.xml><?xml version="1.0" encoding="utf-8"?>
<p:sldLayout xmlns:a="http://schemas.openxmlformats.org/drawingml/2006/main" xmlns:r="http://schemas.openxmlformats.org/officeDocument/2006/relationships" xmlns:p="http://schemas.openxmlformats.org/presentationml/2006/main" type="titleOnly" preserve="1">
  <p:cSld name="2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8406180"/>
      </p:ext>
    </p:extLst>
  </p:cSld>
  <p:clrMapOvr>
    <a:masterClrMapping/>
  </p:clrMapOvr>
</p:sldLayout>
</file>

<file path=ppt/slideLayouts/slideLayout1111.xml><?xml version="1.0" encoding="utf-8"?>
<p:sldLayout xmlns:a="http://schemas.openxmlformats.org/drawingml/2006/main" xmlns:r="http://schemas.openxmlformats.org/officeDocument/2006/relationships" xmlns:p="http://schemas.openxmlformats.org/presentationml/2006/main" preserve="1" userDrawn="1">
  <p:cSld name="2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02226808"/>
      </p:ext>
    </p:extLst>
  </p:cSld>
  <p:clrMapOvr>
    <a:masterClrMapping/>
  </p:clrMapOvr>
</p:sldLayout>
</file>

<file path=ppt/slideLayouts/slideLayout1112.xml><?xml version="1.0" encoding="utf-8"?>
<p:sldLayout xmlns:a="http://schemas.openxmlformats.org/drawingml/2006/main" xmlns:r="http://schemas.openxmlformats.org/officeDocument/2006/relationships" xmlns:p="http://schemas.openxmlformats.org/presentationml/2006/main" type="blank" preserve="1">
  <p:cSld name="2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08188072"/>
      </p:ext>
    </p:extLst>
  </p:cSld>
  <p:clrMapOvr>
    <a:masterClrMapping/>
  </p:clrMapOvr>
</p:sldLayout>
</file>

<file path=ppt/slideLayouts/slideLayout1113.xml><?xml version="1.0" encoding="utf-8"?>
<p:sldLayout xmlns:a="http://schemas.openxmlformats.org/drawingml/2006/main" xmlns:r="http://schemas.openxmlformats.org/officeDocument/2006/relationships" xmlns:p="http://schemas.openxmlformats.org/presentationml/2006/main" type="obj" preserve="1">
  <p:cSld name="5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86447138"/>
      </p:ext>
    </p:extLst>
  </p:cSld>
  <p:clrMapOvr>
    <a:masterClrMapping/>
  </p:clrMapOvr>
</p:sldLayout>
</file>

<file path=ppt/slideLayouts/slideLayout111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783658486"/>
      </p:ext>
    </p:extLst>
  </p:cSld>
  <p:clrMapOvr>
    <a:masterClrMapping/>
  </p:clrMapOvr>
</p:sldLayout>
</file>

<file path=ppt/slideLayouts/slideLayout1115.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548412271"/>
      </p:ext>
    </p:extLst>
  </p:cSld>
  <p:clrMapOvr>
    <a:masterClrMapping/>
  </p:clrMapOvr>
</p:sldLayout>
</file>

<file path=ppt/slideLayouts/slideLayout1116.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853296762"/>
      </p:ext>
    </p:extLst>
  </p:cSld>
  <p:clrMapOvr>
    <a:masterClrMapping/>
  </p:clrMapOvr>
</p:sldLayout>
</file>

<file path=ppt/slideLayouts/slideLayout1117.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08720975"/>
      </p:ext>
    </p:extLst>
  </p:cSld>
  <p:clrMapOvr>
    <a:masterClrMapping/>
  </p:clrMapOvr>
</p:sldLayout>
</file>

<file path=ppt/slideLayouts/slideLayout1118.xml><?xml version="1.0" encoding="utf-8"?>
<p:sldLayout xmlns:a="http://schemas.openxmlformats.org/drawingml/2006/main" xmlns:r="http://schemas.openxmlformats.org/officeDocument/2006/relationships" xmlns:p="http://schemas.openxmlformats.org/presentationml/2006/main">
  <p:cSld name="4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455226866"/>
      </p:ext>
    </p:extLst>
  </p:cSld>
  <p:clrMapOvr>
    <a:masterClrMapping/>
  </p:clrMapOvr>
</p:sldLayout>
</file>

<file path=ppt/slideLayouts/slideLayout1119.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3704094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Title and Content">
  <p:cSld name="Title and Content 10">
    <p:spTree>
      <p:nvGrpSpPr>
        <p:cNvPr id="1" name="Shape 10096"/>
        <p:cNvGrpSpPr/>
        <p:nvPr/>
      </p:nvGrpSpPr>
      <p:grpSpPr>
        <a:xfrm>
          <a:off x="0" y="0"/>
          <a:ext cx="0" cy="0"/>
          <a:chOff x="0" y="0"/>
          <a:chExt cx="0" cy="0"/>
        </a:xfrm>
      </p:grpSpPr>
      <p:grpSp>
        <p:nvGrpSpPr>
          <p:cNvPr id="10097" name="Google Shape;10097;p1416"/>
          <p:cNvGrpSpPr/>
          <p:nvPr/>
        </p:nvGrpSpPr>
        <p:grpSpPr>
          <a:xfrm>
            <a:off x="7191542" y="1"/>
            <a:ext cx="5000459" cy="1425992"/>
            <a:chOff x="7191542" y="1"/>
            <a:chExt cx="5000459" cy="1425992"/>
          </a:xfrm>
        </p:grpSpPr>
        <p:pic>
          <p:nvPicPr>
            <p:cNvPr id="10098" name="Google Shape;10098;p14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99" name="Google Shape;10099;p1416"/>
            <p:cNvGrpSpPr/>
            <p:nvPr/>
          </p:nvGrpSpPr>
          <p:grpSpPr>
            <a:xfrm>
              <a:off x="7191542" y="1"/>
              <a:ext cx="5000459" cy="1425992"/>
              <a:chOff x="7186272" y="0"/>
              <a:chExt cx="5005729" cy="1427495"/>
            </a:xfrm>
          </p:grpSpPr>
          <p:sp>
            <p:nvSpPr>
              <p:cNvPr id="10100" name="Google Shape;10100;p14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101" name="Google Shape;10101;p14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102" name="Google Shape;10102;p141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03" name="Google Shape;10103;p141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04" name="Google Shape;10104;p14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105" name="Google Shape;10105;p14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06" name="Google Shape;10106;p14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20.xml><?xml version="1.0" encoding="utf-8"?>
<p:sldLayout xmlns:a="http://schemas.openxmlformats.org/drawingml/2006/main" xmlns:r="http://schemas.openxmlformats.org/officeDocument/2006/relationships" xmlns:p="http://schemas.openxmlformats.org/presentationml/2006/main" userDrawn="1">
  <p:cSld name="1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232971996"/>
      </p:ext>
    </p:extLst>
  </p:cSld>
  <p:clrMapOvr>
    <a:masterClrMapping/>
  </p:clrMapOvr>
</p:sldLayout>
</file>

<file path=ppt/slideLayouts/slideLayout1121.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73351886"/>
      </p:ext>
    </p:extLst>
  </p:cSld>
  <p:clrMapOvr>
    <a:masterClrMapping/>
  </p:clrMapOvr>
</p:sldLayout>
</file>

<file path=ppt/slideLayouts/slideLayout1122.xml><?xml version="1.0" encoding="utf-8"?>
<p:sldLayout xmlns:a="http://schemas.openxmlformats.org/drawingml/2006/main" xmlns:r="http://schemas.openxmlformats.org/officeDocument/2006/relationships" xmlns:p="http://schemas.openxmlformats.org/presentationml/2006/main">
  <p:cSld name="4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776353041"/>
      </p:ext>
    </p:extLst>
  </p:cSld>
  <p:clrMapOvr>
    <a:masterClrMapping/>
  </p:clrMapOvr>
</p:sldLayout>
</file>

<file path=ppt/slideLayouts/slideLayout1123.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58799033"/>
      </p:ext>
    </p:extLst>
  </p:cSld>
  <p:clrMapOvr>
    <a:masterClrMapping/>
  </p:clrMapOvr>
</p:sldLayout>
</file>

<file path=ppt/slideLayouts/slideLayout1124.xml><?xml version="1.0" encoding="utf-8"?>
<p:sldLayout xmlns:a="http://schemas.openxmlformats.org/drawingml/2006/main" xmlns:r="http://schemas.openxmlformats.org/officeDocument/2006/relationships" xmlns:p="http://schemas.openxmlformats.org/presentationml/2006/main" userDrawn="1">
  <p:cSld name="1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969639827"/>
      </p:ext>
    </p:extLst>
  </p:cSld>
  <p:clrMapOvr>
    <a:masterClrMapping/>
  </p:clrMapOvr>
</p:sldLayout>
</file>

<file path=ppt/slideLayouts/slideLayout1125.xml><?xml version="1.0" encoding="utf-8"?>
<p:sldLayout xmlns:a="http://schemas.openxmlformats.org/drawingml/2006/main" xmlns:r="http://schemas.openxmlformats.org/officeDocument/2006/relationships" xmlns:p="http://schemas.openxmlformats.org/presentationml/2006/main" userDrawn="1">
  <p:cSld name="1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732449965"/>
      </p:ext>
    </p:extLst>
  </p:cSld>
  <p:clrMapOvr>
    <a:masterClrMapping/>
  </p:clrMapOvr>
</p:sldLayout>
</file>

<file path=ppt/slideLayouts/slideLayout1126.xml><?xml version="1.0" encoding="utf-8"?>
<p:sldLayout xmlns:a="http://schemas.openxmlformats.org/drawingml/2006/main" xmlns:r="http://schemas.openxmlformats.org/officeDocument/2006/relationships" xmlns:p="http://schemas.openxmlformats.org/presentationml/2006/main" userDrawn="1">
  <p:cSld name="1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626390662"/>
      </p:ext>
    </p:extLst>
  </p:cSld>
  <p:clrMapOvr>
    <a:masterClrMapping/>
  </p:clrMapOvr>
</p:sldLayout>
</file>

<file path=ppt/slideLayouts/slideLayout1127.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32434869"/>
      </p:ext>
    </p:extLst>
  </p:cSld>
  <p:clrMapOvr>
    <a:masterClrMapping/>
  </p:clrMapOvr>
</p:sldLayout>
</file>

<file path=ppt/slideLayouts/slideLayout1128.xml><?xml version="1.0" encoding="utf-8"?>
<p:sldLayout xmlns:a="http://schemas.openxmlformats.org/drawingml/2006/main" xmlns:r="http://schemas.openxmlformats.org/officeDocument/2006/relationships" xmlns:p="http://schemas.openxmlformats.org/presentationml/2006/main">
  <p:cSld name="4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327327328"/>
      </p:ext>
    </p:extLst>
  </p:cSld>
  <p:clrMapOvr>
    <a:masterClrMapping/>
  </p:clrMapOvr>
</p:sldLayout>
</file>

<file path=ppt/slideLayouts/slideLayout1129.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5418513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Two Content">
  <p:cSld name="Two Content 6">
    <p:spTree>
      <p:nvGrpSpPr>
        <p:cNvPr id="1" name="Shape 10107"/>
        <p:cNvGrpSpPr/>
        <p:nvPr/>
      </p:nvGrpSpPr>
      <p:grpSpPr>
        <a:xfrm>
          <a:off x="0" y="0"/>
          <a:ext cx="0" cy="0"/>
          <a:chOff x="0" y="0"/>
          <a:chExt cx="0" cy="0"/>
        </a:xfrm>
      </p:grpSpPr>
      <p:sp>
        <p:nvSpPr>
          <p:cNvPr id="10108" name="Google Shape;10108;p141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09" name="Google Shape;10109;p141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110" name="Google Shape;10110;p1417"/>
          <p:cNvGrpSpPr/>
          <p:nvPr/>
        </p:nvGrpSpPr>
        <p:grpSpPr>
          <a:xfrm>
            <a:off x="7191542" y="1"/>
            <a:ext cx="5000459" cy="1425992"/>
            <a:chOff x="7191542" y="1"/>
            <a:chExt cx="5000459" cy="1425992"/>
          </a:xfrm>
        </p:grpSpPr>
        <p:pic>
          <p:nvPicPr>
            <p:cNvPr id="10111" name="Google Shape;10111;p14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12" name="Google Shape;10112;p1417"/>
            <p:cNvGrpSpPr/>
            <p:nvPr/>
          </p:nvGrpSpPr>
          <p:grpSpPr>
            <a:xfrm>
              <a:off x="7191542" y="1"/>
              <a:ext cx="5000459" cy="1425992"/>
              <a:chOff x="7186272" y="0"/>
              <a:chExt cx="5005729" cy="1427495"/>
            </a:xfrm>
          </p:grpSpPr>
          <p:sp>
            <p:nvSpPr>
              <p:cNvPr id="10113" name="Google Shape;10113;p14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114" name="Google Shape;10114;p14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115" name="Google Shape;10115;p141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16" name="Google Shape;10116;p141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117" name="Google Shape;10117;p14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18" name="Google Shape;10118;p14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30.xml><?xml version="1.0" encoding="utf-8"?>
<p:sldLayout xmlns:a="http://schemas.openxmlformats.org/drawingml/2006/main" xmlns:r="http://schemas.openxmlformats.org/officeDocument/2006/relationships" xmlns:p="http://schemas.openxmlformats.org/presentationml/2006/main" userDrawn="1">
  <p:cSld name="1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995713115"/>
      </p:ext>
    </p:extLst>
  </p:cSld>
  <p:clrMapOvr>
    <a:masterClrMapping/>
  </p:clrMapOvr>
</p:sldLayout>
</file>

<file path=ppt/slideLayouts/slideLayout1131.xml><?xml version="1.0" encoding="utf-8"?>
<p:sldLayout xmlns:a="http://schemas.openxmlformats.org/drawingml/2006/main" xmlns:r="http://schemas.openxmlformats.org/officeDocument/2006/relationships" xmlns:p="http://schemas.openxmlformats.org/presentationml/2006/main" userDrawn="1">
  <p:cSld name="1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86398670"/>
      </p:ext>
    </p:extLst>
  </p:cSld>
  <p:clrMapOvr>
    <a:masterClrMapping/>
  </p:clrMapOvr>
</p:sldLayout>
</file>

<file path=ppt/slideLayouts/slideLayout1132.xml><?xml version="1.0" encoding="utf-8"?>
<p:sldLayout xmlns:a="http://schemas.openxmlformats.org/drawingml/2006/main" xmlns:r="http://schemas.openxmlformats.org/officeDocument/2006/relationships" xmlns:p="http://schemas.openxmlformats.org/presentationml/2006/main">
  <p:cSld name="4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718653888"/>
      </p:ext>
    </p:extLst>
  </p:cSld>
  <p:clrMapOvr>
    <a:masterClrMapping/>
  </p:clrMapOvr>
</p:sldLayout>
</file>

<file path=ppt/slideLayouts/slideLayout1133.xml><?xml version="1.0" encoding="utf-8"?>
<p:sldLayout xmlns:a="http://schemas.openxmlformats.org/drawingml/2006/main" xmlns:r="http://schemas.openxmlformats.org/officeDocument/2006/relationships" xmlns:p="http://schemas.openxmlformats.org/presentationml/2006/main">
  <p:cSld name="1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27615055"/>
      </p:ext>
    </p:extLst>
  </p:cSld>
  <p:clrMapOvr>
    <a:masterClrMapping/>
  </p:clrMapOvr>
</p:sldLayout>
</file>

<file path=ppt/slideLayouts/slideLayout1134.xml><?xml version="1.0" encoding="utf-8"?>
<p:sldLayout xmlns:a="http://schemas.openxmlformats.org/drawingml/2006/main" xmlns:r="http://schemas.openxmlformats.org/officeDocument/2006/relationships" xmlns:p="http://schemas.openxmlformats.org/presentationml/2006/main" userDrawn="1">
  <p:cSld name="1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00827720"/>
      </p:ext>
    </p:extLst>
  </p:cSld>
  <p:clrMapOvr>
    <a:masterClrMapping/>
  </p:clrMapOvr>
</p:sldLayout>
</file>

<file path=ppt/slideLayouts/slideLayout1135.xml><?xml version="1.0" encoding="utf-8"?>
<p:sldLayout xmlns:a="http://schemas.openxmlformats.org/drawingml/2006/main" xmlns:r="http://schemas.openxmlformats.org/officeDocument/2006/relationships" xmlns:p="http://schemas.openxmlformats.org/presentationml/2006/main">
  <p:cSld name="4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132643247"/>
      </p:ext>
    </p:extLst>
  </p:cSld>
  <p:clrMapOvr>
    <a:masterClrMapping/>
  </p:clrMapOvr>
</p:sldLayout>
</file>

<file path=ppt/slideLayouts/slideLayout1136.xml><?xml version="1.0" encoding="utf-8"?>
<p:sldLayout xmlns:a="http://schemas.openxmlformats.org/drawingml/2006/main" xmlns:r="http://schemas.openxmlformats.org/officeDocument/2006/relationships" xmlns:p="http://schemas.openxmlformats.org/presentationml/2006/main">
  <p:cSld name="1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91379350"/>
      </p:ext>
    </p:extLst>
  </p:cSld>
  <p:clrMapOvr>
    <a:masterClrMapping/>
  </p:clrMapOvr>
</p:sldLayout>
</file>

<file path=ppt/slideLayouts/slideLayout1137.xml><?xml version="1.0" encoding="utf-8"?>
<p:sldLayout xmlns:a="http://schemas.openxmlformats.org/drawingml/2006/main" xmlns:r="http://schemas.openxmlformats.org/officeDocument/2006/relationships" xmlns:p="http://schemas.openxmlformats.org/presentationml/2006/main" userDrawn="1">
  <p:cSld name="1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309103943"/>
      </p:ext>
    </p:extLst>
  </p:cSld>
  <p:clrMapOvr>
    <a:masterClrMapping/>
  </p:clrMapOvr>
</p:sldLayout>
</file>

<file path=ppt/slideLayouts/slideLayout1138.xml><?xml version="1.0" encoding="utf-8"?>
<p:sldLayout xmlns:a="http://schemas.openxmlformats.org/drawingml/2006/main" xmlns:r="http://schemas.openxmlformats.org/officeDocument/2006/relationships" xmlns:p="http://schemas.openxmlformats.org/presentationml/2006/main" userDrawn="1">
  <p:cSld name="1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093304744"/>
      </p:ext>
    </p:extLst>
  </p:cSld>
  <p:clrMapOvr>
    <a:masterClrMapping/>
  </p:clrMapOvr>
</p:sldLayout>
</file>

<file path=ppt/slideLayouts/slideLayout1139.xml><?xml version="1.0" encoding="utf-8"?>
<p:sldLayout xmlns:a="http://schemas.openxmlformats.org/drawingml/2006/main" xmlns:r="http://schemas.openxmlformats.org/officeDocument/2006/relationships" xmlns:p="http://schemas.openxmlformats.org/presentationml/2006/main">
  <p:cSld name="4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70153342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Comparison">
  <p:cSld name="Comparison 5">
    <p:spTree>
      <p:nvGrpSpPr>
        <p:cNvPr id="1" name="Shape 10119"/>
        <p:cNvGrpSpPr/>
        <p:nvPr/>
      </p:nvGrpSpPr>
      <p:grpSpPr>
        <a:xfrm>
          <a:off x="0" y="0"/>
          <a:ext cx="0" cy="0"/>
          <a:chOff x="0" y="0"/>
          <a:chExt cx="0" cy="0"/>
        </a:xfrm>
      </p:grpSpPr>
      <p:grpSp>
        <p:nvGrpSpPr>
          <p:cNvPr id="10120" name="Google Shape;10120;p1418"/>
          <p:cNvGrpSpPr/>
          <p:nvPr/>
        </p:nvGrpSpPr>
        <p:grpSpPr>
          <a:xfrm>
            <a:off x="7191542" y="1"/>
            <a:ext cx="5000459" cy="1425992"/>
            <a:chOff x="7191542" y="1"/>
            <a:chExt cx="5000459" cy="1425992"/>
          </a:xfrm>
        </p:grpSpPr>
        <p:pic>
          <p:nvPicPr>
            <p:cNvPr id="10121" name="Google Shape;10121;p14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22" name="Google Shape;10122;p1418"/>
            <p:cNvGrpSpPr/>
            <p:nvPr/>
          </p:nvGrpSpPr>
          <p:grpSpPr>
            <a:xfrm>
              <a:off x="7191542" y="1"/>
              <a:ext cx="5000459" cy="1425992"/>
              <a:chOff x="7186272" y="0"/>
              <a:chExt cx="5005729" cy="1427495"/>
            </a:xfrm>
          </p:grpSpPr>
          <p:sp>
            <p:nvSpPr>
              <p:cNvPr id="10123" name="Google Shape;10123;p14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124" name="Google Shape;10124;p14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125" name="Google Shape;10125;p141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26" name="Google Shape;10126;p141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127" name="Google Shape;10127;p141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28" name="Google Shape;10128;p141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129" name="Google Shape;10129;p141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30" name="Google Shape;10130;p14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131" name="Google Shape;10131;p14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32" name="Google Shape;10132;p14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40.xml><?xml version="1.0" encoding="utf-8"?>
<p:sldLayout xmlns:a="http://schemas.openxmlformats.org/drawingml/2006/main" xmlns:r="http://schemas.openxmlformats.org/officeDocument/2006/relationships" xmlns:p="http://schemas.openxmlformats.org/presentationml/2006/main">
  <p:cSld name="1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529493105"/>
      </p:ext>
    </p:extLst>
  </p:cSld>
  <p:clrMapOvr>
    <a:masterClrMapping/>
  </p:clrMapOvr>
</p:sldLayout>
</file>

<file path=ppt/slideLayouts/slideLayout1141.xml><?xml version="1.0" encoding="utf-8"?>
<p:sldLayout xmlns:a="http://schemas.openxmlformats.org/drawingml/2006/main" xmlns:r="http://schemas.openxmlformats.org/officeDocument/2006/relationships" xmlns:p="http://schemas.openxmlformats.org/presentationml/2006/main" userDrawn="1">
  <p:cSld name="1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36821243"/>
      </p:ext>
    </p:extLst>
  </p:cSld>
  <p:clrMapOvr>
    <a:masterClrMapping/>
  </p:clrMapOvr>
</p:sldLayout>
</file>

<file path=ppt/slideLayouts/slideLayout1142.xml><?xml version="1.0" encoding="utf-8"?>
<p:sldLayout xmlns:a="http://schemas.openxmlformats.org/drawingml/2006/main" xmlns:r="http://schemas.openxmlformats.org/officeDocument/2006/relationships" xmlns:p="http://schemas.openxmlformats.org/presentationml/2006/main">
  <p:cSld name="4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740345886"/>
      </p:ext>
    </p:extLst>
  </p:cSld>
  <p:clrMapOvr>
    <a:masterClrMapping/>
  </p:clrMapOvr>
</p:sldLayout>
</file>

<file path=ppt/slideLayouts/slideLayout1143.xml><?xml version="1.0" encoding="utf-8"?>
<p:sldLayout xmlns:a="http://schemas.openxmlformats.org/drawingml/2006/main" xmlns:r="http://schemas.openxmlformats.org/officeDocument/2006/relationships" xmlns:p="http://schemas.openxmlformats.org/presentationml/2006/main">
  <p:cSld name="1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303570714"/>
      </p:ext>
    </p:extLst>
  </p:cSld>
  <p:clrMapOvr>
    <a:masterClrMapping/>
  </p:clrMapOvr>
</p:sldLayout>
</file>

<file path=ppt/slideLayouts/slideLayout1144.xml><?xml version="1.0" encoding="utf-8"?>
<p:sldLayout xmlns:a="http://schemas.openxmlformats.org/drawingml/2006/main" xmlns:r="http://schemas.openxmlformats.org/officeDocument/2006/relationships" xmlns:p="http://schemas.openxmlformats.org/presentationml/2006/main" userDrawn="1">
  <p:cSld name="1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88636118"/>
      </p:ext>
    </p:extLst>
  </p:cSld>
  <p:clrMapOvr>
    <a:masterClrMapping/>
  </p:clrMapOvr>
</p:sldLayout>
</file>

<file path=ppt/slideLayouts/slideLayout1145.xml><?xml version="1.0" encoding="utf-8"?>
<p:sldLayout xmlns:a="http://schemas.openxmlformats.org/drawingml/2006/main" xmlns:r="http://schemas.openxmlformats.org/officeDocument/2006/relationships" xmlns:p="http://schemas.openxmlformats.org/presentationml/2006/main">
  <p:cSld name="4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13217836"/>
      </p:ext>
    </p:extLst>
  </p:cSld>
  <p:clrMapOvr>
    <a:masterClrMapping/>
  </p:clrMapOvr>
</p:sldLayout>
</file>

<file path=ppt/slideLayouts/slideLayout1146.xml><?xml version="1.0" encoding="utf-8"?>
<p:sldLayout xmlns:a="http://schemas.openxmlformats.org/drawingml/2006/main" xmlns:r="http://schemas.openxmlformats.org/officeDocument/2006/relationships" xmlns:p="http://schemas.openxmlformats.org/presentationml/2006/main">
  <p:cSld name="1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76935853"/>
      </p:ext>
    </p:extLst>
  </p:cSld>
  <p:clrMapOvr>
    <a:masterClrMapping/>
  </p:clrMapOvr>
</p:sldLayout>
</file>

<file path=ppt/slideLayouts/slideLayout1147.xml><?xml version="1.0" encoding="utf-8"?>
<p:sldLayout xmlns:a="http://schemas.openxmlformats.org/drawingml/2006/main" xmlns:r="http://schemas.openxmlformats.org/officeDocument/2006/relationships" xmlns:p="http://schemas.openxmlformats.org/presentationml/2006/main" preserve="1" userDrawn="1">
  <p:cSld name="2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28514473"/>
      </p:ext>
    </p:extLst>
  </p:cSld>
  <p:clrMapOvr>
    <a:masterClrMapping/>
  </p:clrMapOvr>
</p:sldLayout>
</file>

<file path=ppt/slideLayouts/slideLayout1148.xml><?xml version="1.0" encoding="utf-8"?>
<p:sldLayout xmlns:a="http://schemas.openxmlformats.org/drawingml/2006/main" xmlns:r="http://schemas.openxmlformats.org/officeDocument/2006/relationships" xmlns:p="http://schemas.openxmlformats.org/presentationml/2006/main" preserve="1" userDrawn="1">
  <p:cSld name="2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884304736"/>
      </p:ext>
    </p:extLst>
  </p:cSld>
  <p:clrMapOvr>
    <a:masterClrMapping/>
  </p:clrMapOvr>
</p:sldLayout>
</file>

<file path=ppt/slideLayouts/slideLayout1149.xml><?xml version="1.0" encoding="utf-8"?>
<p:sldLayout xmlns:a="http://schemas.openxmlformats.org/drawingml/2006/main" xmlns:r="http://schemas.openxmlformats.org/officeDocument/2006/relationships" xmlns:p="http://schemas.openxmlformats.org/presentationml/2006/main" preserve="1" userDrawn="1">
  <p:cSld name="2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53052141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Title Only">
  <p:cSld name="Title Only 5">
    <p:spTree>
      <p:nvGrpSpPr>
        <p:cNvPr id="1" name="Shape 10133"/>
        <p:cNvGrpSpPr/>
        <p:nvPr/>
      </p:nvGrpSpPr>
      <p:grpSpPr>
        <a:xfrm>
          <a:off x="0" y="0"/>
          <a:ext cx="0" cy="0"/>
          <a:chOff x="0" y="0"/>
          <a:chExt cx="0" cy="0"/>
        </a:xfrm>
      </p:grpSpPr>
      <p:grpSp>
        <p:nvGrpSpPr>
          <p:cNvPr id="10134" name="Google Shape;10134;p1419"/>
          <p:cNvGrpSpPr/>
          <p:nvPr/>
        </p:nvGrpSpPr>
        <p:grpSpPr>
          <a:xfrm>
            <a:off x="7191542" y="1"/>
            <a:ext cx="5000459" cy="1425992"/>
            <a:chOff x="7191542" y="1"/>
            <a:chExt cx="5000459" cy="1425992"/>
          </a:xfrm>
        </p:grpSpPr>
        <p:pic>
          <p:nvPicPr>
            <p:cNvPr id="10135" name="Google Shape;10135;p14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36" name="Google Shape;10136;p1419"/>
            <p:cNvGrpSpPr/>
            <p:nvPr/>
          </p:nvGrpSpPr>
          <p:grpSpPr>
            <a:xfrm>
              <a:off x="7191542" y="1"/>
              <a:ext cx="5000459" cy="1425992"/>
              <a:chOff x="7186272" y="0"/>
              <a:chExt cx="5005729" cy="1427495"/>
            </a:xfrm>
          </p:grpSpPr>
          <p:sp>
            <p:nvSpPr>
              <p:cNvPr id="10137" name="Google Shape;10137;p14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138" name="Google Shape;10138;p14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139" name="Google Shape;10139;p141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40" name="Google Shape;10140;p14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141" name="Google Shape;10141;p14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42" name="Google Shape;10142;p14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50.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15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152.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15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11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1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1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1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158.xml><?xml version="1.0" encoding="utf-8"?>
<p:sldLayout xmlns:a="http://schemas.openxmlformats.org/drawingml/2006/main" xmlns:r="http://schemas.openxmlformats.org/officeDocument/2006/relationships" xmlns:p="http://schemas.openxmlformats.org/presentationml/2006/main" preserve="1" userDrawn="1">
  <p:cSld name="2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942534259"/>
      </p:ext>
    </p:extLst>
  </p:cSld>
  <p:clrMapOvr>
    <a:masterClrMapping/>
  </p:clrMapOvr>
</p:sldLayout>
</file>

<file path=ppt/slideLayouts/slideLayout11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End">
  <p:cSld name="End 6">
    <p:spTree>
      <p:nvGrpSpPr>
        <p:cNvPr id="1" name="Shape 10143"/>
        <p:cNvGrpSpPr/>
        <p:nvPr/>
      </p:nvGrpSpPr>
      <p:grpSpPr>
        <a:xfrm>
          <a:off x="0" y="0"/>
          <a:ext cx="0" cy="0"/>
          <a:chOff x="0" y="0"/>
          <a:chExt cx="0" cy="0"/>
        </a:xfrm>
      </p:grpSpPr>
      <p:grpSp>
        <p:nvGrpSpPr>
          <p:cNvPr id="10144" name="Google Shape;10144;p1420"/>
          <p:cNvGrpSpPr/>
          <p:nvPr/>
        </p:nvGrpSpPr>
        <p:grpSpPr>
          <a:xfrm>
            <a:off x="0" y="0"/>
            <a:ext cx="12192000" cy="2148830"/>
            <a:chOff x="0" y="0"/>
            <a:chExt cx="12192000" cy="2148830"/>
          </a:xfrm>
        </p:grpSpPr>
        <p:sp>
          <p:nvSpPr>
            <p:cNvPr id="10145" name="Google Shape;10145;p142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146" name="Google Shape;10146;p142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0147" name="Google Shape;10147;p142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148" name="Google Shape;10148;p142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49" name="Google Shape;10149;p142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0150" name="Google Shape;10150;p142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151" name="Google Shape;10151;p142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160.xml><?xml version="1.0" encoding="utf-8"?>
<p:sldLayout xmlns:a="http://schemas.openxmlformats.org/drawingml/2006/main" xmlns:r="http://schemas.openxmlformats.org/officeDocument/2006/relationships" xmlns:p="http://schemas.openxmlformats.org/presentationml/2006/main" showMasterSp="0" userDrawn="1">
  <p:cSld name="7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00675279"/>
      </p:ext>
    </p:extLst>
  </p:cSld>
  <p:clrMapOvr>
    <a:masterClrMapping/>
  </p:clrMapOvr>
</p:sldLayout>
</file>

<file path=ppt/slideLayouts/slideLayout1161.xml><?xml version="1.0" encoding="utf-8"?>
<p:sldLayout xmlns:a="http://schemas.openxmlformats.org/drawingml/2006/main" xmlns:r="http://schemas.openxmlformats.org/officeDocument/2006/relationships" xmlns:p="http://schemas.openxmlformats.org/presentationml/2006/main" showMasterSp="0"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2616621"/>
      </p:ext>
    </p:extLst>
  </p:cSld>
  <p:clrMapOvr>
    <a:masterClrMapping/>
  </p:clrMapOvr>
</p:sldLayout>
</file>

<file path=ppt/slideLayouts/slideLayout1162.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76001519"/>
      </p:ext>
    </p:extLst>
  </p:cSld>
  <p:clrMapOvr>
    <a:masterClrMapping/>
  </p:clrMapOvr>
</p:sldLayout>
</file>

<file path=ppt/slideLayouts/slideLayout116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25676630"/>
      </p:ext>
    </p:extLst>
  </p:cSld>
  <p:clrMapOvr>
    <a:masterClrMapping/>
  </p:clrMapOvr>
</p:sldLayout>
</file>

<file path=ppt/slideLayouts/slideLayout1164.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994593920"/>
      </p:ext>
    </p:extLst>
  </p:cSld>
  <p:clrMapOvr>
    <a:masterClrMapping/>
  </p:clrMapOvr>
</p:sldLayout>
</file>

<file path=ppt/slideLayouts/slideLayout1165.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5390046"/>
      </p:ext>
    </p:extLst>
  </p:cSld>
  <p:clrMapOvr>
    <a:masterClrMapping/>
  </p:clrMapOvr>
</p:sldLayout>
</file>

<file path=ppt/slideLayouts/slideLayout1166.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44353" t="41308" r="41308" b="44537"/>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1167.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1168.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2832632621"/>
      </p:ext>
    </p:extLst>
  </p:cSld>
  <p:clrMapOvr>
    <a:masterClrMapping/>
  </p:clrMapOvr>
</p:sldLayout>
</file>

<file path=ppt/slideLayouts/slideLayout1169.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4"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7"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3"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818"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68066095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Blank">
  <p:cSld name="Blank 4">
    <p:spTree>
      <p:nvGrpSpPr>
        <p:cNvPr id="1" name="Shape 10152"/>
        <p:cNvGrpSpPr/>
        <p:nvPr/>
      </p:nvGrpSpPr>
      <p:grpSpPr>
        <a:xfrm>
          <a:off x="0" y="0"/>
          <a:ext cx="0" cy="0"/>
          <a:chOff x="0" y="0"/>
          <a:chExt cx="0" cy="0"/>
        </a:xfrm>
      </p:grpSpPr>
      <p:sp>
        <p:nvSpPr>
          <p:cNvPr id="10153" name="Google Shape;10153;p14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154" name="Google Shape;10154;p14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55" name="Google Shape;10155;p14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156" name="Google Shape;10156;p1421"/>
          <p:cNvGrpSpPr/>
          <p:nvPr/>
        </p:nvGrpSpPr>
        <p:grpSpPr>
          <a:xfrm>
            <a:off x="7191542" y="1"/>
            <a:ext cx="5000459" cy="1425992"/>
            <a:chOff x="7191542" y="1"/>
            <a:chExt cx="5000459" cy="1425992"/>
          </a:xfrm>
        </p:grpSpPr>
        <p:pic>
          <p:nvPicPr>
            <p:cNvPr id="10157" name="Google Shape;10157;p14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58" name="Google Shape;10158;p1421"/>
            <p:cNvGrpSpPr/>
            <p:nvPr/>
          </p:nvGrpSpPr>
          <p:grpSpPr>
            <a:xfrm>
              <a:off x="7191542" y="1"/>
              <a:ext cx="5000459" cy="1425992"/>
              <a:chOff x="7186272" y="0"/>
              <a:chExt cx="5005729" cy="1427495"/>
            </a:xfrm>
          </p:grpSpPr>
          <p:sp>
            <p:nvSpPr>
              <p:cNvPr id="10159" name="Google Shape;10159;p14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160" name="Google Shape;10160;p14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17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1171.xml><?xml version="1.0" encoding="utf-8"?>
<p:sldLayout xmlns:a="http://schemas.openxmlformats.org/drawingml/2006/main" xmlns:r="http://schemas.openxmlformats.org/officeDocument/2006/relationships" xmlns:p="http://schemas.openxmlformats.org/presentationml/2006/main" matchingName="Photo Slide">
  <p:cSld name="20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8"/>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245677796"/>
      </p:ext>
    </p:extLst>
  </p:cSld>
  <p:clrMapOvr>
    <a:masterClrMapping/>
  </p:clrMapOvr>
</p:sldLayout>
</file>

<file path=ppt/slideLayouts/slideLayout1172.xml><?xml version="1.0" encoding="utf-8"?>
<p:sldLayout xmlns:a="http://schemas.openxmlformats.org/drawingml/2006/main" xmlns:r="http://schemas.openxmlformats.org/officeDocument/2006/relationships" xmlns:p="http://schemas.openxmlformats.org/presentationml/2006/main" userDrawn="1">
  <p:cSld name="1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44353" t="41308" r="41308" b="44537"/>
          <a:stretch/>
        </p:blipFill>
        <p:spPr>
          <a:xfrm>
            <a:off x="10425154"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7"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3"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818"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1248361"/>
      </p:ext>
    </p:extLst>
  </p:cSld>
  <p:clrMapOvr>
    <a:masterClrMapping/>
  </p:clrMapOvr>
</p:sldLayout>
</file>

<file path=ppt/slideLayouts/slideLayout1173.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23011711"/>
      </p:ext>
    </p:extLst>
  </p:cSld>
  <p:clrMapOvr>
    <a:masterClrMapping/>
  </p:clrMapOvr>
</p:sldLayout>
</file>

<file path=ppt/slideLayouts/slideLayout1174.xml><?xml version="1.0" encoding="utf-8"?>
<p:sldLayout xmlns:a="http://schemas.openxmlformats.org/drawingml/2006/main" xmlns:r="http://schemas.openxmlformats.org/officeDocument/2006/relationships" xmlns:p="http://schemas.openxmlformats.org/presentationml/2006/main">
  <p:cSld name="3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336372206"/>
      </p:ext>
    </p:extLst>
  </p:cSld>
  <p:clrMapOvr>
    <a:masterClrMapping/>
  </p:clrMapOvr>
</p:sldLayout>
</file>

<file path=ppt/slideLayouts/slideLayout1175.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92031328"/>
      </p:ext>
    </p:extLst>
  </p:cSld>
  <p:clrMapOvr>
    <a:masterClrMapping/>
  </p:clrMapOvr>
</p:sldLayout>
</file>

<file path=ppt/slideLayouts/slideLayout1176.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293839119"/>
      </p:ext>
    </p:extLst>
  </p:cSld>
  <p:clrMapOvr>
    <a:masterClrMapping/>
  </p:clrMapOvr>
</p:sldLayout>
</file>

<file path=ppt/slideLayouts/slideLayout1177.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785784457"/>
      </p:ext>
    </p:extLst>
  </p:cSld>
  <p:clrMapOvr>
    <a:masterClrMapping/>
  </p:clrMapOvr>
</p:sldLayout>
</file>

<file path=ppt/slideLayouts/slideLayout1178.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638348448"/>
      </p:ext>
    </p:extLst>
  </p:cSld>
  <p:clrMapOvr>
    <a:masterClrMapping/>
  </p:clrMapOvr>
</p:sldLayout>
</file>

<file path=ppt/slideLayouts/slideLayout1179.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4"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46" lvl="0" indent="-342934" algn="l">
              <a:lnSpc>
                <a:spcPct val="100000"/>
              </a:lnSpc>
              <a:spcBef>
                <a:spcPts val="1000"/>
              </a:spcBef>
              <a:spcAft>
                <a:spcPts val="0"/>
              </a:spcAft>
              <a:buSzPts val="1800"/>
              <a:buChar char="•"/>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6707010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matchingName="Cover">
  <p:cSld name="Cover 8">
    <p:spTree>
      <p:nvGrpSpPr>
        <p:cNvPr id="1" name="Shape 10161"/>
        <p:cNvGrpSpPr/>
        <p:nvPr/>
      </p:nvGrpSpPr>
      <p:grpSpPr>
        <a:xfrm>
          <a:off x="0" y="0"/>
          <a:ext cx="0" cy="0"/>
          <a:chOff x="0" y="0"/>
          <a:chExt cx="0" cy="0"/>
        </a:xfrm>
      </p:grpSpPr>
      <p:sp>
        <p:nvSpPr>
          <p:cNvPr id="10162" name="Google Shape;10162;p142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163" name="Google Shape;10163;p142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64" name="Google Shape;10164;p142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165" name="Google Shape;10165;p1422"/>
          <p:cNvSpPr>
            <a:spLocks noGrp="1"/>
          </p:cNvSpPr>
          <p:nvPr>
            <p:ph type="pic" idx="2"/>
          </p:nvPr>
        </p:nvSpPr>
        <p:spPr>
          <a:xfrm>
            <a:off x="7118684" y="233915"/>
            <a:ext cx="5073316" cy="5943600"/>
          </a:xfrm>
          <a:prstGeom prst="rect">
            <a:avLst/>
          </a:prstGeom>
          <a:noFill/>
          <a:ln>
            <a:noFill/>
          </a:ln>
        </p:spPr>
      </p:sp>
      <p:grpSp>
        <p:nvGrpSpPr>
          <p:cNvPr id="10166" name="Google Shape;10166;p1422"/>
          <p:cNvGrpSpPr/>
          <p:nvPr/>
        </p:nvGrpSpPr>
        <p:grpSpPr>
          <a:xfrm>
            <a:off x="0" y="5020348"/>
            <a:ext cx="12192000" cy="1837653"/>
            <a:chOff x="0" y="5020348"/>
            <a:chExt cx="12192000" cy="1837653"/>
          </a:xfrm>
        </p:grpSpPr>
        <p:sp>
          <p:nvSpPr>
            <p:cNvPr id="10167" name="Google Shape;10167;p142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168" name="Google Shape;10168;p142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169" name="Google Shape;10169;p142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180.xml><?xml version="1.0" encoding="utf-8"?>
<p:sldLayout xmlns:a="http://schemas.openxmlformats.org/drawingml/2006/main" xmlns:r="http://schemas.openxmlformats.org/officeDocument/2006/relationships" xmlns:p="http://schemas.openxmlformats.org/presentationml/2006/main" matchingName="Photo Slide">
  <p:cSld name="16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8"/>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632654730"/>
      </p:ext>
    </p:extLst>
  </p:cSld>
  <p:clrMapOvr>
    <a:masterClrMapping/>
  </p:clrMapOvr>
</p:sldLayout>
</file>

<file path=ppt/slideLayouts/slideLayout1181.xml><?xml version="1.0" encoding="utf-8"?>
<p:sldLayout xmlns:a="http://schemas.openxmlformats.org/drawingml/2006/main" xmlns:r="http://schemas.openxmlformats.org/officeDocument/2006/relationships" xmlns:p="http://schemas.openxmlformats.org/presentationml/2006/main" showMasterSp="0"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5"/>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6" y="224842"/>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6" y="917199"/>
            <a:ext cx="11715725" cy="4958671"/>
          </a:xfrm>
          <a:prstGeom prst="rect">
            <a:avLst/>
          </a:prstGeom>
        </p:spPr>
        <p:txBody>
          <a:bodyPr/>
          <a:lstStyle>
            <a:lvl1pPr marL="381028" indent="-381028">
              <a:buFont typeface="Wingdings" panose="05000000000000000000" pitchFamily="2" charset="2"/>
              <a:buChar char="§"/>
              <a:defRPr sz="1867" b="1"/>
            </a:lvl1pPr>
            <a:lvl2pPr marL="609646" indent="-296356">
              <a:buFont typeface="Arial" panose="020B0604020202020204" pitchFamily="34" charset="0"/>
              <a:buChar char="̶"/>
              <a:defRPr sz="1867"/>
            </a:lvl2pPr>
            <a:lvl3pPr marL="922936" indent="-313291">
              <a:buFont typeface="Arial" panose="020B0604020202020204" pitchFamily="34" charset="0"/>
              <a:buChar char="•"/>
              <a:defRPr sz="1867"/>
            </a:lvl3pPr>
            <a:lvl4pPr marL="1219292" indent="-296356">
              <a:buFont typeface="Wingdings" panose="05000000000000000000" pitchFamily="2" charset="2"/>
              <a:buChar char="ü"/>
              <a:defRPr sz="1867"/>
            </a:lvl4pPr>
            <a:lvl5pPr marL="1532582" indent="-31329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9" y="5969003"/>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3" y="5969002"/>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5323950"/>
      </p:ext>
    </p:extLst>
  </p:cSld>
  <p:clrMapOvr>
    <a:masterClrMapping/>
  </p:clrMapOvr>
</p:sldLayout>
</file>

<file path=ppt/slideLayouts/slideLayout118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5"/>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5"/>
            <a:ext cx="10363200" cy="1500187"/>
          </a:xfrm>
        </p:spPr>
        <p:txBody>
          <a:bodyPr anchor="b"/>
          <a:lstStyle>
            <a:lvl1pPr marL="0" indent="0">
              <a:buNone/>
              <a:defRPr sz="2000">
                <a:solidFill>
                  <a:schemeClr val="tx1">
                    <a:tint val="75000"/>
                  </a:schemeClr>
                </a:solidFill>
              </a:defRPr>
            </a:lvl1pPr>
            <a:lvl2pPr marL="457246" indent="0">
              <a:buNone/>
              <a:defRPr sz="1800">
                <a:solidFill>
                  <a:schemeClr val="tx1">
                    <a:tint val="75000"/>
                  </a:schemeClr>
                </a:solidFill>
              </a:defRPr>
            </a:lvl2pPr>
            <a:lvl3pPr marL="914492" indent="0">
              <a:buNone/>
              <a:defRPr sz="1600">
                <a:solidFill>
                  <a:schemeClr val="tx1">
                    <a:tint val="75000"/>
                  </a:schemeClr>
                </a:solidFill>
              </a:defRPr>
            </a:lvl3pPr>
            <a:lvl4pPr marL="1371738" indent="0">
              <a:buNone/>
              <a:defRPr sz="1400">
                <a:solidFill>
                  <a:schemeClr val="tx1">
                    <a:tint val="75000"/>
                  </a:schemeClr>
                </a:solidFill>
              </a:defRPr>
            </a:lvl4pPr>
            <a:lvl5pPr marL="1828983" indent="0">
              <a:buNone/>
              <a:defRPr sz="1400">
                <a:solidFill>
                  <a:schemeClr val="tx1">
                    <a:tint val="75000"/>
                  </a:schemeClr>
                </a:solidFill>
              </a:defRPr>
            </a:lvl5pPr>
            <a:lvl6pPr marL="2286228" indent="0">
              <a:buNone/>
              <a:defRPr sz="1400">
                <a:solidFill>
                  <a:schemeClr val="tx1">
                    <a:tint val="75000"/>
                  </a:schemeClr>
                </a:solidFill>
              </a:defRPr>
            </a:lvl6pPr>
            <a:lvl7pPr marL="2743475" indent="0">
              <a:buNone/>
              <a:defRPr sz="1400">
                <a:solidFill>
                  <a:schemeClr val="tx1">
                    <a:tint val="75000"/>
                  </a:schemeClr>
                </a:solidFill>
              </a:defRPr>
            </a:lvl7pPr>
            <a:lvl8pPr marL="3200720" indent="0">
              <a:buNone/>
              <a:defRPr sz="1400">
                <a:solidFill>
                  <a:schemeClr val="tx1">
                    <a:tint val="75000"/>
                  </a:schemeClr>
                </a:solidFill>
              </a:defRPr>
            </a:lvl8pPr>
            <a:lvl9pPr marL="3657966"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5/20/2026</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867966317"/>
      </p:ext>
    </p:extLst>
  </p:cSld>
  <p:clrMapOvr>
    <a:masterClrMapping/>
  </p:clrMapOvr>
</p:sldLayout>
</file>

<file path=ppt/slideLayouts/slideLayout1183.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3"/>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5" y="273056"/>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46" indent="0">
              <a:buNone/>
              <a:defRPr sz="1200"/>
            </a:lvl2pPr>
            <a:lvl3pPr marL="914492" indent="0">
              <a:buNone/>
              <a:defRPr sz="1000"/>
            </a:lvl3pPr>
            <a:lvl4pPr marL="1371738" indent="0">
              <a:buNone/>
              <a:defRPr sz="900"/>
            </a:lvl4pPr>
            <a:lvl5pPr marL="1828983" indent="0">
              <a:buNone/>
              <a:defRPr sz="900"/>
            </a:lvl5pPr>
            <a:lvl6pPr marL="2286228" indent="0">
              <a:buNone/>
              <a:defRPr sz="900"/>
            </a:lvl6pPr>
            <a:lvl7pPr marL="2743475" indent="0">
              <a:buNone/>
              <a:defRPr sz="900"/>
            </a:lvl7pPr>
            <a:lvl8pPr marL="3200720" indent="0">
              <a:buNone/>
              <a:defRPr sz="900"/>
            </a:lvl8pPr>
            <a:lvl9pPr marL="3657966"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5/20/2026</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3622344912"/>
      </p:ext>
    </p:extLst>
  </p:cSld>
  <p:clrMapOvr>
    <a:masterClrMapping/>
  </p:clrMapOvr>
</p:sldLayout>
</file>

<file path=ppt/slideLayouts/slideLayout1184.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0"/>
            <a:ext cx="1606135" cy="229238"/>
          </a:xfrm>
          <a:prstGeom prst="rect">
            <a:avLst/>
          </a:prstGeom>
        </p:spPr>
      </p:pic>
    </p:spTree>
    <p:custDataLst>
      <p:tags r:id="rId1"/>
    </p:custDataLst>
    <p:extLst>
      <p:ext uri="{BB962C8B-B14F-4D97-AF65-F5344CB8AC3E}">
        <p14:creationId xmlns:p14="http://schemas.microsoft.com/office/powerpoint/2010/main" val="1853644344"/>
      </p:ext>
    </p:extLst>
  </p:cSld>
  <p:clrMapOvr>
    <a:masterClrMapping/>
  </p:clrMapOvr>
</p:sldLayout>
</file>

<file path=ppt/slideLayouts/slideLayout1185.xml><?xml version="1.0" encoding="utf-8"?>
<p:sldLayout xmlns:a="http://schemas.openxmlformats.org/drawingml/2006/main" xmlns:r="http://schemas.openxmlformats.org/officeDocument/2006/relationships" xmlns:p="http://schemas.openxmlformats.org/presentationml/2006/main" matchingName="Title and Content">
  <p:cSld name="36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4" y="1"/>
            <a:ext cx="5000459" cy="1425992"/>
            <a:chOff x="7191542" y="1"/>
            <a:chExt cx="5000459" cy="1425992"/>
          </a:xfrm>
        </p:grpSpPr>
        <p:pic>
          <p:nvPicPr>
            <p:cNvPr id="77" name="Google Shape;77;p44"/>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46" lvl="0" indent="-342934" algn="l">
              <a:lnSpc>
                <a:spcPct val="100000"/>
              </a:lnSpc>
              <a:spcBef>
                <a:spcPts val="1000"/>
              </a:spcBef>
              <a:spcAft>
                <a:spcPts val="0"/>
              </a:spcAft>
              <a:buSzPts val="1800"/>
              <a:buChar char="•"/>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38653374"/>
      </p:ext>
    </p:extLst>
  </p:cSld>
  <p:clrMapOvr>
    <a:masterClrMapping/>
  </p:clrMapOvr>
</p:sldLayout>
</file>

<file path=ppt/slideLayouts/slideLayout1186.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4"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46" lvl="0" indent="-342934" algn="l">
              <a:lnSpc>
                <a:spcPct val="100000"/>
              </a:lnSpc>
              <a:spcBef>
                <a:spcPts val="1000"/>
              </a:spcBef>
              <a:spcAft>
                <a:spcPts val="0"/>
              </a:spcAft>
              <a:buSzPts val="1800"/>
              <a:buChar char="•"/>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01727743"/>
      </p:ext>
    </p:extLst>
  </p:cSld>
  <p:clrMapOvr>
    <a:masterClrMapping/>
  </p:clrMapOvr>
</p:sldLayout>
</file>

<file path=ppt/slideLayouts/slideLayout1187.xml><?xml version="1.0" encoding="utf-8"?>
<p:sldLayout xmlns:a="http://schemas.openxmlformats.org/drawingml/2006/main" xmlns:r="http://schemas.openxmlformats.org/officeDocument/2006/relationships" xmlns:p="http://schemas.openxmlformats.org/presentationml/2006/main" matchingName="Photo Slide">
  <p:cSld name="16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8"/>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1230521998"/>
      </p:ext>
    </p:extLst>
  </p:cSld>
  <p:clrMapOvr>
    <a:masterClrMapping/>
  </p:clrMapOvr>
</p:sldLayout>
</file>

<file path=ppt/slideLayouts/slideLayout1188.xml><?xml version="1.0" encoding="utf-8"?>
<p:sldLayout xmlns:a="http://schemas.openxmlformats.org/drawingml/2006/main" xmlns:r="http://schemas.openxmlformats.org/officeDocument/2006/relationships" xmlns:p="http://schemas.openxmlformats.org/presentationml/2006/main" matchingName="Photo Slide">
  <p:cSld name="16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8"/>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4025348260"/>
      </p:ext>
    </p:extLst>
  </p:cSld>
  <p:clrMapOvr>
    <a:masterClrMapping/>
  </p:clrMapOvr>
</p:sldLayout>
</file>

<file path=ppt/slideLayouts/slideLayout1189.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0"/>
            <a:ext cx="1606135" cy="229238"/>
          </a:xfrm>
          <a:prstGeom prst="rect">
            <a:avLst/>
          </a:prstGeom>
        </p:spPr>
      </p:pic>
    </p:spTree>
    <p:custDataLst>
      <p:tags r:id="rId1"/>
    </p:custDataLst>
    <p:extLst>
      <p:ext uri="{BB962C8B-B14F-4D97-AF65-F5344CB8AC3E}">
        <p14:creationId xmlns:p14="http://schemas.microsoft.com/office/powerpoint/2010/main" val="349763536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matchingName="Divider">
  <p:cSld name="Divider 9">
    <p:spTree>
      <p:nvGrpSpPr>
        <p:cNvPr id="1" name="Shape 10170"/>
        <p:cNvGrpSpPr/>
        <p:nvPr/>
      </p:nvGrpSpPr>
      <p:grpSpPr>
        <a:xfrm>
          <a:off x="0" y="0"/>
          <a:ext cx="0" cy="0"/>
          <a:chOff x="0" y="0"/>
          <a:chExt cx="0" cy="0"/>
        </a:xfrm>
      </p:grpSpPr>
      <p:grpSp>
        <p:nvGrpSpPr>
          <p:cNvPr id="10171" name="Google Shape;10171;p1423"/>
          <p:cNvGrpSpPr/>
          <p:nvPr/>
        </p:nvGrpSpPr>
        <p:grpSpPr>
          <a:xfrm>
            <a:off x="0" y="5020347"/>
            <a:ext cx="12192000" cy="1837653"/>
            <a:chOff x="0" y="5020347"/>
            <a:chExt cx="12192000" cy="1837653"/>
          </a:xfrm>
        </p:grpSpPr>
        <p:sp>
          <p:nvSpPr>
            <p:cNvPr id="10172" name="Google Shape;10172;p142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173" name="Google Shape;10173;p142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174" name="Google Shape;10174;p142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175" name="Google Shape;10175;p142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176" name="Google Shape;10176;p142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77" name="Google Shape;10177;p142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190.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0"/>
            <a:ext cx="1606135" cy="229238"/>
          </a:xfrm>
          <a:prstGeom prst="rect">
            <a:avLst/>
          </a:prstGeom>
        </p:spPr>
      </p:pic>
    </p:spTree>
    <p:custDataLst>
      <p:tags r:id="rId1"/>
    </p:custDataLst>
    <p:extLst>
      <p:ext uri="{BB962C8B-B14F-4D97-AF65-F5344CB8AC3E}">
        <p14:creationId xmlns:p14="http://schemas.microsoft.com/office/powerpoint/2010/main" val="1952843397"/>
      </p:ext>
    </p:extLst>
  </p:cSld>
  <p:clrMapOvr>
    <a:masterClrMapping/>
  </p:clrMapOvr>
</p:sldLayout>
</file>

<file path=ppt/slideLayouts/slideLayout1191.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47989070"/>
      </p:ext>
    </p:extLst>
  </p:cSld>
  <p:clrMapOvr>
    <a:masterClrMapping/>
  </p:clrMapOvr>
</p:sldLayout>
</file>

<file path=ppt/slideLayouts/slideLayout119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143995170"/>
      </p:ext>
    </p:extLst>
  </p:cSld>
  <p:clrMapOvr>
    <a:masterClrMapping/>
  </p:clrMapOvr>
</p:sldLayout>
</file>

<file path=ppt/slideLayouts/slideLayout1193.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44353" t="41308" r="41308" b="44537"/>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1194.xml><?xml version="1.0" encoding="utf-8"?>
<p:sldLayout xmlns:a="http://schemas.openxmlformats.org/drawingml/2006/main" xmlns:r="http://schemas.openxmlformats.org/officeDocument/2006/relationships" xmlns:p="http://schemas.openxmlformats.org/presentationml/2006/main" preserve="1" userDrawn="1">
  <p:cSld name="LM-Transition">
    <p:spTree>
      <p:nvGrpSpPr>
        <p:cNvPr id="1" name=""/>
        <p:cNvGrpSpPr/>
        <p:nvPr/>
      </p:nvGrpSpPr>
      <p:grpSpPr>
        <a:xfrm>
          <a:off x="0" y="0"/>
          <a:ext cx="0" cy="0"/>
          <a:chOff x="0" y="0"/>
          <a:chExt cx="0" cy="0"/>
        </a:xfrm>
      </p:grpSpPr>
      <p:sp>
        <p:nvSpPr>
          <p:cNvPr id="7" name="Rectangle 6"/>
          <p:cNvSpPr/>
          <p:nvPr userDrawn="1"/>
        </p:nvSpPr>
        <p:spPr>
          <a:xfrm>
            <a:off x="0" y="2290794"/>
            <a:ext cx="12192000" cy="4567206"/>
          </a:xfrm>
          <a:prstGeom prst="rect">
            <a:avLst/>
          </a:prstGeom>
          <a:solidFill>
            <a:srgbClr val="8D23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lt1"/>
              </a:solidFill>
            </a:endParaRPr>
          </a:p>
        </p:txBody>
      </p:sp>
      <p:cxnSp>
        <p:nvCxnSpPr>
          <p:cNvPr id="8" name="Straight Connector 7"/>
          <p:cNvCxnSpPr/>
          <p:nvPr userDrawn="1"/>
        </p:nvCxnSpPr>
        <p:spPr>
          <a:xfrm>
            <a:off x="875820" y="4631593"/>
            <a:ext cx="10440363" cy="0"/>
          </a:xfrm>
          <a:prstGeom prst="line">
            <a:avLst/>
          </a:prstGeom>
          <a:ln>
            <a:solidFill>
              <a:srgbClr val="C9C9C9"/>
            </a:solidFill>
            <a:tailEnd type="none"/>
          </a:ln>
        </p:spPr>
        <p:style>
          <a:lnRef idx="1">
            <a:schemeClr val="accent1"/>
          </a:lnRef>
          <a:fillRef idx="0">
            <a:schemeClr val="accent1"/>
          </a:fillRef>
          <a:effectRef idx="0">
            <a:schemeClr val="accent1"/>
          </a:effectRef>
          <a:fontRef idx="minor">
            <a:schemeClr val="tx1"/>
          </a:fontRef>
        </p:style>
      </p:cxnSp>
      <p:pic>
        <p:nvPicPr>
          <p:cNvPr id="2" name="Picture 1" descr="LM_3C_H-300.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48101" y="497976"/>
            <a:ext cx="4584701" cy="1142196"/>
          </a:xfrm>
          <a:prstGeom prst="rect">
            <a:avLst/>
          </a:prstGeom>
        </p:spPr>
      </p:pic>
      <p:pic>
        <p:nvPicPr>
          <p:cNvPr id="11" name="Picture 10" descr="trinity_health.jp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777706" y="1907926"/>
            <a:ext cx="2604577" cy="192492"/>
          </a:xfrm>
          <a:prstGeom prst="rect">
            <a:avLst/>
          </a:prstGeom>
        </p:spPr>
      </p:pic>
      <p:sp>
        <p:nvSpPr>
          <p:cNvPr id="12" name="Text Placeholder 2"/>
          <p:cNvSpPr>
            <a:spLocks noGrp="1"/>
          </p:cNvSpPr>
          <p:nvPr>
            <p:ph type="body" sz="quarter" idx="10" hasCustomPrompt="1"/>
          </p:nvPr>
        </p:nvSpPr>
        <p:spPr>
          <a:xfrm>
            <a:off x="875820" y="4031767"/>
            <a:ext cx="10440363" cy="381000"/>
          </a:xfrm>
          <a:prstGeom prst="rect">
            <a:avLst/>
          </a:prstGeom>
        </p:spPr>
        <p:txBody>
          <a:bodyPr anchor="ctr"/>
          <a:lstStyle>
            <a:lvl1pPr marL="0" indent="0" algn="ctr">
              <a:buNone/>
              <a:defRPr sz="2800" b="1" i="0" baseline="0">
                <a:solidFill>
                  <a:schemeClr val="bg1"/>
                </a:solidFill>
                <a:latin typeface="Arial"/>
                <a:ea typeface="Times New Roman" charset="0"/>
                <a:cs typeface="Arial"/>
              </a:defRPr>
            </a:lvl1pPr>
            <a:lvl2pPr marL="457223" indent="0">
              <a:buNone/>
              <a:defRPr sz="2000" i="1">
                <a:solidFill>
                  <a:schemeClr val="tx1">
                    <a:lumMod val="50000"/>
                    <a:lumOff val="50000"/>
                  </a:schemeClr>
                </a:solidFill>
                <a:latin typeface="Times New Roman" charset="0"/>
                <a:ea typeface="Times New Roman" charset="0"/>
                <a:cs typeface="Times New Roman" charset="0"/>
              </a:defRPr>
            </a:lvl2pPr>
            <a:lvl3pPr marL="914446" indent="0">
              <a:buNone/>
              <a:defRPr sz="2000" i="1">
                <a:solidFill>
                  <a:schemeClr val="tx1">
                    <a:lumMod val="50000"/>
                    <a:lumOff val="50000"/>
                  </a:schemeClr>
                </a:solidFill>
                <a:latin typeface="Times New Roman" charset="0"/>
                <a:ea typeface="Times New Roman" charset="0"/>
                <a:cs typeface="Times New Roman" charset="0"/>
              </a:defRPr>
            </a:lvl3pPr>
            <a:lvl4pPr marL="1371669" indent="0">
              <a:buNone/>
              <a:defRPr sz="2000" i="1">
                <a:solidFill>
                  <a:schemeClr val="tx1">
                    <a:lumMod val="50000"/>
                    <a:lumOff val="50000"/>
                  </a:schemeClr>
                </a:solidFill>
                <a:latin typeface="Times New Roman" charset="0"/>
                <a:ea typeface="Times New Roman" charset="0"/>
                <a:cs typeface="Times New Roman" charset="0"/>
              </a:defRPr>
            </a:lvl4pPr>
            <a:lvl5pPr marL="1828891" indent="0">
              <a:buNone/>
              <a:defRPr sz="2000" i="1">
                <a:solidFill>
                  <a:schemeClr val="tx1">
                    <a:lumMod val="50000"/>
                    <a:lumOff val="50000"/>
                  </a:schemeClr>
                </a:solidFill>
                <a:latin typeface="Times New Roman" charset="0"/>
                <a:ea typeface="Times New Roman" charset="0"/>
                <a:cs typeface="Times New Roman" charset="0"/>
              </a:defRPr>
            </a:lvl5pPr>
          </a:lstStyle>
          <a:p>
            <a:pPr lvl="0"/>
            <a:r>
              <a:rPr lang="en-US"/>
              <a:t>28PT TITLE HERE</a:t>
            </a:r>
          </a:p>
        </p:txBody>
      </p:sp>
      <p:sp>
        <p:nvSpPr>
          <p:cNvPr id="13" name="Text Placeholder 2"/>
          <p:cNvSpPr>
            <a:spLocks noGrp="1"/>
          </p:cNvSpPr>
          <p:nvPr>
            <p:ph type="body" sz="quarter" idx="11" hasCustomPrompt="1"/>
          </p:nvPr>
        </p:nvSpPr>
        <p:spPr>
          <a:xfrm>
            <a:off x="875820" y="4886876"/>
            <a:ext cx="10440363" cy="381000"/>
          </a:xfrm>
          <a:prstGeom prst="rect">
            <a:avLst/>
          </a:prstGeom>
        </p:spPr>
        <p:txBody>
          <a:bodyPr anchor="ctr"/>
          <a:lstStyle>
            <a:lvl1pPr marL="0" indent="0" algn="ctr">
              <a:buNone/>
              <a:defRPr sz="2800" b="1" i="1" baseline="0">
                <a:solidFill>
                  <a:schemeClr val="bg1"/>
                </a:solidFill>
                <a:latin typeface="Times"/>
                <a:ea typeface="Times New Roman" charset="0"/>
                <a:cs typeface="Times"/>
              </a:defRPr>
            </a:lvl1pPr>
            <a:lvl2pPr marL="457223" indent="0">
              <a:buNone/>
              <a:defRPr sz="2000" i="1">
                <a:solidFill>
                  <a:schemeClr val="tx1">
                    <a:lumMod val="50000"/>
                    <a:lumOff val="50000"/>
                  </a:schemeClr>
                </a:solidFill>
                <a:latin typeface="Times New Roman" charset="0"/>
                <a:ea typeface="Times New Roman" charset="0"/>
                <a:cs typeface="Times New Roman" charset="0"/>
              </a:defRPr>
            </a:lvl2pPr>
            <a:lvl3pPr marL="914446" indent="0">
              <a:buNone/>
              <a:defRPr sz="2000" i="1">
                <a:solidFill>
                  <a:schemeClr val="tx1">
                    <a:lumMod val="50000"/>
                    <a:lumOff val="50000"/>
                  </a:schemeClr>
                </a:solidFill>
                <a:latin typeface="Times New Roman" charset="0"/>
                <a:ea typeface="Times New Roman" charset="0"/>
                <a:cs typeface="Times New Roman" charset="0"/>
              </a:defRPr>
            </a:lvl3pPr>
            <a:lvl4pPr marL="1371669" indent="0">
              <a:buNone/>
              <a:defRPr sz="2000" i="1">
                <a:solidFill>
                  <a:schemeClr val="tx1">
                    <a:lumMod val="50000"/>
                    <a:lumOff val="50000"/>
                  </a:schemeClr>
                </a:solidFill>
                <a:latin typeface="Times New Roman" charset="0"/>
                <a:ea typeface="Times New Roman" charset="0"/>
                <a:cs typeface="Times New Roman" charset="0"/>
              </a:defRPr>
            </a:lvl4pPr>
            <a:lvl5pPr marL="1828891" indent="0">
              <a:buNone/>
              <a:defRPr sz="2000" i="1">
                <a:solidFill>
                  <a:schemeClr val="tx1">
                    <a:lumMod val="50000"/>
                    <a:lumOff val="50000"/>
                  </a:schemeClr>
                </a:solidFill>
                <a:latin typeface="Times New Roman" charset="0"/>
                <a:ea typeface="Times New Roman" charset="0"/>
                <a:cs typeface="Times New Roman" charset="0"/>
              </a:defRPr>
            </a:lvl5pPr>
          </a:lstStyle>
          <a:p>
            <a:pPr lvl="0"/>
            <a:r>
              <a:rPr lang="en-US"/>
              <a:t>28pt Subtitle Here</a:t>
            </a:r>
          </a:p>
        </p:txBody>
      </p:sp>
    </p:spTree>
    <p:extLst>
      <p:ext uri="{BB962C8B-B14F-4D97-AF65-F5344CB8AC3E}">
        <p14:creationId xmlns:p14="http://schemas.microsoft.com/office/powerpoint/2010/main" val="1769964183"/>
      </p:ext>
    </p:extLst>
  </p:cSld>
  <p:clrMapOvr>
    <a:masterClrMapping/>
  </p:clrMapOvr>
</p:sldLayout>
</file>

<file path=ppt/slideLayouts/slideLayout1195.xml><?xml version="1.0" encoding="utf-8"?>
<p:sldLayout xmlns:a="http://schemas.openxmlformats.org/drawingml/2006/main" xmlns:r="http://schemas.openxmlformats.org/officeDocument/2006/relationships" xmlns:p="http://schemas.openxmlformats.org/presentationml/2006/main" preserve="1" userDrawn="1">
  <p:cSld name="1 Line Title (Logo UR)">
    <p:spTree>
      <p:nvGrpSpPr>
        <p:cNvPr id="1" name=""/>
        <p:cNvGrpSpPr/>
        <p:nvPr/>
      </p:nvGrpSpPr>
      <p:grpSpPr>
        <a:xfrm>
          <a:off x="0" y="0"/>
          <a:ext cx="0" cy="0"/>
          <a:chOff x="0" y="0"/>
          <a:chExt cx="0" cy="0"/>
        </a:xfrm>
      </p:grpSpPr>
      <p:cxnSp>
        <p:nvCxnSpPr>
          <p:cNvPr id="14" name="Straight Connector 13"/>
          <p:cNvCxnSpPr/>
          <p:nvPr userDrawn="1"/>
        </p:nvCxnSpPr>
        <p:spPr>
          <a:xfrm>
            <a:off x="1"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20" y="533968"/>
            <a:ext cx="8867787" cy="488537"/>
          </a:xfrm>
          <a:prstGeom prst="rect">
            <a:avLst/>
          </a:prstGeom>
        </p:spPr>
        <p:txBody>
          <a:bodyPr anchor="ctr"/>
          <a:lstStyle>
            <a:lvl1pPr marL="0" indent="0">
              <a:buNone/>
              <a:defRPr b="1">
                <a:solidFill>
                  <a:srgbClr val="8C2347"/>
                </a:solidFill>
              </a:defRPr>
            </a:lvl1pPr>
            <a:lvl2pPr marL="457223" indent="0">
              <a:buNone/>
              <a:defRPr b="1">
                <a:solidFill>
                  <a:srgbClr val="8C2347"/>
                </a:solidFill>
              </a:defRPr>
            </a:lvl2pPr>
            <a:lvl3pPr marL="914446" indent="0">
              <a:buNone/>
              <a:defRPr b="1">
                <a:solidFill>
                  <a:srgbClr val="8C2347"/>
                </a:solidFill>
              </a:defRPr>
            </a:lvl3pPr>
            <a:lvl4pPr marL="1371669" indent="0">
              <a:buNone/>
              <a:defRPr b="1">
                <a:solidFill>
                  <a:srgbClr val="8C2347"/>
                </a:solidFill>
              </a:defRPr>
            </a:lvl4pPr>
            <a:lvl5pPr marL="1828891" indent="0">
              <a:buNone/>
              <a:defRPr b="1">
                <a:solidFill>
                  <a:srgbClr val="8C2347"/>
                </a:solidFill>
              </a:defRPr>
            </a:lvl5pPr>
          </a:lstStyle>
          <a:p>
            <a:pPr lvl="0"/>
            <a:r>
              <a:rPr lang="en-US"/>
              <a:t>28PT TITLE HERE</a:t>
            </a:r>
          </a:p>
        </p:txBody>
      </p:sp>
      <p:sp>
        <p:nvSpPr>
          <p:cNvPr id="17" name="Rectangle 16"/>
          <p:cNvSpPr/>
          <p:nvPr userDrawn="1"/>
        </p:nvSpPr>
        <p:spPr>
          <a:xfrm>
            <a:off x="9815333" y="5694745"/>
            <a:ext cx="2376668" cy="11632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Text Placeholder 2"/>
          <p:cNvSpPr>
            <a:spLocks noGrp="1"/>
          </p:cNvSpPr>
          <p:nvPr>
            <p:ph type="body" sz="quarter" idx="10" hasCustomPrompt="1"/>
          </p:nvPr>
        </p:nvSpPr>
        <p:spPr>
          <a:xfrm>
            <a:off x="700619" y="1359437"/>
            <a:ext cx="10768892" cy="4982097"/>
          </a:xfrm>
          <a:prstGeom prst="rect">
            <a:avLst/>
          </a:prstGeom>
        </p:spPr>
        <p:txBody>
          <a:bodyPr anchor="t" anchorCtr="0"/>
          <a:lstStyle>
            <a:lvl1pPr marL="0" indent="0">
              <a:buNone/>
              <a:defRPr sz="1800" b="0" i="0">
                <a:solidFill>
                  <a:schemeClr val="tx1"/>
                </a:solidFill>
                <a:latin typeface="Arial"/>
                <a:ea typeface="Times New Roman" charset="0"/>
                <a:cs typeface="Arial"/>
              </a:defRPr>
            </a:lvl1pPr>
            <a:lvl2pPr marL="457223" indent="0">
              <a:buNone/>
              <a:defRPr sz="2000" i="1">
                <a:solidFill>
                  <a:schemeClr val="tx1">
                    <a:lumMod val="50000"/>
                    <a:lumOff val="50000"/>
                  </a:schemeClr>
                </a:solidFill>
                <a:latin typeface="Times New Roman" charset="0"/>
                <a:ea typeface="Times New Roman" charset="0"/>
                <a:cs typeface="Times New Roman" charset="0"/>
              </a:defRPr>
            </a:lvl2pPr>
            <a:lvl3pPr marL="914446" indent="0">
              <a:buNone/>
              <a:defRPr sz="2000" i="1">
                <a:solidFill>
                  <a:schemeClr val="tx1">
                    <a:lumMod val="50000"/>
                    <a:lumOff val="50000"/>
                  </a:schemeClr>
                </a:solidFill>
                <a:latin typeface="Times New Roman" charset="0"/>
                <a:ea typeface="Times New Roman" charset="0"/>
                <a:cs typeface="Times New Roman" charset="0"/>
              </a:defRPr>
            </a:lvl3pPr>
            <a:lvl4pPr marL="1371669" indent="0">
              <a:buNone/>
              <a:defRPr sz="2000" i="1">
                <a:solidFill>
                  <a:schemeClr val="tx1">
                    <a:lumMod val="50000"/>
                    <a:lumOff val="50000"/>
                  </a:schemeClr>
                </a:solidFill>
                <a:latin typeface="Times New Roman" charset="0"/>
                <a:ea typeface="Times New Roman" charset="0"/>
                <a:cs typeface="Times New Roman" charset="0"/>
              </a:defRPr>
            </a:lvl4pPr>
            <a:lvl5pPr marL="1828891" indent="0">
              <a:buNone/>
              <a:defRPr sz="2000" i="1">
                <a:solidFill>
                  <a:schemeClr val="tx1">
                    <a:lumMod val="50000"/>
                    <a:lumOff val="50000"/>
                  </a:schemeClr>
                </a:solidFill>
                <a:latin typeface="Times New Roman" charset="0"/>
                <a:ea typeface="Times New Roman" charset="0"/>
                <a:cs typeface="Times New Roman" charset="0"/>
              </a:defRPr>
            </a:lvl5pPr>
          </a:lstStyle>
          <a:p>
            <a:pPr lvl="0"/>
            <a:r>
              <a:rPr lang="en-US"/>
              <a:t>Sample text goes here</a:t>
            </a:r>
          </a:p>
        </p:txBody>
      </p:sp>
    </p:spTree>
    <p:extLst>
      <p:ext uri="{BB962C8B-B14F-4D97-AF65-F5344CB8AC3E}">
        <p14:creationId xmlns:p14="http://schemas.microsoft.com/office/powerpoint/2010/main" val="43609406"/>
      </p:ext>
    </p:extLst>
  </p:cSld>
  <p:clrMapOvr>
    <a:masterClrMapping/>
  </p:clrMapOvr>
</p:sldLayout>
</file>

<file path=ppt/slideLayouts/slideLayout11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Date Placeholder 11"/>
          <p:cNvSpPr>
            <a:spLocks noGrp="1"/>
          </p:cNvSpPr>
          <p:nvPr>
            <p:ph type="dt" sz="half" idx="14"/>
          </p:nvPr>
        </p:nvSpPr>
        <p:spPr>
          <a:xfrm>
            <a:off x="3133344" y="6436627"/>
            <a:ext cx="1133856" cy="224367"/>
          </a:xfrm>
          <a:prstGeom prst="rect">
            <a:avLst/>
          </a:prstGeom>
        </p:spPr>
        <p:txBody>
          <a:bodyPr/>
          <a:lstStyle/>
          <a:p>
            <a:fld id="{B6745936-C9D5-7947-9CA1-12707DAB62BD}" type="datetime1">
              <a:rPr lang="en-US" smtClean="0"/>
              <a:t>5/20/2026</a:t>
            </a:fld>
            <a:endParaRPr lang="en-US"/>
          </a:p>
        </p:txBody>
      </p:sp>
      <p:sp>
        <p:nvSpPr>
          <p:cNvPr id="13" name="Footer Placeholder 12"/>
          <p:cNvSpPr>
            <a:spLocks noGrp="1"/>
          </p:cNvSpPr>
          <p:nvPr>
            <p:ph type="ftr" sz="quarter" idx="15"/>
          </p:nvPr>
        </p:nvSpPr>
        <p:spPr>
          <a:xfrm>
            <a:off x="4162659" y="6374245"/>
            <a:ext cx="6908800" cy="308355"/>
          </a:xfrm>
          <a:prstGeom prst="rect">
            <a:avLst/>
          </a:prstGeom>
        </p:spPr>
        <p:txBody>
          <a:bodyPr/>
          <a:lstStyle/>
          <a:p>
            <a:endParaRPr lang="en-US">
              <a:solidFill>
                <a:srgbClr val="605F62"/>
              </a:solidFill>
            </a:endParaRPr>
          </a:p>
        </p:txBody>
      </p:sp>
      <p:sp>
        <p:nvSpPr>
          <p:cNvPr id="14" name="Slide Number Placeholder 13"/>
          <p:cNvSpPr>
            <a:spLocks noGrp="1"/>
          </p:cNvSpPr>
          <p:nvPr>
            <p:ph type="sldNum" sz="quarter" idx="16"/>
          </p:nvPr>
        </p:nvSpPr>
        <p:spPr>
          <a:xfrm>
            <a:off x="11074400" y="6374246"/>
            <a:ext cx="462327" cy="308355"/>
          </a:xfrm>
          <a:prstGeom prst="rect">
            <a:avLst/>
          </a:prstGeom>
        </p:spPr>
        <p:txBody>
          <a:bodyPr/>
          <a:lstStyle/>
          <a:p>
            <a:fld id="{0D558541-60C9-42A2-8392-FF12533A6B7A}" type="slidenum">
              <a:rPr lang="en-US" smtClean="0"/>
              <a:pPr/>
              <a:t>‹#›</a:t>
            </a:fld>
            <a:endParaRPr lang="en-US"/>
          </a:p>
        </p:txBody>
      </p:sp>
      <p:sp>
        <p:nvSpPr>
          <p:cNvPr id="9" name="Title 1"/>
          <p:cNvSpPr>
            <a:spLocks noGrp="1"/>
          </p:cNvSpPr>
          <p:nvPr>
            <p:ph type="title"/>
          </p:nvPr>
        </p:nvSpPr>
        <p:spPr>
          <a:xfrm>
            <a:off x="1464744" y="169881"/>
            <a:ext cx="9573685" cy="1016000"/>
          </a:xfrm>
        </p:spPr>
        <p:txBody>
          <a:bodyPr/>
          <a:lstStyle>
            <a:lvl1pPr>
              <a:lnSpc>
                <a:spcPct val="90000"/>
              </a:lnSpc>
              <a:defRPr/>
            </a:lvl1pPr>
          </a:lstStyle>
          <a:p>
            <a:r>
              <a:rPr lang="en-US"/>
              <a:t>Click to edit Master title style</a:t>
            </a:r>
          </a:p>
        </p:txBody>
      </p:sp>
      <p:sp>
        <p:nvSpPr>
          <p:cNvPr id="10" name="Content Placeholder 2"/>
          <p:cNvSpPr>
            <a:spLocks noGrp="1"/>
          </p:cNvSpPr>
          <p:nvPr>
            <p:ph idx="1"/>
          </p:nvPr>
        </p:nvSpPr>
        <p:spPr>
          <a:xfrm>
            <a:off x="1241841" y="2035613"/>
            <a:ext cx="9796587" cy="39687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p:cNvSpPr>
            <a:spLocks noGrp="1"/>
          </p:cNvSpPr>
          <p:nvPr>
            <p:ph type="body" sz="quarter" idx="13" hasCustomPrompt="1"/>
          </p:nvPr>
        </p:nvSpPr>
        <p:spPr>
          <a:xfrm>
            <a:off x="1464742" y="1195843"/>
            <a:ext cx="9573684" cy="609600"/>
          </a:xfrm>
        </p:spPr>
        <p:txBody>
          <a:bodyPr/>
          <a:lstStyle>
            <a:lvl1pPr marL="0" indent="0">
              <a:lnSpc>
                <a:spcPct val="85000"/>
              </a:lnSpc>
              <a:spcBef>
                <a:spcPts val="0"/>
              </a:spcBef>
              <a:buNone/>
              <a:defRPr sz="2667" spc="-107" baseline="0">
                <a:solidFill>
                  <a:schemeClr val="accent2"/>
                </a:solidFill>
              </a:defRPr>
            </a:lvl1pPr>
            <a:lvl2pPr marL="275174" indent="0">
              <a:buNone/>
              <a:defRPr/>
            </a:lvl2pPr>
            <a:lvl3pPr marL="609616" indent="0">
              <a:buNone/>
              <a:defRPr/>
            </a:lvl3pPr>
            <a:lvl4pPr marL="842454" indent="0">
              <a:buNone/>
              <a:defRPr/>
            </a:lvl4pPr>
            <a:lvl5pPr marL="1073177" indent="0">
              <a:buNone/>
              <a:defRPr/>
            </a:lvl5pPr>
          </a:lstStyle>
          <a:p>
            <a:pPr lvl="0"/>
            <a:r>
              <a:rPr lang="en-US"/>
              <a:t>Slide Subtitle</a:t>
            </a:r>
          </a:p>
        </p:txBody>
      </p:sp>
    </p:spTree>
    <p:extLst>
      <p:ext uri="{BB962C8B-B14F-4D97-AF65-F5344CB8AC3E}">
        <p14:creationId xmlns:p14="http://schemas.microsoft.com/office/powerpoint/2010/main" val="3684213523"/>
      </p:ext>
    </p:extLst>
  </p:cSld>
  <p:clrMapOvr>
    <a:masterClrMapping/>
  </p:clrMapOvr>
</p:sldLayout>
</file>

<file path=ppt/slideLayouts/slideLayout119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5" name="Date Placeholder 11"/>
          <p:cNvSpPr>
            <a:spLocks noGrp="1"/>
          </p:cNvSpPr>
          <p:nvPr>
            <p:ph type="dt" sz="half" idx="14"/>
          </p:nvPr>
        </p:nvSpPr>
        <p:spPr>
          <a:xfrm>
            <a:off x="3133344" y="6436627"/>
            <a:ext cx="1133856" cy="224367"/>
          </a:xfrm>
          <a:prstGeom prst="rect">
            <a:avLst/>
          </a:prstGeom>
        </p:spPr>
        <p:txBody>
          <a:bodyPr/>
          <a:lstStyle/>
          <a:p>
            <a:fld id="{B6378771-5DAB-3241-A947-2BDD7FD783E9}" type="datetime1">
              <a:rPr lang="en-US" smtClean="0"/>
              <a:t>5/20/2026</a:t>
            </a:fld>
            <a:endParaRPr lang="en-US"/>
          </a:p>
        </p:txBody>
      </p:sp>
      <p:sp>
        <p:nvSpPr>
          <p:cNvPr id="16" name="Footer Placeholder 12"/>
          <p:cNvSpPr>
            <a:spLocks noGrp="1"/>
          </p:cNvSpPr>
          <p:nvPr>
            <p:ph type="ftr" sz="quarter" idx="15"/>
          </p:nvPr>
        </p:nvSpPr>
        <p:spPr>
          <a:xfrm>
            <a:off x="4162659" y="6374245"/>
            <a:ext cx="6908800" cy="308355"/>
          </a:xfrm>
          <a:prstGeom prst="rect">
            <a:avLst/>
          </a:prstGeom>
        </p:spPr>
        <p:txBody>
          <a:bodyPr/>
          <a:lstStyle/>
          <a:p>
            <a:endParaRPr lang="en-US">
              <a:solidFill>
                <a:srgbClr val="605F62"/>
              </a:solidFill>
            </a:endParaRPr>
          </a:p>
        </p:txBody>
      </p:sp>
      <p:sp>
        <p:nvSpPr>
          <p:cNvPr id="17" name="Slide Number Placeholder 13"/>
          <p:cNvSpPr>
            <a:spLocks noGrp="1"/>
          </p:cNvSpPr>
          <p:nvPr>
            <p:ph type="sldNum" sz="quarter" idx="16"/>
          </p:nvPr>
        </p:nvSpPr>
        <p:spPr>
          <a:xfrm>
            <a:off x="11074400" y="6374246"/>
            <a:ext cx="462327" cy="308355"/>
          </a:xfrm>
          <a:prstGeom prst="rect">
            <a:avLst/>
          </a:prstGeom>
        </p:spPr>
        <p:txBody>
          <a:bodyPr/>
          <a:lstStyle/>
          <a:p>
            <a:fld id="{0D558541-60C9-42A2-8392-FF12533A6B7A}" type="slidenum">
              <a:rPr lang="en-US" smtClean="0"/>
              <a:pPr/>
              <a:t>‹#›</a:t>
            </a:fld>
            <a:endParaRPr lang="en-US"/>
          </a:p>
        </p:txBody>
      </p:sp>
      <p:sp>
        <p:nvSpPr>
          <p:cNvPr id="11" name="Content Placeholder 2"/>
          <p:cNvSpPr>
            <a:spLocks noGrp="1"/>
          </p:cNvSpPr>
          <p:nvPr>
            <p:ph sz="half" idx="18"/>
          </p:nvPr>
        </p:nvSpPr>
        <p:spPr>
          <a:xfrm>
            <a:off x="1243327" y="2399682"/>
            <a:ext cx="4782825" cy="3596215"/>
          </a:xfrm>
        </p:spPr>
        <p:txBody>
          <a:bodyPr vert="horz" lIns="0" tIns="0" rIns="91440" bIns="45720" rtlCol="0">
            <a:no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
          <p:cNvSpPr>
            <a:spLocks noGrp="1"/>
          </p:cNvSpPr>
          <p:nvPr>
            <p:ph type="title"/>
          </p:nvPr>
        </p:nvSpPr>
        <p:spPr>
          <a:xfrm>
            <a:off x="1464744" y="169881"/>
            <a:ext cx="9573685" cy="1016000"/>
          </a:xfrm>
        </p:spPr>
        <p:txBody>
          <a:bodyPr/>
          <a:lstStyle>
            <a:lvl1pPr>
              <a:defRPr/>
            </a:lvl1pPr>
          </a:lstStyle>
          <a:p>
            <a:r>
              <a:rPr lang="en-US"/>
              <a:t>Click to edit Master title style</a:t>
            </a:r>
          </a:p>
        </p:txBody>
      </p:sp>
      <p:sp>
        <p:nvSpPr>
          <p:cNvPr id="13" name="Text Placeholder 2"/>
          <p:cNvSpPr>
            <a:spLocks noGrp="1"/>
          </p:cNvSpPr>
          <p:nvPr>
            <p:ph type="body" idx="1"/>
          </p:nvPr>
        </p:nvSpPr>
        <p:spPr>
          <a:xfrm>
            <a:off x="1476554" y="2031619"/>
            <a:ext cx="4549607" cy="393593"/>
          </a:xfrm>
        </p:spPr>
        <p:txBody>
          <a:bodyPr anchor="b"/>
          <a:lstStyle>
            <a:lvl1pPr marL="0" indent="0">
              <a:buNone/>
              <a:defRPr sz="2267" b="0">
                <a:solidFill>
                  <a:schemeClr val="tx2"/>
                </a:solidFill>
              </a:defRPr>
            </a:lvl1pPr>
            <a:lvl2pPr marL="609616" indent="0">
              <a:buNone/>
              <a:defRPr sz="2667" b="1"/>
            </a:lvl2pPr>
            <a:lvl3pPr marL="1219231" indent="0">
              <a:buNone/>
              <a:defRPr sz="2400" b="1"/>
            </a:lvl3pPr>
            <a:lvl4pPr marL="1828845" indent="0">
              <a:buNone/>
              <a:defRPr sz="2133" b="1"/>
            </a:lvl4pPr>
            <a:lvl5pPr marL="2438461" indent="0">
              <a:buNone/>
              <a:defRPr sz="2133" b="1"/>
            </a:lvl5pPr>
            <a:lvl6pPr marL="3048076" indent="0">
              <a:buNone/>
              <a:defRPr sz="2133" b="1"/>
            </a:lvl6pPr>
            <a:lvl7pPr marL="3657692" indent="0">
              <a:buNone/>
              <a:defRPr sz="2133" b="1"/>
            </a:lvl7pPr>
            <a:lvl8pPr marL="4267307" indent="0">
              <a:buNone/>
              <a:defRPr sz="2133" b="1"/>
            </a:lvl8pPr>
            <a:lvl9pPr marL="4876922" indent="0">
              <a:buNone/>
              <a:defRPr sz="2133" b="1"/>
            </a:lvl9pPr>
          </a:lstStyle>
          <a:p>
            <a:pPr lvl="0"/>
            <a:r>
              <a:rPr lang="en-US"/>
              <a:t>Click to edit Master text styles</a:t>
            </a:r>
          </a:p>
        </p:txBody>
      </p:sp>
      <p:sp>
        <p:nvSpPr>
          <p:cNvPr id="18" name="Text Placeholder 10"/>
          <p:cNvSpPr>
            <a:spLocks noGrp="1"/>
          </p:cNvSpPr>
          <p:nvPr>
            <p:ph type="body" sz="quarter" idx="13" hasCustomPrompt="1"/>
          </p:nvPr>
        </p:nvSpPr>
        <p:spPr>
          <a:xfrm>
            <a:off x="1464741" y="1195843"/>
            <a:ext cx="9573685" cy="609600"/>
          </a:xfrm>
        </p:spPr>
        <p:txBody>
          <a:bodyPr/>
          <a:lstStyle>
            <a:lvl1pPr marL="0" indent="0">
              <a:lnSpc>
                <a:spcPct val="85000"/>
              </a:lnSpc>
              <a:spcBef>
                <a:spcPts val="0"/>
              </a:spcBef>
              <a:buNone/>
              <a:defRPr sz="2667" spc="-107" baseline="0">
                <a:solidFill>
                  <a:schemeClr val="accent2"/>
                </a:solidFill>
              </a:defRPr>
            </a:lvl1pPr>
            <a:lvl2pPr marL="275174" indent="0">
              <a:buNone/>
              <a:defRPr/>
            </a:lvl2pPr>
            <a:lvl3pPr marL="609616" indent="0">
              <a:buNone/>
              <a:defRPr/>
            </a:lvl3pPr>
            <a:lvl4pPr marL="842454" indent="0">
              <a:buNone/>
              <a:defRPr/>
            </a:lvl4pPr>
            <a:lvl5pPr marL="1073177" indent="0">
              <a:buNone/>
              <a:defRPr/>
            </a:lvl5pPr>
          </a:lstStyle>
          <a:p>
            <a:pPr lvl="0"/>
            <a:r>
              <a:rPr lang="en-US"/>
              <a:t>Slide Subtitle</a:t>
            </a:r>
          </a:p>
        </p:txBody>
      </p:sp>
      <p:sp>
        <p:nvSpPr>
          <p:cNvPr id="21" name="Content Placeholder 2"/>
          <p:cNvSpPr>
            <a:spLocks noGrp="1"/>
          </p:cNvSpPr>
          <p:nvPr>
            <p:ph sz="half" idx="19"/>
          </p:nvPr>
        </p:nvSpPr>
        <p:spPr>
          <a:xfrm>
            <a:off x="6251353" y="2399682"/>
            <a:ext cx="4782825" cy="3596215"/>
          </a:xfrm>
        </p:spPr>
        <p:txBody>
          <a:bodyPr vert="horz" lIns="0" tIns="0" rIns="91440" bIns="45720" rtlCol="0">
            <a:no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p:cNvSpPr>
            <a:spLocks noGrp="1"/>
          </p:cNvSpPr>
          <p:nvPr>
            <p:ph type="body" idx="20"/>
          </p:nvPr>
        </p:nvSpPr>
        <p:spPr>
          <a:xfrm>
            <a:off x="6484579" y="2031619"/>
            <a:ext cx="4549607" cy="393593"/>
          </a:xfrm>
        </p:spPr>
        <p:txBody>
          <a:bodyPr anchor="b"/>
          <a:lstStyle>
            <a:lvl1pPr marL="0" indent="0">
              <a:buNone/>
              <a:defRPr sz="2267" b="0">
                <a:solidFill>
                  <a:schemeClr val="tx2"/>
                </a:solidFill>
              </a:defRPr>
            </a:lvl1pPr>
            <a:lvl2pPr marL="609616" indent="0">
              <a:buNone/>
              <a:defRPr sz="2667" b="1"/>
            </a:lvl2pPr>
            <a:lvl3pPr marL="1219231" indent="0">
              <a:buNone/>
              <a:defRPr sz="2400" b="1"/>
            </a:lvl3pPr>
            <a:lvl4pPr marL="1828845" indent="0">
              <a:buNone/>
              <a:defRPr sz="2133" b="1"/>
            </a:lvl4pPr>
            <a:lvl5pPr marL="2438461" indent="0">
              <a:buNone/>
              <a:defRPr sz="2133" b="1"/>
            </a:lvl5pPr>
            <a:lvl6pPr marL="3048076" indent="0">
              <a:buNone/>
              <a:defRPr sz="2133" b="1"/>
            </a:lvl6pPr>
            <a:lvl7pPr marL="3657692" indent="0">
              <a:buNone/>
              <a:defRPr sz="2133" b="1"/>
            </a:lvl7pPr>
            <a:lvl8pPr marL="4267307" indent="0">
              <a:buNone/>
              <a:defRPr sz="2133" b="1"/>
            </a:lvl8pPr>
            <a:lvl9pPr marL="4876922" indent="0">
              <a:buNone/>
              <a:defRPr sz="2133" b="1"/>
            </a:lvl9pPr>
          </a:lstStyle>
          <a:p>
            <a:pPr lvl="0"/>
            <a:r>
              <a:rPr lang="en-US"/>
              <a:t>Click to edit Master text styles</a:t>
            </a:r>
          </a:p>
        </p:txBody>
      </p:sp>
    </p:spTree>
    <p:extLst>
      <p:ext uri="{BB962C8B-B14F-4D97-AF65-F5344CB8AC3E}">
        <p14:creationId xmlns:p14="http://schemas.microsoft.com/office/powerpoint/2010/main" val="464287807"/>
      </p:ext>
    </p:extLst>
  </p:cSld>
  <p:clrMapOvr>
    <a:masterClrMapping/>
  </p:clrMapOvr>
</p:sldLayout>
</file>

<file path=ppt/slideLayouts/slideLayout1198.xml><?xml version="1.0" encoding="utf-8"?>
<p:sldLayout xmlns:a="http://schemas.openxmlformats.org/drawingml/2006/main" xmlns:r="http://schemas.openxmlformats.org/officeDocument/2006/relationships" xmlns:p="http://schemas.openxmlformats.org/presentationml/2006/main" preserve="1" userDrawn="1">
  <p:cSld name="Stacked Two Content + Side">
    <p:spTree>
      <p:nvGrpSpPr>
        <p:cNvPr id="1" name=""/>
        <p:cNvGrpSpPr/>
        <p:nvPr/>
      </p:nvGrpSpPr>
      <p:grpSpPr>
        <a:xfrm>
          <a:off x="0" y="0"/>
          <a:ext cx="0" cy="0"/>
          <a:chOff x="0" y="0"/>
          <a:chExt cx="0" cy="0"/>
        </a:xfrm>
      </p:grpSpPr>
      <p:sp>
        <p:nvSpPr>
          <p:cNvPr id="21" name="Date Placeholder 11"/>
          <p:cNvSpPr>
            <a:spLocks noGrp="1"/>
          </p:cNvSpPr>
          <p:nvPr>
            <p:ph type="dt" sz="half" idx="22"/>
          </p:nvPr>
        </p:nvSpPr>
        <p:spPr>
          <a:xfrm>
            <a:off x="3133344" y="6436627"/>
            <a:ext cx="1133856" cy="224367"/>
          </a:xfrm>
          <a:prstGeom prst="rect">
            <a:avLst/>
          </a:prstGeom>
        </p:spPr>
        <p:txBody>
          <a:bodyPr/>
          <a:lstStyle/>
          <a:p>
            <a:fld id="{89B548ED-5066-9B42-911D-14570FBB6DB3}" type="datetime1">
              <a:rPr lang="en-US" smtClean="0"/>
              <a:t>5/20/2026</a:t>
            </a:fld>
            <a:endParaRPr lang="en-US"/>
          </a:p>
        </p:txBody>
      </p:sp>
      <p:sp>
        <p:nvSpPr>
          <p:cNvPr id="22" name="Footer Placeholder 12"/>
          <p:cNvSpPr>
            <a:spLocks noGrp="1"/>
          </p:cNvSpPr>
          <p:nvPr>
            <p:ph type="ftr" sz="quarter" idx="23"/>
          </p:nvPr>
        </p:nvSpPr>
        <p:spPr>
          <a:xfrm>
            <a:off x="4162659" y="6374245"/>
            <a:ext cx="6908800" cy="308355"/>
          </a:xfrm>
          <a:prstGeom prst="rect">
            <a:avLst/>
          </a:prstGeom>
        </p:spPr>
        <p:txBody>
          <a:bodyPr/>
          <a:lstStyle/>
          <a:p>
            <a:endParaRPr lang="en-US">
              <a:solidFill>
                <a:srgbClr val="605F62"/>
              </a:solidFill>
            </a:endParaRPr>
          </a:p>
        </p:txBody>
      </p:sp>
      <p:sp>
        <p:nvSpPr>
          <p:cNvPr id="23" name="Slide Number Placeholder 13"/>
          <p:cNvSpPr>
            <a:spLocks noGrp="1"/>
          </p:cNvSpPr>
          <p:nvPr>
            <p:ph type="sldNum" sz="quarter" idx="16"/>
          </p:nvPr>
        </p:nvSpPr>
        <p:spPr>
          <a:xfrm>
            <a:off x="11074400" y="6374246"/>
            <a:ext cx="462327" cy="308355"/>
          </a:xfrm>
          <a:prstGeom prst="rect">
            <a:avLst/>
          </a:prstGeom>
        </p:spPr>
        <p:txBody>
          <a:bodyPr/>
          <a:lstStyle/>
          <a:p>
            <a:fld id="{0D558541-60C9-42A2-8392-FF12533A6B7A}" type="slidenum">
              <a:rPr lang="en-US" smtClean="0"/>
              <a:pPr/>
              <a:t>‹#›</a:t>
            </a:fld>
            <a:endParaRPr lang="en-US"/>
          </a:p>
        </p:txBody>
      </p:sp>
      <p:sp>
        <p:nvSpPr>
          <p:cNvPr id="12" name="Content Placeholder 2"/>
          <p:cNvSpPr>
            <a:spLocks noGrp="1"/>
          </p:cNvSpPr>
          <p:nvPr>
            <p:ph sz="half" idx="24" hasCustomPrompt="1"/>
          </p:nvPr>
        </p:nvSpPr>
        <p:spPr>
          <a:xfrm>
            <a:off x="6926893" y="2032623"/>
            <a:ext cx="4858708" cy="3961777"/>
          </a:xfrm>
        </p:spPr>
        <p:txBody>
          <a:bodyPr vert="horz" lIns="0" tIns="0" rIns="91440" bIns="45720" rtlCol="0">
            <a:noAutofit/>
          </a:bodyPr>
          <a:lstStyle>
            <a:lvl1pPr marL="0" indent="0">
              <a:buNone/>
              <a:defRPr lang="en-US" smtClean="0"/>
            </a:lvl1pPr>
            <a:lvl2pPr>
              <a:defRPr lang="en-US" smtClean="0"/>
            </a:lvl2pPr>
            <a:lvl3pPr>
              <a:defRPr lang="en-US" smtClean="0"/>
            </a:lvl3pPr>
            <a:lvl4pPr>
              <a:defRPr lang="en-US" smtClean="0"/>
            </a:lvl4pPr>
            <a:lvl5pPr>
              <a:defRPr lang="en-US"/>
            </a:lvl5pPr>
          </a:lstStyle>
          <a:p>
            <a:pPr lvl="0"/>
            <a:r>
              <a:rPr lang="en-US"/>
              <a:t>Placeholder</a:t>
            </a:r>
          </a:p>
        </p:txBody>
      </p:sp>
      <p:sp>
        <p:nvSpPr>
          <p:cNvPr id="13" name="Title 1"/>
          <p:cNvSpPr>
            <a:spLocks noGrp="1"/>
          </p:cNvSpPr>
          <p:nvPr>
            <p:ph type="title"/>
          </p:nvPr>
        </p:nvSpPr>
        <p:spPr>
          <a:xfrm>
            <a:off x="1464744" y="169881"/>
            <a:ext cx="9573685" cy="1016000"/>
          </a:xfrm>
        </p:spPr>
        <p:txBody>
          <a:bodyPr/>
          <a:lstStyle>
            <a:lvl1pPr>
              <a:defRPr/>
            </a:lvl1pPr>
          </a:lstStyle>
          <a:p>
            <a:r>
              <a:rPr lang="en-US"/>
              <a:t>Click to edit Master title style</a:t>
            </a:r>
          </a:p>
        </p:txBody>
      </p:sp>
      <p:sp>
        <p:nvSpPr>
          <p:cNvPr id="14" name="Text Placeholder 10"/>
          <p:cNvSpPr>
            <a:spLocks noGrp="1"/>
          </p:cNvSpPr>
          <p:nvPr>
            <p:ph type="body" sz="quarter" idx="13" hasCustomPrompt="1"/>
          </p:nvPr>
        </p:nvSpPr>
        <p:spPr>
          <a:xfrm>
            <a:off x="1464743" y="1195843"/>
            <a:ext cx="9573684" cy="609600"/>
          </a:xfrm>
        </p:spPr>
        <p:txBody>
          <a:bodyPr/>
          <a:lstStyle>
            <a:lvl1pPr marL="0" indent="0">
              <a:lnSpc>
                <a:spcPct val="85000"/>
              </a:lnSpc>
              <a:spcBef>
                <a:spcPts val="0"/>
              </a:spcBef>
              <a:buNone/>
              <a:defRPr sz="2667" spc="-107" baseline="0">
                <a:solidFill>
                  <a:schemeClr val="accent2"/>
                </a:solidFill>
              </a:defRPr>
            </a:lvl1pPr>
            <a:lvl2pPr marL="275174" indent="0">
              <a:buNone/>
              <a:defRPr/>
            </a:lvl2pPr>
            <a:lvl3pPr marL="609616" indent="0">
              <a:buNone/>
              <a:defRPr/>
            </a:lvl3pPr>
            <a:lvl4pPr marL="842454" indent="0">
              <a:buNone/>
              <a:defRPr/>
            </a:lvl4pPr>
            <a:lvl5pPr marL="1073177" indent="0">
              <a:buNone/>
              <a:defRPr/>
            </a:lvl5pPr>
          </a:lstStyle>
          <a:p>
            <a:pPr lvl="0"/>
            <a:r>
              <a:rPr lang="en-US"/>
              <a:t>Slide Subtitle</a:t>
            </a:r>
          </a:p>
        </p:txBody>
      </p:sp>
      <p:sp>
        <p:nvSpPr>
          <p:cNvPr id="20" name="Content Placeholder 2"/>
          <p:cNvSpPr>
            <a:spLocks noGrp="1"/>
          </p:cNvSpPr>
          <p:nvPr>
            <p:ph sz="half" idx="18"/>
          </p:nvPr>
        </p:nvSpPr>
        <p:spPr>
          <a:xfrm>
            <a:off x="1243325" y="2399682"/>
            <a:ext cx="5242141" cy="1450537"/>
          </a:xfrm>
        </p:spPr>
        <p:txBody>
          <a:bodyPr vert="horz" lIns="0" tIns="0" rIns="91440" bIns="45720" rtlCol="0">
            <a:no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p:cNvSpPr>
            <a:spLocks noGrp="1"/>
          </p:cNvSpPr>
          <p:nvPr>
            <p:ph type="body" idx="1"/>
          </p:nvPr>
        </p:nvSpPr>
        <p:spPr>
          <a:xfrm>
            <a:off x="1476553" y="2031619"/>
            <a:ext cx="5008915" cy="393593"/>
          </a:xfrm>
        </p:spPr>
        <p:txBody>
          <a:bodyPr anchor="b"/>
          <a:lstStyle>
            <a:lvl1pPr marL="0" indent="0">
              <a:buNone/>
              <a:defRPr sz="2267" b="0">
                <a:solidFill>
                  <a:schemeClr val="tx2"/>
                </a:solidFill>
              </a:defRPr>
            </a:lvl1pPr>
            <a:lvl2pPr marL="609616" indent="0">
              <a:buNone/>
              <a:defRPr sz="2667" b="1"/>
            </a:lvl2pPr>
            <a:lvl3pPr marL="1219231" indent="0">
              <a:buNone/>
              <a:defRPr sz="2400" b="1"/>
            </a:lvl3pPr>
            <a:lvl4pPr marL="1828845" indent="0">
              <a:buNone/>
              <a:defRPr sz="2133" b="1"/>
            </a:lvl4pPr>
            <a:lvl5pPr marL="2438461" indent="0">
              <a:buNone/>
              <a:defRPr sz="2133" b="1"/>
            </a:lvl5pPr>
            <a:lvl6pPr marL="3048076" indent="0">
              <a:buNone/>
              <a:defRPr sz="2133" b="1"/>
            </a:lvl6pPr>
            <a:lvl7pPr marL="3657692" indent="0">
              <a:buNone/>
              <a:defRPr sz="2133" b="1"/>
            </a:lvl7pPr>
            <a:lvl8pPr marL="4267307" indent="0">
              <a:buNone/>
              <a:defRPr sz="2133" b="1"/>
            </a:lvl8pPr>
            <a:lvl9pPr marL="4876922" indent="0">
              <a:buNone/>
              <a:defRPr sz="2133" b="1"/>
            </a:lvl9pPr>
          </a:lstStyle>
          <a:p>
            <a:pPr lvl="0"/>
            <a:r>
              <a:rPr lang="en-US"/>
              <a:t>Click to edit Master text styles</a:t>
            </a:r>
          </a:p>
        </p:txBody>
      </p:sp>
      <p:sp>
        <p:nvSpPr>
          <p:cNvPr id="26" name="Content Placeholder 2"/>
          <p:cNvSpPr>
            <a:spLocks noGrp="1"/>
          </p:cNvSpPr>
          <p:nvPr>
            <p:ph sz="half" idx="25"/>
          </p:nvPr>
        </p:nvSpPr>
        <p:spPr>
          <a:xfrm>
            <a:off x="1243325" y="4401799"/>
            <a:ext cx="5242141" cy="1450537"/>
          </a:xfrm>
        </p:spPr>
        <p:txBody>
          <a:bodyPr vert="horz" lIns="0" tIns="0" rIns="91440" bIns="45720" rtlCol="0">
            <a:no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7" name="Text Placeholder 2"/>
          <p:cNvSpPr>
            <a:spLocks noGrp="1"/>
          </p:cNvSpPr>
          <p:nvPr>
            <p:ph type="body" idx="26"/>
          </p:nvPr>
        </p:nvSpPr>
        <p:spPr>
          <a:xfrm>
            <a:off x="1476553" y="4033737"/>
            <a:ext cx="5008915" cy="393593"/>
          </a:xfrm>
        </p:spPr>
        <p:txBody>
          <a:bodyPr anchor="b"/>
          <a:lstStyle>
            <a:lvl1pPr marL="0" indent="0">
              <a:buNone/>
              <a:defRPr sz="2267" b="0">
                <a:solidFill>
                  <a:schemeClr val="tx2"/>
                </a:solidFill>
              </a:defRPr>
            </a:lvl1pPr>
            <a:lvl2pPr marL="609616" indent="0">
              <a:buNone/>
              <a:defRPr sz="2667" b="1"/>
            </a:lvl2pPr>
            <a:lvl3pPr marL="1219231" indent="0">
              <a:buNone/>
              <a:defRPr sz="2400" b="1"/>
            </a:lvl3pPr>
            <a:lvl4pPr marL="1828845" indent="0">
              <a:buNone/>
              <a:defRPr sz="2133" b="1"/>
            </a:lvl4pPr>
            <a:lvl5pPr marL="2438461" indent="0">
              <a:buNone/>
              <a:defRPr sz="2133" b="1"/>
            </a:lvl5pPr>
            <a:lvl6pPr marL="3048076" indent="0">
              <a:buNone/>
              <a:defRPr sz="2133" b="1"/>
            </a:lvl6pPr>
            <a:lvl7pPr marL="3657692" indent="0">
              <a:buNone/>
              <a:defRPr sz="2133" b="1"/>
            </a:lvl7pPr>
            <a:lvl8pPr marL="4267307" indent="0">
              <a:buNone/>
              <a:defRPr sz="2133" b="1"/>
            </a:lvl8pPr>
            <a:lvl9pPr marL="4876922" indent="0">
              <a:buNone/>
              <a:defRPr sz="2133" b="1"/>
            </a:lvl9pPr>
          </a:lstStyle>
          <a:p>
            <a:pPr lvl="0"/>
            <a:r>
              <a:rPr lang="en-US"/>
              <a:t>Click to edit Master text styles</a:t>
            </a:r>
          </a:p>
        </p:txBody>
      </p:sp>
    </p:spTree>
    <p:extLst>
      <p:ext uri="{BB962C8B-B14F-4D97-AF65-F5344CB8AC3E}">
        <p14:creationId xmlns:p14="http://schemas.microsoft.com/office/powerpoint/2010/main" val="211673176"/>
      </p:ext>
    </p:extLst>
  </p:cSld>
  <p:clrMapOvr>
    <a:masterClrMapping/>
  </p:clrMapOvr>
</p:sldLayout>
</file>

<file path=ppt/slideLayouts/slideLayout119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20799" y="152400"/>
            <a:ext cx="10285292" cy="762000"/>
          </a:xfr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623C80F-5998-4C5A-8426-1B9517C724DD}" type="datetimeFigureOut">
              <a:rPr lang="en-US" smtClean="0">
                <a:solidFill>
                  <a:srgbClr val="605F62"/>
                </a:solidFill>
              </a:rPr>
              <a:pPr/>
              <a:t>5/20/2026</a:t>
            </a:fld>
            <a:endParaRPr lang="en-US">
              <a:solidFill>
                <a:srgbClr val="605F62"/>
              </a:solidFill>
            </a:endParaRPr>
          </a:p>
        </p:txBody>
      </p:sp>
      <p:sp>
        <p:nvSpPr>
          <p:cNvPr id="5" name="Footer Placeholder 4"/>
          <p:cNvSpPr>
            <a:spLocks noGrp="1"/>
          </p:cNvSpPr>
          <p:nvPr>
            <p:ph type="ftr" sz="quarter" idx="11"/>
          </p:nvPr>
        </p:nvSpPr>
        <p:spPr/>
        <p:txBody>
          <a:bodyPr/>
          <a:lstStyle/>
          <a:p>
            <a:endParaRPr lang="en-US">
              <a:solidFill>
                <a:srgbClr val="605F62"/>
              </a:solidFill>
            </a:endParaRPr>
          </a:p>
        </p:txBody>
      </p:sp>
      <p:sp>
        <p:nvSpPr>
          <p:cNvPr id="6" name="Slide Number Placeholder 5"/>
          <p:cNvSpPr>
            <a:spLocks noGrp="1"/>
          </p:cNvSpPr>
          <p:nvPr>
            <p:ph type="sldNum" sz="quarter" idx="12"/>
          </p:nvPr>
        </p:nvSpPr>
        <p:spPr/>
        <p:txBody>
          <a:bodyPr/>
          <a:lstStyle>
            <a:lvl1pPr>
              <a:defRPr>
                <a:solidFill>
                  <a:srgbClr val="B1ACCE"/>
                </a:solidFill>
              </a:defRPr>
            </a:lvl1pPr>
          </a:lstStyle>
          <a:p>
            <a:fld id="{0D558541-60C9-42A2-8392-FF12533A6B7A}" type="slidenum">
              <a:rPr lang="en-US" smtClean="0"/>
              <a:pPr/>
              <a:t>‹#›</a:t>
            </a:fld>
            <a:endParaRPr lang="en-US"/>
          </a:p>
        </p:txBody>
      </p:sp>
      <p:sp>
        <p:nvSpPr>
          <p:cNvPr id="11" name="Text Placeholder 10"/>
          <p:cNvSpPr>
            <a:spLocks noGrp="1"/>
          </p:cNvSpPr>
          <p:nvPr>
            <p:ph type="body" sz="quarter" idx="13" hasCustomPrompt="1"/>
          </p:nvPr>
        </p:nvSpPr>
        <p:spPr>
          <a:xfrm>
            <a:off x="1320800" y="914400"/>
            <a:ext cx="9139936" cy="457200"/>
          </a:xfrm>
        </p:spPr>
        <p:txBody>
          <a:bodyPr/>
          <a:lstStyle>
            <a:lvl1pPr marL="0" indent="0">
              <a:lnSpc>
                <a:spcPct val="85000"/>
              </a:lnSpc>
              <a:spcBef>
                <a:spcPts val="0"/>
              </a:spcBef>
              <a:buNone/>
              <a:defRPr sz="2000" spc="-80" baseline="0">
                <a:solidFill>
                  <a:schemeClr val="accent2"/>
                </a:solidFill>
              </a:defRPr>
            </a:lvl1pPr>
            <a:lvl2pPr marL="206380" indent="0">
              <a:buNone/>
              <a:defRPr/>
            </a:lvl2pPr>
            <a:lvl3pPr marL="457212" indent="0">
              <a:buNone/>
              <a:defRPr/>
            </a:lvl3pPr>
            <a:lvl4pPr marL="631842" indent="0">
              <a:buNone/>
              <a:defRPr/>
            </a:lvl4pPr>
            <a:lvl5pPr marL="804884" indent="0">
              <a:buNone/>
              <a:defRPr/>
            </a:lvl5pPr>
          </a:lstStyle>
          <a:p>
            <a:pPr lvl="0"/>
            <a:r>
              <a:rPr lang="en-US"/>
              <a:t>Slide Subtitle</a:t>
            </a:r>
          </a:p>
        </p:txBody>
      </p:sp>
    </p:spTree>
    <p:extLst>
      <p:ext uri="{BB962C8B-B14F-4D97-AF65-F5344CB8AC3E}">
        <p14:creationId xmlns:p14="http://schemas.microsoft.com/office/powerpoint/2010/main" val="24080991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1529"/>
        <p:cNvGrpSpPr/>
        <p:nvPr/>
      </p:nvGrpSpPr>
      <p:grpSpPr>
        <a:xfrm>
          <a:off x="0" y="0"/>
          <a:ext cx="0" cy="0"/>
          <a:chOff x="0" y="0"/>
          <a:chExt cx="0" cy="0"/>
        </a:xfrm>
      </p:grpSpPr>
      <p:sp>
        <p:nvSpPr>
          <p:cNvPr id="1530" name="Google Shape;1530;p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31" name="Google Shape;1531;p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32" name="Google Shape;1532;p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533" name="Google Shape;1533;p18"/>
          <p:cNvGrpSpPr/>
          <p:nvPr/>
        </p:nvGrpSpPr>
        <p:grpSpPr>
          <a:xfrm>
            <a:off x="7191542" y="1"/>
            <a:ext cx="5000459" cy="1425992"/>
            <a:chOff x="7191542" y="1"/>
            <a:chExt cx="5000459" cy="1425992"/>
          </a:xfrm>
        </p:grpSpPr>
        <p:pic>
          <p:nvPicPr>
            <p:cNvPr id="1534" name="Google Shape;1534;p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35" name="Google Shape;1535;p18"/>
            <p:cNvGrpSpPr/>
            <p:nvPr/>
          </p:nvGrpSpPr>
          <p:grpSpPr>
            <a:xfrm>
              <a:off x="7191542" y="1"/>
              <a:ext cx="5000459" cy="1425992"/>
              <a:chOff x="7186272" y="0"/>
              <a:chExt cx="5005729" cy="1427495"/>
            </a:xfrm>
          </p:grpSpPr>
          <p:sp>
            <p:nvSpPr>
              <p:cNvPr id="1536" name="Google Shape;1536;p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37" name="Google Shape;1537;p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59938812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matchingName="Quotation">
  <p:cSld name="Quotation 11">
    <p:spTree>
      <p:nvGrpSpPr>
        <p:cNvPr id="1" name="Shape 10178"/>
        <p:cNvGrpSpPr/>
        <p:nvPr/>
      </p:nvGrpSpPr>
      <p:grpSpPr>
        <a:xfrm>
          <a:off x="0" y="0"/>
          <a:ext cx="0" cy="0"/>
          <a:chOff x="0" y="0"/>
          <a:chExt cx="0" cy="0"/>
        </a:xfrm>
      </p:grpSpPr>
      <p:sp>
        <p:nvSpPr>
          <p:cNvPr id="10179" name="Google Shape;10179;p142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180" name="Google Shape;10180;p142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81" name="Google Shape;10181;p14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82" name="Google Shape;10182;p14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183" name="Google Shape;10183;p14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84" name="Google Shape;10184;p14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185" name="Google Shape;10185;p1424"/>
          <p:cNvGrpSpPr/>
          <p:nvPr/>
        </p:nvGrpSpPr>
        <p:grpSpPr>
          <a:xfrm>
            <a:off x="7191542" y="1"/>
            <a:ext cx="5000459" cy="1425992"/>
            <a:chOff x="7191542" y="1"/>
            <a:chExt cx="5000459" cy="1425992"/>
          </a:xfrm>
        </p:grpSpPr>
        <p:pic>
          <p:nvPicPr>
            <p:cNvPr id="10186" name="Google Shape;10186;p14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87" name="Google Shape;10187;p1424"/>
            <p:cNvGrpSpPr/>
            <p:nvPr/>
          </p:nvGrpSpPr>
          <p:grpSpPr>
            <a:xfrm>
              <a:off x="7191542" y="1"/>
              <a:ext cx="5000459" cy="1425992"/>
              <a:chOff x="7186272" y="0"/>
              <a:chExt cx="5005729" cy="1427495"/>
            </a:xfrm>
          </p:grpSpPr>
          <p:sp>
            <p:nvSpPr>
              <p:cNvPr id="10188" name="Google Shape;10188;p14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189" name="Google Shape;10189;p14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190" name="Google Shape;10190;p142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200.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9" name="Title 1"/>
          <p:cNvSpPr>
            <a:spLocks noGrp="1"/>
          </p:cNvSpPr>
          <p:nvPr>
            <p:ph type="ctrTitle"/>
          </p:nvPr>
        </p:nvSpPr>
        <p:spPr bwMode="gray">
          <a:xfrm>
            <a:off x="1460260" y="2759803"/>
            <a:ext cx="8963171" cy="1168439"/>
          </a:xfrm>
          <a:prstGeom prst="rect">
            <a:avLst/>
          </a:prstGeom>
        </p:spPr>
        <p:txBody>
          <a:bodyPr rIns="0" bIns="0" anchor="b" anchorCtr="0"/>
          <a:lstStyle>
            <a:lvl1pPr>
              <a:lnSpc>
                <a:spcPct val="90000"/>
              </a:lnSpc>
              <a:defRPr sz="5334" b="0">
                <a:solidFill>
                  <a:schemeClr val="tx2"/>
                </a:solidFill>
              </a:defRPr>
            </a:lvl1pPr>
          </a:lstStyle>
          <a:p>
            <a:r>
              <a:rPr lang="en-US"/>
              <a:t>Click to edit Master title style</a:t>
            </a:r>
          </a:p>
        </p:txBody>
      </p:sp>
      <p:sp>
        <p:nvSpPr>
          <p:cNvPr id="10" name="Subtitle 2"/>
          <p:cNvSpPr>
            <a:spLocks noGrp="1"/>
          </p:cNvSpPr>
          <p:nvPr>
            <p:ph type="subTitle" idx="1" hasCustomPrompt="1"/>
          </p:nvPr>
        </p:nvSpPr>
        <p:spPr bwMode="gray">
          <a:xfrm>
            <a:off x="1490143" y="3986119"/>
            <a:ext cx="8534400" cy="914400"/>
          </a:xfrm>
          <a:prstGeom prst="rect">
            <a:avLst/>
          </a:prstGeom>
        </p:spPr>
        <p:txBody>
          <a:bodyPr/>
          <a:lstStyle>
            <a:lvl1pPr marL="0" indent="0" algn="l">
              <a:lnSpc>
                <a:spcPct val="90000"/>
              </a:lnSpc>
              <a:spcBef>
                <a:spcPts val="0"/>
              </a:spcBef>
              <a:buNone/>
              <a:defRPr sz="3200" baseline="0">
                <a:solidFill>
                  <a:schemeClr val="accent1"/>
                </a:solidFill>
              </a:defRPr>
            </a:lvl1pPr>
            <a:lvl2pPr marL="609616" indent="0" algn="ctr">
              <a:buNone/>
              <a:defRPr>
                <a:solidFill>
                  <a:schemeClr val="tx1">
                    <a:tint val="75000"/>
                  </a:schemeClr>
                </a:solidFill>
              </a:defRPr>
            </a:lvl2pPr>
            <a:lvl3pPr marL="1219231" indent="0" algn="ctr">
              <a:buNone/>
              <a:defRPr>
                <a:solidFill>
                  <a:schemeClr val="tx1">
                    <a:tint val="75000"/>
                  </a:schemeClr>
                </a:solidFill>
              </a:defRPr>
            </a:lvl3pPr>
            <a:lvl4pPr marL="1828845" indent="0" algn="ctr">
              <a:buNone/>
              <a:defRPr>
                <a:solidFill>
                  <a:schemeClr val="tx1">
                    <a:tint val="75000"/>
                  </a:schemeClr>
                </a:solidFill>
              </a:defRPr>
            </a:lvl4pPr>
            <a:lvl5pPr marL="2438461" indent="0" algn="ctr">
              <a:buNone/>
              <a:defRPr>
                <a:solidFill>
                  <a:schemeClr val="tx1">
                    <a:tint val="75000"/>
                  </a:schemeClr>
                </a:solidFill>
              </a:defRPr>
            </a:lvl5pPr>
            <a:lvl6pPr marL="3048076" indent="0" algn="ctr">
              <a:buNone/>
              <a:defRPr>
                <a:solidFill>
                  <a:schemeClr val="tx1">
                    <a:tint val="75000"/>
                  </a:schemeClr>
                </a:solidFill>
              </a:defRPr>
            </a:lvl6pPr>
            <a:lvl7pPr marL="3657692" indent="0" algn="ctr">
              <a:buNone/>
              <a:defRPr>
                <a:solidFill>
                  <a:schemeClr val="tx1">
                    <a:tint val="75000"/>
                  </a:schemeClr>
                </a:solidFill>
              </a:defRPr>
            </a:lvl7pPr>
            <a:lvl8pPr marL="4267307" indent="0" algn="ctr">
              <a:buNone/>
              <a:defRPr>
                <a:solidFill>
                  <a:schemeClr val="tx1">
                    <a:tint val="75000"/>
                  </a:schemeClr>
                </a:solidFill>
              </a:defRPr>
            </a:lvl8pPr>
            <a:lvl9pPr marL="4876922" indent="0" algn="ctr">
              <a:buNone/>
              <a:defRPr>
                <a:solidFill>
                  <a:schemeClr val="tx1">
                    <a:tint val="75000"/>
                  </a:schemeClr>
                </a:solidFill>
              </a:defRPr>
            </a:lvl9pPr>
          </a:lstStyle>
          <a:p>
            <a:r>
              <a:rPr lang="en-US"/>
              <a:t>Slide Subtitle</a:t>
            </a:r>
          </a:p>
        </p:txBody>
      </p:sp>
      <p:sp>
        <p:nvSpPr>
          <p:cNvPr id="17" name="Date Placeholder 11"/>
          <p:cNvSpPr>
            <a:spLocks noGrp="1"/>
          </p:cNvSpPr>
          <p:nvPr>
            <p:ph type="dt" sz="half" idx="14"/>
          </p:nvPr>
        </p:nvSpPr>
        <p:spPr>
          <a:xfrm>
            <a:off x="3133344" y="6436627"/>
            <a:ext cx="1133856" cy="224367"/>
          </a:xfrm>
          <a:prstGeom prst="rect">
            <a:avLst/>
          </a:prstGeom>
        </p:spPr>
        <p:txBody>
          <a:bodyPr/>
          <a:lstStyle/>
          <a:p>
            <a:fld id="{C9B44B80-C542-3444-8449-750F3D760E45}" type="datetime1">
              <a:rPr lang="en-US" smtClean="0"/>
              <a:t>5/20/2026</a:t>
            </a:fld>
            <a:endParaRPr lang="en-US"/>
          </a:p>
        </p:txBody>
      </p:sp>
      <p:sp>
        <p:nvSpPr>
          <p:cNvPr id="18" name="Footer Placeholder 12"/>
          <p:cNvSpPr>
            <a:spLocks noGrp="1"/>
          </p:cNvSpPr>
          <p:nvPr>
            <p:ph type="ftr" sz="quarter" idx="15"/>
          </p:nvPr>
        </p:nvSpPr>
        <p:spPr>
          <a:xfrm>
            <a:off x="4162659" y="6374245"/>
            <a:ext cx="6908800" cy="308355"/>
          </a:xfrm>
          <a:prstGeom prst="rect">
            <a:avLst/>
          </a:prstGeom>
        </p:spPr>
        <p:txBody>
          <a:bodyPr/>
          <a:lstStyle/>
          <a:p>
            <a:endParaRPr lang="en-US">
              <a:solidFill>
                <a:srgbClr val="605F62"/>
              </a:solidFill>
            </a:endParaRPr>
          </a:p>
        </p:txBody>
      </p:sp>
      <p:sp>
        <p:nvSpPr>
          <p:cNvPr id="19" name="Slide Number Placeholder 13"/>
          <p:cNvSpPr>
            <a:spLocks noGrp="1"/>
          </p:cNvSpPr>
          <p:nvPr>
            <p:ph type="sldNum" sz="quarter" idx="16"/>
          </p:nvPr>
        </p:nvSpPr>
        <p:spPr>
          <a:xfrm>
            <a:off x="11074400" y="6374246"/>
            <a:ext cx="462327" cy="308355"/>
          </a:xfrm>
          <a:prstGeom prst="rect">
            <a:avLst/>
          </a:prstGeom>
        </p:spPr>
        <p:txBody>
          <a:bodyPr/>
          <a:lstStyle/>
          <a:p>
            <a:fld id="{0D558541-60C9-42A2-8392-FF12533A6B7A}" type="slidenum">
              <a:rPr lang="en-US" smtClean="0"/>
              <a:pPr/>
              <a:t>‹#›</a:t>
            </a:fld>
            <a:endParaRPr lang="en-US"/>
          </a:p>
        </p:txBody>
      </p:sp>
      <p:pic>
        <p:nvPicPr>
          <p:cNvPr id="8" name="Picture 7" descr="NM-Logo-Stacked-RGB.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2002" y="6283001"/>
            <a:ext cx="1935404" cy="361216"/>
          </a:xfrm>
          <a:prstGeom prst="rect">
            <a:avLst/>
          </a:prstGeom>
        </p:spPr>
      </p:pic>
    </p:spTree>
    <p:extLst>
      <p:ext uri="{BB962C8B-B14F-4D97-AF65-F5344CB8AC3E}">
        <p14:creationId xmlns:p14="http://schemas.microsoft.com/office/powerpoint/2010/main" val="2338072252"/>
      </p:ext>
    </p:extLst>
  </p:cSld>
  <p:clrMapOvr>
    <a:masterClrMapping/>
  </p:clrMapOvr>
</p:sldLayout>
</file>

<file path=ppt/slideLayouts/slideLayout1201.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1202.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68"/>
        <p:cNvGrpSpPr/>
        <p:nvPr/>
      </p:nvGrpSpPr>
      <p:grpSpPr>
        <a:xfrm>
          <a:off x="0" y="0"/>
          <a:ext cx="0" cy="0"/>
          <a:chOff x="0" y="0"/>
          <a:chExt cx="0" cy="0"/>
        </a:xfrm>
      </p:grpSpPr>
      <p:sp>
        <p:nvSpPr>
          <p:cNvPr id="69" name="Google Shape;69;p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7"/>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grpSp>
        <p:nvGrpSpPr>
          <p:cNvPr id="71" name="Google Shape;71;p7"/>
          <p:cNvGrpSpPr/>
          <p:nvPr/>
        </p:nvGrpSpPr>
        <p:grpSpPr>
          <a:xfrm>
            <a:off x="7191543" y="1"/>
            <a:ext cx="5000459" cy="1425992"/>
            <a:chOff x="7191542" y="1"/>
            <a:chExt cx="5000459" cy="1425992"/>
          </a:xfrm>
        </p:grpSpPr>
        <p:pic>
          <p:nvPicPr>
            <p:cNvPr id="72" name="Google Shape;72;p7"/>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3" name="Google Shape;73;p7"/>
            <p:cNvGrpSpPr/>
            <p:nvPr/>
          </p:nvGrpSpPr>
          <p:grpSpPr>
            <a:xfrm>
              <a:off x="7191542" y="1"/>
              <a:ext cx="5000459" cy="1425992"/>
              <a:chOff x="7186272" y="0"/>
              <a:chExt cx="5005729" cy="1427495"/>
            </a:xfrm>
          </p:grpSpPr>
          <p:sp>
            <p:nvSpPr>
              <p:cNvPr id="74" name="Google Shape;74;p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75;p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 name="Google Shape;76;p7"/>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77" name="Google Shape;77;p7"/>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78" name="Google Shape;78;p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 name="Google Shape;79;p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16851664"/>
      </p:ext>
    </p:extLst>
  </p:cSld>
  <p:clrMapOvr>
    <a:masterClrMapping/>
  </p:clrMapOvr>
</p:sldLayout>
</file>

<file path=ppt/slideLayouts/slideLayout120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5/20/2026</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3303683005"/>
      </p:ext>
    </p:extLst>
  </p:cSld>
  <p:clrMapOvr>
    <a:masterClrMapping/>
  </p:clrMapOvr>
</p:sldLayout>
</file>

<file path=ppt/slideLayouts/slideLayout1204.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5/20/2026</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4065944806"/>
      </p:ext>
    </p:extLst>
  </p:cSld>
  <p:clrMapOvr>
    <a:masterClrMapping/>
  </p:clrMapOvr>
</p:sldLayout>
</file>

<file path=ppt/slideLayouts/slideLayout1205.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582254879"/>
      </p:ext>
    </p:extLst>
  </p:cSld>
  <p:clrMapOvr>
    <a:masterClrMapping/>
  </p:clrMapOvr>
</p:sldLayout>
</file>

<file path=ppt/slideLayouts/slideLayout1206.xml><?xml version="1.0" encoding="utf-8"?>
<p:sldLayout xmlns:a="http://schemas.openxmlformats.org/drawingml/2006/main" xmlns:r="http://schemas.openxmlformats.org/officeDocument/2006/relationships" xmlns:p="http://schemas.openxmlformats.org/presentationml/2006/main" matchingName="Divider">
  <p:cSld name="Divider 2">
    <p:bg>
      <p:bgPr>
        <a:solidFill>
          <a:schemeClr val="lt2"/>
        </a:solidFill>
        <a:effectLst/>
      </p:bgPr>
    </p:bg>
    <p:spTree>
      <p:nvGrpSpPr>
        <p:cNvPr id="1" name="Shape 62"/>
        <p:cNvGrpSpPr/>
        <p:nvPr/>
      </p:nvGrpSpPr>
      <p:grpSpPr>
        <a:xfrm>
          <a:off x="0" y="0"/>
          <a:ext cx="0" cy="0"/>
          <a:chOff x="0" y="0"/>
          <a:chExt cx="0" cy="0"/>
        </a:xfrm>
      </p:grpSpPr>
      <p:grpSp>
        <p:nvGrpSpPr>
          <p:cNvPr id="63" name="Google Shape;63;p56"/>
          <p:cNvGrpSpPr/>
          <p:nvPr/>
        </p:nvGrpSpPr>
        <p:grpSpPr>
          <a:xfrm>
            <a:off x="0" y="5020348"/>
            <a:ext cx="12192000" cy="1837653"/>
            <a:chOff x="0" y="5020347"/>
            <a:chExt cx="12192000" cy="1837653"/>
          </a:xfrm>
        </p:grpSpPr>
        <p:sp>
          <p:nvSpPr>
            <p:cNvPr id="64" name="Google Shape;64;p5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5" name="Google Shape;65;p5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 name="Google Shape;66;p5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7" name="Google Shape;67;p5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68" name="Google Shape;68;p56"/>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 name="Google Shape;69;p56"/>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362024378"/>
      </p:ext>
    </p:extLst>
  </p:cSld>
  <p:clrMapOvr>
    <a:masterClrMapping/>
  </p:clrMapOvr>
</p:sldLayout>
</file>

<file path=ppt/slideLayouts/slideLayout1207.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113001559"/>
      </p:ext>
    </p:extLst>
  </p:cSld>
  <p:clrMapOvr>
    <a:masterClrMapping/>
  </p:clrMapOvr>
</p:sldLayout>
</file>

<file path=ppt/slideLayouts/slideLayout1208.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0/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spc="-5" dirty="0">
                <a:solidFill>
                  <a:srgbClr val="929599"/>
                </a:solidFill>
              </a:rPr>
              <a:pPr marL="38102">
                <a:lnSpc>
                  <a:spcPts val="1425"/>
                </a:lnSpc>
              </a:p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1209.xml><?xml version="1.0" encoding="utf-8"?>
<p:sldLayout xmlns:a="http://schemas.openxmlformats.org/drawingml/2006/main" xmlns:r="http://schemas.openxmlformats.org/officeDocument/2006/relationships" xmlns:p="http://schemas.openxmlformats.org/presentationml/2006/main" showMasterSp="0"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48770697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matchingName="Quotation">
  <p:cSld name="Quotation 11 2">
    <p:spTree>
      <p:nvGrpSpPr>
        <p:cNvPr id="1" name="Shape 10191"/>
        <p:cNvGrpSpPr/>
        <p:nvPr/>
      </p:nvGrpSpPr>
      <p:grpSpPr>
        <a:xfrm>
          <a:off x="0" y="0"/>
          <a:ext cx="0" cy="0"/>
          <a:chOff x="0" y="0"/>
          <a:chExt cx="0" cy="0"/>
        </a:xfrm>
      </p:grpSpPr>
      <p:sp>
        <p:nvSpPr>
          <p:cNvPr id="10192" name="Google Shape;10192;p142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193" name="Google Shape;10193;p142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94" name="Google Shape;10194;p142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95" name="Google Shape;10195;p14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196" name="Google Shape;10196;p14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97" name="Google Shape;10197;p14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198" name="Google Shape;10198;p1425"/>
          <p:cNvGrpSpPr/>
          <p:nvPr/>
        </p:nvGrpSpPr>
        <p:grpSpPr>
          <a:xfrm>
            <a:off x="7191542" y="1"/>
            <a:ext cx="5000459" cy="1425992"/>
            <a:chOff x="7191542" y="1"/>
            <a:chExt cx="5000459" cy="1425992"/>
          </a:xfrm>
        </p:grpSpPr>
        <p:pic>
          <p:nvPicPr>
            <p:cNvPr id="10199" name="Google Shape;10199;p14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00" name="Google Shape;10200;p1425"/>
            <p:cNvGrpSpPr/>
            <p:nvPr/>
          </p:nvGrpSpPr>
          <p:grpSpPr>
            <a:xfrm>
              <a:off x="7191542" y="1"/>
              <a:ext cx="5000459" cy="1425992"/>
              <a:chOff x="7186272" y="0"/>
              <a:chExt cx="5005729" cy="1427495"/>
            </a:xfrm>
          </p:grpSpPr>
          <p:sp>
            <p:nvSpPr>
              <p:cNvPr id="10201" name="Google Shape;10201;p14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202" name="Google Shape;10202;p14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203" name="Google Shape;10203;p142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210.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125059231"/>
      </p:ext>
    </p:extLst>
  </p:cSld>
  <p:clrMapOvr>
    <a:masterClrMapping/>
  </p:clrMapOvr>
</p:sldLayout>
</file>

<file path=ppt/slideLayouts/slideLayout121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820651667"/>
      </p:ext>
    </p:extLst>
  </p:cSld>
  <p:clrMapOvr>
    <a:masterClrMapping/>
  </p:clrMapOvr>
</p:sldLayout>
</file>

<file path=ppt/slideLayouts/slideLayout121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586515765"/>
      </p:ext>
    </p:extLst>
  </p:cSld>
  <p:clrMapOvr>
    <a:masterClrMapping/>
  </p:clrMapOvr>
</p:sldLayout>
</file>

<file path=ppt/slideLayouts/slideLayout1213.xml><?xml version="1.0" encoding="utf-8"?>
<p:sldLayout xmlns:a="http://schemas.openxmlformats.org/drawingml/2006/main" xmlns:r="http://schemas.openxmlformats.org/officeDocument/2006/relationships" xmlns:p="http://schemas.openxmlformats.org/presentationml/2006/main" type="obj" preserve="1">
  <p:cSld name="6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46995301"/>
      </p:ext>
    </p:extLst>
  </p:cSld>
  <p:clrMapOvr>
    <a:masterClrMapping/>
  </p:clrMapOvr>
</p:sldLayout>
</file>

<file path=ppt/slideLayouts/slideLayout1214.xml><?xml version="1.0" encoding="utf-8"?>
<p:sldLayout xmlns:a="http://schemas.openxmlformats.org/drawingml/2006/main" xmlns:r="http://schemas.openxmlformats.org/officeDocument/2006/relationships" xmlns:p="http://schemas.openxmlformats.org/presentationml/2006/main" type="obj" preserve="1">
  <p:cSld name="6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80507982"/>
      </p:ext>
    </p:extLst>
  </p:cSld>
  <p:clrMapOvr>
    <a:masterClrMapping/>
  </p:clrMapOvr>
</p:sldLayout>
</file>

<file path=ppt/slideLayouts/slideLayout121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21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217.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21105823"/>
      </p:ext>
    </p:extLst>
  </p:cSld>
  <p:clrMapOvr>
    <a:masterClrMapping/>
  </p:clrMapOvr>
</p:sldLayout>
</file>

<file path=ppt/slideLayouts/slideLayout1218.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15772397"/>
      </p:ext>
    </p:extLst>
  </p:cSld>
  <p:clrMapOvr>
    <a:masterClrMapping/>
  </p:clrMapOvr>
</p:sldLayout>
</file>

<file path=ppt/slideLayouts/slideLayout1219.xml><?xml version="1.0" encoding="utf-8"?>
<p:sldLayout xmlns:a="http://schemas.openxmlformats.org/drawingml/2006/main" xmlns:r="http://schemas.openxmlformats.org/officeDocument/2006/relationships" xmlns:p="http://schemas.openxmlformats.org/presentationml/2006/main" preserve="1" userDrawn="1">
  <p:cSld name="3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36992096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matchingName="Title and Content">
  <p:cSld name="Title and Content 11">
    <p:spTree>
      <p:nvGrpSpPr>
        <p:cNvPr id="1" name="Shape 10204"/>
        <p:cNvGrpSpPr/>
        <p:nvPr/>
      </p:nvGrpSpPr>
      <p:grpSpPr>
        <a:xfrm>
          <a:off x="0" y="0"/>
          <a:ext cx="0" cy="0"/>
          <a:chOff x="0" y="0"/>
          <a:chExt cx="0" cy="0"/>
        </a:xfrm>
      </p:grpSpPr>
      <p:grpSp>
        <p:nvGrpSpPr>
          <p:cNvPr id="10205" name="Google Shape;10205;p1426"/>
          <p:cNvGrpSpPr/>
          <p:nvPr/>
        </p:nvGrpSpPr>
        <p:grpSpPr>
          <a:xfrm>
            <a:off x="7191542" y="1"/>
            <a:ext cx="5000459" cy="1425992"/>
            <a:chOff x="7191542" y="1"/>
            <a:chExt cx="5000459" cy="1425992"/>
          </a:xfrm>
        </p:grpSpPr>
        <p:pic>
          <p:nvPicPr>
            <p:cNvPr id="10206" name="Google Shape;10206;p14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07" name="Google Shape;10207;p1426"/>
            <p:cNvGrpSpPr/>
            <p:nvPr/>
          </p:nvGrpSpPr>
          <p:grpSpPr>
            <a:xfrm>
              <a:off x="7191542" y="1"/>
              <a:ext cx="5000459" cy="1425992"/>
              <a:chOff x="7186272" y="0"/>
              <a:chExt cx="5005729" cy="1427495"/>
            </a:xfrm>
          </p:grpSpPr>
          <p:sp>
            <p:nvSpPr>
              <p:cNvPr id="10208" name="Google Shape;10208;p14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209" name="Google Shape;10209;p14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210" name="Google Shape;10210;p14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11" name="Google Shape;10211;p142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12" name="Google Shape;10212;p14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213" name="Google Shape;10213;p14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214" name="Google Shape;10214;p14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220.xml><?xml version="1.0" encoding="utf-8"?>
<p:sldLayout xmlns:a="http://schemas.openxmlformats.org/drawingml/2006/main" xmlns:r="http://schemas.openxmlformats.org/officeDocument/2006/relationships" xmlns:p="http://schemas.openxmlformats.org/presentationml/2006/main" type="obj" preserve="1">
  <p:cSld name="6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81511906"/>
      </p:ext>
    </p:extLst>
  </p:cSld>
  <p:clrMapOvr>
    <a:masterClrMapping/>
  </p:clrMapOvr>
</p:sldLayout>
</file>

<file path=ppt/slideLayouts/slideLayout1221.xml><?xml version="1.0" encoding="utf-8"?>
<p:sldLayout xmlns:a="http://schemas.openxmlformats.org/drawingml/2006/main" xmlns:r="http://schemas.openxmlformats.org/officeDocument/2006/relationships" xmlns:p="http://schemas.openxmlformats.org/presentationml/2006/main" type="obj" preserve="1">
  <p:cSld name="6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82607144"/>
      </p:ext>
    </p:extLst>
  </p:cSld>
  <p:clrMapOvr>
    <a:masterClrMapping/>
  </p:clrMapOvr>
</p:sldLayout>
</file>

<file path=ppt/slideLayouts/slideLayout1222.xml><?xml version="1.0" encoding="utf-8"?>
<p:sldLayout xmlns:a="http://schemas.openxmlformats.org/drawingml/2006/main" xmlns:r="http://schemas.openxmlformats.org/officeDocument/2006/relationships" xmlns:p="http://schemas.openxmlformats.org/presentationml/2006/main" type="obj" preserve="1">
  <p:cSld name="5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541460"/>
      </p:ext>
    </p:extLst>
  </p:cSld>
  <p:clrMapOvr>
    <a:masterClrMapping/>
  </p:clrMapOvr>
</p:sldLayout>
</file>

<file path=ppt/slideLayouts/slideLayout1223.xml><?xml version="1.0" encoding="utf-8"?>
<p:sldLayout xmlns:a="http://schemas.openxmlformats.org/drawingml/2006/main" xmlns:r="http://schemas.openxmlformats.org/officeDocument/2006/relationships" xmlns:p="http://schemas.openxmlformats.org/presentationml/2006/main" type="twoObj" preserve="1">
  <p:cSld name="2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83772587"/>
      </p:ext>
    </p:extLst>
  </p:cSld>
  <p:clrMapOvr>
    <a:masterClrMapping/>
  </p:clrMapOvr>
</p:sldLayout>
</file>

<file path=ppt/slideLayouts/slideLayout1224.xml><?xml version="1.0" encoding="utf-8"?>
<p:sldLayout xmlns:a="http://schemas.openxmlformats.org/drawingml/2006/main" xmlns:r="http://schemas.openxmlformats.org/officeDocument/2006/relationships" xmlns:p="http://schemas.openxmlformats.org/presentationml/2006/main" type="twoTxTwoObj" preserve="1">
  <p:cSld name="2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65208572"/>
      </p:ext>
    </p:extLst>
  </p:cSld>
  <p:clrMapOvr>
    <a:masterClrMapping/>
  </p:clrMapOvr>
</p:sldLayout>
</file>

<file path=ppt/slideLayouts/slideLayout1225.xml><?xml version="1.0" encoding="utf-8"?>
<p:sldLayout xmlns:a="http://schemas.openxmlformats.org/drawingml/2006/main" xmlns:r="http://schemas.openxmlformats.org/officeDocument/2006/relationships" xmlns:p="http://schemas.openxmlformats.org/presentationml/2006/main" type="twoTxTwoObj" preserve="1">
  <p:cSld name="2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85316982"/>
      </p:ext>
    </p:extLst>
  </p:cSld>
  <p:clrMapOvr>
    <a:masterClrMapping/>
  </p:clrMapOvr>
</p:sldLayout>
</file>

<file path=ppt/slideLayouts/slideLayout1226.xml><?xml version="1.0" encoding="utf-8"?>
<p:sldLayout xmlns:a="http://schemas.openxmlformats.org/drawingml/2006/main" xmlns:r="http://schemas.openxmlformats.org/officeDocument/2006/relationships" xmlns:p="http://schemas.openxmlformats.org/presentationml/2006/main" type="obj" preserve="1">
  <p:cSld name="6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16227601"/>
      </p:ext>
    </p:extLst>
  </p:cSld>
  <p:clrMapOvr>
    <a:masterClrMapping/>
  </p:clrMapOvr>
</p:sldLayout>
</file>

<file path=ppt/slideLayouts/slideLayout1227.xml><?xml version="1.0" encoding="utf-8"?>
<p:sldLayout xmlns:a="http://schemas.openxmlformats.org/drawingml/2006/main" xmlns:r="http://schemas.openxmlformats.org/officeDocument/2006/relationships" xmlns:p="http://schemas.openxmlformats.org/presentationml/2006/main" type="obj" preserve="1">
  <p:cSld name="6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21733728"/>
      </p:ext>
    </p:extLst>
  </p:cSld>
  <p:clrMapOvr>
    <a:masterClrMapping/>
  </p:clrMapOvr>
</p:sldLayout>
</file>

<file path=ppt/slideLayouts/slideLayout1228.xml><?xml version="1.0" encoding="utf-8"?>
<p:sldLayout xmlns:a="http://schemas.openxmlformats.org/drawingml/2006/main" xmlns:r="http://schemas.openxmlformats.org/officeDocument/2006/relationships" xmlns:p="http://schemas.openxmlformats.org/presentationml/2006/main" type="obj" preserve="1">
  <p:cSld name="10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19621271"/>
      </p:ext>
    </p:extLst>
  </p:cSld>
  <p:clrMapOvr>
    <a:masterClrMapping/>
  </p:clrMapOvr>
</p:sldLayout>
</file>

<file path=ppt/slideLayouts/slideLayout1229.xml><?xml version="1.0" encoding="utf-8"?>
<p:sldLayout xmlns:a="http://schemas.openxmlformats.org/drawingml/2006/main" xmlns:r="http://schemas.openxmlformats.org/officeDocument/2006/relationships" xmlns:p="http://schemas.openxmlformats.org/presentationml/2006/main" type="obj" preserve="1">
  <p:cSld name="10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6160288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matchingName="Two Content">
  <p:cSld name="Two Content 7">
    <p:spTree>
      <p:nvGrpSpPr>
        <p:cNvPr id="1" name="Shape 10215"/>
        <p:cNvGrpSpPr/>
        <p:nvPr/>
      </p:nvGrpSpPr>
      <p:grpSpPr>
        <a:xfrm>
          <a:off x="0" y="0"/>
          <a:ext cx="0" cy="0"/>
          <a:chOff x="0" y="0"/>
          <a:chExt cx="0" cy="0"/>
        </a:xfrm>
      </p:grpSpPr>
      <p:sp>
        <p:nvSpPr>
          <p:cNvPr id="10216" name="Google Shape;10216;p142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17" name="Google Shape;10217;p142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218" name="Google Shape;10218;p1427"/>
          <p:cNvGrpSpPr/>
          <p:nvPr/>
        </p:nvGrpSpPr>
        <p:grpSpPr>
          <a:xfrm>
            <a:off x="7191542" y="1"/>
            <a:ext cx="5000459" cy="1425992"/>
            <a:chOff x="7191542" y="1"/>
            <a:chExt cx="5000459" cy="1425992"/>
          </a:xfrm>
        </p:grpSpPr>
        <p:pic>
          <p:nvPicPr>
            <p:cNvPr id="10219" name="Google Shape;10219;p14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20" name="Google Shape;10220;p1427"/>
            <p:cNvGrpSpPr/>
            <p:nvPr/>
          </p:nvGrpSpPr>
          <p:grpSpPr>
            <a:xfrm>
              <a:off x="7191542" y="1"/>
              <a:ext cx="5000459" cy="1425992"/>
              <a:chOff x="7186272" y="0"/>
              <a:chExt cx="5005729" cy="1427495"/>
            </a:xfrm>
          </p:grpSpPr>
          <p:sp>
            <p:nvSpPr>
              <p:cNvPr id="10221" name="Google Shape;10221;p14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222" name="Google Shape;10222;p14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223" name="Google Shape;10223;p142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24" name="Google Shape;10224;p142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225" name="Google Shape;10225;p14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226" name="Google Shape;10226;p14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230.xml><?xml version="1.0" encoding="utf-8"?>
<p:sldLayout xmlns:a="http://schemas.openxmlformats.org/drawingml/2006/main" xmlns:r="http://schemas.openxmlformats.org/officeDocument/2006/relationships" xmlns:p="http://schemas.openxmlformats.org/presentationml/2006/main" type="obj" preserve="1">
  <p:cSld name="10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15501912"/>
      </p:ext>
    </p:extLst>
  </p:cSld>
  <p:clrMapOvr>
    <a:masterClrMapping/>
  </p:clrMapOvr>
</p:sldLayout>
</file>

<file path=ppt/slideLayouts/slideLayout1231.xml><?xml version="1.0" encoding="utf-8"?>
<p:sldLayout xmlns:a="http://schemas.openxmlformats.org/drawingml/2006/main" xmlns:r="http://schemas.openxmlformats.org/officeDocument/2006/relationships" xmlns:p="http://schemas.openxmlformats.org/presentationml/2006/main" showMasterSp="0" userDrawn="1">
  <p:cSld name="15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419984489"/>
      </p:ext>
    </p:extLst>
  </p:cSld>
  <p:clrMapOvr>
    <a:masterClrMapping/>
  </p:clrMapOvr>
</p:sldLayout>
</file>

<file path=ppt/slideLayouts/slideLayout1232.xml><?xml version="1.0" encoding="utf-8"?>
<p:sldLayout xmlns:a="http://schemas.openxmlformats.org/drawingml/2006/main" xmlns:r="http://schemas.openxmlformats.org/officeDocument/2006/relationships" xmlns:p="http://schemas.openxmlformats.org/presentationml/2006/main" type="obj" preserve="1">
  <p:cSld name="8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77150957"/>
      </p:ext>
    </p:extLst>
  </p:cSld>
  <p:clrMapOvr>
    <a:masterClrMapping/>
  </p:clrMapOvr>
</p:sldLayout>
</file>

<file path=ppt/slideLayouts/slideLayout1233.xml><?xml version="1.0" encoding="utf-8"?>
<p:sldLayout xmlns:a="http://schemas.openxmlformats.org/drawingml/2006/main" xmlns:r="http://schemas.openxmlformats.org/officeDocument/2006/relationships" xmlns:p="http://schemas.openxmlformats.org/presentationml/2006/main" type="obj" preserve="1">
  <p:cSld name="8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81612610"/>
      </p:ext>
    </p:extLst>
  </p:cSld>
  <p:clrMapOvr>
    <a:masterClrMapping/>
  </p:clrMapOvr>
</p:sldLayout>
</file>

<file path=ppt/slideLayouts/slideLayout1234.xml><?xml version="1.0" encoding="utf-8"?>
<p:sldLayout xmlns:a="http://schemas.openxmlformats.org/drawingml/2006/main" xmlns:r="http://schemas.openxmlformats.org/officeDocument/2006/relationships" xmlns:p="http://schemas.openxmlformats.org/presentationml/2006/main" type="obj" preserve="1">
  <p:cSld name="8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26534622"/>
      </p:ext>
    </p:extLst>
  </p:cSld>
  <p:clrMapOvr>
    <a:masterClrMapping/>
  </p:clrMapOvr>
</p:sldLayout>
</file>

<file path=ppt/slideLayouts/slideLayout1235.xml><?xml version="1.0" encoding="utf-8"?>
<p:sldLayout xmlns:a="http://schemas.openxmlformats.org/drawingml/2006/main" xmlns:r="http://schemas.openxmlformats.org/officeDocument/2006/relationships" xmlns:p="http://schemas.openxmlformats.org/presentationml/2006/main" preserve="1" userDrawn="1">
  <p:cSld name="4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162697746"/>
      </p:ext>
    </p:extLst>
  </p:cSld>
  <p:clrMapOvr>
    <a:masterClrMapping/>
  </p:clrMapOvr>
</p:sldLayout>
</file>

<file path=ppt/slideLayouts/slideLayout1236.xml><?xml version="1.0" encoding="utf-8"?>
<p:sldLayout xmlns:a="http://schemas.openxmlformats.org/drawingml/2006/main" xmlns:r="http://schemas.openxmlformats.org/officeDocument/2006/relationships" xmlns:p="http://schemas.openxmlformats.org/presentationml/2006/main" preserve="1" userDrawn="1">
  <p:cSld name="4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091656754"/>
      </p:ext>
    </p:extLst>
  </p:cSld>
  <p:clrMapOvr>
    <a:masterClrMapping/>
  </p:clrMapOvr>
</p:sldLayout>
</file>

<file path=ppt/slideLayouts/slideLayout1237.xml><?xml version="1.0" encoding="utf-8"?>
<p:sldLayout xmlns:a="http://schemas.openxmlformats.org/drawingml/2006/main" xmlns:r="http://schemas.openxmlformats.org/officeDocument/2006/relationships" xmlns:p="http://schemas.openxmlformats.org/presentationml/2006/main" preserve="1" userDrawn="1">
  <p:cSld name="3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863805349"/>
      </p:ext>
    </p:extLst>
  </p:cSld>
  <p:clrMapOvr>
    <a:masterClrMapping/>
  </p:clrMapOvr>
</p:sldLayout>
</file>

<file path=ppt/slideLayouts/slideLayout1238.xml><?xml version="1.0" encoding="utf-8"?>
<p:sldLayout xmlns:a="http://schemas.openxmlformats.org/drawingml/2006/main" xmlns:r="http://schemas.openxmlformats.org/officeDocument/2006/relationships" xmlns:p="http://schemas.openxmlformats.org/presentationml/2006/main" preserve="1" userDrawn="1">
  <p:cSld name="3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56980860"/>
      </p:ext>
    </p:extLst>
  </p:cSld>
  <p:clrMapOvr>
    <a:masterClrMapping/>
  </p:clrMapOvr>
</p:sldLayout>
</file>

<file path=ppt/slideLayouts/slideLayout1239.xml><?xml version="1.0" encoding="utf-8"?>
<p:sldLayout xmlns:a="http://schemas.openxmlformats.org/drawingml/2006/main" xmlns:r="http://schemas.openxmlformats.org/officeDocument/2006/relationships" xmlns:p="http://schemas.openxmlformats.org/presentationml/2006/main" preserve="1" userDrawn="1">
  <p:cSld name="3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35451688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matchingName="Comparison">
  <p:cSld name="Comparison 6">
    <p:spTree>
      <p:nvGrpSpPr>
        <p:cNvPr id="1" name="Shape 10227"/>
        <p:cNvGrpSpPr/>
        <p:nvPr/>
      </p:nvGrpSpPr>
      <p:grpSpPr>
        <a:xfrm>
          <a:off x="0" y="0"/>
          <a:ext cx="0" cy="0"/>
          <a:chOff x="0" y="0"/>
          <a:chExt cx="0" cy="0"/>
        </a:xfrm>
      </p:grpSpPr>
      <p:grpSp>
        <p:nvGrpSpPr>
          <p:cNvPr id="10228" name="Google Shape;10228;p1428"/>
          <p:cNvGrpSpPr/>
          <p:nvPr/>
        </p:nvGrpSpPr>
        <p:grpSpPr>
          <a:xfrm>
            <a:off x="7191542" y="1"/>
            <a:ext cx="5000459" cy="1425992"/>
            <a:chOff x="7191542" y="1"/>
            <a:chExt cx="5000459" cy="1425992"/>
          </a:xfrm>
        </p:grpSpPr>
        <p:pic>
          <p:nvPicPr>
            <p:cNvPr id="10229" name="Google Shape;10229;p14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30" name="Google Shape;10230;p1428"/>
            <p:cNvGrpSpPr/>
            <p:nvPr/>
          </p:nvGrpSpPr>
          <p:grpSpPr>
            <a:xfrm>
              <a:off x="7191542" y="1"/>
              <a:ext cx="5000459" cy="1425992"/>
              <a:chOff x="7186272" y="0"/>
              <a:chExt cx="5005729" cy="1427495"/>
            </a:xfrm>
          </p:grpSpPr>
          <p:sp>
            <p:nvSpPr>
              <p:cNvPr id="10231" name="Google Shape;10231;p14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232" name="Google Shape;10232;p14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233" name="Google Shape;10233;p142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34" name="Google Shape;10234;p142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235" name="Google Shape;10235;p142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36" name="Google Shape;10236;p142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237" name="Google Shape;10237;p142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38" name="Google Shape;10238;p14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239" name="Google Shape;10239;p14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240" name="Google Shape;10240;p14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240.xml><?xml version="1.0" encoding="utf-8"?>
<p:sldLayout xmlns:a="http://schemas.openxmlformats.org/drawingml/2006/main" xmlns:r="http://schemas.openxmlformats.org/officeDocument/2006/relationships" xmlns:p="http://schemas.openxmlformats.org/presentationml/2006/main" preserve="1" userDrawn="1">
  <p:cSld name="3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67301316"/>
      </p:ext>
    </p:extLst>
  </p:cSld>
  <p:clrMapOvr>
    <a:masterClrMapping/>
  </p:clrMapOvr>
</p:sldLayout>
</file>

<file path=ppt/slideLayouts/slideLayout1241.xml><?xml version="1.0" encoding="utf-8"?>
<p:sldLayout xmlns:a="http://schemas.openxmlformats.org/drawingml/2006/main" xmlns:r="http://schemas.openxmlformats.org/officeDocument/2006/relationships" xmlns:p="http://schemas.openxmlformats.org/presentationml/2006/main" preserve="1" userDrawn="1">
  <p:cSld name="3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746886844"/>
      </p:ext>
    </p:extLst>
  </p:cSld>
  <p:clrMapOvr>
    <a:masterClrMapping/>
  </p:clrMapOvr>
</p:sldLayout>
</file>

<file path=ppt/slideLayouts/slideLayout1242.xml><?xml version="1.0" encoding="utf-8"?>
<p:sldLayout xmlns:a="http://schemas.openxmlformats.org/drawingml/2006/main" xmlns:r="http://schemas.openxmlformats.org/officeDocument/2006/relationships" xmlns:p="http://schemas.openxmlformats.org/presentationml/2006/main" preserve="1" userDrawn="1">
  <p:cSld name="3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939906835"/>
      </p:ext>
    </p:extLst>
  </p:cSld>
  <p:clrMapOvr>
    <a:masterClrMapping/>
  </p:clrMapOvr>
</p:sldLayout>
</file>

<file path=ppt/slideLayouts/slideLayout1243.xml><?xml version="1.0" encoding="utf-8"?>
<p:sldLayout xmlns:a="http://schemas.openxmlformats.org/drawingml/2006/main" xmlns:r="http://schemas.openxmlformats.org/officeDocument/2006/relationships" xmlns:p="http://schemas.openxmlformats.org/presentationml/2006/main" preserve="1" userDrawn="1">
  <p:cSld name="3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90971446"/>
      </p:ext>
    </p:extLst>
  </p:cSld>
  <p:clrMapOvr>
    <a:masterClrMapping/>
  </p:clrMapOvr>
</p:sldLayout>
</file>

<file path=ppt/slideLayouts/slideLayout1244.xml><?xml version="1.0" encoding="utf-8"?>
<p:sldLayout xmlns:a="http://schemas.openxmlformats.org/drawingml/2006/main" xmlns:r="http://schemas.openxmlformats.org/officeDocument/2006/relationships" xmlns:p="http://schemas.openxmlformats.org/presentationml/2006/main" type="obj" preserve="1">
  <p:cSld name="14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0/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3091156409"/>
      </p:ext>
    </p:extLst>
  </p:cSld>
  <p:clrMapOvr>
    <a:masterClrMapping/>
  </p:clrMapOvr>
</p:sldLayout>
</file>

<file path=ppt/slideLayouts/slideLayout1245.xml><?xml version="1.0" encoding="utf-8"?>
<p:sldLayout xmlns:a="http://schemas.openxmlformats.org/drawingml/2006/main" xmlns:r="http://schemas.openxmlformats.org/officeDocument/2006/relationships" xmlns:p="http://schemas.openxmlformats.org/presentationml/2006/main" userDrawn="1">
  <p:cSld name="1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657580614"/>
      </p:ext>
    </p:extLst>
  </p:cSld>
  <p:clrMapOvr>
    <a:masterClrMapping/>
  </p:clrMapOvr>
</p:sldLayout>
</file>

<file path=ppt/slideLayouts/slideLayout1246.xml><?xml version="1.0" encoding="utf-8"?>
<p:sldLayout xmlns:a="http://schemas.openxmlformats.org/drawingml/2006/main" xmlns:r="http://schemas.openxmlformats.org/officeDocument/2006/relationships" xmlns:p="http://schemas.openxmlformats.org/presentationml/2006/main" userDrawn="1">
  <p:cSld name="4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53798155"/>
      </p:ext>
    </p:extLst>
  </p:cSld>
  <p:clrMapOvr>
    <a:masterClrMapping/>
  </p:clrMapOvr>
</p:sldLayout>
</file>

<file path=ppt/slideLayouts/slideLayout1247.xml><?xml version="1.0" encoding="utf-8"?>
<p:sldLayout xmlns:a="http://schemas.openxmlformats.org/drawingml/2006/main" xmlns:r="http://schemas.openxmlformats.org/officeDocument/2006/relationships" xmlns:p="http://schemas.openxmlformats.org/presentationml/2006/main" type="obj" preserve="1">
  <p:cSld name="12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0/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1419406396"/>
      </p:ext>
    </p:extLst>
  </p:cSld>
  <p:clrMapOvr>
    <a:masterClrMapping/>
  </p:clrMapOvr>
</p:sldLayout>
</file>

<file path=ppt/slideLayouts/slideLayout1248.xml><?xml version="1.0" encoding="utf-8"?>
<p:sldLayout xmlns:a="http://schemas.openxmlformats.org/drawingml/2006/main" xmlns:r="http://schemas.openxmlformats.org/officeDocument/2006/relationships" xmlns:p="http://schemas.openxmlformats.org/presentationml/2006/main" preserve="1" userDrawn="1">
  <p:cSld name="3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786544765"/>
      </p:ext>
    </p:extLst>
  </p:cSld>
  <p:clrMapOvr>
    <a:masterClrMapping/>
  </p:clrMapOvr>
</p:sldLayout>
</file>

<file path=ppt/slideLayouts/slideLayout1249.xml><?xml version="1.0" encoding="utf-8"?>
<p:sldLayout xmlns:a="http://schemas.openxmlformats.org/drawingml/2006/main" xmlns:r="http://schemas.openxmlformats.org/officeDocument/2006/relationships" xmlns:p="http://schemas.openxmlformats.org/presentationml/2006/main" preserve="1" userDrawn="1">
  <p:cSld name="3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28572858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Photo Slide">
  <p:cSld name="Photo Slide 8">
    <p:spTree>
      <p:nvGrpSpPr>
        <p:cNvPr id="1" name="Shape 10241"/>
        <p:cNvGrpSpPr/>
        <p:nvPr/>
      </p:nvGrpSpPr>
      <p:grpSpPr>
        <a:xfrm>
          <a:off x="0" y="0"/>
          <a:ext cx="0" cy="0"/>
          <a:chOff x="0" y="0"/>
          <a:chExt cx="0" cy="0"/>
        </a:xfrm>
      </p:grpSpPr>
      <p:sp>
        <p:nvSpPr>
          <p:cNvPr id="10242" name="Google Shape;10242;p142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243" name="Google Shape;10243;p142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244" name="Google Shape;10244;p1429"/>
          <p:cNvGrpSpPr/>
          <p:nvPr/>
        </p:nvGrpSpPr>
        <p:grpSpPr>
          <a:xfrm>
            <a:off x="0" y="5379426"/>
            <a:ext cx="2807368" cy="753891"/>
            <a:chOff x="0" y="5379426"/>
            <a:chExt cx="2807368" cy="753891"/>
          </a:xfrm>
        </p:grpSpPr>
        <p:sp>
          <p:nvSpPr>
            <p:cNvPr id="10245" name="Google Shape;10245;p142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246" name="Google Shape;10246;p142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0247" name="Google Shape;10247;p1429"/>
          <p:cNvSpPr>
            <a:spLocks noGrp="1"/>
          </p:cNvSpPr>
          <p:nvPr>
            <p:ph type="pic" idx="2"/>
          </p:nvPr>
        </p:nvSpPr>
        <p:spPr>
          <a:xfrm>
            <a:off x="2807368" y="457202"/>
            <a:ext cx="8915400" cy="5943598"/>
          </a:xfrm>
          <a:prstGeom prst="rect">
            <a:avLst/>
          </a:prstGeom>
          <a:noFill/>
          <a:ln>
            <a:noFill/>
          </a:ln>
        </p:spPr>
      </p:sp>
      <p:pic>
        <p:nvPicPr>
          <p:cNvPr id="10248" name="Google Shape;10248;p142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250.xml><?xml version="1.0" encoding="utf-8"?>
<p:sldLayout xmlns:a="http://schemas.openxmlformats.org/drawingml/2006/main" xmlns:r="http://schemas.openxmlformats.org/officeDocument/2006/relationships" xmlns:p="http://schemas.openxmlformats.org/presentationml/2006/main" preserve="1" userDrawn="1">
  <p:cSld name="2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868498239"/>
      </p:ext>
    </p:extLst>
  </p:cSld>
  <p:clrMapOvr>
    <a:masterClrMapping/>
  </p:clrMapOvr>
</p:sldLayout>
</file>

<file path=ppt/slideLayouts/slideLayout1251.xml><?xml version="1.0" encoding="utf-8"?>
<p:sldLayout xmlns:a="http://schemas.openxmlformats.org/drawingml/2006/main" xmlns:r="http://schemas.openxmlformats.org/officeDocument/2006/relationships" xmlns:p="http://schemas.openxmlformats.org/presentationml/2006/main" userDrawn="1">
  <p:cSld name="7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836901857"/>
      </p:ext>
    </p:extLst>
  </p:cSld>
  <p:clrMapOvr>
    <a:masterClrMapping/>
  </p:clrMapOvr>
</p:sldLayout>
</file>

<file path=ppt/slideLayouts/slideLayout1252.xml><?xml version="1.0" encoding="utf-8"?>
<p:sldLayout xmlns:a="http://schemas.openxmlformats.org/drawingml/2006/main" xmlns:r="http://schemas.openxmlformats.org/officeDocument/2006/relationships" xmlns:p="http://schemas.openxmlformats.org/presentationml/2006/main" userDrawn="1">
  <p:cSld name="6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773416564"/>
      </p:ext>
    </p:extLst>
  </p:cSld>
  <p:clrMapOvr>
    <a:masterClrMapping/>
  </p:clrMapOvr>
</p:sldLayout>
</file>

<file path=ppt/slideLayouts/slideLayout1253.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113001559"/>
      </p:ext>
    </p:extLst>
  </p:cSld>
  <p:clrMapOvr>
    <a:masterClrMapping/>
  </p:clrMapOvr>
</p:sldLayout>
</file>

<file path=ppt/slideLayouts/slideLayout1254.xml><?xml version="1.0" encoding="utf-8"?>
<p:sldLayout xmlns:a="http://schemas.openxmlformats.org/drawingml/2006/main" xmlns:r="http://schemas.openxmlformats.org/officeDocument/2006/relationships" xmlns:p="http://schemas.openxmlformats.org/presentationml/2006/main" type="titleOnly" preserve="1">
  <p:cSld name="2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1906427"/>
      </p:ext>
    </p:extLst>
  </p:cSld>
  <p:clrMapOvr>
    <a:masterClrMapping/>
  </p:clrMapOvr>
</p:sldLayout>
</file>

<file path=ppt/slideLayouts/slideLayout1255.xml><?xml version="1.0" encoding="utf-8"?>
<p:sldLayout xmlns:a="http://schemas.openxmlformats.org/drawingml/2006/main" xmlns:r="http://schemas.openxmlformats.org/officeDocument/2006/relationships" xmlns:p="http://schemas.openxmlformats.org/presentationml/2006/main" preserve="1" userDrawn="1">
  <p:cSld name="2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29376422"/>
      </p:ext>
    </p:extLst>
  </p:cSld>
  <p:clrMapOvr>
    <a:masterClrMapping/>
  </p:clrMapOvr>
</p:sldLayout>
</file>

<file path=ppt/slideLayouts/slideLayout1256.xml><?xml version="1.0" encoding="utf-8"?>
<p:sldLayout xmlns:a="http://schemas.openxmlformats.org/drawingml/2006/main" xmlns:r="http://schemas.openxmlformats.org/officeDocument/2006/relationships" xmlns:p="http://schemas.openxmlformats.org/presentationml/2006/main" type="blank" preserve="1">
  <p:cSld name="2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400776053"/>
      </p:ext>
    </p:extLst>
  </p:cSld>
  <p:clrMapOvr>
    <a:masterClrMapping/>
  </p:clrMapOvr>
</p:sldLayout>
</file>

<file path=ppt/slideLayouts/slideLayout1257.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88966461"/>
      </p:ext>
    </p:extLst>
  </p:cSld>
  <p:clrMapOvr>
    <a:masterClrMapping/>
  </p:clrMapOvr>
</p:sldLayout>
</file>

<file path=ppt/slideLayouts/slideLayout1258.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685656990"/>
      </p:ext>
    </p:extLst>
  </p:cSld>
  <p:clrMapOvr>
    <a:masterClrMapping/>
  </p:clrMapOvr>
</p:sldLayout>
</file>

<file path=ppt/slideLayouts/slideLayout1259.xml><?xml version="1.0" encoding="utf-8"?>
<p:sldLayout xmlns:a="http://schemas.openxmlformats.org/drawingml/2006/main" xmlns:r="http://schemas.openxmlformats.org/officeDocument/2006/relationships" xmlns:p="http://schemas.openxmlformats.org/presentationml/2006/main" userDrawn="1">
  <p:cSld name="3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225356685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End">
  <p:cSld name="End 7">
    <p:spTree>
      <p:nvGrpSpPr>
        <p:cNvPr id="1" name="Shape 10249"/>
        <p:cNvGrpSpPr/>
        <p:nvPr/>
      </p:nvGrpSpPr>
      <p:grpSpPr>
        <a:xfrm>
          <a:off x="0" y="0"/>
          <a:ext cx="0" cy="0"/>
          <a:chOff x="0" y="0"/>
          <a:chExt cx="0" cy="0"/>
        </a:xfrm>
      </p:grpSpPr>
      <p:grpSp>
        <p:nvGrpSpPr>
          <p:cNvPr id="10250" name="Google Shape;10250;p1430"/>
          <p:cNvGrpSpPr/>
          <p:nvPr/>
        </p:nvGrpSpPr>
        <p:grpSpPr>
          <a:xfrm>
            <a:off x="0" y="0"/>
            <a:ext cx="12192000" cy="2148830"/>
            <a:chOff x="0" y="0"/>
            <a:chExt cx="12192000" cy="2148830"/>
          </a:xfrm>
        </p:grpSpPr>
        <p:sp>
          <p:nvSpPr>
            <p:cNvPr id="10251" name="Google Shape;10251;p143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252" name="Google Shape;10252;p143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0253" name="Google Shape;10253;p143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254" name="Google Shape;10254;p143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55" name="Google Shape;10255;p143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0256" name="Google Shape;10256;p143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257" name="Google Shape;10257;p143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260.xml><?xml version="1.0" encoding="utf-8"?>
<p:sldLayout xmlns:a="http://schemas.openxmlformats.org/drawingml/2006/main" xmlns:r="http://schemas.openxmlformats.org/officeDocument/2006/relationships" xmlns:p="http://schemas.openxmlformats.org/presentationml/2006/main" userDrawn="1">
  <p:cSld name="54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6223741"/>
      </p:ext>
    </p:extLst>
  </p:cSld>
  <p:clrMapOvr>
    <a:masterClrMapping/>
  </p:clrMapOvr>
</p:sldLayout>
</file>

<file path=ppt/slideLayouts/slideLayout1261.xml><?xml version="1.0" encoding="utf-8"?>
<p:sldLayout xmlns:a="http://schemas.openxmlformats.org/drawingml/2006/main" xmlns:r="http://schemas.openxmlformats.org/officeDocument/2006/relationships" xmlns:p="http://schemas.openxmlformats.org/presentationml/2006/main" userDrawn="1">
  <p:cSld name="2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588214122"/>
      </p:ext>
    </p:extLst>
  </p:cSld>
  <p:clrMapOvr>
    <a:masterClrMapping/>
  </p:clrMapOvr>
</p:sldLayout>
</file>

<file path=ppt/slideLayouts/slideLayout1262.xml><?xml version="1.0" encoding="utf-8"?>
<p:sldLayout xmlns:a="http://schemas.openxmlformats.org/drawingml/2006/main" xmlns:r="http://schemas.openxmlformats.org/officeDocument/2006/relationships" xmlns:p="http://schemas.openxmlformats.org/presentationml/2006/main" showMasterSp="0" userDrawn="1">
  <p:cSld name="3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0071861"/>
      </p:ext>
    </p:extLst>
  </p:cSld>
  <p:clrMapOvr>
    <a:masterClrMapping/>
  </p:clrMapOvr>
</p:sldLayout>
</file>

<file path=ppt/slideLayouts/slideLayout126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26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26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26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2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26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26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matchingName="Blank">
  <p:cSld name="Blank 5">
    <p:spTree>
      <p:nvGrpSpPr>
        <p:cNvPr id="1" name="Shape 10258"/>
        <p:cNvGrpSpPr/>
        <p:nvPr/>
      </p:nvGrpSpPr>
      <p:grpSpPr>
        <a:xfrm>
          <a:off x="0" y="0"/>
          <a:ext cx="0" cy="0"/>
          <a:chOff x="0" y="0"/>
          <a:chExt cx="0" cy="0"/>
        </a:xfrm>
      </p:grpSpPr>
      <p:sp>
        <p:nvSpPr>
          <p:cNvPr id="10259" name="Google Shape;10259;p14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260" name="Google Shape;10260;p14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261" name="Google Shape;10261;p14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262" name="Google Shape;10262;p1431"/>
          <p:cNvGrpSpPr/>
          <p:nvPr/>
        </p:nvGrpSpPr>
        <p:grpSpPr>
          <a:xfrm>
            <a:off x="7191542" y="1"/>
            <a:ext cx="5000459" cy="1425992"/>
            <a:chOff x="7191542" y="1"/>
            <a:chExt cx="5000459" cy="1425992"/>
          </a:xfrm>
        </p:grpSpPr>
        <p:pic>
          <p:nvPicPr>
            <p:cNvPr id="10263" name="Google Shape;10263;p14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64" name="Google Shape;10264;p1431"/>
            <p:cNvGrpSpPr/>
            <p:nvPr/>
          </p:nvGrpSpPr>
          <p:grpSpPr>
            <a:xfrm>
              <a:off x="7191542" y="1"/>
              <a:ext cx="5000459" cy="1425992"/>
              <a:chOff x="7186272" y="0"/>
              <a:chExt cx="5005729" cy="1427495"/>
            </a:xfrm>
          </p:grpSpPr>
          <p:sp>
            <p:nvSpPr>
              <p:cNvPr id="10265" name="Google Shape;10265;p14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266" name="Google Shape;10266;p14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2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271.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20498982"/>
      </p:ext>
    </p:extLst>
  </p:cSld>
  <p:clrMapOvr>
    <a:masterClrMapping/>
  </p:clrMapOvr>
</p:sldLayout>
</file>

<file path=ppt/slideLayouts/slideLayout12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273.xml><?xml version="1.0" encoding="utf-8"?>
<p:sldLayout xmlns:a="http://schemas.openxmlformats.org/drawingml/2006/main" xmlns:r="http://schemas.openxmlformats.org/officeDocument/2006/relationships" xmlns:p="http://schemas.openxmlformats.org/presentationml/2006/main" preserve="1" userDrawn="1">
  <p:cSld name="1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52515394"/>
      </p:ext>
    </p:extLst>
  </p:cSld>
  <p:clrMapOvr>
    <a:masterClrMapping/>
  </p:clrMapOvr>
</p:sldLayout>
</file>

<file path=ppt/slideLayouts/slideLayout1274.xml><?xml version="1.0" encoding="utf-8"?>
<p:sldLayout xmlns:a="http://schemas.openxmlformats.org/drawingml/2006/main" xmlns:r="http://schemas.openxmlformats.org/officeDocument/2006/relationships" xmlns:p="http://schemas.openxmlformats.org/presentationml/2006/main" preserve="1" userDrawn="1">
  <p:cSld name="1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91122898"/>
      </p:ext>
    </p:extLst>
  </p:cSld>
  <p:clrMapOvr>
    <a:masterClrMapping/>
  </p:clrMapOvr>
</p:sldLayout>
</file>

<file path=ppt/slideLayouts/slideLayout1275.xml><?xml version="1.0" encoding="utf-8"?>
<p:sldLayout xmlns:a="http://schemas.openxmlformats.org/drawingml/2006/main" xmlns:r="http://schemas.openxmlformats.org/officeDocument/2006/relationships" xmlns:p="http://schemas.openxmlformats.org/presentationml/2006/main" preserve="1" userDrawn="1">
  <p:cSld name="1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67275633"/>
      </p:ext>
    </p:extLst>
  </p:cSld>
  <p:clrMapOvr>
    <a:masterClrMapping/>
  </p:clrMapOvr>
</p:sldLayout>
</file>

<file path=ppt/slideLayouts/slideLayout1276.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29663998"/>
      </p:ext>
    </p:extLst>
  </p:cSld>
  <p:clrMapOvr>
    <a:masterClrMapping/>
  </p:clrMapOvr>
</p:sldLayout>
</file>

<file path=ppt/slideLayouts/slideLayout1277.xml><?xml version="1.0" encoding="utf-8"?>
<p:sldLayout xmlns:a="http://schemas.openxmlformats.org/drawingml/2006/main" xmlns:r="http://schemas.openxmlformats.org/officeDocument/2006/relationships" xmlns:p="http://schemas.openxmlformats.org/presentationml/2006/main" type="obj" preserve="1">
  <p:cSld name="1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7079727"/>
      </p:ext>
    </p:extLst>
  </p:cSld>
  <p:clrMapOvr>
    <a:masterClrMapping/>
  </p:clrMapOvr>
</p:sldLayout>
</file>

<file path=ppt/slideLayouts/slideLayout1278.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689232"/>
      </p:ext>
    </p:extLst>
  </p:cSld>
  <p:clrMapOvr>
    <a:masterClrMapping/>
  </p:clrMapOvr>
</p:sldLayout>
</file>

<file path=ppt/slideLayouts/slideLayout1279.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6554592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matchingName="Title Only">
  <p:cSld name="Title Only 6">
    <p:spTree>
      <p:nvGrpSpPr>
        <p:cNvPr id="1" name="Shape 10267"/>
        <p:cNvGrpSpPr/>
        <p:nvPr/>
      </p:nvGrpSpPr>
      <p:grpSpPr>
        <a:xfrm>
          <a:off x="0" y="0"/>
          <a:ext cx="0" cy="0"/>
          <a:chOff x="0" y="0"/>
          <a:chExt cx="0" cy="0"/>
        </a:xfrm>
      </p:grpSpPr>
      <p:grpSp>
        <p:nvGrpSpPr>
          <p:cNvPr id="10268" name="Google Shape;10268;p1432"/>
          <p:cNvGrpSpPr/>
          <p:nvPr/>
        </p:nvGrpSpPr>
        <p:grpSpPr>
          <a:xfrm>
            <a:off x="7191542" y="1"/>
            <a:ext cx="5000459" cy="1425992"/>
            <a:chOff x="7191542" y="1"/>
            <a:chExt cx="5000459" cy="1425992"/>
          </a:xfrm>
        </p:grpSpPr>
        <p:pic>
          <p:nvPicPr>
            <p:cNvPr id="10269" name="Google Shape;10269;p14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70" name="Google Shape;10270;p1432"/>
            <p:cNvGrpSpPr/>
            <p:nvPr/>
          </p:nvGrpSpPr>
          <p:grpSpPr>
            <a:xfrm>
              <a:off x="7191542" y="1"/>
              <a:ext cx="5000459" cy="1425992"/>
              <a:chOff x="7186272" y="0"/>
              <a:chExt cx="5005729" cy="1427495"/>
            </a:xfrm>
          </p:grpSpPr>
          <p:sp>
            <p:nvSpPr>
              <p:cNvPr id="10271" name="Google Shape;10271;p14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272" name="Google Shape;10272;p14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273" name="Google Shape;10273;p143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74" name="Google Shape;10274;p14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275" name="Google Shape;10275;p14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276" name="Google Shape;10276;p14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280.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3839711"/>
      </p:ext>
    </p:extLst>
  </p:cSld>
  <p:clrMapOvr>
    <a:masterClrMapping/>
  </p:clrMapOvr>
</p:sldLayout>
</file>

<file path=ppt/slideLayouts/slideLayout1281.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52961831"/>
      </p:ext>
    </p:extLst>
  </p:cSld>
  <p:clrMapOvr>
    <a:masterClrMapping/>
  </p:clrMapOvr>
</p:sldLayout>
</file>

<file path=ppt/slideLayouts/slideLayout1282.xml><?xml version="1.0" encoding="utf-8"?>
<p:sldLayout xmlns:a="http://schemas.openxmlformats.org/drawingml/2006/main" xmlns:r="http://schemas.openxmlformats.org/officeDocument/2006/relationships" xmlns:p="http://schemas.openxmlformats.org/presentationml/2006/main" type="blank" preserve="1">
  <p:cSld name="1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923137105"/>
      </p:ext>
    </p:extLst>
  </p:cSld>
  <p:clrMapOvr>
    <a:masterClrMapping/>
  </p:clrMapOvr>
</p:sldLayout>
</file>

<file path=ppt/slideLayouts/slideLayout128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5/20/2026</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728347992"/>
      </p:ext>
    </p:extLst>
  </p:cSld>
  <p:clrMapOvr>
    <a:masterClrMapping/>
  </p:clrMapOvr>
</p:sldLayout>
</file>

<file path=ppt/slideLayouts/slideLayout1284.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5/20/2026</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229018680"/>
      </p:ext>
    </p:extLst>
  </p:cSld>
  <p:clrMapOvr>
    <a:masterClrMapping/>
  </p:clrMapOvr>
</p:sldLayout>
</file>

<file path=ppt/slideLayouts/slideLayout1285.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004098175"/>
      </p:ext>
    </p:extLst>
  </p:cSld>
  <p:clrMapOvr>
    <a:masterClrMapping/>
  </p:clrMapOvr>
</p:sldLayout>
</file>

<file path=ppt/slideLayouts/slideLayout128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260339463"/>
      </p:ext>
    </p:extLst>
  </p:cSld>
  <p:clrMapOvr>
    <a:masterClrMapping/>
  </p:clrMapOvr>
</p:sldLayout>
</file>

<file path=ppt/slideLayouts/slideLayout1287.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934119624"/>
      </p:ext>
    </p:extLst>
  </p:cSld>
  <p:clrMapOvr>
    <a:masterClrMapping/>
  </p:clrMapOvr>
</p:sldLayout>
</file>

<file path=ppt/slideLayouts/slideLayout1288.xml><?xml version="1.0" encoding="utf-8"?>
<p:sldLayout xmlns:a="http://schemas.openxmlformats.org/drawingml/2006/main" xmlns:r="http://schemas.openxmlformats.org/officeDocument/2006/relationships" xmlns:p="http://schemas.openxmlformats.org/presentationml/2006/main" showMasterSp="0" userDrawn="1">
  <p:cSld name="4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65509824"/>
      </p:ext>
    </p:extLst>
  </p:cSld>
  <p:clrMapOvr>
    <a:masterClrMapping/>
  </p:clrMapOvr>
</p:sldLayout>
</file>

<file path=ppt/slideLayouts/slideLayout1289.xml><?xml version="1.0" encoding="utf-8"?>
<p:sldLayout xmlns:a="http://schemas.openxmlformats.org/drawingml/2006/main" xmlns:r="http://schemas.openxmlformats.org/officeDocument/2006/relationships" xmlns:p="http://schemas.openxmlformats.org/presentationml/2006/main" showMasterSp="0" userDrawn="1">
  <p:cSld name="5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41226795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matchingName="Cover B">
  <p:cSld name="Cover B 2">
    <p:spTree>
      <p:nvGrpSpPr>
        <p:cNvPr id="1" name="Shape 10277"/>
        <p:cNvGrpSpPr/>
        <p:nvPr/>
      </p:nvGrpSpPr>
      <p:grpSpPr>
        <a:xfrm>
          <a:off x="0" y="0"/>
          <a:ext cx="0" cy="0"/>
          <a:chOff x="0" y="0"/>
          <a:chExt cx="0" cy="0"/>
        </a:xfrm>
      </p:grpSpPr>
      <p:sp>
        <p:nvSpPr>
          <p:cNvPr id="10278" name="Google Shape;10278;p1433"/>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79" name="Google Shape;10279;p1433"/>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0280" name="Google Shape;10280;p1433"/>
          <p:cNvGrpSpPr/>
          <p:nvPr/>
        </p:nvGrpSpPr>
        <p:grpSpPr>
          <a:xfrm flipH="1">
            <a:off x="-1" y="1"/>
            <a:ext cx="6418725" cy="1509822"/>
            <a:chOff x="7522541" y="1"/>
            <a:chExt cx="4669459" cy="1098357"/>
          </a:xfrm>
        </p:grpSpPr>
        <p:sp>
          <p:nvSpPr>
            <p:cNvPr id="10281" name="Google Shape;10281;p1433"/>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282" name="Google Shape;10282;p1433"/>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10283" name="Google Shape;10283;p143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1290.xml><?xml version="1.0" encoding="utf-8"?>
<p:sldLayout xmlns:a="http://schemas.openxmlformats.org/drawingml/2006/main" xmlns:r="http://schemas.openxmlformats.org/officeDocument/2006/relationships" xmlns:p="http://schemas.openxmlformats.org/presentationml/2006/main" type="obj" preserve="1">
  <p:cSld name="6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65020858"/>
      </p:ext>
    </p:extLst>
  </p:cSld>
  <p:clrMapOvr>
    <a:masterClrMapping/>
  </p:clrMapOvr>
</p:sldLayout>
</file>

<file path=ppt/slideLayouts/slideLayout1291.xml><?xml version="1.0" encoding="utf-8"?>
<p:sldLayout xmlns:a="http://schemas.openxmlformats.org/drawingml/2006/main" xmlns:r="http://schemas.openxmlformats.org/officeDocument/2006/relationships" xmlns:p="http://schemas.openxmlformats.org/presentationml/2006/main" type="obj" preserve="1">
  <p:cSld name="6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77706615"/>
      </p:ext>
    </p:extLst>
  </p:cSld>
  <p:clrMapOvr>
    <a:masterClrMapping/>
  </p:clrMapOvr>
</p:sldLayout>
</file>

<file path=ppt/slideLayouts/slideLayout1292.xml><?xml version="1.0" encoding="utf-8"?>
<p:sldLayout xmlns:a="http://schemas.openxmlformats.org/drawingml/2006/main" xmlns:r="http://schemas.openxmlformats.org/officeDocument/2006/relationships" xmlns:p="http://schemas.openxmlformats.org/presentationml/2006/main" preserve="1" userDrawn="1">
  <p:cSld name="3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42911465"/>
      </p:ext>
    </p:extLst>
  </p:cSld>
  <p:clrMapOvr>
    <a:masterClrMapping/>
  </p:clrMapOvr>
</p:sldLayout>
</file>

<file path=ppt/slideLayouts/slideLayout1293.xml><?xml version="1.0" encoding="utf-8"?>
<p:sldLayout xmlns:a="http://schemas.openxmlformats.org/drawingml/2006/main" xmlns:r="http://schemas.openxmlformats.org/officeDocument/2006/relationships" xmlns:p="http://schemas.openxmlformats.org/presentationml/2006/main" preserve="1" userDrawn="1">
  <p:cSld name="3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604813"/>
      </p:ext>
    </p:extLst>
  </p:cSld>
  <p:clrMapOvr>
    <a:masterClrMapping/>
  </p:clrMapOvr>
</p:sldLayout>
</file>

<file path=ppt/slideLayouts/slideLayout1294.xml><?xml version="1.0" encoding="utf-8"?>
<p:sldLayout xmlns:a="http://schemas.openxmlformats.org/drawingml/2006/main" xmlns:r="http://schemas.openxmlformats.org/officeDocument/2006/relationships" xmlns:p="http://schemas.openxmlformats.org/presentationml/2006/main" preserve="1" userDrawn="1">
  <p:cSld name="3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135525988"/>
      </p:ext>
    </p:extLst>
  </p:cSld>
  <p:clrMapOvr>
    <a:masterClrMapping/>
  </p:clrMapOvr>
</p:sldLayout>
</file>

<file path=ppt/slideLayouts/slideLayout1295.xml><?xml version="1.0" encoding="utf-8"?>
<p:sldLayout xmlns:a="http://schemas.openxmlformats.org/drawingml/2006/main" xmlns:r="http://schemas.openxmlformats.org/officeDocument/2006/relationships" xmlns:p="http://schemas.openxmlformats.org/presentationml/2006/main" type="obj" preserve="1">
  <p:cSld name="6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42533415"/>
      </p:ext>
    </p:extLst>
  </p:cSld>
  <p:clrMapOvr>
    <a:masterClrMapping/>
  </p:clrMapOvr>
</p:sldLayout>
</file>

<file path=ppt/slideLayouts/slideLayout1296.xml><?xml version="1.0" encoding="utf-8"?>
<p:sldLayout xmlns:a="http://schemas.openxmlformats.org/drawingml/2006/main" xmlns:r="http://schemas.openxmlformats.org/officeDocument/2006/relationships" xmlns:p="http://schemas.openxmlformats.org/presentationml/2006/main" type="obj" preserve="1">
  <p:cSld name="6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79627110"/>
      </p:ext>
    </p:extLst>
  </p:cSld>
  <p:clrMapOvr>
    <a:masterClrMapping/>
  </p:clrMapOvr>
</p:sldLayout>
</file>

<file path=ppt/slideLayouts/slideLayout1297.xml><?xml version="1.0" encoding="utf-8"?>
<p:sldLayout xmlns:a="http://schemas.openxmlformats.org/drawingml/2006/main" xmlns:r="http://schemas.openxmlformats.org/officeDocument/2006/relationships" xmlns:p="http://schemas.openxmlformats.org/presentationml/2006/main" type="obj" preserve="1">
  <p:cSld name="5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62243730"/>
      </p:ext>
    </p:extLst>
  </p:cSld>
  <p:clrMapOvr>
    <a:masterClrMapping/>
  </p:clrMapOvr>
</p:sldLayout>
</file>

<file path=ppt/slideLayouts/slideLayout1298.xml><?xml version="1.0" encoding="utf-8"?>
<p:sldLayout xmlns:a="http://schemas.openxmlformats.org/drawingml/2006/main" xmlns:r="http://schemas.openxmlformats.org/officeDocument/2006/relationships" xmlns:p="http://schemas.openxmlformats.org/presentationml/2006/main" type="twoObj" preserve="1">
  <p:cSld name="3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05059174"/>
      </p:ext>
    </p:extLst>
  </p:cSld>
  <p:clrMapOvr>
    <a:masterClrMapping/>
  </p:clrMapOvr>
</p:sldLayout>
</file>

<file path=ppt/slideLayouts/slideLayout1299.xml><?xml version="1.0" encoding="utf-8"?>
<p:sldLayout xmlns:a="http://schemas.openxmlformats.org/drawingml/2006/main" xmlns:r="http://schemas.openxmlformats.org/officeDocument/2006/relationships" xmlns:p="http://schemas.openxmlformats.org/presentationml/2006/main" type="twoTxTwoObj" preserve="1">
  <p:cSld name="2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921249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9042"/>
        <p:cNvGrpSpPr/>
        <p:nvPr/>
      </p:nvGrpSpPr>
      <p:grpSpPr>
        <a:xfrm>
          <a:off x="0" y="0"/>
          <a:ext cx="0" cy="0"/>
          <a:chOff x="0" y="0"/>
          <a:chExt cx="0" cy="0"/>
        </a:xfrm>
      </p:grpSpPr>
      <p:sp>
        <p:nvSpPr>
          <p:cNvPr id="9043" name="Google Shape;9043;p2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044" name="Google Shape;9044;p2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45" name="Google Shape;9045;p2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046" name="Google Shape;9046;p282"/>
          <p:cNvGrpSpPr/>
          <p:nvPr/>
        </p:nvGrpSpPr>
        <p:grpSpPr>
          <a:xfrm>
            <a:off x="7191542" y="1"/>
            <a:ext cx="5000459" cy="1425992"/>
            <a:chOff x="7191542" y="1"/>
            <a:chExt cx="5000459" cy="1425992"/>
          </a:xfrm>
        </p:grpSpPr>
        <p:pic>
          <p:nvPicPr>
            <p:cNvPr id="9047" name="Google Shape;9047;p2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048" name="Google Shape;9048;p282"/>
            <p:cNvGrpSpPr/>
            <p:nvPr/>
          </p:nvGrpSpPr>
          <p:grpSpPr>
            <a:xfrm>
              <a:off x="7191542" y="1"/>
              <a:ext cx="5000459" cy="1425992"/>
              <a:chOff x="7186272" y="0"/>
              <a:chExt cx="5005729" cy="1427495"/>
            </a:xfrm>
          </p:grpSpPr>
          <p:sp>
            <p:nvSpPr>
              <p:cNvPr id="9049" name="Google Shape;9049;p2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050" name="Google Shape;9050;p2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matchingName="Quotation">
  <p:cSld name="Quotation 12">
    <p:spTree>
      <p:nvGrpSpPr>
        <p:cNvPr id="1" name="Shape 10284"/>
        <p:cNvGrpSpPr/>
        <p:nvPr/>
      </p:nvGrpSpPr>
      <p:grpSpPr>
        <a:xfrm>
          <a:off x="0" y="0"/>
          <a:ext cx="0" cy="0"/>
          <a:chOff x="0" y="0"/>
          <a:chExt cx="0" cy="0"/>
        </a:xfrm>
      </p:grpSpPr>
      <p:sp>
        <p:nvSpPr>
          <p:cNvPr id="10285" name="Google Shape;10285;p143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286" name="Google Shape;10286;p143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87" name="Google Shape;10287;p143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88" name="Google Shape;10288;p14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289" name="Google Shape;10289;p14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290" name="Google Shape;10290;p14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291" name="Google Shape;10291;p1434"/>
          <p:cNvGrpSpPr/>
          <p:nvPr/>
        </p:nvGrpSpPr>
        <p:grpSpPr>
          <a:xfrm>
            <a:off x="7191542" y="1"/>
            <a:ext cx="5000459" cy="1425992"/>
            <a:chOff x="7191542" y="1"/>
            <a:chExt cx="5000459" cy="1425992"/>
          </a:xfrm>
        </p:grpSpPr>
        <p:pic>
          <p:nvPicPr>
            <p:cNvPr id="10292" name="Google Shape;10292;p14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93" name="Google Shape;10293;p1434"/>
            <p:cNvGrpSpPr/>
            <p:nvPr/>
          </p:nvGrpSpPr>
          <p:grpSpPr>
            <a:xfrm>
              <a:off x="7191542" y="1"/>
              <a:ext cx="5000459" cy="1425992"/>
              <a:chOff x="7186272" y="0"/>
              <a:chExt cx="5005729" cy="1427495"/>
            </a:xfrm>
          </p:grpSpPr>
          <p:sp>
            <p:nvSpPr>
              <p:cNvPr id="10294" name="Google Shape;10294;p14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295" name="Google Shape;10295;p14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296" name="Google Shape;10296;p143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300.xml><?xml version="1.0" encoding="utf-8"?>
<p:sldLayout xmlns:a="http://schemas.openxmlformats.org/drawingml/2006/main" xmlns:r="http://schemas.openxmlformats.org/officeDocument/2006/relationships" xmlns:p="http://schemas.openxmlformats.org/presentationml/2006/main" type="titleOnly" preserve="1">
  <p:cSld name="2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60257271"/>
      </p:ext>
    </p:extLst>
  </p:cSld>
  <p:clrMapOvr>
    <a:masterClrMapping/>
  </p:clrMapOvr>
</p:sldLayout>
</file>

<file path=ppt/slideLayouts/slideLayout1301.xml><?xml version="1.0" encoding="utf-8"?>
<p:sldLayout xmlns:a="http://schemas.openxmlformats.org/drawingml/2006/main" xmlns:r="http://schemas.openxmlformats.org/officeDocument/2006/relationships" xmlns:p="http://schemas.openxmlformats.org/presentationml/2006/main" preserve="1" userDrawn="1">
  <p:cSld name="3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69416724"/>
      </p:ext>
    </p:extLst>
  </p:cSld>
  <p:clrMapOvr>
    <a:masterClrMapping/>
  </p:clrMapOvr>
</p:sldLayout>
</file>

<file path=ppt/slideLayouts/slideLayout1302.xml><?xml version="1.0" encoding="utf-8"?>
<p:sldLayout xmlns:a="http://schemas.openxmlformats.org/drawingml/2006/main" xmlns:r="http://schemas.openxmlformats.org/officeDocument/2006/relationships" xmlns:p="http://schemas.openxmlformats.org/presentationml/2006/main" type="blank" preserve="1">
  <p:cSld name="3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284255954"/>
      </p:ext>
    </p:extLst>
  </p:cSld>
  <p:clrMapOvr>
    <a:masterClrMapping/>
  </p:clrMapOvr>
</p:sldLayout>
</file>

<file path=ppt/slideLayouts/slideLayout1303.xml><?xml version="1.0" encoding="utf-8"?>
<p:sldLayout xmlns:a="http://schemas.openxmlformats.org/drawingml/2006/main" xmlns:r="http://schemas.openxmlformats.org/officeDocument/2006/relationships" xmlns:p="http://schemas.openxmlformats.org/presentationml/2006/main" type="obj" preserve="1">
  <p:cSld name="6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76539944"/>
      </p:ext>
    </p:extLst>
  </p:cSld>
  <p:clrMapOvr>
    <a:masterClrMapping/>
  </p:clrMapOvr>
</p:sldLayout>
</file>

<file path=ppt/slideLayouts/slideLayout1304.xml><?xml version="1.0" encoding="utf-8"?>
<p:sldLayout xmlns:a="http://schemas.openxmlformats.org/drawingml/2006/main" xmlns:r="http://schemas.openxmlformats.org/officeDocument/2006/relationships" xmlns:p="http://schemas.openxmlformats.org/presentationml/2006/main" type="obj" preserve="1">
  <p:cSld name="6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21625075"/>
      </p:ext>
    </p:extLst>
  </p:cSld>
  <p:clrMapOvr>
    <a:masterClrMapping/>
  </p:clrMapOvr>
</p:sldLayout>
</file>

<file path=ppt/slideLayouts/slideLayout1305.xml><?xml version="1.0" encoding="utf-8"?>
<p:sldLayout xmlns:a="http://schemas.openxmlformats.org/drawingml/2006/main" xmlns:r="http://schemas.openxmlformats.org/officeDocument/2006/relationships" xmlns:p="http://schemas.openxmlformats.org/presentationml/2006/main" type="obj" preserve="1">
  <p:cSld name="10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70503863"/>
      </p:ext>
    </p:extLst>
  </p:cSld>
  <p:clrMapOvr>
    <a:masterClrMapping/>
  </p:clrMapOvr>
</p:sldLayout>
</file>

<file path=ppt/slideLayouts/slideLayout1306.xml><?xml version="1.0" encoding="utf-8"?>
<p:sldLayout xmlns:a="http://schemas.openxmlformats.org/drawingml/2006/main" xmlns:r="http://schemas.openxmlformats.org/officeDocument/2006/relationships" xmlns:p="http://schemas.openxmlformats.org/presentationml/2006/main" type="obj" preserve="1">
  <p:cSld name="10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98964596"/>
      </p:ext>
    </p:extLst>
  </p:cSld>
  <p:clrMapOvr>
    <a:masterClrMapping/>
  </p:clrMapOvr>
</p:sldLayout>
</file>

<file path=ppt/slideLayouts/slideLayout1307.xml><?xml version="1.0" encoding="utf-8"?>
<p:sldLayout xmlns:a="http://schemas.openxmlformats.org/drawingml/2006/main" xmlns:r="http://schemas.openxmlformats.org/officeDocument/2006/relationships" xmlns:p="http://schemas.openxmlformats.org/presentationml/2006/main" type="obj" preserve="1">
  <p:cSld name="10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37440142"/>
      </p:ext>
    </p:extLst>
  </p:cSld>
  <p:clrMapOvr>
    <a:masterClrMapping/>
  </p:clrMapOvr>
</p:sldLayout>
</file>

<file path=ppt/slideLayouts/slideLayout1308.xml><?xml version="1.0" encoding="utf-8"?>
<p:sldLayout xmlns:a="http://schemas.openxmlformats.org/drawingml/2006/main" xmlns:r="http://schemas.openxmlformats.org/officeDocument/2006/relationships" xmlns:p="http://schemas.openxmlformats.org/presentationml/2006/main" showMasterSp="0" userDrawn="1">
  <p:cSld name="15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175194946"/>
      </p:ext>
    </p:extLst>
  </p:cSld>
  <p:clrMapOvr>
    <a:masterClrMapping/>
  </p:clrMapOvr>
</p:sldLayout>
</file>

<file path=ppt/slideLayouts/slideLayout1309.xml><?xml version="1.0" encoding="utf-8"?>
<p:sldLayout xmlns:a="http://schemas.openxmlformats.org/drawingml/2006/main" xmlns:r="http://schemas.openxmlformats.org/officeDocument/2006/relationships" xmlns:p="http://schemas.openxmlformats.org/presentationml/2006/main" type="obj" preserve="1">
  <p:cSld name="8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2009802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matchingName="3_Quotation">
  <p:cSld name="3_Quotation 2 2">
    <p:spTree>
      <p:nvGrpSpPr>
        <p:cNvPr id="1" name="Shape 10297"/>
        <p:cNvGrpSpPr/>
        <p:nvPr/>
      </p:nvGrpSpPr>
      <p:grpSpPr>
        <a:xfrm>
          <a:off x="0" y="0"/>
          <a:ext cx="0" cy="0"/>
          <a:chOff x="0" y="0"/>
          <a:chExt cx="0" cy="0"/>
        </a:xfrm>
      </p:grpSpPr>
      <p:sp>
        <p:nvSpPr>
          <p:cNvPr id="10298" name="Google Shape;10298;p143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299" name="Google Shape;10299;p143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300" name="Google Shape;10300;p143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01" name="Google Shape;10301;p14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302" name="Google Shape;10302;p14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03" name="Google Shape;10303;p14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304" name="Google Shape;10304;p1435"/>
          <p:cNvGrpSpPr/>
          <p:nvPr/>
        </p:nvGrpSpPr>
        <p:grpSpPr>
          <a:xfrm>
            <a:off x="7191542" y="1"/>
            <a:ext cx="5000459" cy="1425992"/>
            <a:chOff x="7191542" y="1"/>
            <a:chExt cx="5000459" cy="1425992"/>
          </a:xfrm>
        </p:grpSpPr>
        <p:pic>
          <p:nvPicPr>
            <p:cNvPr id="10305" name="Google Shape;10305;p14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06" name="Google Shape;10306;p1435"/>
            <p:cNvGrpSpPr/>
            <p:nvPr/>
          </p:nvGrpSpPr>
          <p:grpSpPr>
            <a:xfrm>
              <a:off x="7191542" y="1"/>
              <a:ext cx="5000459" cy="1425992"/>
              <a:chOff x="7186272" y="0"/>
              <a:chExt cx="5005729" cy="1427495"/>
            </a:xfrm>
          </p:grpSpPr>
          <p:sp>
            <p:nvSpPr>
              <p:cNvPr id="10307" name="Google Shape;10307;p14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308" name="Google Shape;10308;p14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309" name="Google Shape;10309;p143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310.xml><?xml version="1.0" encoding="utf-8"?>
<p:sldLayout xmlns:a="http://schemas.openxmlformats.org/drawingml/2006/main" xmlns:r="http://schemas.openxmlformats.org/officeDocument/2006/relationships" xmlns:p="http://schemas.openxmlformats.org/presentationml/2006/main" type="obj" preserve="1">
  <p:cSld name="8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88205668"/>
      </p:ext>
    </p:extLst>
  </p:cSld>
  <p:clrMapOvr>
    <a:masterClrMapping/>
  </p:clrMapOvr>
</p:sldLayout>
</file>

<file path=ppt/slideLayouts/slideLayout1311.xml><?xml version="1.0" encoding="utf-8"?>
<p:sldLayout xmlns:a="http://schemas.openxmlformats.org/drawingml/2006/main" xmlns:r="http://schemas.openxmlformats.org/officeDocument/2006/relationships" xmlns:p="http://schemas.openxmlformats.org/presentationml/2006/main" type="obj" preserve="1">
  <p:cSld name="8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84494209"/>
      </p:ext>
    </p:extLst>
  </p:cSld>
  <p:clrMapOvr>
    <a:masterClrMapping/>
  </p:clrMapOvr>
</p:sldLayout>
</file>

<file path=ppt/slideLayouts/slideLayout1312.xml><?xml version="1.0" encoding="utf-8"?>
<p:sldLayout xmlns:a="http://schemas.openxmlformats.org/drawingml/2006/main" xmlns:r="http://schemas.openxmlformats.org/officeDocument/2006/relationships" xmlns:p="http://schemas.openxmlformats.org/presentationml/2006/main" preserve="1" userDrawn="1">
  <p:cSld name="4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956090782"/>
      </p:ext>
    </p:extLst>
  </p:cSld>
  <p:clrMapOvr>
    <a:masterClrMapping/>
  </p:clrMapOvr>
</p:sldLayout>
</file>

<file path=ppt/slideLayouts/slideLayout1313.xml><?xml version="1.0" encoding="utf-8"?>
<p:sldLayout xmlns:a="http://schemas.openxmlformats.org/drawingml/2006/main" xmlns:r="http://schemas.openxmlformats.org/officeDocument/2006/relationships" xmlns:p="http://schemas.openxmlformats.org/presentationml/2006/main" preserve="1" userDrawn="1">
  <p:cSld name="4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98492877"/>
      </p:ext>
    </p:extLst>
  </p:cSld>
  <p:clrMapOvr>
    <a:masterClrMapping/>
  </p:clrMapOvr>
</p:sldLayout>
</file>

<file path=ppt/slideLayouts/slideLayout1314.xml><?xml version="1.0" encoding="utf-8"?>
<p:sldLayout xmlns:a="http://schemas.openxmlformats.org/drawingml/2006/main" xmlns:r="http://schemas.openxmlformats.org/officeDocument/2006/relationships" xmlns:p="http://schemas.openxmlformats.org/presentationml/2006/main" preserve="1" userDrawn="1">
  <p:cSld name="3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96735980"/>
      </p:ext>
    </p:extLst>
  </p:cSld>
  <p:clrMapOvr>
    <a:masterClrMapping/>
  </p:clrMapOvr>
</p:sldLayout>
</file>

<file path=ppt/slideLayouts/slideLayout1315.xml><?xml version="1.0" encoding="utf-8"?>
<p:sldLayout xmlns:a="http://schemas.openxmlformats.org/drawingml/2006/main" xmlns:r="http://schemas.openxmlformats.org/officeDocument/2006/relationships" xmlns:p="http://schemas.openxmlformats.org/presentationml/2006/main" preserve="1" userDrawn="1">
  <p:cSld name="3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25685138"/>
      </p:ext>
    </p:extLst>
  </p:cSld>
  <p:clrMapOvr>
    <a:masterClrMapping/>
  </p:clrMapOvr>
</p:sldLayout>
</file>

<file path=ppt/slideLayouts/slideLayout1316.xml><?xml version="1.0" encoding="utf-8"?>
<p:sldLayout xmlns:a="http://schemas.openxmlformats.org/drawingml/2006/main" xmlns:r="http://schemas.openxmlformats.org/officeDocument/2006/relationships" xmlns:p="http://schemas.openxmlformats.org/presentationml/2006/main" preserve="1" userDrawn="1">
  <p:cSld name="3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53236485"/>
      </p:ext>
    </p:extLst>
  </p:cSld>
  <p:clrMapOvr>
    <a:masterClrMapping/>
  </p:clrMapOvr>
</p:sldLayout>
</file>

<file path=ppt/slideLayouts/slideLayout1317.xml><?xml version="1.0" encoding="utf-8"?>
<p:sldLayout xmlns:a="http://schemas.openxmlformats.org/drawingml/2006/main" xmlns:r="http://schemas.openxmlformats.org/officeDocument/2006/relationships" xmlns:p="http://schemas.openxmlformats.org/presentationml/2006/main" preserve="1" userDrawn="1">
  <p:cSld name="3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539602646"/>
      </p:ext>
    </p:extLst>
  </p:cSld>
  <p:clrMapOvr>
    <a:masterClrMapping/>
  </p:clrMapOvr>
</p:sldLayout>
</file>

<file path=ppt/slideLayouts/slideLayout1318.xml><?xml version="1.0" encoding="utf-8"?>
<p:sldLayout xmlns:a="http://schemas.openxmlformats.org/drawingml/2006/main" xmlns:r="http://schemas.openxmlformats.org/officeDocument/2006/relationships" xmlns:p="http://schemas.openxmlformats.org/presentationml/2006/main" preserve="1" userDrawn="1">
  <p:cSld name="3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66397130"/>
      </p:ext>
    </p:extLst>
  </p:cSld>
  <p:clrMapOvr>
    <a:masterClrMapping/>
  </p:clrMapOvr>
</p:sldLayout>
</file>

<file path=ppt/slideLayouts/slideLayout1319.xml><?xml version="1.0" encoding="utf-8"?>
<p:sldLayout xmlns:a="http://schemas.openxmlformats.org/drawingml/2006/main" xmlns:r="http://schemas.openxmlformats.org/officeDocument/2006/relationships" xmlns:p="http://schemas.openxmlformats.org/presentationml/2006/main" preserve="1" userDrawn="1">
  <p:cSld name="3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13425844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matchingName="Quotation">
  <p:cSld name="Quotation 13">
    <p:spTree>
      <p:nvGrpSpPr>
        <p:cNvPr id="1" name="Shape 10310"/>
        <p:cNvGrpSpPr/>
        <p:nvPr/>
      </p:nvGrpSpPr>
      <p:grpSpPr>
        <a:xfrm>
          <a:off x="0" y="0"/>
          <a:ext cx="0" cy="0"/>
          <a:chOff x="0" y="0"/>
          <a:chExt cx="0" cy="0"/>
        </a:xfrm>
      </p:grpSpPr>
      <p:sp>
        <p:nvSpPr>
          <p:cNvPr id="10311" name="Google Shape;10311;p143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312" name="Google Shape;10312;p143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313" name="Google Shape;10313;p143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14" name="Google Shape;10314;p14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315" name="Google Shape;10315;p14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16" name="Google Shape;10316;p14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317" name="Google Shape;10317;p1436"/>
          <p:cNvGrpSpPr/>
          <p:nvPr/>
        </p:nvGrpSpPr>
        <p:grpSpPr>
          <a:xfrm>
            <a:off x="7191542" y="1"/>
            <a:ext cx="5000459" cy="1425992"/>
            <a:chOff x="7191542" y="1"/>
            <a:chExt cx="5000459" cy="1425992"/>
          </a:xfrm>
        </p:grpSpPr>
        <p:pic>
          <p:nvPicPr>
            <p:cNvPr id="10318" name="Google Shape;10318;p14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19" name="Google Shape;10319;p1436"/>
            <p:cNvGrpSpPr/>
            <p:nvPr/>
          </p:nvGrpSpPr>
          <p:grpSpPr>
            <a:xfrm>
              <a:off x="7191542" y="1"/>
              <a:ext cx="5000459" cy="1425992"/>
              <a:chOff x="7186272" y="0"/>
              <a:chExt cx="5005729" cy="1427495"/>
            </a:xfrm>
          </p:grpSpPr>
          <p:sp>
            <p:nvSpPr>
              <p:cNvPr id="10320" name="Google Shape;10320;p14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321" name="Google Shape;10321;p14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322" name="Google Shape;10322;p143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320.xml><?xml version="1.0" encoding="utf-8"?>
<p:sldLayout xmlns:a="http://schemas.openxmlformats.org/drawingml/2006/main" xmlns:r="http://schemas.openxmlformats.org/officeDocument/2006/relationships" xmlns:p="http://schemas.openxmlformats.org/presentationml/2006/main" preserve="1" userDrawn="1">
  <p:cSld name="3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12614920"/>
      </p:ext>
    </p:extLst>
  </p:cSld>
  <p:clrMapOvr>
    <a:masterClrMapping/>
  </p:clrMapOvr>
</p:sldLayout>
</file>

<file path=ppt/slideLayouts/slideLayout1321.xml><?xml version="1.0" encoding="utf-8"?>
<p:sldLayout xmlns:a="http://schemas.openxmlformats.org/drawingml/2006/main" xmlns:r="http://schemas.openxmlformats.org/officeDocument/2006/relationships" xmlns:p="http://schemas.openxmlformats.org/presentationml/2006/main" type="obj" preserve="1">
  <p:cSld name="14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0/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269525389"/>
      </p:ext>
    </p:extLst>
  </p:cSld>
  <p:clrMapOvr>
    <a:masterClrMapping/>
  </p:clrMapOvr>
</p:sldLayout>
</file>

<file path=ppt/slideLayouts/slideLayout1322.xml><?xml version="1.0" encoding="utf-8"?>
<p:sldLayout xmlns:a="http://schemas.openxmlformats.org/drawingml/2006/main" xmlns:r="http://schemas.openxmlformats.org/officeDocument/2006/relationships" xmlns:p="http://schemas.openxmlformats.org/presentationml/2006/main" userDrawn="1">
  <p:cSld name="1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470558375"/>
      </p:ext>
    </p:extLst>
  </p:cSld>
  <p:clrMapOvr>
    <a:masterClrMapping/>
  </p:clrMapOvr>
</p:sldLayout>
</file>

<file path=ppt/slideLayouts/slideLayout1323.xml><?xml version="1.0" encoding="utf-8"?>
<p:sldLayout xmlns:a="http://schemas.openxmlformats.org/drawingml/2006/main" xmlns:r="http://schemas.openxmlformats.org/officeDocument/2006/relationships" xmlns:p="http://schemas.openxmlformats.org/presentationml/2006/main" userDrawn="1">
  <p:cSld name="4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4224429"/>
      </p:ext>
    </p:extLst>
  </p:cSld>
  <p:clrMapOvr>
    <a:masterClrMapping/>
  </p:clrMapOvr>
</p:sldLayout>
</file>

<file path=ppt/slideLayouts/slideLayout1324.xml><?xml version="1.0" encoding="utf-8"?>
<p:sldLayout xmlns:a="http://schemas.openxmlformats.org/drawingml/2006/main" xmlns:r="http://schemas.openxmlformats.org/officeDocument/2006/relationships" xmlns:p="http://schemas.openxmlformats.org/presentationml/2006/main" type="obj" preserve="1">
  <p:cSld name="12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0/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3141094629"/>
      </p:ext>
    </p:extLst>
  </p:cSld>
  <p:clrMapOvr>
    <a:masterClrMapping/>
  </p:clrMapOvr>
</p:sldLayout>
</file>

<file path=ppt/slideLayouts/slideLayout1325.xml><?xml version="1.0" encoding="utf-8"?>
<p:sldLayout xmlns:a="http://schemas.openxmlformats.org/drawingml/2006/main" xmlns:r="http://schemas.openxmlformats.org/officeDocument/2006/relationships" xmlns:p="http://schemas.openxmlformats.org/presentationml/2006/main" preserve="1" userDrawn="1">
  <p:cSld name="3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82942404"/>
      </p:ext>
    </p:extLst>
  </p:cSld>
  <p:clrMapOvr>
    <a:masterClrMapping/>
  </p:clrMapOvr>
</p:sldLayout>
</file>

<file path=ppt/slideLayouts/slideLayout1326.xml><?xml version="1.0" encoding="utf-8"?>
<p:sldLayout xmlns:a="http://schemas.openxmlformats.org/drawingml/2006/main" xmlns:r="http://schemas.openxmlformats.org/officeDocument/2006/relationships" xmlns:p="http://schemas.openxmlformats.org/presentationml/2006/main" preserve="1" userDrawn="1">
  <p:cSld name="3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75498707"/>
      </p:ext>
    </p:extLst>
  </p:cSld>
  <p:clrMapOvr>
    <a:masterClrMapping/>
  </p:clrMapOvr>
</p:sldLayout>
</file>

<file path=ppt/slideLayouts/slideLayout1327.xml><?xml version="1.0" encoding="utf-8"?>
<p:sldLayout xmlns:a="http://schemas.openxmlformats.org/drawingml/2006/main" xmlns:r="http://schemas.openxmlformats.org/officeDocument/2006/relationships" xmlns:p="http://schemas.openxmlformats.org/presentationml/2006/main" preserve="1" userDrawn="1">
  <p:cSld name="2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44794954"/>
      </p:ext>
    </p:extLst>
  </p:cSld>
  <p:clrMapOvr>
    <a:masterClrMapping/>
  </p:clrMapOvr>
</p:sldLayout>
</file>

<file path=ppt/slideLayouts/slideLayout1328.xml><?xml version="1.0" encoding="utf-8"?>
<p:sldLayout xmlns:a="http://schemas.openxmlformats.org/drawingml/2006/main" xmlns:r="http://schemas.openxmlformats.org/officeDocument/2006/relationships" xmlns:p="http://schemas.openxmlformats.org/presentationml/2006/main" userDrawn="1">
  <p:cSld name="7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592587583"/>
      </p:ext>
    </p:extLst>
  </p:cSld>
  <p:clrMapOvr>
    <a:masterClrMapping/>
  </p:clrMapOvr>
</p:sldLayout>
</file>

<file path=ppt/slideLayouts/slideLayout1329.xml><?xml version="1.0" encoding="utf-8"?>
<p:sldLayout xmlns:a="http://schemas.openxmlformats.org/drawingml/2006/main" xmlns:r="http://schemas.openxmlformats.org/officeDocument/2006/relationships" xmlns:p="http://schemas.openxmlformats.org/presentationml/2006/main" userDrawn="1">
  <p:cSld name="6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291225627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matchingName="Quotation">
  <p:cSld name="Quotation 12 2">
    <p:spTree>
      <p:nvGrpSpPr>
        <p:cNvPr id="1" name="Shape 10323"/>
        <p:cNvGrpSpPr/>
        <p:nvPr/>
      </p:nvGrpSpPr>
      <p:grpSpPr>
        <a:xfrm>
          <a:off x="0" y="0"/>
          <a:ext cx="0" cy="0"/>
          <a:chOff x="0" y="0"/>
          <a:chExt cx="0" cy="0"/>
        </a:xfrm>
      </p:grpSpPr>
      <p:sp>
        <p:nvSpPr>
          <p:cNvPr id="10324" name="Google Shape;10324;p143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325" name="Google Shape;10325;p143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326" name="Google Shape;10326;p143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27" name="Google Shape;10327;p14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328" name="Google Shape;10328;p14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29" name="Google Shape;10329;p14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330" name="Google Shape;10330;p1437"/>
          <p:cNvGrpSpPr/>
          <p:nvPr/>
        </p:nvGrpSpPr>
        <p:grpSpPr>
          <a:xfrm>
            <a:off x="7191542" y="1"/>
            <a:ext cx="5000459" cy="1425992"/>
            <a:chOff x="7191542" y="1"/>
            <a:chExt cx="5000459" cy="1425992"/>
          </a:xfrm>
        </p:grpSpPr>
        <p:pic>
          <p:nvPicPr>
            <p:cNvPr id="10331" name="Google Shape;10331;p14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32" name="Google Shape;10332;p1437"/>
            <p:cNvGrpSpPr/>
            <p:nvPr/>
          </p:nvGrpSpPr>
          <p:grpSpPr>
            <a:xfrm>
              <a:off x="7191542" y="1"/>
              <a:ext cx="5000459" cy="1425992"/>
              <a:chOff x="7186272" y="0"/>
              <a:chExt cx="5005729" cy="1427495"/>
            </a:xfrm>
          </p:grpSpPr>
          <p:sp>
            <p:nvSpPr>
              <p:cNvPr id="10333" name="Google Shape;10333;p14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334" name="Google Shape;10334;p14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335" name="Google Shape;10335;p143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330.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1331.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1332.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0/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1333.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2224325"/>
      </p:ext>
    </p:extLst>
  </p:cSld>
  <p:clrMapOvr>
    <a:masterClrMapping/>
  </p:clrMapOvr>
</p:sldLayout>
</file>

<file path=ppt/slideLayouts/slideLayout1334.xml><?xml version="1.0" encoding="utf-8"?>
<p:sldLayout xmlns:a="http://schemas.openxmlformats.org/drawingml/2006/main" xmlns:r="http://schemas.openxmlformats.org/officeDocument/2006/relationships" xmlns:p="http://schemas.openxmlformats.org/presentationml/2006/main" type="twoObj" preserve="1">
  <p:cSld name="1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50320745"/>
      </p:ext>
    </p:extLst>
  </p:cSld>
  <p:clrMapOvr>
    <a:masterClrMapping/>
  </p:clrMapOvr>
</p:sldLayout>
</file>

<file path=ppt/slideLayouts/slideLayout1335.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8077793"/>
      </p:ext>
    </p:extLst>
  </p:cSld>
  <p:clrMapOvr>
    <a:masterClrMapping/>
  </p:clrMapOvr>
</p:sldLayout>
</file>

<file path=ppt/slideLayouts/slideLayout1336.xml><?xml version="1.0" encoding="utf-8"?>
<p:sldLayout xmlns:a="http://schemas.openxmlformats.org/drawingml/2006/main" xmlns:r="http://schemas.openxmlformats.org/officeDocument/2006/relationships" xmlns:p="http://schemas.openxmlformats.org/presentationml/2006/main" type="titleOnly" preserve="1">
  <p:cSld name="1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3789942"/>
      </p:ext>
    </p:extLst>
  </p:cSld>
  <p:clrMapOvr>
    <a:masterClrMapping/>
  </p:clrMapOvr>
</p:sldLayout>
</file>

<file path=ppt/slideLayouts/slideLayout1337.xml><?xml version="1.0" encoding="utf-8"?>
<p:sldLayout xmlns:a="http://schemas.openxmlformats.org/drawingml/2006/main" xmlns:r="http://schemas.openxmlformats.org/officeDocument/2006/relationships" xmlns:p="http://schemas.openxmlformats.org/presentationml/2006/main" preserve="1" userDrawn="1">
  <p:cSld name="1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74022542"/>
      </p:ext>
    </p:extLst>
  </p:cSld>
  <p:clrMapOvr>
    <a:masterClrMapping/>
  </p:clrMapOvr>
</p:sldLayout>
</file>

<file path=ppt/slideLayouts/slideLayout1338.xml><?xml version="1.0" encoding="utf-8"?>
<p:sldLayout xmlns:a="http://schemas.openxmlformats.org/drawingml/2006/main" xmlns:r="http://schemas.openxmlformats.org/officeDocument/2006/relationships" xmlns:p="http://schemas.openxmlformats.org/presentationml/2006/main" type="blank" preserve="1">
  <p:cSld name="1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266295863"/>
      </p:ext>
    </p:extLst>
  </p:cSld>
  <p:clrMapOvr>
    <a:masterClrMapping/>
  </p:clrMapOvr>
</p:sldLayout>
</file>

<file path=ppt/slideLayouts/slideLayout1339.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4623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matchingName="3_Quotation">
  <p:cSld name="3_Quotation 2 3">
    <p:spTree>
      <p:nvGrpSpPr>
        <p:cNvPr id="1" name="Shape 10336"/>
        <p:cNvGrpSpPr/>
        <p:nvPr/>
      </p:nvGrpSpPr>
      <p:grpSpPr>
        <a:xfrm>
          <a:off x="0" y="0"/>
          <a:ext cx="0" cy="0"/>
          <a:chOff x="0" y="0"/>
          <a:chExt cx="0" cy="0"/>
        </a:xfrm>
      </p:grpSpPr>
      <p:sp>
        <p:nvSpPr>
          <p:cNvPr id="10337" name="Google Shape;10337;p143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338" name="Google Shape;10338;p143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339" name="Google Shape;10339;p143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40" name="Google Shape;10340;p14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341" name="Google Shape;10341;p14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42" name="Google Shape;10342;p14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343" name="Google Shape;10343;p1438"/>
          <p:cNvGrpSpPr/>
          <p:nvPr/>
        </p:nvGrpSpPr>
        <p:grpSpPr>
          <a:xfrm>
            <a:off x="7191542" y="1"/>
            <a:ext cx="5000459" cy="1425992"/>
            <a:chOff x="7191542" y="1"/>
            <a:chExt cx="5000459" cy="1425992"/>
          </a:xfrm>
        </p:grpSpPr>
        <p:pic>
          <p:nvPicPr>
            <p:cNvPr id="10344" name="Google Shape;10344;p14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45" name="Google Shape;10345;p1438"/>
            <p:cNvGrpSpPr/>
            <p:nvPr/>
          </p:nvGrpSpPr>
          <p:grpSpPr>
            <a:xfrm>
              <a:off x="7191542" y="1"/>
              <a:ext cx="5000459" cy="1425992"/>
              <a:chOff x="7186272" y="0"/>
              <a:chExt cx="5005729" cy="1427495"/>
            </a:xfrm>
          </p:grpSpPr>
          <p:sp>
            <p:nvSpPr>
              <p:cNvPr id="10346" name="Google Shape;10346;p14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347" name="Google Shape;10347;p14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348" name="Google Shape;10348;p143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340.xml><?xml version="1.0" encoding="utf-8"?>
<p:sldLayout xmlns:a="http://schemas.openxmlformats.org/drawingml/2006/main" xmlns:r="http://schemas.openxmlformats.org/officeDocument/2006/relationships" xmlns:p="http://schemas.openxmlformats.org/presentationml/2006/main" preserve="1" userDrawn="1">
  <p:cSld name="1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00291166"/>
      </p:ext>
    </p:extLst>
  </p:cSld>
  <p:clrMapOvr>
    <a:masterClrMapping/>
  </p:clrMapOvr>
</p:sldLayout>
</file>

<file path=ppt/slideLayouts/slideLayout1341.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10812348"/>
      </p:ext>
    </p:extLst>
  </p:cSld>
  <p:clrMapOvr>
    <a:masterClrMapping/>
  </p:clrMapOvr>
</p:sldLayout>
</file>

<file path=ppt/slideLayouts/slideLayout1342.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14"/>
        <p:cNvGrpSpPr/>
        <p:nvPr/>
      </p:nvGrpSpPr>
      <p:grpSpPr>
        <a:xfrm>
          <a:off x="0" y="0"/>
          <a:ext cx="0" cy="0"/>
          <a:chOff x="0" y="0"/>
          <a:chExt cx="0" cy="0"/>
        </a:xfrm>
      </p:grpSpPr>
      <p:sp>
        <p:nvSpPr>
          <p:cNvPr id="15" name="Google Shape;15;p2"/>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6" name="Google Shape;16;p2"/>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 name="Google Shape;17;p2"/>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2"/>
          <p:cNvSpPr>
            <a:spLocks noGrp="1"/>
          </p:cNvSpPr>
          <p:nvPr>
            <p:ph type="pic" idx="2"/>
          </p:nvPr>
        </p:nvSpPr>
        <p:spPr>
          <a:xfrm>
            <a:off x="7118684" y="233915"/>
            <a:ext cx="5073316" cy="5943600"/>
          </a:xfrm>
          <a:prstGeom prst="rect">
            <a:avLst/>
          </a:prstGeom>
          <a:noFill/>
          <a:ln>
            <a:noFill/>
          </a:ln>
        </p:spPr>
      </p:sp>
      <p:grpSp>
        <p:nvGrpSpPr>
          <p:cNvPr id="19" name="Google Shape;19;p2"/>
          <p:cNvGrpSpPr/>
          <p:nvPr/>
        </p:nvGrpSpPr>
        <p:grpSpPr>
          <a:xfrm>
            <a:off x="0" y="5020349"/>
            <a:ext cx="12192000" cy="1837653"/>
            <a:chOff x="0" y="5020348"/>
            <a:chExt cx="12192000" cy="1837653"/>
          </a:xfrm>
        </p:grpSpPr>
        <p:sp>
          <p:nvSpPr>
            <p:cNvPr id="20" name="Google Shape;20;p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1" name="Google Shape;21;p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22" name="Google Shape;22;p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577971661"/>
      </p:ext>
    </p:extLst>
  </p:cSld>
  <p:clrMapOvr>
    <a:masterClrMapping/>
  </p:clrMapOvr>
</p:sldLayout>
</file>

<file path=ppt/slideLayouts/slideLayout1343.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23"/>
        <p:cNvGrpSpPr/>
        <p:nvPr/>
      </p:nvGrpSpPr>
      <p:grpSpPr>
        <a:xfrm>
          <a:off x="0" y="0"/>
          <a:ext cx="0" cy="0"/>
          <a:chOff x="0" y="0"/>
          <a:chExt cx="0" cy="0"/>
        </a:xfrm>
      </p:grpSpPr>
      <p:sp>
        <p:nvSpPr>
          <p:cNvPr id="24" name="Google Shape;24;p3"/>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 name="Google Shape;25;p3"/>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grpSp>
        <p:nvGrpSpPr>
          <p:cNvPr id="26" name="Google Shape;26;p3"/>
          <p:cNvGrpSpPr/>
          <p:nvPr/>
        </p:nvGrpSpPr>
        <p:grpSpPr>
          <a:xfrm>
            <a:off x="7191543" y="1"/>
            <a:ext cx="5000459" cy="1425992"/>
            <a:chOff x="7191542" y="1"/>
            <a:chExt cx="5000459" cy="1425992"/>
          </a:xfrm>
        </p:grpSpPr>
        <p:pic>
          <p:nvPicPr>
            <p:cNvPr id="27" name="Google Shape;27;p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 name="Google Shape;28;p3"/>
            <p:cNvGrpSpPr/>
            <p:nvPr/>
          </p:nvGrpSpPr>
          <p:grpSpPr>
            <a:xfrm>
              <a:off x="7191542" y="1"/>
              <a:ext cx="5000459" cy="1425992"/>
              <a:chOff x="7186272" y="0"/>
              <a:chExt cx="5005729" cy="1427495"/>
            </a:xfrm>
          </p:grpSpPr>
          <p:sp>
            <p:nvSpPr>
              <p:cNvPr id="29" name="Google Shape;29;p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 name="Google Shape;30;p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1" name="Google Shape;31;p3"/>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32" name="Google Shape;32;p3"/>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33" name="Google Shape;33;p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 name="Google Shape;34;p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09016809"/>
      </p:ext>
    </p:extLst>
  </p:cSld>
  <p:clrMapOvr>
    <a:masterClrMapping/>
  </p:clrMapOvr>
</p:sldLayout>
</file>

<file path=ppt/slideLayouts/slideLayout1344.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35"/>
        <p:cNvGrpSpPr/>
        <p:nvPr/>
      </p:nvGrpSpPr>
      <p:grpSpPr>
        <a:xfrm>
          <a:off x="0" y="0"/>
          <a:ext cx="0" cy="0"/>
          <a:chOff x="0" y="0"/>
          <a:chExt cx="0" cy="0"/>
        </a:xfrm>
      </p:grpSpPr>
      <p:grpSp>
        <p:nvGrpSpPr>
          <p:cNvPr id="36" name="Google Shape;36;p4"/>
          <p:cNvGrpSpPr/>
          <p:nvPr/>
        </p:nvGrpSpPr>
        <p:grpSpPr>
          <a:xfrm>
            <a:off x="0" y="5020348"/>
            <a:ext cx="12192000" cy="1837653"/>
            <a:chOff x="0" y="5020347"/>
            <a:chExt cx="12192000" cy="1837653"/>
          </a:xfrm>
        </p:grpSpPr>
        <p:sp>
          <p:nvSpPr>
            <p:cNvPr id="37" name="Google Shape;37;p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 name="Google Shape;38;p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9" name="Google Shape;39;p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0" name="Google Shape;40;p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1" name="Google Shape;41;p4"/>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 name="Google Shape;42;p4"/>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56055741"/>
      </p:ext>
    </p:extLst>
  </p:cSld>
  <p:clrMapOvr>
    <a:masterClrMapping/>
  </p:clrMapOvr>
</p:sldLayout>
</file>

<file path=ppt/slideLayouts/slideLayout1345.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43"/>
        <p:cNvGrpSpPr/>
        <p:nvPr/>
      </p:nvGrpSpPr>
      <p:grpSpPr>
        <a:xfrm>
          <a:off x="0" y="0"/>
          <a:ext cx="0" cy="0"/>
          <a:chOff x="0" y="0"/>
          <a:chExt cx="0" cy="0"/>
        </a:xfrm>
      </p:grpSpPr>
      <p:grpSp>
        <p:nvGrpSpPr>
          <p:cNvPr id="44" name="Google Shape;44;p5"/>
          <p:cNvGrpSpPr/>
          <p:nvPr/>
        </p:nvGrpSpPr>
        <p:grpSpPr>
          <a:xfrm>
            <a:off x="7191543" y="1"/>
            <a:ext cx="5000459" cy="1425992"/>
            <a:chOff x="7191542" y="1"/>
            <a:chExt cx="5000459" cy="1425992"/>
          </a:xfrm>
        </p:grpSpPr>
        <p:pic>
          <p:nvPicPr>
            <p:cNvPr id="45" name="Google Shape;45;p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6" name="Google Shape;46;p5"/>
            <p:cNvGrpSpPr/>
            <p:nvPr/>
          </p:nvGrpSpPr>
          <p:grpSpPr>
            <a:xfrm>
              <a:off x="7191542" y="1"/>
              <a:ext cx="5000459" cy="1425992"/>
              <a:chOff x="7186272" y="0"/>
              <a:chExt cx="5005729" cy="1427495"/>
            </a:xfrm>
          </p:grpSpPr>
          <p:sp>
            <p:nvSpPr>
              <p:cNvPr id="47" name="Google Shape;47;p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 name="Google Shape;48;p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9" name="Google Shape;49;p5"/>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 name="Google Shape;50;p5"/>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51" name="Google Shape;51;p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2" name="Google Shape;52;p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 name="Google Shape;53;p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89431278"/>
      </p:ext>
    </p:extLst>
  </p:cSld>
  <p:clrMapOvr>
    <a:masterClrMapping/>
  </p:clrMapOvr>
</p:sldLayout>
</file>

<file path=ppt/slideLayouts/slideLayout1346.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65"/>
        <p:cNvGrpSpPr/>
        <p:nvPr/>
      </p:nvGrpSpPr>
      <p:grpSpPr>
        <a:xfrm>
          <a:off x="0" y="0"/>
          <a:ext cx="0" cy="0"/>
          <a:chOff x="0" y="0"/>
          <a:chExt cx="0" cy="0"/>
        </a:xfrm>
      </p:grpSpPr>
      <p:sp>
        <p:nvSpPr>
          <p:cNvPr id="66" name="Google Shape;66;p7"/>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67" name="Google Shape;67;p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8" name="Google Shape;68;p7"/>
          <p:cNvGrpSpPr/>
          <p:nvPr/>
        </p:nvGrpSpPr>
        <p:grpSpPr>
          <a:xfrm>
            <a:off x="0" y="5379427"/>
            <a:ext cx="2807368" cy="753891"/>
            <a:chOff x="0" y="5379426"/>
            <a:chExt cx="2807368" cy="753891"/>
          </a:xfrm>
        </p:grpSpPr>
        <p:sp>
          <p:nvSpPr>
            <p:cNvPr id="69" name="Google Shape;69;p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 name="Google Shape;70;p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71" name="Google Shape;71;p7"/>
          <p:cNvSpPr>
            <a:spLocks noGrp="1"/>
          </p:cNvSpPr>
          <p:nvPr>
            <p:ph type="pic" idx="2"/>
          </p:nvPr>
        </p:nvSpPr>
        <p:spPr>
          <a:xfrm>
            <a:off x="2807368" y="457202"/>
            <a:ext cx="8915400" cy="5943598"/>
          </a:xfrm>
          <a:prstGeom prst="rect">
            <a:avLst/>
          </a:prstGeom>
          <a:noFill/>
          <a:ln>
            <a:noFill/>
          </a:ln>
        </p:spPr>
      </p:sp>
      <p:pic>
        <p:nvPicPr>
          <p:cNvPr id="72" name="Google Shape;72;p7"/>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4184498770"/>
      </p:ext>
    </p:extLst>
  </p:cSld>
  <p:clrMapOvr>
    <a:masterClrMapping/>
  </p:clrMapOvr>
</p:sldLayout>
</file>

<file path=ppt/slideLayouts/slideLayout1347.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73"/>
        <p:cNvGrpSpPr/>
        <p:nvPr/>
      </p:nvGrpSpPr>
      <p:grpSpPr>
        <a:xfrm>
          <a:off x="0" y="0"/>
          <a:ext cx="0" cy="0"/>
          <a:chOff x="0" y="0"/>
          <a:chExt cx="0" cy="0"/>
        </a:xfrm>
      </p:grpSpPr>
      <p:grpSp>
        <p:nvGrpSpPr>
          <p:cNvPr id="74" name="Google Shape;74;p8"/>
          <p:cNvGrpSpPr/>
          <p:nvPr/>
        </p:nvGrpSpPr>
        <p:grpSpPr>
          <a:xfrm>
            <a:off x="7191543" y="1"/>
            <a:ext cx="5000459" cy="1425992"/>
            <a:chOff x="7191542" y="1"/>
            <a:chExt cx="5000459" cy="1425992"/>
          </a:xfrm>
        </p:grpSpPr>
        <p:pic>
          <p:nvPicPr>
            <p:cNvPr id="75" name="Google Shape;75;p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 name="Google Shape;76;p8"/>
            <p:cNvGrpSpPr/>
            <p:nvPr/>
          </p:nvGrpSpPr>
          <p:grpSpPr>
            <a:xfrm>
              <a:off x="7191542" y="1"/>
              <a:ext cx="5000459" cy="1425992"/>
              <a:chOff x="7186272" y="0"/>
              <a:chExt cx="5005729" cy="1427495"/>
            </a:xfrm>
          </p:grpSpPr>
          <p:sp>
            <p:nvSpPr>
              <p:cNvPr id="77" name="Google Shape;77;p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 name="Google Shape;78;p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9" name="Google Shape;79;p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 name="Google Shape;80;p8"/>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23" lvl="0" indent="-228611"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46" lvl="1" indent="-228611" algn="l">
              <a:lnSpc>
                <a:spcPct val="100000"/>
              </a:lnSpc>
              <a:spcBef>
                <a:spcPts val="1000"/>
              </a:spcBef>
              <a:spcAft>
                <a:spcPts val="0"/>
              </a:spcAft>
              <a:buSzPts val="2000"/>
              <a:buNone/>
              <a:defRPr sz="2000" b="1"/>
            </a:lvl2pPr>
            <a:lvl3pPr marL="1371669" lvl="2" indent="-228611" algn="l">
              <a:lnSpc>
                <a:spcPct val="100000"/>
              </a:lnSpc>
              <a:spcBef>
                <a:spcPts val="1000"/>
              </a:spcBef>
              <a:spcAft>
                <a:spcPts val="0"/>
              </a:spcAft>
              <a:buSzPts val="1800"/>
              <a:buNone/>
              <a:defRPr sz="1800" b="1"/>
            </a:lvl3pPr>
            <a:lvl4pPr marL="1828891" lvl="3" indent="-228611" algn="l">
              <a:lnSpc>
                <a:spcPct val="100000"/>
              </a:lnSpc>
              <a:spcBef>
                <a:spcPts val="1000"/>
              </a:spcBef>
              <a:spcAft>
                <a:spcPts val="0"/>
              </a:spcAft>
              <a:buSzPts val="1600"/>
              <a:buNone/>
              <a:defRPr sz="1600" b="1"/>
            </a:lvl4pPr>
            <a:lvl5pPr marL="2286114" lvl="4" indent="-228611" algn="l">
              <a:lnSpc>
                <a:spcPct val="100000"/>
              </a:lnSpc>
              <a:spcBef>
                <a:spcPts val="1000"/>
              </a:spcBef>
              <a:spcAft>
                <a:spcPts val="0"/>
              </a:spcAft>
              <a:buSzPts val="1600"/>
              <a:buNone/>
              <a:defRPr sz="1600" b="1"/>
            </a:lvl5pPr>
            <a:lvl6pPr marL="2743337" lvl="5" indent="-228611" algn="l">
              <a:lnSpc>
                <a:spcPct val="90000"/>
              </a:lnSpc>
              <a:spcBef>
                <a:spcPts val="1000"/>
              </a:spcBef>
              <a:spcAft>
                <a:spcPts val="0"/>
              </a:spcAft>
              <a:buClr>
                <a:schemeClr val="dk1"/>
              </a:buClr>
              <a:buSzPts val="1600"/>
              <a:buNone/>
              <a:defRPr sz="1600" b="1"/>
            </a:lvl6pPr>
            <a:lvl7pPr marL="3200560" lvl="6" indent="-228611" algn="l">
              <a:lnSpc>
                <a:spcPct val="90000"/>
              </a:lnSpc>
              <a:spcBef>
                <a:spcPts val="500"/>
              </a:spcBef>
              <a:spcAft>
                <a:spcPts val="0"/>
              </a:spcAft>
              <a:buClr>
                <a:schemeClr val="dk1"/>
              </a:buClr>
              <a:buSzPts val="1600"/>
              <a:buNone/>
              <a:defRPr sz="1600" b="1"/>
            </a:lvl7pPr>
            <a:lvl8pPr marL="3657783" lvl="7" indent="-228611" algn="l">
              <a:lnSpc>
                <a:spcPct val="90000"/>
              </a:lnSpc>
              <a:spcBef>
                <a:spcPts val="500"/>
              </a:spcBef>
              <a:spcAft>
                <a:spcPts val="0"/>
              </a:spcAft>
              <a:buClr>
                <a:schemeClr val="dk1"/>
              </a:buClr>
              <a:buSzPts val="1600"/>
              <a:buNone/>
              <a:defRPr sz="1600" b="1"/>
            </a:lvl8pPr>
            <a:lvl9pPr marL="4115006" lvl="8" indent="-228611" algn="l">
              <a:lnSpc>
                <a:spcPct val="90000"/>
              </a:lnSpc>
              <a:spcBef>
                <a:spcPts val="500"/>
              </a:spcBef>
              <a:spcAft>
                <a:spcPts val="0"/>
              </a:spcAft>
              <a:buClr>
                <a:schemeClr val="dk1"/>
              </a:buClr>
              <a:buSzPts val="1600"/>
              <a:buNone/>
              <a:defRPr sz="1600" b="1"/>
            </a:lvl9pPr>
          </a:lstStyle>
          <a:p>
            <a:endParaRPr/>
          </a:p>
        </p:txBody>
      </p:sp>
      <p:sp>
        <p:nvSpPr>
          <p:cNvPr id="81" name="Google Shape;81;p8"/>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23" lvl="0" indent="-355618" algn="l">
              <a:lnSpc>
                <a:spcPct val="100000"/>
              </a:lnSpc>
              <a:spcBef>
                <a:spcPts val="1000"/>
              </a:spcBef>
              <a:spcAft>
                <a:spcPts val="0"/>
              </a:spcAft>
              <a:buSzPts val="2000"/>
              <a:buChar char="•"/>
              <a:defRPr sz="2000"/>
            </a:lvl1pPr>
            <a:lvl2pPr marL="914446" lvl="1" indent="-342917" algn="l">
              <a:lnSpc>
                <a:spcPct val="100000"/>
              </a:lnSpc>
              <a:spcBef>
                <a:spcPts val="1000"/>
              </a:spcBef>
              <a:spcAft>
                <a:spcPts val="0"/>
              </a:spcAft>
              <a:buSzPts val="1800"/>
              <a:buChar char="•"/>
              <a:defRPr sz="1800"/>
            </a:lvl2pPr>
            <a:lvl3pPr marL="1371669" lvl="2" indent="-330217" algn="l">
              <a:lnSpc>
                <a:spcPct val="100000"/>
              </a:lnSpc>
              <a:spcBef>
                <a:spcPts val="1000"/>
              </a:spcBef>
              <a:spcAft>
                <a:spcPts val="0"/>
              </a:spcAft>
              <a:buSzPts val="1600"/>
              <a:buChar char="•"/>
              <a:defRPr sz="1600"/>
            </a:lvl3pPr>
            <a:lvl4pPr marL="1828891" lvl="3" indent="-317516" algn="l">
              <a:lnSpc>
                <a:spcPct val="100000"/>
              </a:lnSpc>
              <a:spcBef>
                <a:spcPts val="1000"/>
              </a:spcBef>
              <a:spcAft>
                <a:spcPts val="0"/>
              </a:spcAft>
              <a:buSzPts val="1400"/>
              <a:buChar char="•"/>
              <a:defRPr sz="1400"/>
            </a:lvl4pPr>
            <a:lvl5pPr marL="2286114" lvl="4" indent="-317516" algn="l">
              <a:lnSpc>
                <a:spcPct val="100000"/>
              </a:lnSpc>
              <a:spcBef>
                <a:spcPts val="1000"/>
              </a:spcBef>
              <a:spcAft>
                <a:spcPts val="0"/>
              </a:spcAft>
              <a:buSzPts val="1400"/>
              <a:buChar char="•"/>
              <a:defRPr sz="1400"/>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2" name="Google Shape;82;p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23" lvl="0" indent="-228611"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46" lvl="1" indent="-228611" algn="l">
              <a:lnSpc>
                <a:spcPct val="100000"/>
              </a:lnSpc>
              <a:spcBef>
                <a:spcPts val="1000"/>
              </a:spcBef>
              <a:spcAft>
                <a:spcPts val="0"/>
              </a:spcAft>
              <a:buSzPts val="2000"/>
              <a:buNone/>
              <a:defRPr sz="2000" b="1"/>
            </a:lvl2pPr>
            <a:lvl3pPr marL="1371669" lvl="2" indent="-228611" algn="l">
              <a:lnSpc>
                <a:spcPct val="100000"/>
              </a:lnSpc>
              <a:spcBef>
                <a:spcPts val="1000"/>
              </a:spcBef>
              <a:spcAft>
                <a:spcPts val="0"/>
              </a:spcAft>
              <a:buSzPts val="1800"/>
              <a:buNone/>
              <a:defRPr sz="1800" b="1"/>
            </a:lvl3pPr>
            <a:lvl4pPr marL="1828891" lvl="3" indent="-228611" algn="l">
              <a:lnSpc>
                <a:spcPct val="100000"/>
              </a:lnSpc>
              <a:spcBef>
                <a:spcPts val="1000"/>
              </a:spcBef>
              <a:spcAft>
                <a:spcPts val="0"/>
              </a:spcAft>
              <a:buSzPts val="1600"/>
              <a:buNone/>
              <a:defRPr sz="1600" b="1"/>
            </a:lvl4pPr>
            <a:lvl5pPr marL="2286114" lvl="4" indent="-228611" algn="l">
              <a:lnSpc>
                <a:spcPct val="100000"/>
              </a:lnSpc>
              <a:spcBef>
                <a:spcPts val="1000"/>
              </a:spcBef>
              <a:spcAft>
                <a:spcPts val="0"/>
              </a:spcAft>
              <a:buSzPts val="1600"/>
              <a:buNone/>
              <a:defRPr sz="1600" b="1"/>
            </a:lvl5pPr>
            <a:lvl6pPr marL="2743337" lvl="5" indent="-228611" algn="l">
              <a:lnSpc>
                <a:spcPct val="90000"/>
              </a:lnSpc>
              <a:spcBef>
                <a:spcPts val="1000"/>
              </a:spcBef>
              <a:spcAft>
                <a:spcPts val="0"/>
              </a:spcAft>
              <a:buClr>
                <a:schemeClr val="dk1"/>
              </a:buClr>
              <a:buSzPts val="1600"/>
              <a:buNone/>
              <a:defRPr sz="1600" b="1"/>
            </a:lvl6pPr>
            <a:lvl7pPr marL="3200560" lvl="6" indent="-228611" algn="l">
              <a:lnSpc>
                <a:spcPct val="90000"/>
              </a:lnSpc>
              <a:spcBef>
                <a:spcPts val="500"/>
              </a:spcBef>
              <a:spcAft>
                <a:spcPts val="0"/>
              </a:spcAft>
              <a:buClr>
                <a:schemeClr val="dk1"/>
              </a:buClr>
              <a:buSzPts val="1600"/>
              <a:buNone/>
              <a:defRPr sz="1600" b="1"/>
            </a:lvl7pPr>
            <a:lvl8pPr marL="3657783" lvl="7" indent="-228611" algn="l">
              <a:lnSpc>
                <a:spcPct val="90000"/>
              </a:lnSpc>
              <a:spcBef>
                <a:spcPts val="500"/>
              </a:spcBef>
              <a:spcAft>
                <a:spcPts val="0"/>
              </a:spcAft>
              <a:buClr>
                <a:schemeClr val="dk1"/>
              </a:buClr>
              <a:buSzPts val="1600"/>
              <a:buNone/>
              <a:defRPr sz="1600" b="1"/>
            </a:lvl8pPr>
            <a:lvl9pPr marL="4115006" lvl="8" indent="-228611" algn="l">
              <a:lnSpc>
                <a:spcPct val="90000"/>
              </a:lnSpc>
              <a:spcBef>
                <a:spcPts val="500"/>
              </a:spcBef>
              <a:spcAft>
                <a:spcPts val="0"/>
              </a:spcAft>
              <a:buClr>
                <a:schemeClr val="dk1"/>
              </a:buClr>
              <a:buSzPts val="1600"/>
              <a:buNone/>
              <a:defRPr sz="1600" b="1"/>
            </a:lvl9pPr>
          </a:lstStyle>
          <a:p>
            <a:endParaRPr/>
          </a:p>
        </p:txBody>
      </p:sp>
      <p:sp>
        <p:nvSpPr>
          <p:cNvPr id="83" name="Google Shape;83;p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23" lvl="0" indent="-355618" algn="l">
              <a:lnSpc>
                <a:spcPct val="100000"/>
              </a:lnSpc>
              <a:spcBef>
                <a:spcPts val="1000"/>
              </a:spcBef>
              <a:spcAft>
                <a:spcPts val="0"/>
              </a:spcAft>
              <a:buSzPts val="2000"/>
              <a:buChar char="•"/>
              <a:defRPr sz="2000"/>
            </a:lvl1pPr>
            <a:lvl2pPr marL="914446" lvl="1" indent="-342917" algn="l">
              <a:lnSpc>
                <a:spcPct val="100000"/>
              </a:lnSpc>
              <a:spcBef>
                <a:spcPts val="1000"/>
              </a:spcBef>
              <a:spcAft>
                <a:spcPts val="0"/>
              </a:spcAft>
              <a:buSzPts val="1800"/>
              <a:buChar char="•"/>
              <a:defRPr sz="1800"/>
            </a:lvl2pPr>
            <a:lvl3pPr marL="1371669" lvl="2" indent="-330217" algn="l">
              <a:lnSpc>
                <a:spcPct val="100000"/>
              </a:lnSpc>
              <a:spcBef>
                <a:spcPts val="1000"/>
              </a:spcBef>
              <a:spcAft>
                <a:spcPts val="0"/>
              </a:spcAft>
              <a:buSzPts val="1600"/>
              <a:buChar char="•"/>
              <a:defRPr sz="1600"/>
            </a:lvl3pPr>
            <a:lvl4pPr marL="1828891" lvl="3" indent="-317516" algn="l">
              <a:lnSpc>
                <a:spcPct val="100000"/>
              </a:lnSpc>
              <a:spcBef>
                <a:spcPts val="1000"/>
              </a:spcBef>
              <a:spcAft>
                <a:spcPts val="0"/>
              </a:spcAft>
              <a:buSzPts val="1400"/>
              <a:buChar char="•"/>
              <a:defRPr sz="1400"/>
            </a:lvl4pPr>
            <a:lvl5pPr marL="2286114" lvl="4" indent="-317516" algn="l">
              <a:lnSpc>
                <a:spcPct val="100000"/>
              </a:lnSpc>
              <a:spcBef>
                <a:spcPts val="1000"/>
              </a:spcBef>
              <a:spcAft>
                <a:spcPts val="0"/>
              </a:spcAft>
              <a:buSzPts val="1400"/>
              <a:buChar char="•"/>
              <a:defRPr sz="1400"/>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4" name="Google Shape;84;p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85" name="Google Shape;85;p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 name="Google Shape;86;p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45931732"/>
      </p:ext>
    </p:extLst>
  </p:cSld>
  <p:clrMapOvr>
    <a:masterClrMapping/>
  </p:clrMapOvr>
</p:sldLayout>
</file>

<file path=ppt/slideLayouts/slideLayout1348.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87"/>
        <p:cNvGrpSpPr/>
        <p:nvPr/>
      </p:nvGrpSpPr>
      <p:grpSpPr>
        <a:xfrm>
          <a:off x="0" y="0"/>
          <a:ext cx="0" cy="0"/>
          <a:chOff x="0" y="0"/>
          <a:chExt cx="0" cy="0"/>
        </a:xfrm>
      </p:grpSpPr>
      <p:sp>
        <p:nvSpPr>
          <p:cNvPr id="88" name="Google Shape;88;p9"/>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9" name="Google Shape;89;p9"/>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 name="Google Shape;90;p9"/>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1" name="Google Shape;91;p9"/>
          <p:cNvSpPr>
            <a:spLocks noGrp="1"/>
          </p:cNvSpPr>
          <p:nvPr>
            <p:ph type="pic" idx="2"/>
          </p:nvPr>
        </p:nvSpPr>
        <p:spPr>
          <a:xfrm>
            <a:off x="7118684" y="233915"/>
            <a:ext cx="5073316" cy="5943600"/>
          </a:xfrm>
          <a:prstGeom prst="rect">
            <a:avLst/>
          </a:prstGeom>
          <a:noFill/>
          <a:ln>
            <a:noFill/>
          </a:ln>
        </p:spPr>
      </p:sp>
      <p:grpSp>
        <p:nvGrpSpPr>
          <p:cNvPr id="92" name="Google Shape;92;p9"/>
          <p:cNvGrpSpPr/>
          <p:nvPr/>
        </p:nvGrpSpPr>
        <p:grpSpPr>
          <a:xfrm>
            <a:off x="0" y="5020349"/>
            <a:ext cx="12192000" cy="1837653"/>
            <a:chOff x="0" y="5020348"/>
            <a:chExt cx="12192000" cy="1837653"/>
          </a:xfrm>
        </p:grpSpPr>
        <p:sp>
          <p:nvSpPr>
            <p:cNvPr id="93" name="Google Shape;93;p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 name="Google Shape;94;p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5" name="Google Shape;95;p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565402788"/>
      </p:ext>
    </p:extLst>
  </p:cSld>
  <p:clrMapOvr>
    <a:masterClrMapping/>
  </p:clrMapOvr>
</p:sldLayout>
</file>

<file path=ppt/slideLayouts/slideLayout1349.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96"/>
        <p:cNvGrpSpPr/>
        <p:nvPr/>
      </p:nvGrpSpPr>
      <p:grpSpPr>
        <a:xfrm>
          <a:off x="0" y="0"/>
          <a:ext cx="0" cy="0"/>
          <a:chOff x="0" y="0"/>
          <a:chExt cx="0" cy="0"/>
        </a:xfrm>
      </p:grpSpPr>
      <p:grpSp>
        <p:nvGrpSpPr>
          <p:cNvPr id="97" name="Google Shape;97;p10"/>
          <p:cNvGrpSpPr/>
          <p:nvPr/>
        </p:nvGrpSpPr>
        <p:grpSpPr>
          <a:xfrm>
            <a:off x="0" y="5020348"/>
            <a:ext cx="12192000" cy="1837653"/>
            <a:chOff x="0" y="5020347"/>
            <a:chExt cx="12192000" cy="1837653"/>
          </a:xfrm>
        </p:grpSpPr>
        <p:sp>
          <p:nvSpPr>
            <p:cNvPr id="98" name="Google Shape;98;p1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9" name="Google Shape;99;p1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0" name="Google Shape;100;p1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1" name="Google Shape;101;p1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2" name="Google Shape;102;p10"/>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 name="Google Shape;103;p10"/>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50655856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matchingName="Quotation">
  <p:cSld name="Quotation 13 2">
    <p:spTree>
      <p:nvGrpSpPr>
        <p:cNvPr id="1" name="Shape 10349"/>
        <p:cNvGrpSpPr/>
        <p:nvPr/>
      </p:nvGrpSpPr>
      <p:grpSpPr>
        <a:xfrm>
          <a:off x="0" y="0"/>
          <a:ext cx="0" cy="0"/>
          <a:chOff x="0" y="0"/>
          <a:chExt cx="0" cy="0"/>
        </a:xfrm>
      </p:grpSpPr>
      <p:sp>
        <p:nvSpPr>
          <p:cNvPr id="10350" name="Google Shape;10350;p143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351" name="Google Shape;10351;p143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352" name="Google Shape;10352;p143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53" name="Google Shape;10353;p14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354" name="Google Shape;10354;p14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55" name="Google Shape;10355;p14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356" name="Google Shape;10356;p1439"/>
          <p:cNvGrpSpPr/>
          <p:nvPr/>
        </p:nvGrpSpPr>
        <p:grpSpPr>
          <a:xfrm>
            <a:off x="7191542" y="1"/>
            <a:ext cx="5000459" cy="1425992"/>
            <a:chOff x="7191542" y="1"/>
            <a:chExt cx="5000459" cy="1425992"/>
          </a:xfrm>
        </p:grpSpPr>
        <p:pic>
          <p:nvPicPr>
            <p:cNvPr id="10357" name="Google Shape;10357;p14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58" name="Google Shape;10358;p1439"/>
            <p:cNvGrpSpPr/>
            <p:nvPr/>
          </p:nvGrpSpPr>
          <p:grpSpPr>
            <a:xfrm>
              <a:off x="7191542" y="1"/>
              <a:ext cx="5000459" cy="1425992"/>
              <a:chOff x="7186272" y="0"/>
              <a:chExt cx="5005729" cy="1427495"/>
            </a:xfrm>
          </p:grpSpPr>
          <p:sp>
            <p:nvSpPr>
              <p:cNvPr id="10359" name="Google Shape;10359;p14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360" name="Google Shape;10360;p14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361" name="Google Shape;10361;p143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35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4"/>
        <p:cNvGrpSpPr/>
        <p:nvPr/>
      </p:nvGrpSpPr>
      <p:grpSpPr>
        <a:xfrm>
          <a:off x="0" y="0"/>
          <a:ext cx="0" cy="0"/>
          <a:chOff x="0" y="0"/>
          <a:chExt cx="0" cy="0"/>
        </a:xfrm>
      </p:grpSpPr>
      <p:sp>
        <p:nvSpPr>
          <p:cNvPr id="105" name="Google Shape;105;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06" name="Google Shape;106;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7" name="Google Shape;107;p11"/>
          <p:cNvGrpSpPr/>
          <p:nvPr/>
        </p:nvGrpSpPr>
        <p:grpSpPr>
          <a:xfrm>
            <a:off x="0" y="5379427"/>
            <a:ext cx="2807368" cy="753891"/>
            <a:chOff x="0" y="5379426"/>
            <a:chExt cx="2807368" cy="753891"/>
          </a:xfrm>
        </p:grpSpPr>
        <p:sp>
          <p:nvSpPr>
            <p:cNvPr id="108" name="Google Shape;108;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 name="Google Shape;109;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0" name="Google Shape;110;p11"/>
          <p:cNvSpPr>
            <a:spLocks noGrp="1"/>
          </p:cNvSpPr>
          <p:nvPr>
            <p:ph type="pic" idx="2"/>
          </p:nvPr>
        </p:nvSpPr>
        <p:spPr>
          <a:xfrm>
            <a:off x="2807368" y="457202"/>
            <a:ext cx="8915400" cy="5943598"/>
          </a:xfrm>
          <a:prstGeom prst="rect">
            <a:avLst/>
          </a:prstGeom>
          <a:noFill/>
          <a:ln>
            <a:noFill/>
          </a:ln>
        </p:spPr>
      </p:sp>
      <p:pic>
        <p:nvPicPr>
          <p:cNvPr id="111" name="Google Shape;111;p1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3171483178"/>
      </p:ext>
    </p:extLst>
  </p:cSld>
  <p:clrMapOvr>
    <a:masterClrMapping/>
  </p:clrMapOvr>
</p:sldLayout>
</file>

<file path=ppt/slideLayouts/slideLayout1351.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112"/>
        <p:cNvGrpSpPr/>
        <p:nvPr/>
      </p:nvGrpSpPr>
      <p:grpSpPr>
        <a:xfrm>
          <a:off x="0" y="0"/>
          <a:ext cx="0" cy="0"/>
          <a:chOff x="0" y="0"/>
          <a:chExt cx="0" cy="0"/>
        </a:xfrm>
      </p:grpSpPr>
      <p:sp>
        <p:nvSpPr>
          <p:cNvPr id="113" name="Google Shape;113;p1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4" name="Google Shape;114;p1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 name="Google Shape;115;p1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116" name="Google Shape;116;p1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17" name="Google Shape;117;p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 name="Google Shape;118;p1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9" name="Google Shape;119;p12"/>
          <p:cNvGrpSpPr/>
          <p:nvPr/>
        </p:nvGrpSpPr>
        <p:grpSpPr>
          <a:xfrm>
            <a:off x="7191543" y="1"/>
            <a:ext cx="5000459" cy="1425992"/>
            <a:chOff x="7191542" y="1"/>
            <a:chExt cx="5000459" cy="1425992"/>
          </a:xfrm>
        </p:grpSpPr>
        <p:pic>
          <p:nvPicPr>
            <p:cNvPr id="120" name="Google Shape;120;p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1" name="Google Shape;121;p12"/>
            <p:cNvGrpSpPr/>
            <p:nvPr/>
          </p:nvGrpSpPr>
          <p:grpSpPr>
            <a:xfrm>
              <a:off x="7191542" y="1"/>
              <a:ext cx="5000459" cy="1425992"/>
              <a:chOff x="7186272" y="0"/>
              <a:chExt cx="5005729" cy="1427495"/>
            </a:xfrm>
          </p:grpSpPr>
          <p:sp>
            <p:nvSpPr>
              <p:cNvPr id="122" name="Google Shape;122;p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3" name="Google Shape;123;p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24" name="Google Shape;124;p1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030105758"/>
      </p:ext>
    </p:extLst>
  </p:cSld>
  <p:clrMapOvr>
    <a:masterClrMapping/>
  </p:clrMapOvr>
</p:sldLayout>
</file>

<file path=ppt/slideLayouts/slideLayout1352.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25"/>
        <p:cNvGrpSpPr/>
        <p:nvPr/>
      </p:nvGrpSpPr>
      <p:grpSpPr>
        <a:xfrm>
          <a:off x="0" y="0"/>
          <a:ext cx="0" cy="0"/>
          <a:chOff x="0" y="0"/>
          <a:chExt cx="0" cy="0"/>
        </a:xfrm>
      </p:grpSpPr>
      <p:grpSp>
        <p:nvGrpSpPr>
          <p:cNvPr id="126" name="Google Shape;126;p13"/>
          <p:cNvGrpSpPr/>
          <p:nvPr/>
        </p:nvGrpSpPr>
        <p:grpSpPr>
          <a:xfrm>
            <a:off x="7191543" y="1"/>
            <a:ext cx="5000459" cy="1425992"/>
            <a:chOff x="7191542" y="1"/>
            <a:chExt cx="5000459" cy="1425992"/>
          </a:xfrm>
        </p:grpSpPr>
        <p:pic>
          <p:nvPicPr>
            <p:cNvPr id="127" name="Google Shape;127;p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8" name="Google Shape;128;p13"/>
            <p:cNvGrpSpPr/>
            <p:nvPr/>
          </p:nvGrpSpPr>
          <p:grpSpPr>
            <a:xfrm>
              <a:off x="7191542" y="1"/>
              <a:ext cx="5000459" cy="1425992"/>
              <a:chOff x="7186272" y="0"/>
              <a:chExt cx="5005729" cy="1427495"/>
            </a:xfrm>
          </p:grpSpPr>
          <p:sp>
            <p:nvSpPr>
              <p:cNvPr id="129" name="Google Shape;129;p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0" name="Google Shape;130;p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31" name="Google Shape;131;p13"/>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 name="Google Shape;132;p13"/>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133" name="Google Shape;133;p1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34" name="Google Shape;134;p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5" name="Google Shape;135;p1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09238105"/>
      </p:ext>
    </p:extLst>
  </p:cSld>
  <p:clrMapOvr>
    <a:masterClrMapping/>
  </p:clrMapOvr>
</p:sldLayout>
</file>

<file path=ppt/slideLayouts/slideLayout1353.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36"/>
        <p:cNvGrpSpPr/>
        <p:nvPr/>
      </p:nvGrpSpPr>
      <p:grpSpPr>
        <a:xfrm>
          <a:off x="0" y="0"/>
          <a:ext cx="0" cy="0"/>
          <a:chOff x="0" y="0"/>
          <a:chExt cx="0" cy="0"/>
        </a:xfrm>
      </p:grpSpPr>
      <p:sp>
        <p:nvSpPr>
          <p:cNvPr id="137" name="Google Shape;137;p1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 name="Google Shape;138;p14"/>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grpSp>
        <p:nvGrpSpPr>
          <p:cNvPr id="139" name="Google Shape;139;p14"/>
          <p:cNvGrpSpPr/>
          <p:nvPr/>
        </p:nvGrpSpPr>
        <p:grpSpPr>
          <a:xfrm>
            <a:off x="7191543" y="1"/>
            <a:ext cx="5000459" cy="1425992"/>
            <a:chOff x="7191542" y="1"/>
            <a:chExt cx="5000459" cy="1425992"/>
          </a:xfrm>
        </p:grpSpPr>
        <p:pic>
          <p:nvPicPr>
            <p:cNvPr id="140" name="Google Shape;140;p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1" name="Google Shape;141;p14"/>
            <p:cNvGrpSpPr/>
            <p:nvPr/>
          </p:nvGrpSpPr>
          <p:grpSpPr>
            <a:xfrm>
              <a:off x="7191542" y="1"/>
              <a:ext cx="5000459" cy="1425992"/>
              <a:chOff x="7186272" y="0"/>
              <a:chExt cx="5005729" cy="1427495"/>
            </a:xfrm>
          </p:grpSpPr>
          <p:sp>
            <p:nvSpPr>
              <p:cNvPr id="142" name="Google Shape;142;p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3" name="Google Shape;143;p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4" name="Google Shape;144;p14"/>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145" name="Google Shape;145;p14"/>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146" name="Google Shape;146;p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7" name="Google Shape;147;p1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534506148"/>
      </p:ext>
    </p:extLst>
  </p:cSld>
  <p:clrMapOvr>
    <a:masterClrMapping/>
  </p:clrMapOvr>
</p:sldLayout>
</file>

<file path=ppt/slideLayouts/slideLayout1354.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48"/>
        <p:cNvGrpSpPr/>
        <p:nvPr/>
      </p:nvGrpSpPr>
      <p:grpSpPr>
        <a:xfrm>
          <a:off x="0" y="0"/>
          <a:ext cx="0" cy="0"/>
          <a:chOff x="0" y="0"/>
          <a:chExt cx="0" cy="0"/>
        </a:xfrm>
      </p:grpSpPr>
      <p:grpSp>
        <p:nvGrpSpPr>
          <p:cNvPr id="149" name="Google Shape;149;p15"/>
          <p:cNvGrpSpPr/>
          <p:nvPr/>
        </p:nvGrpSpPr>
        <p:grpSpPr>
          <a:xfrm>
            <a:off x="7191543" y="1"/>
            <a:ext cx="5000459" cy="1425992"/>
            <a:chOff x="7191542" y="1"/>
            <a:chExt cx="5000459" cy="1425992"/>
          </a:xfrm>
        </p:grpSpPr>
        <p:pic>
          <p:nvPicPr>
            <p:cNvPr id="150" name="Google Shape;150;p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1" name="Google Shape;151;p15"/>
            <p:cNvGrpSpPr/>
            <p:nvPr/>
          </p:nvGrpSpPr>
          <p:grpSpPr>
            <a:xfrm>
              <a:off x="7191542" y="1"/>
              <a:ext cx="5000459" cy="1425992"/>
              <a:chOff x="7186272" y="0"/>
              <a:chExt cx="5005729" cy="1427495"/>
            </a:xfrm>
          </p:grpSpPr>
          <p:sp>
            <p:nvSpPr>
              <p:cNvPr id="152" name="Google Shape;152;p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3" name="Google Shape;153;p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4" name="Google Shape;154;p15"/>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5" name="Google Shape;155;p15"/>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23" lvl="0" indent="-228611"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46" lvl="1" indent="-228611" algn="l">
              <a:lnSpc>
                <a:spcPct val="100000"/>
              </a:lnSpc>
              <a:spcBef>
                <a:spcPts val="1000"/>
              </a:spcBef>
              <a:spcAft>
                <a:spcPts val="0"/>
              </a:spcAft>
              <a:buSzPts val="2000"/>
              <a:buNone/>
              <a:defRPr sz="2000" b="1"/>
            </a:lvl2pPr>
            <a:lvl3pPr marL="1371669" lvl="2" indent="-228611" algn="l">
              <a:lnSpc>
                <a:spcPct val="100000"/>
              </a:lnSpc>
              <a:spcBef>
                <a:spcPts val="1000"/>
              </a:spcBef>
              <a:spcAft>
                <a:spcPts val="0"/>
              </a:spcAft>
              <a:buSzPts val="1800"/>
              <a:buNone/>
              <a:defRPr sz="1800" b="1"/>
            </a:lvl3pPr>
            <a:lvl4pPr marL="1828891" lvl="3" indent="-228611" algn="l">
              <a:lnSpc>
                <a:spcPct val="100000"/>
              </a:lnSpc>
              <a:spcBef>
                <a:spcPts val="1000"/>
              </a:spcBef>
              <a:spcAft>
                <a:spcPts val="0"/>
              </a:spcAft>
              <a:buSzPts val="1600"/>
              <a:buNone/>
              <a:defRPr sz="1600" b="1"/>
            </a:lvl4pPr>
            <a:lvl5pPr marL="2286114" lvl="4" indent="-228611" algn="l">
              <a:lnSpc>
                <a:spcPct val="100000"/>
              </a:lnSpc>
              <a:spcBef>
                <a:spcPts val="1000"/>
              </a:spcBef>
              <a:spcAft>
                <a:spcPts val="0"/>
              </a:spcAft>
              <a:buSzPts val="1600"/>
              <a:buNone/>
              <a:defRPr sz="1600" b="1"/>
            </a:lvl5pPr>
            <a:lvl6pPr marL="2743337" lvl="5" indent="-228611" algn="l">
              <a:lnSpc>
                <a:spcPct val="90000"/>
              </a:lnSpc>
              <a:spcBef>
                <a:spcPts val="1000"/>
              </a:spcBef>
              <a:spcAft>
                <a:spcPts val="0"/>
              </a:spcAft>
              <a:buClr>
                <a:schemeClr val="dk1"/>
              </a:buClr>
              <a:buSzPts val="1600"/>
              <a:buNone/>
              <a:defRPr sz="1600" b="1"/>
            </a:lvl6pPr>
            <a:lvl7pPr marL="3200560" lvl="6" indent="-228611" algn="l">
              <a:lnSpc>
                <a:spcPct val="90000"/>
              </a:lnSpc>
              <a:spcBef>
                <a:spcPts val="500"/>
              </a:spcBef>
              <a:spcAft>
                <a:spcPts val="0"/>
              </a:spcAft>
              <a:buClr>
                <a:schemeClr val="dk1"/>
              </a:buClr>
              <a:buSzPts val="1600"/>
              <a:buNone/>
              <a:defRPr sz="1600" b="1"/>
            </a:lvl7pPr>
            <a:lvl8pPr marL="3657783" lvl="7" indent="-228611" algn="l">
              <a:lnSpc>
                <a:spcPct val="90000"/>
              </a:lnSpc>
              <a:spcBef>
                <a:spcPts val="500"/>
              </a:spcBef>
              <a:spcAft>
                <a:spcPts val="0"/>
              </a:spcAft>
              <a:buClr>
                <a:schemeClr val="dk1"/>
              </a:buClr>
              <a:buSzPts val="1600"/>
              <a:buNone/>
              <a:defRPr sz="1600" b="1"/>
            </a:lvl8pPr>
            <a:lvl9pPr marL="4115006" lvl="8" indent="-228611" algn="l">
              <a:lnSpc>
                <a:spcPct val="90000"/>
              </a:lnSpc>
              <a:spcBef>
                <a:spcPts val="500"/>
              </a:spcBef>
              <a:spcAft>
                <a:spcPts val="0"/>
              </a:spcAft>
              <a:buClr>
                <a:schemeClr val="dk1"/>
              </a:buClr>
              <a:buSzPts val="1600"/>
              <a:buNone/>
              <a:defRPr sz="1600" b="1"/>
            </a:lvl9pPr>
          </a:lstStyle>
          <a:p>
            <a:endParaRPr/>
          </a:p>
        </p:txBody>
      </p:sp>
      <p:sp>
        <p:nvSpPr>
          <p:cNvPr id="156" name="Google Shape;156;p15"/>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23" lvl="0" indent="-355618" algn="l">
              <a:lnSpc>
                <a:spcPct val="100000"/>
              </a:lnSpc>
              <a:spcBef>
                <a:spcPts val="1000"/>
              </a:spcBef>
              <a:spcAft>
                <a:spcPts val="0"/>
              </a:spcAft>
              <a:buSzPts val="2000"/>
              <a:buChar char="•"/>
              <a:defRPr sz="2000"/>
            </a:lvl1pPr>
            <a:lvl2pPr marL="914446" lvl="1" indent="-342917" algn="l">
              <a:lnSpc>
                <a:spcPct val="100000"/>
              </a:lnSpc>
              <a:spcBef>
                <a:spcPts val="1000"/>
              </a:spcBef>
              <a:spcAft>
                <a:spcPts val="0"/>
              </a:spcAft>
              <a:buSzPts val="1800"/>
              <a:buChar char="•"/>
              <a:defRPr sz="1800"/>
            </a:lvl2pPr>
            <a:lvl3pPr marL="1371669" lvl="2" indent="-330217" algn="l">
              <a:lnSpc>
                <a:spcPct val="100000"/>
              </a:lnSpc>
              <a:spcBef>
                <a:spcPts val="1000"/>
              </a:spcBef>
              <a:spcAft>
                <a:spcPts val="0"/>
              </a:spcAft>
              <a:buSzPts val="1600"/>
              <a:buChar char="•"/>
              <a:defRPr sz="1600"/>
            </a:lvl3pPr>
            <a:lvl4pPr marL="1828891" lvl="3" indent="-317516" algn="l">
              <a:lnSpc>
                <a:spcPct val="100000"/>
              </a:lnSpc>
              <a:spcBef>
                <a:spcPts val="1000"/>
              </a:spcBef>
              <a:spcAft>
                <a:spcPts val="0"/>
              </a:spcAft>
              <a:buSzPts val="1400"/>
              <a:buChar char="•"/>
              <a:defRPr sz="1400"/>
            </a:lvl4pPr>
            <a:lvl5pPr marL="2286114" lvl="4" indent="-317516" algn="l">
              <a:lnSpc>
                <a:spcPct val="100000"/>
              </a:lnSpc>
              <a:spcBef>
                <a:spcPts val="1000"/>
              </a:spcBef>
              <a:spcAft>
                <a:spcPts val="0"/>
              </a:spcAft>
              <a:buSzPts val="1400"/>
              <a:buChar char="•"/>
              <a:defRPr sz="1400"/>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157" name="Google Shape;157;p1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23" lvl="0" indent="-228611"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46" lvl="1" indent="-228611" algn="l">
              <a:lnSpc>
                <a:spcPct val="100000"/>
              </a:lnSpc>
              <a:spcBef>
                <a:spcPts val="1000"/>
              </a:spcBef>
              <a:spcAft>
                <a:spcPts val="0"/>
              </a:spcAft>
              <a:buSzPts val="2000"/>
              <a:buNone/>
              <a:defRPr sz="2000" b="1"/>
            </a:lvl2pPr>
            <a:lvl3pPr marL="1371669" lvl="2" indent="-228611" algn="l">
              <a:lnSpc>
                <a:spcPct val="100000"/>
              </a:lnSpc>
              <a:spcBef>
                <a:spcPts val="1000"/>
              </a:spcBef>
              <a:spcAft>
                <a:spcPts val="0"/>
              </a:spcAft>
              <a:buSzPts val="1800"/>
              <a:buNone/>
              <a:defRPr sz="1800" b="1"/>
            </a:lvl3pPr>
            <a:lvl4pPr marL="1828891" lvl="3" indent="-228611" algn="l">
              <a:lnSpc>
                <a:spcPct val="100000"/>
              </a:lnSpc>
              <a:spcBef>
                <a:spcPts val="1000"/>
              </a:spcBef>
              <a:spcAft>
                <a:spcPts val="0"/>
              </a:spcAft>
              <a:buSzPts val="1600"/>
              <a:buNone/>
              <a:defRPr sz="1600" b="1"/>
            </a:lvl4pPr>
            <a:lvl5pPr marL="2286114" lvl="4" indent="-228611" algn="l">
              <a:lnSpc>
                <a:spcPct val="100000"/>
              </a:lnSpc>
              <a:spcBef>
                <a:spcPts val="1000"/>
              </a:spcBef>
              <a:spcAft>
                <a:spcPts val="0"/>
              </a:spcAft>
              <a:buSzPts val="1600"/>
              <a:buNone/>
              <a:defRPr sz="1600" b="1"/>
            </a:lvl5pPr>
            <a:lvl6pPr marL="2743337" lvl="5" indent="-228611" algn="l">
              <a:lnSpc>
                <a:spcPct val="90000"/>
              </a:lnSpc>
              <a:spcBef>
                <a:spcPts val="1000"/>
              </a:spcBef>
              <a:spcAft>
                <a:spcPts val="0"/>
              </a:spcAft>
              <a:buClr>
                <a:schemeClr val="dk1"/>
              </a:buClr>
              <a:buSzPts val="1600"/>
              <a:buNone/>
              <a:defRPr sz="1600" b="1"/>
            </a:lvl6pPr>
            <a:lvl7pPr marL="3200560" lvl="6" indent="-228611" algn="l">
              <a:lnSpc>
                <a:spcPct val="90000"/>
              </a:lnSpc>
              <a:spcBef>
                <a:spcPts val="500"/>
              </a:spcBef>
              <a:spcAft>
                <a:spcPts val="0"/>
              </a:spcAft>
              <a:buClr>
                <a:schemeClr val="dk1"/>
              </a:buClr>
              <a:buSzPts val="1600"/>
              <a:buNone/>
              <a:defRPr sz="1600" b="1"/>
            </a:lvl7pPr>
            <a:lvl8pPr marL="3657783" lvl="7" indent="-228611" algn="l">
              <a:lnSpc>
                <a:spcPct val="90000"/>
              </a:lnSpc>
              <a:spcBef>
                <a:spcPts val="500"/>
              </a:spcBef>
              <a:spcAft>
                <a:spcPts val="0"/>
              </a:spcAft>
              <a:buClr>
                <a:schemeClr val="dk1"/>
              </a:buClr>
              <a:buSzPts val="1600"/>
              <a:buNone/>
              <a:defRPr sz="1600" b="1"/>
            </a:lvl8pPr>
            <a:lvl9pPr marL="4115006" lvl="8" indent="-228611" algn="l">
              <a:lnSpc>
                <a:spcPct val="90000"/>
              </a:lnSpc>
              <a:spcBef>
                <a:spcPts val="500"/>
              </a:spcBef>
              <a:spcAft>
                <a:spcPts val="0"/>
              </a:spcAft>
              <a:buClr>
                <a:schemeClr val="dk1"/>
              </a:buClr>
              <a:buSzPts val="1600"/>
              <a:buNone/>
              <a:defRPr sz="1600" b="1"/>
            </a:lvl9pPr>
          </a:lstStyle>
          <a:p>
            <a:endParaRPr/>
          </a:p>
        </p:txBody>
      </p:sp>
      <p:sp>
        <p:nvSpPr>
          <p:cNvPr id="158" name="Google Shape;158;p1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23" lvl="0" indent="-355618" algn="l">
              <a:lnSpc>
                <a:spcPct val="100000"/>
              </a:lnSpc>
              <a:spcBef>
                <a:spcPts val="1000"/>
              </a:spcBef>
              <a:spcAft>
                <a:spcPts val="0"/>
              </a:spcAft>
              <a:buSzPts val="2000"/>
              <a:buChar char="•"/>
              <a:defRPr sz="2000"/>
            </a:lvl1pPr>
            <a:lvl2pPr marL="914446" lvl="1" indent="-342917" algn="l">
              <a:lnSpc>
                <a:spcPct val="100000"/>
              </a:lnSpc>
              <a:spcBef>
                <a:spcPts val="1000"/>
              </a:spcBef>
              <a:spcAft>
                <a:spcPts val="0"/>
              </a:spcAft>
              <a:buSzPts val="1800"/>
              <a:buChar char="•"/>
              <a:defRPr sz="1800"/>
            </a:lvl2pPr>
            <a:lvl3pPr marL="1371669" lvl="2" indent="-330217" algn="l">
              <a:lnSpc>
                <a:spcPct val="100000"/>
              </a:lnSpc>
              <a:spcBef>
                <a:spcPts val="1000"/>
              </a:spcBef>
              <a:spcAft>
                <a:spcPts val="0"/>
              </a:spcAft>
              <a:buSzPts val="1600"/>
              <a:buChar char="•"/>
              <a:defRPr sz="1600"/>
            </a:lvl3pPr>
            <a:lvl4pPr marL="1828891" lvl="3" indent="-317516" algn="l">
              <a:lnSpc>
                <a:spcPct val="100000"/>
              </a:lnSpc>
              <a:spcBef>
                <a:spcPts val="1000"/>
              </a:spcBef>
              <a:spcAft>
                <a:spcPts val="0"/>
              </a:spcAft>
              <a:buSzPts val="1400"/>
              <a:buChar char="•"/>
              <a:defRPr sz="1400"/>
            </a:lvl4pPr>
            <a:lvl5pPr marL="2286114" lvl="4" indent="-317516" algn="l">
              <a:lnSpc>
                <a:spcPct val="100000"/>
              </a:lnSpc>
              <a:spcBef>
                <a:spcPts val="1000"/>
              </a:spcBef>
              <a:spcAft>
                <a:spcPts val="0"/>
              </a:spcAft>
              <a:buSzPts val="1400"/>
              <a:buChar char="•"/>
              <a:defRPr sz="1400"/>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159" name="Google Shape;159;p1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160" name="Google Shape;160;p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1" name="Google Shape;161;p1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6581812"/>
      </p:ext>
    </p:extLst>
  </p:cSld>
  <p:clrMapOvr>
    <a:masterClrMapping/>
  </p:clrMapOvr>
</p:sldLayout>
</file>

<file path=ppt/slideLayouts/slideLayout1355.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162"/>
        <p:cNvGrpSpPr/>
        <p:nvPr/>
      </p:nvGrpSpPr>
      <p:grpSpPr>
        <a:xfrm>
          <a:off x="0" y="0"/>
          <a:ext cx="0" cy="0"/>
          <a:chOff x="0" y="0"/>
          <a:chExt cx="0" cy="0"/>
        </a:xfrm>
      </p:grpSpPr>
      <p:grpSp>
        <p:nvGrpSpPr>
          <p:cNvPr id="163" name="Google Shape;163;p16"/>
          <p:cNvGrpSpPr/>
          <p:nvPr/>
        </p:nvGrpSpPr>
        <p:grpSpPr>
          <a:xfrm>
            <a:off x="7191543" y="1"/>
            <a:ext cx="5000459" cy="1425992"/>
            <a:chOff x="7191542" y="1"/>
            <a:chExt cx="5000459" cy="1425992"/>
          </a:xfrm>
        </p:grpSpPr>
        <p:pic>
          <p:nvPicPr>
            <p:cNvPr id="164" name="Google Shape;164;p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5" name="Google Shape;165;p16"/>
            <p:cNvGrpSpPr/>
            <p:nvPr/>
          </p:nvGrpSpPr>
          <p:grpSpPr>
            <a:xfrm>
              <a:off x="7191542" y="1"/>
              <a:ext cx="5000459" cy="1425992"/>
              <a:chOff x="7186272" y="0"/>
              <a:chExt cx="5005729" cy="1427495"/>
            </a:xfrm>
          </p:grpSpPr>
          <p:sp>
            <p:nvSpPr>
              <p:cNvPr id="166" name="Google Shape;166;p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7" name="Google Shape;167;p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8" name="Google Shape;168;p1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9" name="Google Shape;169;p1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170" name="Google Shape;170;p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1" name="Google Shape;171;p1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17189567"/>
      </p:ext>
    </p:extLst>
  </p:cSld>
  <p:clrMapOvr>
    <a:masterClrMapping/>
  </p:clrMapOvr>
</p:sldLayout>
</file>

<file path=ppt/slideLayouts/slideLayout1356.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172"/>
        <p:cNvGrpSpPr/>
        <p:nvPr/>
      </p:nvGrpSpPr>
      <p:grpSpPr>
        <a:xfrm>
          <a:off x="0" y="0"/>
          <a:ext cx="0" cy="0"/>
          <a:chOff x="0" y="0"/>
          <a:chExt cx="0" cy="0"/>
        </a:xfrm>
      </p:grpSpPr>
      <p:grpSp>
        <p:nvGrpSpPr>
          <p:cNvPr id="173" name="Google Shape;173;p17"/>
          <p:cNvGrpSpPr/>
          <p:nvPr/>
        </p:nvGrpSpPr>
        <p:grpSpPr>
          <a:xfrm>
            <a:off x="0" y="0"/>
            <a:ext cx="12192000" cy="2148830"/>
            <a:chOff x="0" y="0"/>
            <a:chExt cx="12192000" cy="2148830"/>
          </a:xfrm>
        </p:grpSpPr>
        <p:sp>
          <p:nvSpPr>
            <p:cNvPr id="174" name="Google Shape;174;p1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 name="Google Shape;175;p1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76" name="Google Shape;176;p17"/>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7" name="Google Shape;177;p17"/>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000"/>
              <a:buNone/>
              <a:defRPr sz="2000"/>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178" name="Google Shape;178;p1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9" name="Google Shape;179;p17"/>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80" name="Google Shape;180;p17"/>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938625126"/>
      </p:ext>
    </p:extLst>
  </p:cSld>
  <p:clrMapOvr>
    <a:masterClrMapping/>
  </p:clrMapOvr>
</p:sldLayout>
</file>

<file path=ppt/slideLayouts/slideLayout1357.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90"/>
        <p:cNvGrpSpPr/>
        <p:nvPr/>
      </p:nvGrpSpPr>
      <p:grpSpPr>
        <a:xfrm>
          <a:off x="0" y="0"/>
          <a:ext cx="0" cy="0"/>
          <a:chOff x="0" y="0"/>
          <a:chExt cx="0" cy="0"/>
        </a:xfrm>
      </p:grpSpPr>
      <p:sp>
        <p:nvSpPr>
          <p:cNvPr id="191" name="Google Shape;191;p19"/>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2" name="Google Shape;192;p19"/>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3" name="Google Shape;193;p19"/>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4" name="Google Shape;194;p19"/>
          <p:cNvSpPr>
            <a:spLocks noGrp="1"/>
          </p:cNvSpPr>
          <p:nvPr>
            <p:ph type="pic" idx="2"/>
          </p:nvPr>
        </p:nvSpPr>
        <p:spPr>
          <a:xfrm>
            <a:off x="7118684" y="233915"/>
            <a:ext cx="5073316" cy="5943600"/>
          </a:xfrm>
          <a:prstGeom prst="rect">
            <a:avLst/>
          </a:prstGeom>
          <a:noFill/>
          <a:ln>
            <a:noFill/>
          </a:ln>
        </p:spPr>
      </p:sp>
      <p:grpSp>
        <p:nvGrpSpPr>
          <p:cNvPr id="195" name="Google Shape;195;p19"/>
          <p:cNvGrpSpPr/>
          <p:nvPr/>
        </p:nvGrpSpPr>
        <p:grpSpPr>
          <a:xfrm>
            <a:off x="0" y="5020349"/>
            <a:ext cx="12192000" cy="1837653"/>
            <a:chOff x="0" y="5020348"/>
            <a:chExt cx="12192000" cy="1837653"/>
          </a:xfrm>
        </p:grpSpPr>
        <p:sp>
          <p:nvSpPr>
            <p:cNvPr id="196" name="Google Shape;196;p1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7" name="Google Shape;197;p1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8" name="Google Shape;198;p1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098497307"/>
      </p:ext>
    </p:extLst>
  </p:cSld>
  <p:clrMapOvr>
    <a:masterClrMapping/>
  </p:clrMapOvr>
</p:sldLayout>
</file>

<file path=ppt/slideLayouts/slideLayout1358.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99"/>
        <p:cNvGrpSpPr/>
        <p:nvPr/>
      </p:nvGrpSpPr>
      <p:grpSpPr>
        <a:xfrm>
          <a:off x="0" y="0"/>
          <a:ext cx="0" cy="0"/>
          <a:chOff x="0" y="0"/>
          <a:chExt cx="0" cy="0"/>
        </a:xfrm>
      </p:grpSpPr>
      <p:grpSp>
        <p:nvGrpSpPr>
          <p:cNvPr id="200" name="Google Shape;200;p20"/>
          <p:cNvGrpSpPr/>
          <p:nvPr/>
        </p:nvGrpSpPr>
        <p:grpSpPr>
          <a:xfrm>
            <a:off x="0" y="5020348"/>
            <a:ext cx="12192000" cy="1837653"/>
            <a:chOff x="0" y="5020347"/>
            <a:chExt cx="12192000" cy="1837653"/>
          </a:xfrm>
        </p:grpSpPr>
        <p:sp>
          <p:nvSpPr>
            <p:cNvPr id="201" name="Google Shape;201;p2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2" name="Google Shape;202;p2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3" name="Google Shape;203;p2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04" name="Google Shape;204;p2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05" name="Google Shape;205;p20"/>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6" name="Google Shape;206;p20"/>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572226281"/>
      </p:ext>
    </p:extLst>
  </p:cSld>
  <p:clrMapOvr>
    <a:masterClrMapping/>
  </p:clrMapOvr>
</p:sldLayout>
</file>

<file path=ppt/slideLayouts/slideLayout135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07"/>
        <p:cNvGrpSpPr/>
        <p:nvPr/>
      </p:nvGrpSpPr>
      <p:grpSpPr>
        <a:xfrm>
          <a:off x="0" y="0"/>
          <a:ext cx="0" cy="0"/>
          <a:chOff x="0" y="0"/>
          <a:chExt cx="0" cy="0"/>
        </a:xfrm>
      </p:grpSpPr>
      <p:sp>
        <p:nvSpPr>
          <p:cNvPr id="208" name="Google Shape;208;p2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209" name="Google Shape;209;p2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10" name="Google Shape;210;p21"/>
          <p:cNvGrpSpPr/>
          <p:nvPr/>
        </p:nvGrpSpPr>
        <p:grpSpPr>
          <a:xfrm>
            <a:off x="0" y="5379427"/>
            <a:ext cx="2807368" cy="753891"/>
            <a:chOff x="0" y="5379426"/>
            <a:chExt cx="2807368" cy="753891"/>
          </a:xfrm>
        </p:grpSpPr>
        <p:sp>
          <p:nvSpPr>
            <p:cNvPr id="211" name="Google Shape;211;p2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2" name="Google Shape;212;p2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13" name="Google Shape;213;p21"/>
          <p:cNvSpPr>
            <a:spLocks noGrp="1"/>
          </p:cNvSpPr>
          <p:nvPr>
            <p:ph type="pic" idx="2"/>
          </p:nvPr>
        </p:nvSpPr>
        <p:spPr>
          <a:xfrm>
            <a:off x="2807368" y="457202"/>
            <a:ext cx="8915400" cy="5943598"/>
          </a:xfrm>
          <a:prstGeom prst="rect">
            <a:avLst/>
          </a:prstGeom>
          <a:noFill/>
          <a:ln>
            <a:noFill/>
          </a:ln>
        </p:spPr>
      </p:sp>
      <p:pic>
        <p:nvPicPr>
          <p:cNvPr id="214" name="Google Shape;214;p2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59172410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10362"/>
        <p:cNvGrpSpPr/>
        <p:nvPr/>
      </p:nvGrpSpPr>
      <p:grpSpPr>
        <a:xfrm>
          <a:off x="0" y="0"/>
          <a:ext cx="0" cy="0"/>
          <a:chOff x="0" y="0"/>
          <a:chExt cx="0" cy="0"/>
        </a:xfrm>
      </p:grpSpPr>
      <p:sp>
        <p:nvSpPr>
          <p:cNvPr id="10363" name="Google Shape;10363;p1440"/>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364" name="Google Shape;10364;p1440"/>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0365" name="Google Shape;10365;p1440"/>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0366" name="Google Shape;10366;p1440"/>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0367" name="Google Shape;10367;p1440"/>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10368" name="Google Shape;10368;p1440"/>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369" name="Google Shape;10369;p1440"/>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370" name="Google Shape;10370;p1440"/>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0371" name="Google Shape;10371;p1440"/>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372" name="Google Shape;10372;p1440"/>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0373" name="Google Shape;10373;p1440"/>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36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15"/>
        <p:cNvGrpSpPr/>
        <p:nvPr/>
      </p:nvGrpSpPr>
      <p:grpSpPr>
        <a:xfrm>
          <a:off x="0" y="0"/>
          <a:ext cx="0" cy="0"/>
          <a:chOff x="0" y="0"/>
          <a:chExt cx="0" cy="0"/>
        </a:xfrm>
      </p:grpSpPr>
      <p:sp>
        <p:nvSpPr>
          <p:cNvPr id="216" name="Google Shape;216;p2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7" name="Google Shape;217;p2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8" name="Google Shape;218;p2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219" name="Google Shape;219;p2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220" name="Google Shape;220;p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1" name="Google Shape;221;p2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2" name="Google Shape;222;p22"/>
          <p:cNvGrpSpPr/>
          <p:nvPr/>
        </p:nvGrpSpPr>
        <p:grpSpPr>
          <a:xfrm>
            <a:off x="7191543" y="1"/>
            <a:ext cx="5000459" cy="1425992"/>
            <a:chOff x="7191542" y="1"/>
            <a:chExt cx="5000459" cy="1425992"/>
          </a:xfrm>
        </p:grpSpPr>
        <p:pic>
          <p:nvPicPr>
            <p:cNvPr id="223" name="Google Shape;223;p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4" name="Google Shape;224;p22"/>
            <p:cNvGrpSpPr/>
            <p:nvPr/>
          </p:nvGrpSpPr>
          <p:grpSpPr>
            <a:xfrm>
              <a:off x="7191542" y="1"/>
              <a:ext cx="5000459" cy="1425992"/>
              <a:chOff x="7186272" y="0"/>
              <a:chExt cx="5005729" cy="1427495"/>
            </a:xfrm>
          </p:grpSpPr>
          <p:sp>
            <p:nvSpPr>
              <p:cNvPr id="225" name="Google Shape;225;p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6" name="Google Shape;226;p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27" name="Google Shape;227;p2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504467256"/>
      </p:ext>
    </p:extLst>
  </p:cSld>
  <p:clrMapOvr>
    <a:masterClrMapping/>
  </p:clrMapOvr>
</p:sldLayout>
</file>

<file path=ppt/slideLayouts/slideLayout1361.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228"/>
        <p:cNvGrpSpPr/>
        <p:nvPr/>
      </p:nvGrpSpPr>
      <p:grpSpPr>
        <a:xfrm>
          <a:off x="0" y="0"/>
          <a:ext cx="0" cy="0"/>
          <a:chOff x="0" y="0"/>
          <a:chExt cx="0" cy="0"/>
        </a:xfrm>
      </p:grpSpPr>
      <p:grpSp>
        <p:nvGrpSpPr>
          <p:cNvPr id="229" name="Google Shape;229;p23"/>
          <p:cNvGrpSpPr/>
          <p:nvPr/>
        </p:nvGrpSpPr>
        <p:grpSpPr>
          <a:xfrm>
            <a:off x="7191543" y="1"/>
            <a:ext cx="5000459" cy="1425992"/>
            <a:chOff x="7191542" y="1"/>
            <a:chExt cx="5000459" cy="1425992"/>
          </a:xfrm>
        </p:grpSpPr>
        <p:pic>
          <p:nvPicPr>
            <p:cNvPr id="230" name="Google Shape;230;p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1" name="Google Shape;231;p23"/>
            <p:cNvGrpSpPr/>
            <p:nvPr/>
          </p:nvGrpSpPr>
          <p:grpSpPr>
            <a:xfrm>
              <a:off x="7191542" y="1"/>
              <a:ext cx="5000459" cy="1425992"/>
              <a:chOff x="7186272" y="0"/>
              <a:chExt cx="5005729" cy="1427495"/>
            </a:xfrm>
          </p:grpSpPr>
          <p:sp>
            <p:nvSpPr>
              <p:cNvPr id="232" name="Google Shape;232;p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3" name="Google Shape;233;p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4" name="Google Shape;234;p23"/>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5" name="Google Shape;235;p23"/>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236" name="Google Shape;236;p2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237" name="Google Shape;237;p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8" name="Google Shape;238;p2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93685202"/>
      </p:ext>
    </p:extLst>
  </p:cSld>
  <p:clrMapOvr>
    <a:masterClrMapping/>
  </p:clrMapOvr>
</p:sldLayout>
</file>

<file path=ppt/slideLayouts/slideLayout1362.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39"/>
        <p:cNvGrpSpPr/>
        <p:nvPr/>
      </p:nvGrpSpPr>
      <p:grpSpPr>
        <a:xfrm>
          <a:off x="0" y="0"/>
          <a:ext cx="0" cy="0"/>
          <a:chOff x="0" y="0"/>
          <a:chExt cx="0" cy="0"/>
        </a:xfrm>
      </p:grpSpPr>
      <p:sp>
        <p:nvSpPr>
          <p:cNvPr id="240" name="Google Shape;240;p2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1" name="Google Shape;241;p24"/>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grpSp>
        <p:nvGrpSpPr>
          <p:cNvPr id="242" name="Google Shape;242;p24"/>
          <p:cNvGrpSpPr/>
          <p:nvPr/>
        </p:nvGrpSpPr>
        <p:grpSpPr>
          <a:xfrm>
            <a:off x="7191543" y="1"/>
            <a:ext cx="5000459" cy="1425992"/>
            <a:chOff x="7191542" y="1"/>
            <a:chExt cx="5000459" cy="1425992"/>
          </a:xfrm>
        </p:grpSpPr>
        <p:pic>
          <p:nvPicPr>
            <p:cNvPr id="243" name="Google Shape;243;p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4" name="Google Shape;244;p24"/>
            <p:cNvGrpSpPr/>
            <p:nvPr/>
          </p:nvGrpSpPr>
          <p:grpSpPr>
            <a:xfrm>
              <a:off x="7191542" y="1"/>
              <a:ext cx="5000459" cy="1425992"/>
              <a:chOff x="7186272" y="0"/>
              <a:chExt cx="5005729" cy="1427495"/>
            </a:xfrm>
          </p:grpSpPr>
          <p:sp>
            <p:nvSpPr>
              <p:cNvPr id="245" name="Google Shape;245;p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 name="Google Shape;246;p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7" name="Google Shape;247;p24"/>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248" name="Google Shape;248;p24"/>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249" name="Google Shape;249;p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0" name="Google Shape;250;p2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72772868"/>
      </p:ext>
    </p:extLst>
  </p:cSld>
  <p:clrMapOvr>
    <a:masterClrMapping/>
  </p:clrMapOvr>
</p:sldLayout>
</file>

<file path=ppt/slideLayouts/slideLayout1363.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251"/>
        <p:cNvGrpSpPr/>
        <p:nvPr/>
      </p:nvGrpSpPr>
      <p:grpSpPr>
        <a:xfrm>
          <a:off x="0" y="0"/>
          <a:ext cx="0" cy="0"/>
          <a:chOff x="0" y="0"/>
          <a:chExt cx="0" cy="0"/>
        </a:xfrm>
      </p:grpSpPr>
      <p:grpSp>
        <p:nvGrpSpPr>
          <p:cNvPr id="252" name="Google Shape;252;p25"/>
          <p:cNvGrpSpPr/>
          <p:nvPr/>
        </p:nvGrpSpPr>
        <p:grpSpPr>
          <a:xfrm>
            <a:off x="7191543" y="1"/>
            <a:ext cx="5000459" cy="1425992"/>
            <a:chOff x="7191542" y="1"/>
            <a:chExt cx="5000459" cy="1425992"/>
          </a:xfrm>
        </p:grpSpPr>
        <p:pic>
          <p:nvPicPr>
            <p:cNvPr id="253" name="Google Shape;253;p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4" name="Google Shape;254;p25"/>
            <p:cNvGrpSpPr/>
            <p:nvPr/>
          </p:nvGrpSpPr>
          <p:grpSpPr>
            <a:xfrm>
              <a:off x="7191542" y="1"/>
              <a:ext cx="5000459" cy="1425992"/>
              <a:chOff x="7186272" y="0"/>
              <a:chExt cx="5005729" cy="1427495"/>
            </a:xfrm>
          </p:grpSpPr>
          <p:sp>
            <p:nvSpPr>
              <p:cNvPr id="255" name="Google Shape;255;p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 name="Google Shape;256;p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57" name="Google Shape;257;p25"/>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8" name="Google Shape;258;p25"/>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23" lvl="0" indent="-228611"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46" lvl="1" indent="-228611" algn="l">
              <a:lnSpc>
                <a:spcPct val="100000"/>
              </a:lnSpc>
              <a:spcBef>
                <a:spcPts val="1000"/>
              </a:spcBef>
              <a:spcAft>
                <a:spcPts val="0"/>
              </a:spcAft>
              <a:buSzPts val="2000"/>
              <a:buNone/>
              <a:defRPr sz="2000" b="1"/>
            </a:lvl2pPr>
            <a:lvl3pPr marL="1371669" lvl="2" indent="-228611" algn="l">
              <a:lnSpc>
                <a:spcPct val="100000"/>
              </a:lnSpc>
              <a:spcBef>
                <a:spcPts val="1000"/>
              </a:spcBef>
              <a:spcAft>
                <a:spcPts val="0"/>
              </a:spcAft>
              <a:buSzPts val="1800"/>
              <a:buNone/>
              <a:defRPr sz="1800" b="1"/>
            </a:lvl3pPr>
            <a:lvl4pPr marL="1828891" lvl="3" indent="-228611" algn="l">
              <a:lnSpc>
                <a:spcPct val="100000"/>
              </a:lnSpc>
              <a:spcBef>
                <a:spcPts val="1000"/>
              </a:spcBef>
              <a:spcAft>
                <a:spcPts val="0"/>
              </a:spcAft>
              <a:buSzPts val="1600"/>
              <a:buNone/>
              <a:defRPr sz="1600" b="1"/>
            </a:lvl4pPr>
            <a:lvl5pPr marL="2286114" lvl="4" indent="-228611" algn="l">
              <a:lnSpc>
                <a:spcPct val="100000"/>
              </a:lnSpc>
              <a:spcBef>
                <a:spcPts val="1000"/>
              </a:spcBef>
              <a:spcAft>
                <a:spcPts val="0"/>
              </a:spcAft>
              <a:buSzPts val="1600"/>
              <a:buNone/>
              <a:defRPr sz="1600" b="1"/>
            </a:lvl5pPr>
            <a:lvl6pPr marL="2743337" lvl="5" indent="-228611" algn="l">
              <a:lnSpc>
                <a:spcPct val="90000"/>
              </a:lnSpc>
              <a:spcBef>
                <a:spcPts val="1000"/>
              </a:spcBef>
              <a:spcAft>
                <a:spcPts val="0"/>
              </a:spcAft>
              <a:buClr>
                <a:schemeClr val="dk1"/>
              </a:buClr>
              <a:buSzPts val="1600"/>
              <a:buNone/>
              <a:defRPr sz="1600" b="1"/>
            </a:lvl6pPr>
            <a:lvl7pPr marL="3200560" lvl="6" indent="-228611" algn="l">
              <a:lnSpc>
                <a:spcPct val="90000"/>
              </a:lnSpc>
              <a:spcBef>
                <a:spcPts val="500"/>
              </a:spcBef>
              <a:spcAft>
                <a:spcPts val="0"/>
              </a:spcAft>
              <a:buClr>
                <a:schemeClr val="dk1"/>
              </a:buClr>
              <a:buSzPts val="1600"/>
              <a:buNone/>
              <a:defRPr sz="1600" b="1"/>
            </a:lvl7pPr>
            <a:lvl8pPr marL="3657783" lvl="7" indent="-228611" algn="l">
              <a:lnSpc>
                <a:spcPct val="90000"/>
              </a:lnSpc>
              <a:spcBef>
                <a:spcPts val="500"/>
              </a:spcBef>
              <a:spcAft>
                <a:spcPts val="0"/>
              </a:spcAft>
              <a:buClr>
                <a:schemeClr val="dk1"/>
              </a:buClr>
              <a:buSzPts val="1600"/>
              <a:buNone/>
              <a:defRPr sz="1600" b="1"/>
            </a:lvl8pPr>
            <a:lvl9pPr marL="4115006" lvl="8" indent="-228611" algn="l">
              <a:lnSpc>
                <a:spcPct val="90000"/>
              </a:lnSpc>
              <a:spcBef>
                <a:spcPts val="500"/>
              </a:spcBef>
              <a:spcAft>
                <a:spcPts val="0"/>
              </a:spcAft>
              <a:buClr>
                <a:schemeClr val="dk1"/>
              </a:buClr>
              <a:buSzPts val="1600"/>
              <a:buNone/>
              <a:defRPr sz="1600" b="1"/>
            </a:lvl9pPr>
          </a:lstStyle>
          <a:p>
            <a:endParaRPr/>
          </a:p>
        </p:txBody>
      </p:sp>
      <p:sp>
        <p:nvSpPr>
          <p:cNvPr id="259" name="Google Shape;259;p25"/>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23" lvl="0" indent="-355618" algn="l">
              <a:lnSpc>
                <a:spcPct val="100000"/>
              </a:lnSpc>
              <a:spcBef>
                <a:spcPts val="1000"/>
              </a:spcBef>
              <a:spcAft>
                <a:spcPts val="0"/>
              </a:spcAft>
              <a:buSzPts val="2000"/>
              <a:buChar char="•"/>
              <a:defRPr sz="2000"/>
            </a:lvl1pPr>
            <a:lvl2pPr marL="914446" lvl="1" indent="-342917" algn="l">
              <a:lnSpc>
                <a:spcPct val="100000"/>
              </a:lnSpc>
              <a:spcBef>
                <a:spcPts val="1000"/>
              </a:spcBef>
              <a:spcAft>
                <a:spcPts val="0"/>
              </a:spcAft>
              <a:buSzPts val="1800"/>
              <a:buChar char="•"/>
              <a:defRPr sz="1800"/>
            </a:lvl2pPr>
            <a:lvl3pPr marL="1371669" lvl="2" indent="-330217" algn="l">
              <a:lnSpc>
                <a:spcPct val="100000"/>
              </a:lnSpc>
              <a:spcBef>
                <a:spcPts val="1000"/>
              </a:spcBef>
              <a:spcAft>
                <a:spcPts val="0"/>
              </a:spcAft>
              <a:buSzPts val="1600"/>
              <a:buChar char="•"/>
              <a:defRPr sz="1600"/>
            </a:lvl3pPr>
            <a:lvl4pPr marL="1828891" lvl="3" indent="-317516" algn="l">
              <a:lnSpc>
                <a:spcPct val="100000"/>
              </a:lnSpc>
              <a:spcBef>
                <a:spcPts val="1000"/>
              </a:spcBef>
              <a:spcAft>
                <a:spcPts val="0"/>
              </a:spcAft>
              <a:buSzPts val="1400"/>
              <a:buChar char="•"/>
              <a:defRPr sz="1400"/>
            </a:lvl4pPr>
            <a:lvl5pPr marL="2286114" lvl="4" indent="-317516" algn="l">
              <a:lnSpc>
                <a:spcPct val="100000"/>
              </a:lnSpc>
              <a:spcBef>
                <a:spcPts val="1000"/>
              </a:spcBef>
              <a:spcAft>
                <a:spcPts val="0"/>
              </a:spcAft>
              <a:buSzPts val="1400"/>
              <a:buChar char="•"/>
              <a:defRPr sz="1400"/>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260" name="Google Shape;260;p2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23" lvl="0" indent="-228611"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46" lvl="1" indent="-228611" algn="l">
              <a:lnSpc>
                <a:spcPct val="100000"/>
              </a:lnSpc>
              <a:spcBef>
                <a:spcPts val="1000"/>
              </a:spcBef>
              <a:spcAft>
                <a:spcPts val="0"/>
              </a:spcAft>
              <a:buSzPts val="2000"/>
              <a:buNone/>
              <a:defRPr sz="2000" b="1"/>
            </a:lvl2pPr>
            <a:lvl3pPr marL="1371669" lvl="2" indent="-228611" algn="l">
              <a:lnSpc>
                <a:spcPct val="100000"/>
              </a:lnSpc>
              <a:spcBef>
                <a:spcPts val="1000"/>
              </a:spcBef>
              <a:spcAft>
                <a:spcPts val="0"/>
              </a:spcAft>
              <a:buSzPts val="1800"/>
              <a:buNone/>
              <a:defRPr sz="1800" b="1"/>
            </a:lvl3pPr>
            <a:lvl4pPr marL="1828891" lvl="3" indent="-228611" algn="l">
              <a:lnSpc>
                <a:spcPct val="100000"/>
              </a:lnSpc>
              <a:spcBef>
                <a:spcPts val="1000"/>
              </a:spcBef>
              <a:spcAft>
                <a:spcPts val="0"/>
              </a:spcAft>
              <a:buSzPts val="1600"/>
              <a:buNone/>
              <a:defRPr sz="1600" b="1"/>
            </a:lvl4pPr>
            <a:lvl5pPr marL="2286114" lvl="4" indent="-228611" algn="l">
              <a:lnSpc>
                <a:spcPct val="100000"/>
              </a:lnSpc>
              <a:spcBef>
                <a:spcPts val="1000"/>
              </a:spcBef>
              <a:spcAft>
                <a:spcPts val="0"/>
              </a:spcAft>
              <a:buSzPts val="1600"/>
              <a:buNone/>
              <a:defRPr sz="1600" b="1"/>
            </a:lvl5pPr>
            <a:lvl6pPr marL="2743337" lvl="5" indent="-228611" algn="l">
              <a:lnSpc>
                <a:spcPct val="90000"/>
              </a:lnSpc>
              <a:spcBef>
                <a:spcPts val="1000"/>
              </a:spcBef>
              <a:spcAft>
                <a:spcPts val="0"/>
              </a:spcAft>
              <a:buClr>
                <a:schemeClr val="dk1"/>
              </a:buClr>
              <a:buSzPts val="1600"/>
              <a:buNone/>
              <a:defRPr sz="1600" b="1"/>
            </a:lvl6pPr>
            <a:lvl7pPr marL="3200560" lvl="6" indent="-228611" algn="l">
              <a:lnSpc>
                <a:spcPct val="90000"/>
              </a:lnSpc>
              <a:spcBef>
                <a:spcPts val="500"/>
              </a:spcBef>
              <a:spcAft>
                <a:spcPts val="0"/>
              </a:spcAft>
              <a:buClr>
                <a:schemeClr val="dk1"/>
              </a:buClr>
              <a:buSzPts val="1600"/>
              <a:buNone/>
              <a:defRPr sz="1600" b="1"/>
            </a:lvl7pPr>
            <a:lvl8pPr marL="3657783" lvl="7" indent="-228611" algn="l">
              <a:lnSpc>
                <a:spcPct val="90000"/>
              </a:lnSpc>
              <a:spcBef>
                <a:spcPts val="500"/>
              </a:spcBef>
              <a:spcAft>
                <a:spcPts val="0"/>
              </a:spcAft>
              <a:buClr>
                <a:schemeClr val="dk1"/>
              </a:buClr>
              <a:buSzPts val="1600"/>
              <a:buNone/>
              <a:defRPr sz="1600" b="1"/>
            </a:lvl8pPr>
            <a:lvl9pPr marL="4115006" lvl="8" indent="-228611" algn="l">
              <a:lnSpc>
                <a:spcPct val="90000"/>
              </a:lnSpc>
              <a:spcBef>
                <a:spcPts val="500"/>
              </a:spcBef>
              <a:spcAft>
                <a:spcPts val="0"/>
              </a:spcAft>
              <a:buClr>
                <a:schemeClr val="dk1"/>
              </a:buClr>
              <a:buSzPts val="1600"/>
              <a:buNone/>
              <a:defRPr sz="1600" b="1"/>
            </a:lvl9pPr>
          </a:lstStyle>
          <a:p>
            <a:endParaRPr/>
          </a:p>
        </p:txBody>
      </p:sp>
      <p:sp>
        <p:nvSpPr>
          <p:cNvPr id="261" name="Google Shape;261;p2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23" lvl="0" indent="-355618" algn="l">
              <a:lnSpc>
                <a:spcPct val="100000"/>
              </a:lnSpc>
              <a:spcBef>
                <a:spcPts val="1000"/>
              </a:spcBef>
              <a:spcAft>
                <a:spcPts val="0"/>
              </a:spcAft>
              <a:buSzPts val="2000"/>
              <a:buChar char="•"/>
              <a:defRPr sz="2000"/>
            </a:lvl1pPr>
            <a:lvl2pPr marL="914446" lvl="1" indent="-342917" algn="l">
              <a:lnSpc>
                <a:spcPct val="100000"/>
              </a:lnSpc>
              <a:spcBef>
                <a:spcPts val="1000"/>
              </a:spcBef>
              <a:spcAft>
                <a:spcPts val="0"/>
              </a:spcAft>
              <a:buSzPts val="1800"/>
              <a:buChar char="•"/>
              <a:defRPr sz="1800"/>
            </a:lvl2pPr>
            <a:lvl3pPr marL="1371669" lvl="2" indent="-330217" algn="l">
              <a:lnSpc>
                <a:spcPct val="100000"/>
              </a:lnSpc>
              <a:spcBef>
                <a:spcPts val="1000"/>
              </a:spcBef>
              <a:spcAft>
                <a:spcPts val="0"/>
              </a:spcAft>
              <a:buSzPts val="1600"/>
              <a:buChar char="•"/>
              <a:defRPr sz="1600"/>
            </a:lvl3pPr>
            <a:lvl4pPr marL="1828891" lvl="3" indent="-317516" algn="l">
              <a:lnSpc>
                <a:spcPct val="100000"/>
              </a:lnSpc>
              <a:spcBef>
                <a:spcPts val="1000"/>
              </a:spcBef>
              <a:spcAft>
                <a:spcPts val="0"/>
              </a:spcAft>
              <a:buSzPts val="1400"/>
              <a:buChar char="•"/>
              <a:defRPr sz="1400"/>
            </a:lvl4pPr>
            <a:lvl5pPr marL="2286114" lvl="4" indent="-317516" algn="l">
              <a:lnSpc>
                <a:spcPct val="100000"/>
              </a:lnSpc>
              <a:spcBef>
                <a:spcPts val="1000"/>
              </a:spcBef>
              <a:spcAft>
                <a:spcPts val="0"/>
              </a:spcAft>
              <a:buSzPts val="1400"/>
              <a:buChar char="•"/>
              <a:defRPr sz="1400"/>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262" name="Google Shape;262;p2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263" name="Google Shape;263;p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4" name="Google Shape;264;p2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04628992"/>
      </p:ext>
    </p:extLst>
  </p:cSld>
  <p:clrMapOvr>
    <a:masterClrMapping/>
  </p:clrMapOvr>
</p:sldLayout>
</file>

<file path=ppt/slideLayouts/slideLayout1364.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65"/>
        <p:cNvGrpSpPr/>
        <p:nvPr/>
      </p:nvGrpSpPr>
      <p:grpSpPr>
        <a:xfrm>
          <a:off x="0" y="0"/>
          <a:ext cx="0" cy="0"/>
          <a:chOff x="0" y="0"/>
          <a:chExt cx="0" cy="0"/>
        </a:xfrm>
      </p:grpSpPr>
      <p:grpSp>
        <p:nvGrpSpPr>
          <p:cNvPr id="266" name="Google Shape;266;p26"/>
          <p:cNvGrpSpPr/>
          <p:nvPr/>
        </p:nvGrpSpPr>
        <p:grpSpPr>
          <a:xfrm>
            <a:off x="7191543" y="1"/>
            <a:ext cx="5000459" cy="1425992"/>
            <a:chOff x="7191542" y="1"/>
            <a:chExt cx="5000459" cy="1425992"/>
          </a:xfrm>
        </p:grpSpPr>
        <p:pic>
          <p:nvPicPr>
            <p:cNvPr id="267" name="Google Shape;267;p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8" name="Google Shape;268;p26"/>
            <p:cNvGrpSpPr/>
            <p:nvPr/>
          </p:nvGrpSpPr>
          <p:grpSpPr>
            <a:xfrm>
              <a:off x="7191542" y="1"/>
              <a:ext cx="5000459" cy="1425992"/>
              <a:chOff x="7186272" y="0"/>
              <a:chExt cx="5005729" cy="1427495"/>
            </a:xfrm>
          </p:grpSpPr>
          <p:sp>
            <p:nvSpPr>
              <p:cNvPr id="269" name="Google Shape;269;p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0" name="Google Shape;270;p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71" name="Google Shape;271;p2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2" name="Google Shape;272;p2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273" name="Google Shape;273;p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4" name="Google Shape;274;p2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68407510"/>
      </p:ext>
    </p:extLst>
  </p:cSld>
  <p:clrMapOvr>
    <a:masterClrMapping/>
  </p:clrMapOvr>
</p:sldLayout>
</file>

<file path=ppt/slideLayouts/slideLayout1365.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275"/>
        <p:cNvGrpSpPr/>
        <p:nvPr/>
      </p:nvGrpSpPr>
      <p:grpSpPr>
        <a:xfrm>
          <a:off x="0" y="0"/>
          <a:ext cx="0" cy="0"/>
          <a:chOff x="0" y="0"/>
          <a:chExt cx="0" cy="0"/>
        </a:xfrm>
      </p:grpSpPr>
      <p:grpSp>
        <p:nvGrpSpPr>
          <p:cNvPr id="276" name="Google Shape;276;p27"/>
          <p:cNvGrpSpPr/>
          <p:nvPr/>
        </p:nvGrpSpPr>
        <p:grpSpPr>
          <a:xfrm>
            <a:off x="0" y="0"/>
            <a:ext cx="12192000" cy="2148830"/>
            <a:chOff x="0" y="0"/>
            <a:chExt cx="12192000" cy="2148830"/>
          </a:xfrm>
        </p:grpSpPr>
        <p:sp>
          <p:nvSpPr>
            <p:cNvPr id="277" name="Google Shape;277;p2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8" name="Google Shape;278;p2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79" name="Google Shape;279;p27"/>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80" name="Google Shape;280;p27"/>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000"/>
              <a:buNone/>
              <a:defRPr sz="2000"/>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281" name="Google Shape;281;p2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82" name="Google Shape;282;p27"/>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283" name="Google Shape;283;p27"/>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803080687"/>
      </p:ext>
    </p:extLst>
  </p:cSld>
  <p:clrMapOvr>
    <a:masterClrMapping/>
  </p:clrMapOvr>
</p:sldLayout>
</file>

<file path=ppt/slideLayouts/slideLayout1366.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284"/>
        <p:cNvGrpSpPr/>
        <p:nvPr/>
      </p:nvGrpSpPr>
      <p:grpSpPr>
        <a:xfrm>
          <a:off x="0" y="0"/>
          <a:ext cx="0" cy="0"/>
          <a:chOff x="0" y="0"/>
          <a:chExt cx="0" cy="0"/>
        </a:xfrm>
      </p:grpSpPr>
      <p:sp>
        <p:nvSpPr>
          <p:cNvPr id="285" name="Google Shape;285;p2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286" name="Google Shape;286;p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7" name="Google Shape;287;p2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88" name="Google Shape;288;p28"/>
          <p:cNvGrpSpPr/>
          <p:nvPr/>
        </p:nvGrpSpPr>
        <p:grpSpPr>
          <a:xfrm>
            <a:off x="7191543" y="1"/>
            <a:ext cx="5000459" cy="1425992"/>
            <a:chOff x="7191542" y="1"/>
            <a:chExt cx="5000459" cy="1425992"/>
          </a:xfrm>
        </p:grpSpPr>
        <p:pic>
          <p:nvPicPr>
            <p:cNvPr id="289" name="Google Shape;289;p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90" name="Google Shape;290;p28"/>
            <p:cNvGrpSpPr/>
            <p:nvPr/>
          </p:nvGrpSpPr>
          <p:grpSpPr>
            <a:xfrm>
              <a:off x="7191542" y="1"/>
              <a:ext cx="5000459" cy="1425992"/>
              <a:chOff x="7186272" y="0"/>
              <a:chExt cx="5005729" cy="1427495"/>
            </a:xfrm>
          </p:grpSpPr>
          <p:sp>
            <p:nvSpPr>
              <p:cNvPr id="291" name="Google Shape;291;p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2" name="Google Shape;292;p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639447603"/>
      </p:ext>
    </p:extLst>
  </p:cSld>
  <p:clrMapOvr>
    <a:masterClrMapping/>
  </p:clrMapOvr>
</p:sldLayout>
</file>

<file path=ppt/slideLayouts/slideLayout1367.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93"/>
        <p:cNvGrpSpPr/>
        <p:nvPr/>
      </p:nvGrpSpPr>
      <p:grpSpPr>
        <a:xfrm>
          <a:off x="0" y="0"/>
          <a:ext cx="0" cy="0"/>
          <a:chOff x="0" y="0"/>
          <a:chExt cx="0" cy="0"/>
        </a:xfrm>
      </p:grpSpPr>
      <p:sp>
        <p:nvSpPr>
          <p:cNvPr id="294" name="Google Shape;294;p2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5" name="Google Shape;295;p2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6" name="Google Shape;296;p2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297" name="Google Shape;297;p2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298" name="Google Shape;298;p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9" name="Google Shape;299;p2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00" name="Google Shape;300;p29"/>
          <p:cNvGrpSpPr/>
          <p:nvPr/>
        </p:nvGrpSpPr>
        <p:grpSpPr>
          <a:xfrm>
            <a:off x="7191543" y="1"/>
            <a:ext cx="5000459" cy="1425992"/>
            <a:chOff x="7191542" y="1"/>
            <a:chExt cx="5000459" cy="1425992"/>
          </a:xfrm>
        </p:grpSpPr>
        <p:pic>
          <p:nvPicPr>
            <p:cNvPr id="301" name="Google Shape;301;p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2" name="Google Shape;302;p29"/>
            <p:cNvGrpSpPr/>
            <p:nvPr/>
          </p:nvGrpSpPr>
          <p:grpSpPr>
            <a:xfrm>
              <a:off x="7191542" y="1"/>
              <a:ext cx="5000459" cy="1425992"/>
              <a:chOff x="7186272" y="0"/>
              <a:chExt cx="5005729" cy="1427495"/>
            </a:xfrm>
          </p:grpSpPr>
          <p:sp>
            <p:nvSpPr>
              <p:cNvPr id="303" name="Google Shape;303;p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4" name="Google Shape;304;p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05" name="Google Shape;305;p2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112756499"/>
      </p:ext>
    </p:extLst>
  </p:cSld>
  <p:clrMapOvr>
    <a:masterClrMapping/>
  </p:clrMapOvr>
</p:sldLayout>
</file>

<file path=ppt/slideLayouts/slideLayout1368.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306"/>
        <p:cNvGrpSpPr/>
        <p:nvPr/>
      </p:nvGrpSpPr>
      <p:grpSpPr>
        <a:xfrm>
          <a:off x="0" y="0"/>
          <a:ext cx="0" cy="0"/>
          <a:chOff x="0" y="0"/>
          <a:chExt cx="0" cy="0"/>
        </a:xfrm>
      </p:grpSpPr>
      <p:sp>
        <p:nvSpPr>
          <p:cNvPr id="307" name="Google Shape;307;p30"/>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8" name="Google Shape;308;p30"/>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9" name="Google Shape;309;p30"/>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10" name="Google Shape;310;p30"/>
          <p:cNvSpPr>
            <a:spLocks noGrp="1"/>
          </p:cNvSpPr>
          <p:nvPr>
            <p:ph type="pic" idx="2"/>
          </p:nvPr>
        </p:nvSpPr>
        <p:spPr>
          <a:xfrm>
            <a:off x="7118684" y="233915"/>
            <a:ext cx="5073316" cy="5943600"/>
          </a:xfrm>
          <a:prstGeom prst="rect">
            <a:avLst/>
          </a:prstGeom>
          <a:noFill/>
          <a:ln>
            <a:noFill/>
          </a:ln>
        </p:spPr>
      </p:sp>
      <p:grpSp>
        <p:nvGrpSpPr>
          <p:cNvPr id="311" name="Google Shape;311;p30"/>
          <p:cNvGrpSpPr/>
          <p:nvPr/>
        </p:nvGrpSpPr>
        <p:grpSpPr>
          <a:xfrm>
            <a:off x="0" y="5020349"/>
            <a:ext cx="12192000" cy="1837653"/>
            <a:chOff x="0" y="5020348"/>
            <a:chExt cx="12192000" cy="1837653"/>
          </a:xfrm>
        </p:grpSpPr>
        <p:sp>
          <p:nvSpPr>
            <p:cNvPr id="312" name="Google Shape;312;p3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3" name="Google Shape;313;p3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14" name="Google Shape;314;p3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066553190"/>
      </p:ext>
    </p:extLst>
  </p:cSld>
  <p:clrMapOvr>
    <a:masterClrMapping/>
  </p:clrMapOvr>
</p:sldLayout>
</file>

<file path=ppt/slideLayouts/slideLayout1369.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315"/>
        <p:cNvGrpSpPr/>
        <p:nvPr/>
      </p:nvGrpSpPr>
      <p:grpSpPr>
        <a:xfrm>
          <a:off x="0" y="0"/>
          <a:ext cx="0" cy="0"/>
          <a:chOff x="0" y="0"/>
          <a:chExt cx="0" cy="0"/>
        </a:xfrm>
      </p:grpSpPr>
      <p:grpSp>
        <p:nvGrpSpPr>
          <p:cNvPr id="316" name="Google Shape;316;p31"/>
          <p:cNvGrpSpPr/>
          <p:nvPr/>
        </p:nvGrpSpPr>
        <p:grpSpPr>
          <a:xfrm>
            <a:off x="0" y="5020348"/>
            <a:ext cx="12192000" cy="1837653"/>
            <a:chOff x="0" y="5020347"/>
            <a:chExt cx="12192000" cy="1837653"/>
          </a:xfrm>
        </p:grpSpPr>
        <p:sp>
          <p:nvSpPr>
            <p:cNvPr id="317" name="Google Shape;317;p3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8" name="Google Shape;318;p3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9" name="Google Shape;319;p3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20" name="Google Shape;320;p3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21" name="Google Shape;321;p31"/>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2" name="Google Shape;322;p31"/>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08897648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matchingName="2_Quotation">
  <p:cSld name="2_Quotation 2 2">
    <p:spTree>
      <p:nvGrpSpPr>
        <p:cNvPr id="1" name="Shape 10374"/>
        <p:cNvGrpSpPr/>
        <p:nvPr/>
      </p:nvGrpSpPr>
      <p:grpSpPr>
        <a:xfrm>
          <a:off x="0" y="0"/>
          <a:ext cx="0" cy="0"/>
          <a:chOff x="0" y="0"/>
          <a:chExt cx="0" cy="0"/>
        </a:xfrm>
      </p:grpSpPr>
      <p:sp>
        <p:nvSpPr>
          <p:cNvPr id="10375" name="Google Shape;10375;p144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376" name="Google Shape;10376;p144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377" name="Google Shape;10377;p144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78" name="Google Shape;10378;p14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379" name="Google Shape;10379;p14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80" name="Google Shape;10380;p14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381" name="Google Shape;10381;p1441"/>
          <p:cNvGrpSpPr/>
          <p:nvPr/>
        </p:nvGrpSpPr>
        <p:grpSpPr>
          <a:xfrm>
            <a:off x="7191542" y="1"/>
            <a:ext cx="5000459" cy="1425992"/>
            <a:chOff x="7191542" y="1"/>
            <a:chExt cx="5000459" cy="1425992"/>
          </a:xfrm>
        </p:grpSpPr>
        <p:pic>
          <p:nvPicPr>
            <p:cNvPr id="10382" name="Google Shape;10382;p14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83" name="Google Shape;10383;p1441"/>
            <p:cNvGrpSpPr/>
            <p:nvPr/>
          </p:nvGrpSpPr>
          <p:grpSpPr>
            <a:xfrm>
              <a:off x="7191542" y="1"/>
              <a:ext cx="5000459" cy="1425992"/>
              <a:chOff x="7186272" y="0"/>
              <a:chExt cx="5005729" cy="1427495"/>
            </a:xfrm>
          </p:grpSpPr>
          <p:sp>
            <p:nvSpPr>
              <p:cNvPr id="10384" name="Google Shape;10384;p14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385" name="Google Shape;10385;p14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386" name="Google Shape;10386;p144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37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323"/>
        <p:cNvGrpSpPr/>
        <p:nvPr/>
      </p:nvGrpSpPr>
      <p:grpSpPr>
        <a:xfrm>
          <a:off x="0" y="0"/>
          <a:ext cx="0" cy="0"/>
          <a:chOff x="0" y="0"/>
          <a:chExt cx="0" cy="0"/>
        </a:xfrm>
      </p:grpSpPr>
      <p:sp>
        <p:nvSpPr>
          <p:cNvPr id="324" name="Google Shape;324;p3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5" name="Google Shape;325;p3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6" name="Google Shape;326;p3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327" name="Google Shape;327;p3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28" name="Google Shape;328;p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9" name="Google Shape;329;p3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30" name="Google Shape;330;p32"/>
          <p:cNvGrpSpPr/>
          <p:nvPr/>
        </p:nvGrpSpPr>
        <p:grpSpPr>
          <a:xfrm>
            <a:off x="7191543" y="1"/>
            <a:ext cx="5000459" cy="1425992"/>
            <a:chOff x="7191542" y="1"/>
            <a:chExt cx="5000459" cy="1425992"/>
          </a:xfrm>
        </p:grpSpPr>
        <p:pic>
          <p:nvPicPr>
            <p:cNvPr id="331" name="Google Shape;331;p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2" name="Google Shape;332;p32"/>
            <p:cNvGrpSpPr/>
            <p:nvPr/>
          </p:nvGrpSpPr>
          <p:grpSpPr>
            <a:xfrm>
              <a:off x="7191542" y="1"/>
              <a:ext cx="5000459" cy="1425992"/>
              <a:chOff x="7186272" y="0"/>
              <a:chExt cx="5005729" cy="1427495"/>
            </a:xfrm>
          </p:grpSpPr>
          <p:sp>
            <p:nvSpPr>
              <p:cNvPr id="333" name="Google Shape;333;p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4" name="Google Shape;334;p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35" name="Google Shape;335;p3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53166204"/>
      </p:ext>
    </p:extLst>
  </p:cSld>
  <p:clrMapOvr>
    <a:masterClrMapping/>
  </p:clrMapOvr>
</p:sldLayout>
</file>

<file path=ppt/slideLayouts/slideLayout137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336"/>
        <p:cNvGrpSpPr/>
        <p:nvPr/>
      </p:nvGrpSpPr>
      <p:grpSpPr>
        <a:xfrm>
          <a:off x="0" y="0"/>
          <a:ext cx="0" cy="0"/>
          <a:chOff x="0" y="0"/>
          <a:chExt cx="0" cy="0"/>
        </a:xfrm>
      </p:grpSpPr>
      <p:sp>
        <p:nvSpPr>
          <p:cNvPr id="337" name="Google Shape;337;p3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8" name="Google Shape;338;p3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9" name="Google Shape;339;p3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340" name="Google Shape;340;p3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41" name="Google Shape;341;p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2" name="Google Shape;342;p3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43" name="Google Shape;343;p33"/>
          <p:cNvGrpSpPr/>
          <p:nvPr/>
        </p:nvGrpSpPr>
        <p:grpSpPr>
          <a:xfrm>
            <a:off x="7191543" y="1"/>
            <a:ext cx="5000459" cy="1425992"/>
            <a:chOff x="7191542" y="1"/>
            <a:chExt cx="5000459" cy="1425992"/>
          </a:xfrm>
        </p:grpSpPr>
        <p:pic>
          <p:nvPicPr>
            <p:cNvPr id="344" name="Google Shape;344;p3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5" name="Google Shape;345;p33"/>
            <p:cNvGrpSpPr/>
            <p:nvPr/>
          </p:nvGrpSpPr>
          <p:grpSpPr>
            <a:xfrm>
              <a:off x="7191542" y="1"/>
              <a:ext cx="5000459" cy="1425992"/>
              <a:chOff x="7186272" y="0"/>
              <a:chExt cx="5005729" cy="1427495"/>
            </a:xfrm>
          </p:grpSpPr>
          <p:sp>
            <p:nvSpPr>
              <p:cNvPr id="346" name="Google Shape;346;p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47" name="Google Shape;347;p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48" name="Google Shape;348;p3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830576"/>
      </p:ext>
    </p:extLst>
  </p:cSld>
  <p:clrMapOvr>
    <a:masterClrMapping/>
  </p:clrMapOvr>
</p:sldLayout>
</file>

<file path=ppt/slideLayouts/slideLayout1372.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349"/>
        <p:cNvGrpSpPr/>
        <p:nvPr/>
      </p:nvGrpSpPr>
      <p:grpSpPr>
        <a:xfrm>
          <a:off x="0" y="0"/>
          <a:ext cx="0" cy="0"/>
          <a:chOff x="0" y="0"/>
          <a:chExt cx="0" cy="0"/>
        </a:xfrm>
      </p:grpSpPr>
      <p:grpSp>
        <p:nvGrpSpPr>
          <p:cNvPr id="350" name="Google Shape;350;p34"/>
          <p:cNvGrpSpPr/>
          <p:nvPr/>
        </p:nvGrpSpPr>
        <p:grpSpPr>
          <a:xfrm>
            <a:off x="7191543" y="1"/>
            <a:ext cx="5000459" cy="1425992"/>
            <a:chOff x="7191542" y="1"/>
            <a:chExt cx="5000459" cy="1425992"/>
          </a:xfrm>
        </p:grpSpPr>
        <p:pic>
          <p:nvPicPr>
            <p:cNvPr id="351" name="Google Shape;351;p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2" name="Google Shape;352;p34"/>
            <p:cNvGrpSpPr/>
            <p:nvPr/>
          </p:nvGrpSpPr>
          <p:grpSpPr>
            <a:xfrm>
              <a:off x="7191542" y="1"/>
              <a:ext cx="5000459" cy="1425992"/>
              <a:chOff x="7186272" y="0"/>
              <a:chExt cx="5005729" cy="1427495"/>
            </a:xfrm>
          </p:grpSpPr>
          <p:sp>
            <p:nvSpPr>
              <p:cNvPr id="353" name="Google Shape;353;p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4" name="Google Shape;354;p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55" name="Google Shape;355;p3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6" name="Google Shape;356;p3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357" name="Google Shape;357;p3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58" name="Google Shape;358;p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9" name="Google Shape;359;p3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44528106"/>
      </p:ext>
    </p:extLst>
  </p:cSld>
  <p:clrMapOvr>
    <a:masterClrMapping/>
  </p:clrMapOvr>
</p:sldLayout>
</file>

<file path=ppt/slideLayouts/slideLayout1373.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360"/>
        <p:cNvGrpSpPr/>
        <p:nvPr/>
      </p:nvGrpSpPr>
      <p:grpSpPr>
        <a:xfrm>
          <a:off x="0" y="0"/>
          <a:ext cx="0" cy="0"/>
          <a:chOff x="0" y="0"/>
          <a:chExt cx="0" cy="0"/>
        </a:xfrm>
      </p:grpSpPr>
      <p:sp>
        <p:nvSpPr>
          <p:cNvPr id="361" name="Google Shape;361;p35"/>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2" name="Google Shape;362;p35"/>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grpSp>
        <p:nvGrpSpPr>
          <p:cNvPr id="363" name="Google Shape;363;p35"/>
          <p:cNvGrpSpPr/>
          <p:nvPr/>
        </p:nvGrpSpPr>
        <p:grpSpPr>
          <a:xfrm>
            <a:off x="7191543" y="1"/>
            <a:ext cx="5000459" cy="1425992"/>
            <a:chOff x="7191542" y="1"/>
            <a:chExt cx="5000459" cy="1425992"/>
          </a:xfrm>
        </p:grpSpPr>
        <p:pic>
          <p:nvPicPr>
            <p:cNvPr id="364" name="Google Shape;364;p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5" name="Google Shape;365;p35"/>
            <p:cNvGrpSpPr/>
            <p:nvPr/>
          </p:nvGrpSpPr>
          <p:grpSpPr>
            <a:xfrm>
              <a:off x="7191542" y="1"/>
              <a:ext cx="5000459" cy="1425992"/>
              <a:chOff x="7186272" y="0"/>
              <a:chExt cx="5005729" cy="1427495"/>
            </a:xfrm>
          </p:grpSpPr>
          <p:sp>
            <p:nvSpPr>
              <p:cNvPr id="366" name="Google Shape;366;p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7" name="Google Shape;367;p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68" name="Google Shape;368;p35"/>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369" name="Google Shape;369;p35"/>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370" name="Google Shape;370;p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1" name="Google Shape;371;p3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95481470"/>
      </p:ext>
    </p:extLst>
  </p:cSld>
  <p:clrMapOvr>
    <a:masterClrMapping/>
  </p:clrMapOvr>
</p:sldLayout>
</file>

<file path=ppt/slideLayouts/slideLayout1374.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372"/>
        <p:cNvGrpSpPr/>
        <p:nvPr/>
      </p:nvGrpSpPr>
      <p:grpSpPr>
        <a:xfrm>
          <a:off x="0" y="0"/>
          <a:ext cx="0" cy="0"/>
          <a:chOff x="0" y="0"/>
          <a:chExt cx="0" cy="0"/>
        </a:xfrm>
      </p:grpSpPr>
      <p:grpSp>
        <p:nvGrpSpPr>
          <p:cNvPr id="373" name="Google Shape;373;p36"/>
          <p:cNvGrpSpPr/>
          <p:nvPr/>
        </p:nvGrpSpPr>
        <p:grpSpPr>
          <a:xfrm>
            <a:off x="7191543" y="1"/>
            <a:ext cx="5000459" cy="1425992"/>
            <a:chOff x="7191542" y="1"/>
            <a:chExt cx="5000459" cy="1425992"/>
          </a:xfrm>
        </p:grpSpPr>
        <p:pic>
          <p:nvPicPr>
            <p:cNvPr id="374" name="Google Shape;374;p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5" name="Google Shape;375;p36"/>
            <p:cNvGrpSpPr/>
            <p:nvPr/>
          </p:nvGrpSpPr>
          <p:grpSpPr>
            <a:xfrm>
              <a:off x="7191542" y="1"/>
              <a:ext cx="5000459" cy="1425992"/>
              <a:chOff x="7186272" y="0"/>
              <a:chExt cx="5005729" cy="1427495"/>
            </a:xfrm>
          </p:grpSpPr>
          <p:sp>
            <p:nvSpPr>
              <p:cNvPr id="376" name="Google Shape;376;p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7" name="Google Shape;377;p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78" name="Google Shape;378;p3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9" name="Google Shape;379;p36"/>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23" lvl="0" indent="-228611"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46" lvl="1" indent="-228611" algn="l">
              <a:lnSpc>
                <a:spcPct val="100000"/>
              </a:lnSpc>
              <a:spcBef>
                <a:spcPts val="1000"/>
              </a:spcBef>
              <a:spcAft>
                <a:spcPts val="0"/>
              </a:spcAft>
              <a:buSzPts val="2000"/>
              <a:buNone/>
              <a:defRPr sz="2000" b="1"/>
            </a:lvl2pPr>
            <a:lvl3pPr marL="1371669" lvl="2" indent="-228611" algn="l">
              <a:lnSpc>
                <a:spcPct val="100000"/>
              </a:lnSpc>
              <a:spcBef>
                <a:spcPts val="1000"/>
              </a:spcBef>
              <a:spcAft>
                <a:spcPts val="0"/>
              </a:spcAft>
              <a:buSzPts val="1800"/>
              <a:buNone/>
              <a:defRPr sz="1800" b="1"/>
            </a:lvl3pPr>
            <a:lvl4pPr marL="1828891" lvl="3" indent="-228611" algn="l">
              <a:lnSpc>
                <a:spcPct val="100000"/>
              </a:lnSpc>
              <a:spcBef>
                <a:spcPts val="1000"/>
              </a:spcBef>
              <a:spcAft>
                <a:spcPts val="0"/>
              </a:spcAft>
              <a:buSzPts val="1600"/>
              <a:buNone/>
              <a:defRPr sz="1600" b="1"/>
            </a:lvl4pPr>
            <a:lvl5pPr marL="2286114" lvl="4" indent="-228611" algn="l">
              <a:lnSpc>
                <a:spcPct val="100000"/>
              </a:lnSpc>
              <a:spcBef>
                <a:spcPts val="1000"/>
              </a:spcBef>
              <a:spcAft>
                <a:spcPts val="0"/>
              </a:spcAft>
              <a:buSzPts val="1600"/>
              <a:buNone/>
              <a:defRPr sz="1600" b="1"/>
            </a:lvl5pPr>
            <a:lvl6pPr marL="2743337" lvl="5" indent="-228611" algn="l">
              <a:lnSpc>
                <a:spcPct val="90000"/>
              </a:lnSpc>
              <a:spcBef>
                <a:spcPts val="1000"/>
              </a:spcBef>
              <a:spcAft>
                <a:spcPts val="0"/>
              </a:spcAft>
              <a:buClr>
                <a:schemeClr val="dk1"/>
              </a:buClr>
              <a:buSzPts val="1600"/>
              <a:buNone/>
              <a:defRPr sz="1600" b="1"/>
            </a:lvl6pPr>
            <a:lvl7pPr marL="3200560" lvl="6" indent="-228611" algn="l">
              <a:lnSpc>
                <a:spcPct val="90000"/>
              </a:lnSpc>
              <a:spcBef>
                <a:spcPts val="500"/>
              </a:spcBef>
              <a:spcAft>
                <a:spcPts val="0"/>
              </a:spcAft>
              <a:buClr>
                <a:schemeClr val="dk1"/>
              </a:buClr>
              <a:buSzPts val="1600"/>
              <a:buNone/>
              <a:defRPr sz="1600" b="1"/>
            </a:lvl7pPr>
            <a:lvl8pPr marL="3657783" lvl="7" indent="-228611" algn="l">
              <a:lnSpc>
                <a:spcPct val="90000"/>
              </a:lnSpc>
              <a:spcBef>
                <a:spcPts val="500"/>
              </a:spcBef>
              <a:spcAft>
                <a:spcPts val="0"/>
              </a:spcAft>
              <a:buClr>
                <a:schemeClr val="dk1"/>
              </a:buClr>
              <a:buSzPts val="1600"/>
              <a:buNone/>
              <a:defRPr sz="1600" b="1"/>
            </a:lvl8pPr>
            <a:lvl9pPr marL="4115006" lvl="8" indent="-228611" algn="l">
              <a:lnSpc>
                <a:spcPct val="90000"/>
              </a:lnSpc>
              <a:spcBef>
                <a:spcPts val="500"/>
              </a:spcBef>
              <a:spcAft>
                <a:spcPts val="0"/>
              </a:spcAft>
              <a:buClr>
                <a:schemeClr val="dk1"/>
              </a:buClr>
              <a:buSzPts val="1600"/>
              <a:buNone/>
              <a:defRPr sz="1600" b="1"/>
            </a:lvl9pPr>
          </a:lstStyle>
          <a:p>
            <a:endParaRPr/>
          </a:p>
        </p:txBody>
      </p:sp>
      <p:sp>
        <p:nvSpPr>
          <p:cNvPr id="380" name="Google Shape;380;p36"/>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23" lvl="0" indent="-355618" algn="l">
              <a:lnSpc>
                <a:spcPct val="100000"/>
              </a:lnSpc>
              <a:spcBef>
                <a:spcPts val="1000"/>
              </a:spcBef>
              <a:spcAft>
                <a:spcPts val="0"/>
              </a:spcAft>
              <a:buSzPts val="2000"/>
              <a:buChar char="•"/>
              <a:defRPr sz="2000"/>
            </a:lvl1pPr>
            <a:lvl2pPr marL="914446" lvl="1" indent="-342917" algn="l">
              <a:lnSpc>
                <a:spcPct val="100000"/>
              </a:lnSpc>
              <a:spcBef>
                <a:spcPts val="1000"/>
              </a:spcBef>
              <a:spcAft>
                <a:spcPts val="0"/>
              </a:spcAft>
              <a:buSzPts val="1800"/>
              <a:buChar char="•"/>
              <a:defRPr sz="1800"/>
            </a:lvl2pPr>
            <a:lvl3pPr marL="1371669" lvl="2" indent="-330217" algn="l">
              <a:lnSpc>
                <a:spcPct val="100000"/>
              </a:lnSpc>
              <a:spcBef>
                <a:spcPts val="1000"/>
              </a:spcBef>
              <a:spcAft>
                <a:spcPts val="0"/>
              </a:spcAft>
              <a:buSzPts val="1600"/>
              <a:buChar char="•"/>
              <a:defRPr sz="1600"/>
            </a:lvl3pPr>
            <a:lvl4pPr marL="1828891" lvl="3" indent="-317516" algn="l">
              <a:lnSpc>
                <a:spcPct val="100000"/>
              </a:lnSpc>
              <a:spcBef>
                <a:spcPts val="1000"/>
              </a:spcBef>
              <a:spcAft>
                <a:spcPts val="0"/>
              </a:spcAft>
              <a:buSzPts val="1400"/>
              <a:buChar char="•"/>
              <a:defRPr sz="1400"/>
            </a:lvl4pPr>
            <a:lvl5pPr marL="2286114" lvl="4" indent="-317516" algn="l">
              <a:lnSpc>
                <a:spcPct val="100000"/>
              </a:lnSpc>
              <a:spcBef>
                <a:spcPts val="1000"/>
              </a:spcBef>
              <a:spcAft>
                <a:spcPts val="0"/>
              </a:spcAft>
              <a:buSzPts val="1400"/>
              <a:buChar char="•"/>
              <a:defRPr sz="1400"/>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381" name="Google Shape;381;p3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23" lvl="0" indent="-228611"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46" lvl="1" indent="-228611" algn="l">
              <a:lnSpc>
                <a:spcPct val="100000"/>
              </a:lnSpc>
              <a:spcBef>
                <a:spcPts val="1000"/>
              </a:spcBef>
              <a:spcAft>
                <a:spcPts val="0"/>
              </a:spcAft>
              <a:buSzPts val="2000"/>
              <a:buNone/>
              <a:defRPr sz="2000" b="1"/>
            </a:lvl2pPr>
            <a:lvl3pPr marL="1371669" lvl="2" indent="-228611" algn="l">
              <a:lnSpc>
                <a:spcPct val="100000"/>
              </a:lnSpc>
              <a:spcBef>
                <a:spcPts val="1000"/>
              </a:spcBef>
              <a:spcAft>
                <a:spcPts val="0"/>
              </a:spcAft>
              <a:buSzPts val="1800"/>
              <a:buNone/>
              <a:defRPr sz="1800" b="1"/>
            </a:lvl3pPr>
            <a:lvl4pPr marL="1828891" lvl="3" indent="-228611" algn="l">
              <a:lnSpc>
                <a:spcPct val="100000"/>
              </a:lnSpc>
              <a:spcBef>
                <a:spcPts val="1000"/>
              </a:spcBef>
              <a:spcAft>
                <a:spcPts val="0"/>
              </a:spcAft>
              <a:buSzPts val="1600"/>
              <a:buNone/>
              <a:defRPr sz="1600" b="1"/>
            </a:lvl4pPr>
            <a:lvl5pPr marL="2286114" lvl="4" indent="-228611" algn="l">
              <a:lnSpc>
                <a:spcPct val="100000"/>
              </a:lnSpc>
              <a:spcBef>
                <a:spcPts val="1000"/>
              </a:spcBef>
              <a:spcAft>
                <a:spcPts val="0"/>
              </a:spcAft>
              <a:buSzPts val="1600"/>
              <a:buNone/>
              <a:defRPr sz="1600" b="1"/>
            </a:lvl5pPr>
            <a:lvl6pPr marL="2743337" lvl="5" indent="-228611" algn="l">
              <a:lnSpc>
                <a:spcPct val="90000"/>
              </a:lnSpc>
              <a:spcBef>
                <a:spcPts val="1000"/>
              </a:spcBef>
              <a:spcAft>
                <a:spcPts val="0"/>
              </a:spcAft>
              <a:buClr>
                <a:schemeClr val="dk1"/>
              </a:buClr>
              <a:buSzPts val="1600"/>
              <a:buNone/>
              <a:defRPr sz="1600" b="1"/>
            </a:lvl6pPr>
            <a:lvl7pPr marL="3200560" lvl="6" indent="-228611" algn="l">
              <a:lnSpc>
                <a:spcPct val="90000"/>
              </a:lnSpc>
              <a:spcBef>
                <a:spcPts val="500"/>
              </a:spcBef>
              <a:spcAft>
                <a:spcPts val="0"/>
              </a:spcAft>
              <a:buClr>
                <a:schemeClr val="dk1"/>
              </a:buClr>
              <a:buSzPts val="1600"/>
              <a:buNone/>
              <a:defRPr sz="1600" b="1"/>
            </a:lvl7pPr>
            <a:lvl8pPr marL="3657783" lvl="7" indent="-228611" algn="l">
              <a:lnSpc>
                <a:spcPct val="90000"/>
              </a:lnSpc>
              <a:spcBef>
                <a:spcPts val="500"/>
              </a:spcBef>
              <a:spcAft>
                <a:spcPts val="0"/>
              </a:spcAft>
              <a:buClr>
                <a:schemeClr val="dk1"/>
              </a:buClr>
              <a:buSzPts val="1600"/>
              <a:buNone/>
              <a:defRPr sz="1600" b="1"/>
            </a:lvl8pPr>
            <a:lvl9pPr marL="4115006" lvl="8" indent="-228611" algn="l">
              <a:lnSpc>
                <a:spcPct val="90000"/>
              </a:lnSpc>
              <a:spcBef>
                <a:spcPts val="500"/>
              </a:spcBef>
              <a:spcAft>
                <a:spcPts val="0"/>
              </a:spcAft>
              <a:buClr>
                <a:schemeClr val="dk1"/>
              </a:buClr>
              <a:buSzPts val="1600"/>
              <a:buNone/>
              <a:defRPr sz="1600" b="1"/>
            </a:lvl9pPr>
          </a:lstStyle>
          <a:p>
            <a:endParaRPr/>
          </a:p>
        </p:txBody>
      </p:sp>
      <p:sp>
        <p:nvSpPr>
          <p:cNvPr id="382" name="Google Shape;382;p3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23" lvl="0" indent="-355618" algn="l">
              <a:lnSpc>
                <a:spcPct val="100000"/>
              </a:lnSpc>
              <a:spcBef>
                <a:spcPts val="1000"/>
              </a:spcBef>
              <a:spcAft>
                <a:spcPts val="0"/>
              </a:spcAft>
              <a:buSzPts val="2000"/>
              <a:buChar char="•"/>
              <a:defRPr sz="2000"/>
            </a:lvl1pPr>
            <a:lvl2pPr marL="914446" lvl="1" indent="-342917" algn="l">
              <a:lnSpc>
                <a:spcPct val="100000"/>
              </a:lnSpc>
              <a:spcBef>
                <a:spcPts val="1000"/>
              </a:spcBef>
              <a:spcAft>
                <a:spcPts val="0"/>
              </a:spcAft>
              <a:buSzPts val="1800"/>
              <a:buChar char="•"/>
              <a:defRPr sz="1800"/>
            </a:lvl2pPr>
            <a:lvl3pPr marL="1371669" lvl="2" indent="-330217" algn="l">
              <a:lnSpc>
                <a:spcPct val="100000"/>
              </a:lnSpc>
              <a:spcBef>
                <a:spcPts val="1000"/>
              </a:spcBef>
              <a:spcAft>
                <a:spcPts val="0"/>
              </a:spcAft>
              <a:buSzPts val="1600"/>
              <a:buChar char="•"/>
              <a:defRPr sz="1600"/>
            </a:lvl3pPr>
            <a:lvl4pPr marL="1828891" lvl="3" indent="-317516" algn="l">
              <a:lnSpc>
                <a:spcPct val="100000"/>
              </a:lnSpc>
              <a:spcBef>
                <a:spcPts val="1000"/>
              </a:spcBef>
              <a:spcAft>
                <a:spcPts val="0"/>
              </a:spcAft>
              <a:buSzPts val="1400"/>
              <a:buChar char="•"/>
              <a:defRPr sz="1400"/>
            </a:lvl4pPr>
            <a:lvl5pPr marL="2286114" lvl="4" indent="-317516" algn="l">
              <a:lnSpc>
                <a:spcPct val="100000"/>
              </a:lnSpc>
              <a:spcBef>
                <a:spcPts val="1000"/>
              </a:spcBef>
              <a:spcAft>
                <a:spcPts val="0"/>
              </a:spcAft>
              <a:buSzPts val="1400"/>
              <a:buChar char="•"/>
              <a:defRPr sz="1400"/>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383" name="Google Shape;383;p3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384" name="Google Shape;384;p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5" name="Google Shape;385;p3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1808744"/>
      </p:ext>
    </p:extLst>
  </p:cSld>
  <p:clrMapOvr>
    <a:masterClrMapping/>
  </p:clrMapOvr>
</p:sldLayout>
</file>

<file path=ppt/slideLayouts/slideLayout1375.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386"/>
        <p:cNvGrpSpPr/>
        <p:nvPr/>
      </p:nvGrpSpPr>
      <p:grpSpPr>
        <a:xfrm>
          <a:off x="0" y="0"/>
          <a:ext cx="0" cy="0"/>
          <a:chOff x="0" y="0"/>
          <a:chExt cx="0" cy="0"/>
        </a:xfrm>
      </p:grpSpPr>
      <p:grpSp>
        <p:nvGrpSpPr>
          <p:cNvPr id="387" name="Google Shape;387;p37"/>
          <p:cNvGrpSpPr/>
          <p:nvPr/>
        </p:nvGrpSpPr>
        <p:grpSpPr>
          <a:xfrm>
            <a:off x="7191543" y="1"/>
            <a:ext cx="5000459" cy="1425992"/>
            <a:chOff x="7191542" y="1"/>
            <a:chExt cx="5000459" cy="1425992"/>
          </a:xfrm>
        </p:grpSpPr>
        <p:pic>
          <p:nvPicPr>
            <p:cNvPr id="388" name="Google Shape;388;p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9" name="Google Shape;389;p37"/>
            <p:cNvGrpSpPr/>
            <p:nvPr/>
          </p:nvGrpSpPr>
          <p:grpSpPr>
            <a:xfrm>
              <a:off x="7191542" y="1"/>
              <a:ext cx="5000459" cy="1425992"/>
              <a:chOff x="7186272" y="0"/>
              <a:chExt cx="5005729" cy="1427495"/>
            </a:xfrm>
          </p:grpSpPr>
          <p:sp>
            <p:nvSpPr>
              <p:cNvPr id="390" name="Google Shape;390;p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1" name="Google Shape;391;p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92" name="Google Shape;392;p3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3" name="Google Shape;393;p3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394" name="Google Shape;394;p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95" name="Google Shape;395;p3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58678073"/>
      </p:ext>
    </p:extLst>
  </p:cSld>
  <p:clrMapOvr>
    <a:masterClrMapping/>
  </p:clrMapOvr>
</p:sldLayout>
</file>

<file path=ppt/slideLayouts/slideLayout1376.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396"/>
        <p:cNvGrpSpPr/>
        <p:nvPr/>
      </p:nvGrpSpPr>
      <p:grpSpPr>
        <a:xfrm>
          <a:off x="0" y="0"/>
          <a:ext cx="0" cy="0"/>
          <a:chOff x="0" y="0"/>
          <a:chExt cx="0" cy="0"/>
        </a:xfrm>
      </p:grpSpPr>
      <p:grpSp>
        <p:nvGrpSpPr>
          <p:cNvPr id="397" name="Google Shape;397;p38"/>
          <p:cNvGrpSpPr/>
          <p:nvPr/>
        </p:nvGrpSpPr>
        <p:grpSpPr>
          <a:xfrm>
            <a:off x="0" y="0"/>
            <a:ext cx="12192000" cy="2148830"/>
            <a:chOff x="0" y="0"/>
            <a:chExt cx="12192000" cy="2148830"/>
          </a:xfrm>
        </p:grpSpPr>
        <p:sp>
          <p:nvSpPr>
            <p:cNvPr id="398" name="Google Shape;398;p3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9" name="Google Shape;399;p3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400" name="Google Shape;400;p38"/>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01" name="Google Shape;401;p38"/>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000"/>
              <a:buNone/>
              <a:defRPr sz="2000"/>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402" name="Google Shape;402;p3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03" name="Google Shape;403;p38"/>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404" name="Google Shape;404;p3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327165260"/>
      </p:ext>
    </p:extLst>
  </p:cSld>
  <p:clrMapOvr>
    <a:masterClrMapping/>
  </p:clrMapOvr>
</p:sldLayout>
</file>

<file path=ppt/slideLayouts/slideLayout1377.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405"/>
        <p:cNvGrpSpPr/>
        <p:nvPr/>
      </p:nvGrpSpPr>
      <p:grpSpPr>
        <a:xfrm>
          <a:off x="0" y="0"/>
          <a:ext cx="0" cy="0"/>
          <a:chOff x="0" y="0"/>
          <a:chExt cx="0" cy="0"/>
        </a:xfrm>
      </p:grpSpPr>
      <p:sp>
        <p:nvSpPr>
          <p:cNvPr id="406" name="Google Shape;406;p3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407" name="Google Shape;407;p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08" name="Google Shape;408;p3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09" name="Google Shape;409;p39"/>
          <p:cNvGrpSpPr/>
          <p:nvPr/>
        </p:nvGrpSpPr>
        <p:grpSpPr>
          <a:xfrm>
            <a:off x="7191543" y="1"/>
            <a:ext cx="5000459" cy="1425992"/>
            <a:chOff x="7191542" y="1"/>
            <a:chExt cx="5000459" cy="1425992"/>
          </a:xfrm>
        </p:grpSpPr>
        <p:pic>
          <p:nvPicPr>
            <p:cNvPr id="410" name="Google Shape;410;p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11" name="Google Shape;411;p39"/>
            <p:cNvGrpSpPr/>
            <p:nvPr/>
          </p:nvGrpSpPr>
          <p:grpSpPr>
            <a:xfrm>
              <a:off x="7191542" y="1"/>
              <a:ext cx="5000459" cy="1425992"/>
              <a:chOff x="7186272" y="0"/>
              <a:chExt cx="5005729" cy="1427495"/>
            </a:xfrm>
          </p:grpSpPr>
          <p:sp>
            <p:nvSpPr>
              <p:cNvPr id="412" name="Google Shape;412;p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13" name="Google Shape;413;p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452588053"/>
      </p:ext>
    </p:extLst>
  </p:cSld>
  <p:clrMapOvr>
    <a:masterClrMapping/>
  </p:clrMapOvr>
</p:sldLayout>
</file>

<file path=ppt/slideLayouts/slideLayout1378.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414"/>
        <p:cNvGrpSpPr/>
        <p:nvPr/>
      </p:nvGrpSpPr>
      <p:grpSpPr>
        <a:xfrm>
          <a:off x="0" y="0"/>
          <a:ext cx="0" cy="0"/>
          <a:chOff x="0" y="0"/>
          <a:chExt cx="0" cy="0"/>
        </a:xfrm>
      </p:grpSpPr>
      <p:sp>
        <p:nvSpPr>
          <p:cNvPr id="415" name="Google Shape;415;p40"/>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6" name="Google Shape;416;p40"/>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7" name="Google Shape;417;p40"/>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18" name="Google Shape;418;p40"/>
          <p:cNvSpPr>
            <a:spLocks noGrp="1"/>
          </p:cNvSpPr>
          <p:nvPr>
            <p:ph type="pic" idx="2"/>
          </p:nvPr>
        </p:nvSpPr>
        <p:spPr>
          <a:xfrm>
            <a:off x="7118684" y="233915"/>
            <a:ext cx="5073316" cy="5943600"/>
          </a:xfrm>
          <a:prstGeom prst="rect">
            <a:avLst/>
          </a:prstGeom>
          <a:noFill/>
          <a:ln>
            <a:noFill/>
          </a:ln>
        </p:spPr>
      </p:sp>
      <p:grpSp>
        <p:nvGrpSpPr>
          <p:cNvPr id="419" name="Google Shape;419;p40"/>
          <p:cNvGrpSpPr/>
          <p:nvPr/>
        </p:nvGrpSpPr>
        <p:grpSpPr>
          <a:xfrm>
            <a:off x="0" y="5020349"/>
            <a:ext cx="12192000" cy="1837653"/>
            <a:chOff x="0" y="5020348"/>
            <a:chExt cx="12192000" cy="1837653"/>
          </a:xfrm>
        </p:grpSpPr>
        <p:sp>
          <p:nvSpPr>
            <p:cNvPr id="420" name="Google Shape;420;p4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1" name="Google Shape;421;p4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22" name="Google Shape;422;p4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184777041"/>
      </p:ext>
    </p:extLst>
  </p:cSld>
  <p:clrMapOvr>
    <a:masterClrMapping/>
  </p:clrMapOvr>
</p:sldLayout>
</file>

<file path=ppt/slideLayouts/slideLayout1379.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423"/>
        <p:cNvGrpSpPr/>
        <p:nvPr/>
      </p:nvGrpSpPr>
      <p:grpSpPr>
        <a:xfrm>
          <a:off x="0" y="0"/>
          <a:ext cx="0" cy="0"/>
          <a:chOff x="0" y="0"/>
          <a:chExt cx="0" cy="0"/>
        </a:xfrm>
      </p:grpSpPr>
      <p:grpSp>
        <p:nvGrpSpPr>
          <p:cNvPr id="424" name="Google Shape;424;p41"/>
          <p:cNvGrpSpPr/>
          <p:nvPr/>
        </p:nvGrpSpPr>
        <p:grpSpPr>
          <a:xfrm>
            <a:off x="0" y="5020348"/>
            <a:ext cx="12192000" cy="1837653"/>
            <a:chOff x="0" y="5020347"/>
            <a:chExt cx="12192000" cy="1837653"/>
          </a:xfrm>
        </p:grpSpPr>
        <p:sp>
          <p:nvSpPr>
            <p:cNvPr id="425" name="Google Shape;425;p4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6" name="Google Shape;426;p4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7" name="Google Shape;427;p4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28" name="Google Shape;428;p4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29" name="Google Shape;429;p41"/>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0" name="Google Shape;430;p41"/>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8528949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matchingName="2_Quotation">
  <p:cSld name="2_Quotation 2 3">
    <p:spTree>
      <p:nvGrpSpPr>
        <p:cNvPr id="1" name="Shape 10387"/>
        <p:cNvGrpSpPr/>
        <p:nvPr/>
      </p:nvGrpSpPr>
      <p:grpSpPr>
        <a:xfrm>
          <a:off x="0" y="0"/>
          <a:ext cx="0" cy="0"/>
          <a:chOff x="0" y="0"/>
          <a:chExt cx="0" cy="0"/>
        </a:xfrm>
      </p:grpSpPr>
      <p:sp>
        <p:nvSpPr>
          <p:cNvPr id="10388" name="Google Shape;10388;p144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389" name="Google Shape;10389;p144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390" name="Google Shape;10390;p144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91" name="Google Shape;10391;p14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392" name="Google Shape;10392;p14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93" name="Google Shape;10393;p14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394" name="Google Shape;10394;p1442"/>
          <p:cNvGrpSpPr/>
          <p:nvPr/>
        </p:nvGrpSpPr>
        <p:grpSpPr>
          <a:xfrm>
            <a:off x="7191542" y="1"/>
            <a:ext cx="5000459" cy="1425992"/>
            <a:chOff x="7191542" y="1"/>
            <a:chExt cx="5000459" cy="1425992"/>
          </a:xfrm>
        </p:grpSpPr>
        <p:pic>
          <p:nvPicPr>
            <p:cNvPr id="10395" name="Google Shape;10395;p14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96" name="Google Shape;10396;p1442"/>
            <p:cNvGrpSpPr/>
            <p:nvPr/>
          </p:nvGrpSpPr>
          <p:grpSpPr>
            <a:xfrm>
              <a:off x="7191542" y="1"/>
              <a:ext cx="5000459" cy="1425992"/>
              <a:chOff x="7186272" y="0"/>
              <a:chExt cx="5005729" cy="1427495"/>
            </a:xfrm>
          </p:grpSpPr>
          <p:sp>
            <p:nvSpPr>
              <p:cNvPr id="10397" name="Google Shape;10397;p14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398" name="Google Shape;10398;p14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399" name="Google Shape;10399;p144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38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431"/>
        <p:cNvGrpSpPr/>
        <p:nvPr/>
      </p:nvGrpSpPr>
      <p:grpSpPr>
        <a:xfrm>
          <a:off x="0" y="0"/>
          <a:ext cx="0" cy="0"/>
          <a:chOff x="0" y="0"/>
          <a:chExt cx="0" cy="0"/>
        </a:xfrm>
      </p:grpSpPr>
      <p:sp>
        <p:nvSpPr>
          <p:cNvPr id="432" name="Google Shape;432;p4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33" name="Google Shape;433;p4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4" name="Google Shape;434;p4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435" name="Google Shape;435;p4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36" name="Google Shape;436;p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37" name="Google Shape;437;p4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38" name="Google Shape;438;p42"/>
          <p:cNvGrpSpPr/>
          <p:nvPr/>
        </p:nvGrpSpPr>
        <p:grpSpPr>
          <a:xfrm>
            <a:off x="7191543" y="1"/>
            <a:ext cx="5000459" cy="1425992"/>
            <a:chOff x="7191542" y="1"/>
            <a:chExt cx="5000459" cy="1425992"/>
          </a:xfrm>
        </p:grpSpPr>
        <p:pic>
          <p:nvPicPr>
            <p:cNvPr id="439" name="Google Shape;439;p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40" name="Google Shape;440;p42"/>
            <p:cNvGrpSpPr/>
            <p:nvPr/>
          </p:nvGrpSpPr>
          <p:grpSpPr>
            <a:xfrm>
              <a:off x="7191542" y="1"/>
              <a:ext cx="5000459" cy="1425992"/>
              <a:chOff x="7186272" y="0"/>
              <a:chExt cx="5005729" cy="1427495"/>
            </a:xfrm>
          </p:grpSpPr>
          <p:sp>
            <p:nvSpPr>
              <p:cNvPr id="441" name="Google Shape;441;p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42" name="Google Shape;442;p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43" name="Google Shape;443;p4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942350249"/>
      </p:ext>
    </p:extLst>
  </p:cSld>
  <p:clrMapOvr>
    <a:masterClrMapping/>
  </p:clrMapOvr>
</p:sldLayout>
</file>

<file path=ppt/slideLayouts/slideLayout1381.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444"/>
        <p:cNvGrpSpPr/>
        <p:nvPr/>
      </p:nvGrpSpPr>
      <p:grpSpPr>
        <a:xfrm>
          <a:off x="0" y="0"/>
          <a:ext cx="0" cy="0"/>
          <a:chOff x="0" y="0"/>
          <a:chExt cx="0" cy="0"/>
        </a:xfrm>
      </p:grpSpPr>
      <p:grpSp>
        <p:nvGrpSpPr>
          <p:cNvPr id="445" name="Google Shape;445;p43"/>
          <p:cNvGrpSpPr/>
          <p:nvPr/>
        </p:nvGrpSpPr>
        <p:grpSpPr>
          <a:xfrm>
            <a:off x="7191543" y="1"/>
            <a:ext cx="5000459" cy="1425992"/>
            <a:chOff x="7191542" y="1"/>
            <a:chExt cx="5000459" cy="1425992"/>
          </a:xfrm>
        </p:grpSpPr>
        <p:pic>
          <p:nvPicPr>
            <p:cNvPr id="446" name="Google Shape;446;p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47" name="Google Shape;447;p43"/>
            <p:cNvGrpSpPr/>
            <p:nvPr/>
          </p:nvGrpSpPr>
          <p:grpSpPr>
            <a:xfrm>
              <a:off x="7191542" y="1"/>
              <a:ext cx="5000459" cy="1425992"/>
              <a:chOff x="7186272" y="0"/>
              <a:chExt cx="5005729" cy="1427495"/>
            </a:xfrm>
          </p:grpSpPr>
          <p:sp>
            <p:nvSpPr>
              <p:cNvPr id="448" name="Google Shape;448;p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49" name="Google Shape;449;p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50" name="Google Shape;450;p43"/>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1" name="Google Shape;451;p43"/>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452" name="Google Shape;452;p4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53" name="Google Shape;453;p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4" name="Google Shape;454;p4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522172971"/>
      </p:ext>
    </p:extLst>
  </p:cSld>
  <p:clrMapOvr>
    <a:masterClrMapping/>
  </p:clrMapOvr>
</p:sldLayout>
</file>

<file path=ppt/slideLayouts/slideLayout1382.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455"/>
        <p:cNvGrpSpPr/>
        <p:nvPr/>
      </p:nvGrpSpPr>
      <p:grpSpPr>
        <a:xfrm>
          <a:off x="0" y="0"/>
          <a:ext cx="0" cy="0"/>
          <a:chOff x="0" y="0"/>
          <a:chExt cx="0" cy="0"/>
        </a:xfrm>
      </p:grpSpPr>
      <p:sp>
        <p:nvSpPr>
          <p:cNvPr id="456" name="Google Shape;456;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7" name="Google Shape;457;p44"/>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grpSp>
        <p:nvGrpSpPr>
          <p:cNvPr id="458" name="Google Shape;458;p44"/>
          <p:cNvGrpSpPr/>
          <p:nvPr/>
        </p:nvGrpSpPr>
        <p:grpSpPr>
          <a:xfrm>
            <a:off x="7191543" y="1"/>
            <a:ext cx="5000459" cy="1425992"/>
            <a:chOff x="7191542" y="1"/>
            <a:chExt cx="5000459" cy="1425992"/>
          </a:xfrm>
        </p:grpSpPr>
        <p:pic>
          <p:nvPicPr>
            <p:cNvPr id="459" name="Google Shape;459;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60" name="Google Shape;460;p44"/>
            <p:cNvGrpSpPr/>
            <p:nvPr/>
          </p:nvGrpSpPr>
          <p:grpSpPr>
            <a:xfrm>
              <a:off x="7191542" y="1"/>
              <a:ext cx="5000459" cy="1425992"/>
              <a:chOff x="7186272" y="0"/>
              <a:chExt cx="5005729" cy="1427495"/>
            </a:xfrm>
          </p:grpSpPr>
          <p:sp>
            <p:nvSpPr>
              <p:cNvPr id="461" name="Google Shape;461;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62" name="Google Shape;462;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63" name="Google Shape;463;p44"/>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464" name="Google Shape;464;p44"/>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465" name="Google Shape;465;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6" name="Google Shape;466;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45055898"/>
      </p:ext>
    </p:extLst>
  </p:cSld>
  <p:clrMapOvr>
    <a:masterClrMapping/>
  </p:clrMapOvr>
</p:sldLayout>
</file>

<file path=ppt/slideLayouts/slideLayout1383.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467"/>
        <p:cNvGrpSpPr/>
        <p:nvPr/>
      </p:nvGrpSpPr>
      <p:grpSpPr>
        <a:xfrm>
          <a:off x="0" y="0"/>
          <a:ext cx="0" cy="0"/>
          <a:chOff x="0" y="0"/>
          <a:chExt cx="0" cy="0"/>
        </a:xfrm>
      </p:grpSpPr>
      <p:grpSp>
        <p:nvGrpSpPr>
          <p:cNvPr id="468" name="Google Shape;468;p45"/>
          <p:cNvGrpSpPr/>
          <p:nvPr/>
        </p:nvGrpSpPr>
        <p:grpSpPr>
          <a:xfrm>
            <a:off x="7191543" y="1"/>
            <a:ext cx="5000459" cy="1425992"/>
            <a:chOff x="7191542" y="1"/>
            <a:chExt cx="5000459" cy="1425992"/>
          </a:xfrm>
        </p:grpSpPr>
        <p:pic>
          <p:nvPicPr>
            <p:cNvPr id="469" name="Google Shape;469;p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0" name="Google Shape;470;p45"/>
            <p:cNvGrpSpPr/>
            <p:nvPr/>
          </p:nvGrpSpPr>
          <p:grpSpPr>
            <a:xfrm>
              <a:off x="7191542" y="1"/>
              <a:ext cx="5000459" cy="1425992"/>
              <a:chOff x="7186272" y="0"/>
              <a:chExt cx="5005729" cy="1427495"/>
            </a:xfrm>
          </p:grpSpPr>
          <p:sp>
            <p:nvSpPr>
              <p:cNvPr id="471" name="Google Shape;471;p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72" name="Google Shape;472;p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73" name="Google Shape;473;p45"/>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4" name="Google Shape;474;p45"/>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23" lvl="0" indent="-228611"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46" lvl="1" indent="-228611" algn="l">
              <a:lnSpc>
                <a:spcPct val="100000"/>
              </a:lnSpc>
              <a:spcBef>
                <a:spcPts val="1000"/>
              </a:spcBef>
              <a:spcAft>
                <a:spcPts val="0"/>
              </a:spcAft>
              <a:buSzPts val="2000"/>
              <a:buNone/>
              <a:defRPr sz="2000" b="1"/>
            </a:lvl2pPr>
            <a:lvl3pPr marL="1371669" lvl="2" indent="-228611" algn="l">
              <a:lnSpc>
                <a:spcPct val="100000"/>
              </a:lnSpc>
              <a:spcBef>
                <a:spcPts val="1000"/>
              </a:spcBef>
              <a:spcAft>
                <a:spcPts val="0"/>
              </a:spcAft>
              <a:buSzPts val="1800"/>
              <a:buNone/>
              <a:defRPr sz="1800" b="1"/>
            </a:lvl3pPr>
            <a:lvl4pPr marL="1828891" lvl="3" indent="-228611" algn="l">
              <a:lnSpc>
                <a:spcPct val="100000"/>
              </a:lnSpc>
              <a:spcBef>
                <a:spcPts val="1000"/>
              </a:spcBef>
              <a:spcAft>
                <a:spcPts val="0"/>
              </a:spcAft>
              <a:buSzPts val="1600"/>
              <a:buNone/>
              <a:defRPr sz="1600" b="1"/>
            </a:lvl4pPr>
            <a:lvl5pPr marL="2286114" lvl="4" indent="-228611" algn="l">
              <a:lnSpc>
                <a:spcPct val="100000"/>
              </a:lnSpc>
              <a:spcBef>
                <a:spcPts val="1000"/>
              </a:spcBef>
              <a:spcAft>
                <a:spcPts val="0"/>
              </a:spcAft>
              <a:buSzPts val="1600"/>
              <a:buNone/>
              <a:defRPr sz="1600" b="1"/>
            </a:lvl5pPr>
            <a:lvl6pPr marL="2743337" lvl="5" indent="-228611" algn="l">
              <a:lnSpc>
                <a:spcPct val="90000"/>
              </a:lnSpc>
              <a:spcBef>
                <a:spcPts val="1000"/>
              </a:spcBef>
              <a:spcAft>
                <a:spcPts val="0"/>
              </a:spcAft>
              <a:buClr>
                <a:schemeClr val="dk1"/>
              </a:buClr>
              <a:buSzPts val="1600"/>
              <a:buNone/>
              <a:defRPr sz="1600" b="1"/>
            </a:lvl6pPr>
            <a:lvl7pPr marL="3200560" lvl="6" indent="-228611" algn="l">
              <a:lnSpc>
                <a:spcPct val="90000"/>
              </a:lnSpc>
              <a:spcBef>
                <a:spcPts val="500"/>
              </a:spcBef>
              <a:spcAft>
                <a:spcPts val="0"/>
              </a:spcAft>
              <a:buClr>
                <a:schemeClr val="dk1"/>
              </a:buClr>
              <a:buSzPts val="1600"/>
              <a:buNone/>
              <a:defRPr sz="1600" b="1"/>
            </a:lvl7pPr>
            <a:lvl8pPr marL="3657783" lvl="7" indent="-228611" algn="l">
              <a:lnSpc>
                <a:spcPct val="90000"/>
              </a:lnSpc>
              <a:spcBef>
                <a:spcPts val="500"/>
              </a:spcBef>
              <a:spcAft>
                <a:spcPts val="0"/>
              </a:spcAft>
              <a:buClr>
                <a:schemeClr val="dk1"/>
              </a:buClr>
              <a:buSzPts val="1600"/>
              <a:buNone/>
              <a:defRPr sz="1600" b="1"/>
            </a:lvl8pPr>
            <a:lvl9pPr marL="4115006" lvl="8" indent="-228611" algn="l">
              <a:lnSpc>
                <a:spcPct val="90000"/>
              </a:lnSpc>
              <a:spcBef>
                <a:spcPts val="500"/>
              </a:spcBef>
              <a:spcAft>
                <a:spcPts val="0"/>
              </a:spcAft>
              <a:buClr>
                <a:schemeClr val="dk1"/>
              </a:buClr>
              <a:buSzPts val="1600"/>
              <a:buNone/>
              <a:defRPr sz="1600" b="1"/>
            </a:lvl9pPr>
          </a:lstStyle>
          <a:p>
            <a:endParaRPr/>
          </a:p>
        </p:txBody>
      </p:sp>
      <p:sp>
        <p:nvSpPr>
          <p:cNvPr id="475" name="Google Shape;475;p45"/>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23" lvl="0" indent="-355618" algn="l">
              <a:lnSpc>
                <a:spcPct val="100000"/>
              </a:lnSpc>
              <a:spcBef>
                <a:spcPts val="1000"/>
              </a:spcBef>
              <a:spcAft>
                <a:spcPts val="0"/>
              </a:spcAft>
              <a:buSzPts val="2000"/>
              <a:buChar char="•"/>
              <a:defRPr sz="2000"/>
            </a:lvl1pPr>
            <a:lvl2pPr marL="914446" lvl="1" indent="-342917" algn="l">
              <a:lnSpc>
                <a:spcPct val="100000"/>
              </a:lnSpc>
              <a:spcBef>
                <a:spcPts val="1000"/>
              </a:spcBef>
              <a:spcAft>
                <a:spcPts val="0"/>
              </a:spcAft>
              <a:buSzPts val="1800"/>
              <a:buChar char="•"/>
              <a:defRPr sz="1800"/>
            </a:lvl2pPr>
            <a:lvl3pPr marL="1371669" lvl="2" indent="-330217" algn="l">
              <a:lnSpc>
                <a:spcPct val="100000"/>
              </a:lnSpc>
              <a:spcBef>
                <a:spcPts val="1000"/>
              </a:spcBef>
              <a:spcAft>
                <a:spcPts val="0"/>
              </a:spcAft>
              <a:buSzPts val="1600"/>
              <a:buChar char="•"/>
              <a:defRPr sz="1600"/>
            </a:lvl3pPr>
            <a:lvl4pPr marL="1828891" lvl="3" indent="-317516" algn="l">
              <a:lnSpc>
                <a:spcPct val="100000"/>
              </a:lnSpc>
              <a:spcBef>
                <a:spcPts val="1000"/>
              </a:spcBef>
              <a:spcAft>
                <a:spcPts val="0"/>
              </a:spcAft>
              <a:buSzPts val="1400"/>
              <a:buChar char="•"/>
              <a:defRPr sz="1400"/>
            </a:lvl4pPr>
            <a:lvl5pPr marL="2286114" lvl="4" indent="-317516" algn="l">
              <a:lnSpc>
                <a:spcPct val="100000"/>
              </a:lnSpc>
              <a:spcBef>
                <a:spcPts val="1000"/>
              </a:spcBef>
              <a:spcAft>
                <a:spcPts val="0"/>
              </a:spcAft>
              <a:buSzPts val="1400"/>
              <a:buChar char="•"/>
              <a:defRPr sz="1400"/>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476" name="Google Shape;476;p4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23" lvl="0" indent="-228611"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46" lvl="1" indent="-228611" algn="l">
              <a:lnSpc>
                <a:spcPct val="100000"/>
              </a:lnSpc>
              <a:spcBef>
                <a:spcPts val="1000"/>
              </a:spcBef>
              <a:spcAft>
                <a:spcPts val="0"/>
              </a:spcAft>
              <a:buSzPts val="2000"/>
              <a:buNone/>
              <a:defRPr sz="2000" b="1"/>
            </a:lvl2pPr>
            <a:lvl3pPr marL="1371669" lvl="2" indent="-228611" algn="l">
              <a:lnSpc>
                <a:spcPct val="100000"/>
              </a:lnSpc>
              <a:spcBef>
                <a:spcPts val="1000"/>
              </a:spcBef>
              <a:spcAft>
                <a:spcPts val="0"/>
              </a:spcAft>
              <a:buSzPts val="1800"/>
              <a:buNone/>
              <a:defRPr sz="1800" b="1"/>
            </a:lvl3pPr>
            <a:lvl4pPr marL="1828891" lvl="3" indent="-228611" algn="l">
              <a:lnSpc>
                <a:spcPct val="100000"/>
              </a:lnSpc>
              <a:spcBef>
                <a:spcPts val="1000"/>
              </a:spcBef>
              <a:spcAft>
                <a:spcPts val="0"/>
              </a:spcAft>
              <a:buSzPts val="1600"/>
              <a:buNone/>
              <a:defRPr sz="1600" b="1"/>
            </a:lvl4pPr>
            <a:lvl5pPr marL="2286114" lvl="4" indent="-228611" algn="l">
              <a:lnSpc>
                <a:spcPct val="100000"/>
              </a:lnSpc>
              <a:spcBef>
                <a:spcPts val="1000"/>
              </a:spcBef>
              <a:spcAft>
                <a:spcPts val="0"/>
              </a:spcAft>
              <a:buSzPts val="1600"/>
              <a:buNone/>
              <a:defRPr sz="1600" b="1"/>
            </a:lvl5pPr>
            <a:lvl6pPr marL="2743337" lvl="5" indent="-228611" algn="l">
              <a:lnSpc>
                <a:spcPct val="90000"/>
              </a:lnSpc>
              <a:spcBef>
                <a:spcPts val="1000"/>
              </a:spcBef>
              <a:spcAft>
                <a:spcPts val="0"/>
              </a:spcAft>
              <a:buClr>
                <a:schemeClr val="dk1"/>
              </a:buClr>
              <a:buSzPts val="1600"/>
              <a:buNone/>
              <a:defRPr sz="1600" b="1"/>
            </a:lvl6pPr>
            <a:lvl7pPr marL="3200560" lvl="6" indent="-228611" algn="l">
              <a:lnSpc>
                <a:spcPct val="90000"/>
              </a:lnSpc>
              <a:spcBef>
                <a:spcPts val="500"/>
              </a:spcBef>
              <a:spcAft>
                <a:spcPts val="0"/>
              </a:spcAft>
              <a:buClr>
                <a:schemeClr val="dk1"/>
              </a:buClr>
              <a:buSzPts val="1600"/>
              <a:buNone/>
              <a:defRPr sz="1600" b="1"/>
            </a:lvl7pPr>
            <a:lvl8pPr marL="3657783" lvl="7" indent="-228611" algn="l">
              <a:lnSpc>
                <a:spcPct val="90000"/>
              </a:lnSpc>
              <a:spcBef>
                <a:spcPts val="500"/>
              </a:spcBef>
              <a:spcAft>
                <a:spcPts val="0"/>
              </a:spcAft>
              <a:buClr>
                <a:schemeClr val="dk1"/>
              </a:buClr>
              <a:buSzPts val="1600"/>
              <a:buNone/>
              <a:defRPr sz="1600" b="1"/>
            </a:lvl8pPr>
            <a:lvl9pPr marL="4115006" lvl="8" indent="-228611" algn="l">
              <a:lnSpc>
                <a:spcPct val="90000"/>
              </a:lnSpc>
              <a:spcBef>
                <a:spcPts val="500"/>
              </a:spcBef>
              <a:spcAft>
                <a:spcPts val="0"/>
              </a:spcAft>
              <a:buClr>
                <a:schemeClr val="dk1"/>
              </a:buClr>
              <a:buSzPts val="1600"/>
              <a:buNone/>
              <a:defRPr sz="1600" b="1"/>
            </a:lvl9pPr>
          </a:lstStyle>
          <a:p>
            <a:endParaRPr/>
          </a:p>
        </p:txBody>
      </p:sp>
      <p:sp>
        <p:nvSpPr>
          <p:cNvPr id="477" name="Google Shape;477;p4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23" lvl="0" indent="-355618" algn="l">
              <a:lnSpc>
                <a:spcPct val="100000"/>
              </a:lnSpc>
              <a:spcBef>
                <a:spcPts val="1000"/>
              </a:spcBef>
              <a:spcAft>
                <a:spcPts val="0"/>
              </a:spcAft>
              <a:buSzPts val="2000"/>
              <a:buChar char="•"/>
              <a:defRPr sz="2000"/>
            </a:lvl1pPr>
            <a:lvl2pPr marL="914446" lvl="1" indent="-342917" algn="l">
              <a:lnSpc>
                <a:spcPct val="100000"/>
              </a:lnSpc>
              <a:spcBef>
                <a:spcPts val="1000"/>
              </a:spcBef>
              <a:spcAft>
                <a:spcPts val="0"/>
              </a:spcAft>
              <a:buSzPts val="1800"/>
              <a:buChar char="•"/>
              <a:defRPr sz="1800"/>
            </a:lvl2pPr>
            <a:lvl3pPr marL="1371669" lvl="2" indent="-330217" algn="l">
              <a:lnSpc>
                <a:spcPct val="100000"/>
              </a:lnSpc>
              <a:spcBef>
                <a:spcPts val="1000"/>
              </a:spcBef>
              <a:spcAft>
                <a:spcPts val="0"/>
              </a:spcAft>
              <a:buSzPts val="1600"/>
              <a:buChar char="•"/>
              <a:defRPr sz="1600"/>
            </a:lvl3pPr>
            <a:lvl4pPr marL="1828891" lvl="3" indent="-317516" algn="l">
              <a:lnSpc>
                <a:spcPct val="100000"/>
              </a:lnSpc>
              <a:spcBef>
                <a:spcPts val="1000"/>
              </a:spcBef>
              <a:spcAft>
                <a:spcPts val="0"/>
              </a:spcAft>
              <a:buSzPts val="1400"/>
              <a:buChar char="•"/>
              <a:defRPr sz="1400"/>
            </a:lvl4pPr>
            <a:lvl5pPr marL="2286114" lvl="4" indent="-317516" algn="l">
              <a:lnSpc>
                <a:spcPct val="100000"/>
              </a:lnSpc>
              <a:spcBef>
                <a:spcPts val="1000"/>
              </a:spcBef>
              <a:spcAft>
                <a:spcPts val="0"/>
              </a:spcAft>
              <a:buSzPts val="1400"/>
              <a:buChar char="•"/>
              <a:defRPr sz="1400"/>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478" name="Google Shape;478;p4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479" name="Google Shape;479;p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0" name="Google Shape;480;p4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15596978"/>
      </p:ext>
    </p:extLst>
  </p:cSld>
  <p:clrMapOvr>
    <a:masterClrMapping/>
  </p:clrMapOvr>
</p:sldLayout>
</file>

<file path=ppt/slideLayouts/slideLayout138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481"/>
        <p:cNvGrpSpPr/>
        <p:nvPr/>
      </p:nvGrpSpPr>
      <p:grpSpPr>
        <a:xfrm>
          <a:off x="0" y="0"/>
          <a:ext cx="0" cy="0"/>
          <a:chOff x="0" y="0"/>
          <a:chExt cx="0" cy="0"/>
        </a:xfrm>
      </p:grpSpPr>
      <p:sp>
        <p:nvSpPr>
          <p:cNvPr id="482" name="Google Shape;482;p46"/>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483" name="Google Shape;483;p4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84" name="Google Shape;484;p46"/>
          <p:cNvGrpSpPr/>
          <p:nvPr/>
        </p:nvGrpSpPr>
        <p:grpSpPr>
          <a:xfrm>
            <a:off x="0" y="5379427"/>
            <a:ext cx="2807368" cy="753891"/>
            <a:chOff x="0" y="5379426"/>
            <a:chExt cx="2807368" cy="753891"/>
          </a:xfrm>
        </p:grpSpPr>
        <p:sp>
          <p:nvSpPr>
            <p:cNvPr id="485" name="Google Shape;485;p4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86" name="Google Shape;486;p4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87" name="Google Shape;487;p46"/>
          <p:cNvSpPr>
            <a:spLocks noGrp="1"/>
          </p:cNvSpPr>
          <p:nvPr>
            <p:ph type="pic" idx="2"/>
          </p:nvPr>
        </p:nvSpPr>
        <p:spPr>
          <a:xfrm>
            <a:off x="2807368" y="457202"/>
            <a:ext cx="8915400" cy="5943598"/>
          </a:xfrm>
          <a:prstGeom prst="rect">
            <a:avLst/>
          </a:prstGeom>
          <a:noFill/>
          <a:ln>
            <a:noFill/>
          </a:ln>
        </p:spPr>
      </p:sp>
      <p:pic>
        <p:nvPicPr>
          <p:cNvPr id="488" name="Google Shape;488;p46"/>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3937119294"/>
      </p:ext>
    </p:extLst>
  </p:cSld>
  <p:clrMapOvr>
    <a:masterClrMapping/>
  </p:clrMapOvr>
</p:sldLayout>
</file>

<file path=ppt/slideLayouts/slideLayout1385.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489"/>
        <p:cNvGrpSpPr/>
        <p:nvPr/>
      </p:nvGrpSpPr>
      <p:grpSpPr>
        <a:xfrm>
          <a:off x="0" y="0"/>
          <a:ext cx="0" cy="0"/>
          <a:chOff x="0" y="0"/>
          <a:chExt cx="0" cy="0"/>
        </a:xfrm>
      </p:grpSpPr>
      <p:grpSp>
        <p:nvGrpSpPr>
          <p:cNvPr id="490" name="Google Shape;490;p47"/>
          <p:cNvGrpSpPr/>
          <p:nvPr/>
        </p:nvGrpSpPr>
        <p:grpSpPr>
          <a:xfrm>
            <a:off x="0" y="0"/>
            <a:ext cx="12192000" cy="2148830"/>
            <a:chOff x="0" y="0"/>
            <a:chExt cx="12192000" cy="2148830"/>
          </a:xfrm>
        </p:grpSpPr>
        <p:sp>
          <p:nvSpPr>
            <p:cNvPr id="491" name="Google Shape;491;p4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2" name="Google Shape;492;p4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493" name="Google Shape;493;p47"/>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4" name="Google Shape;494;p47"/>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000"/>
              <a:buNone/>
              <a:defRPr sz="2000"/>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495" name="Google Shape;495;p4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96" name="Google Shape;496;p47"/>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497" name="Google Shape;497;p47"/>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489959320"/>
      </p:ext>
    </p:extLst>
  </p:cSld>
  <p:clrMapOvr>
    <a:masterClrMapping/>
  </p:clrMapOvr>
</p:sldLayout>
</file>

<file path=ppt/slideLayouts/slideLayout1386.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498"/>
        <p:cNvGrpSpPr/>
        <p:nvPr/>
      </p:nvGrpSpPr>
      <p:grpSpPr>
        <a:xfrm>
          <a:off x="0" y="0"/>
          <a:ext cx="0" cy="0"/>
          <a:chOff x="0" y="0"/>
          <a:chExt cx="0" cy="0"/>
        </a:xfrm>
      </p:grpSpPr>
      <p:sp>
        <p:nvSpPr>
          <p:cNvPr id="499" name="Google Shape;499;p4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500" name="Google Shape;500;p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1" name="Google Shape;501;p4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02" name="Google Shape;502;p48"/>
          <p:cNvGrpSpPr/>
          <p:nvPr/>
        </p:nvGrpSpPr>
        <p:grpSpPr>
          <a:xfrm>
            <a:off x="7191543" y="1"/>
            <a:ext cx="5000459" cy="1425992"/>
            <a:chOff x="7191542" y="1"/>
            <a:chExt cx="5000459" cy="1425992"/>
          </a:xfrm>
        </p:grpSpPr>
        <p:pic>
          <p:nvPicPr>
            <p:cNvPr id="503" name="Google Shape;503;p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4" name="Google Shape;504;p48"/>
            <p:cNvGrpSpPr/>
            <p:nvPr/>
          </p:nvGrpSpPr>
          <p:grpSpPr>
            <a:xfrm>
              <a:off x="7191542" y="1"/>
              <a:ext cx="5000459" cy="1425992"/>
              <a:chOff x="7186272" y="0"/>
              <a:chExt cx="5005729" cy="1427495"/>
            </a:xfrm>
          </p:grpSpPr>
          <p:sp>
            <p:nvSpPr>
              <p:cNvPr id="505" name="Google Shape;505;p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6" name="Google Shape;506;p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088314487"/>
      </p:ext>
    </p:extLst>
  </p:cSld>
  <p:clrMapOvr>
    <a:masterClrMapping/>
  </p:clrMapOvr>
</p:sldLayout>
</file>

<file path=ppt/slideLayouts/slideLayout1387.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507"/>
        <p:cNvGrpSpPr/>
        <p:nvPr/>
      </p:nvGrpSpPr>
      <p:grpSpPr>
        <a:xfrm>
          <a:off x="0" y="0"/>
          <a:ext cx="0" cy="0"/>
          <a:chOff x="0" y="0"/>
          <a:chExt cx="0" cy="0"/>
        </a:xfrm>
      </p:grpSpPr>
      <p:grpSp>
        <p:nvGrpSpPr>
          <p:cNvPr id="508" name="Google Shape;508;p49"/>
          <p:cNvGrpSpPr/>
          <p:nvPr/>
        </p:nvGrpSpPr>
        <p:grpSpPr>
          <a:xfrm>
            <a:off x="7191543" y="1"/>
            <a:ext cx="5000459" cy="1425992"/>
            <a:chOff x="7191542" y="1"/>
            <a:chExt cx="5000459" cy="1425992"/>
          </a:xfrm>
        </p:grpSpPr>
        <p:pic>
          <p:nvPicPr>
            <p:cNvPr id="509" name="Google Shape;509;p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10" name="Google Shape;510;p49"/>
            <p:cNvGrpSpPr/>
            <p:nvPr/>
          </p:nvGrpSpPr>
          <p:grpSpPr>
            <a:xfrm>
              <a:off x="7191542" y="1"/>
              <a:ext cx="5000459" cy="1425992"/>
              <a:chOff x="7186272" y="0"/>
              <a:chExt cx="5005729" cy="1427495"/>
            </a:xfrm>
          </p:grpSpPr>
          <p:sp>
            <p:nvSpPr>
              <p:cNvPr id="511" name="Google Shape;511;p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12" name="Google Shape;512;p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13" name="Google Shape;513;p49"/>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4" name="Google Shape;514;p4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515" name="Google Shape;515;p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6" name="Google Shape;516;p4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94883116"/>
      </p:ext>
    </p:extLst>
  </p:cSld>
  <p:clrMapOvr>
    <a:masterClrMapping/>
  </p:clrMapOvr>
</p:sldLayout>
</file>

<file path=ppt/slideLayouts/slideLayout1388.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517"/>
        <p:cNvGrpSpPr/>
        <p:nvPr/>
      </p:nvGrpSpPr>
      <p:grpSpPr>
        <a:xfrm>
          <a:off x="0" y="0"/>
          <a:ext cx="0" cy="0"/>
          <a:chOff x="0" y="0"/>
          <a:chExt cx="0" cy="0"/>
        </a:xfrm>
      </p:grpSpPr>
      <p:sp>
        <p:nvSpPr>
          <p:cNvPr id="518" name="Google Shape;518;p50"/>
          <p:cNvSpPr txBox="1">
            <a:spLocks noGrp="1"/>
          </p:cNvSpPr>
          <p:nvPr>
            <p:ph type="ctrTitle"/>
          </p:nvPr>
        </p:nvSpPr>
        <p:spPr>
          <a:xfrm>
            <a:off x="513349"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9" name="Google Shape;519;p50"/>
          <p:cNvSpPr txBox="1">
            <a:spLocks noGrp="1"/>
          </p:cNvSpPr>
          <p:nvPr>
            <p:ph type="subTitle" idx="1"/>
          </p:nvPr>
        </p:nvSpPr>
        <p:spPr>
          <a:xfrm>
            <a:off x="513349" y="5400326"/>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520" name="Google Shape;520;p50"/>
          <p:cNvGrpSpPr/>
          <p:nvPr/>
        </p:nvGrpSpPr>
        <p:grpSpPr>
          <a:xfrm flipH="1">
            <a:off x="-1" y="2"/>
            <a:ext cx="6418725" cy="1509822"/>
            <a:chOff x="7522541" y="1"/>
            <a:chExt cx="4669459" cy="1098357"/>
          </a:xfrm>
        </p:grpSpPr>
        <p:sp>
          <p:nvSpPr>
            <p:cNvPr id="521" name="Google Shape;521;p50"/>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2" name="Google Shape;522;p50"/>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523" name="Google Shape;523;p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6"/>
            <a:ext cx="1945206" cy="879974"/>
          </a:xfrm>
          <a:prstGeom prst="rect">
            <a:avLst/>
          </a:prstGeom>
          <a:noFill/>
          <a:ln>
            <a:noFill/>
          </a:ln>
        </p:spPr>
      </p:pic>
    </p:spTree>
    <p:extLst>
      <p:ext uri="{BB962C8B-B14F-4D97-AF65-F5344CB8AC3E}">
        <p14:creationId xmlns:p14="http://schemas.microsoft.com/office/powerpoint/2010/main" val="1569870238"/>
      </p:ext>
    </p:extLst>
  </p:cSld>
  <p:clrMapOvr>
    <a:masterClrMapping/>
  </p:clrMapOvr>
</p:sldLayout>
</file>

<file path=ppt/slideLayouts/slideLayout1389.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524"/>
        <p:cNvGrpSpPr/>
        <p:nvPr/>
      </p:nvGrpSpPr>
      <p:grpSpPr>
        <a:xfrm>
          <a:off x="0" y="0"/>
          <a:ext cx="0" cy="0"/>
          <a:chOff x="0" y="0"/>
          <a:chExt cx="0" cy="0"/>
        </a:xfrm>
      </p:grpSpPr>
      <p:sp>
        <p:nvSpPr>
          <p:cNvPr id="525" name="Google Shape;525;p5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26" name="Google Shape;526;p5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7" name="Google Shape;527;p5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528" name="Google Shape;528;p5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29" name="Google Shape;529;p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0" name="Google Shape;530;p5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31" name="Google Shape;531;p51"/>
          <p:cNvGrpSpPr/>
          <p:nvPr/>
        </p:nvGrpSpPr>
        <p:grpSpPr>
          <a:xfrm>
            <a:off x="7191543" y="1"/>
            <a:ext cx="5000459" cy="1425992"/>
            <a:chOff x="7191542" y="1"/>
            <a:chExt cx="5000459" cy="1425992"/>
          </a:xfrm>
        </p:grpSpPr>
        <p:pic>
          <p:nvPicPr>
            <p:cNvPr id="532" name="Google Shape;532;p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3" name="Google Shape;533;p51"/>
            <p:cNvGrpSpPr/>
            <p:nvPr/>
          </p:nvGrpSpPr>
          <p:grpSpPr>
            <a:xfrm>
              <a:off x="7191542" y="1"/>
              <a:ext cx="5000459" cy="1425992"/>
              <a:chOff x="7186272" y="0"/>
              <a:chExt cx="5005729" cy="1427495"/>
            </a:xfrm>
          </p:grpSpPr>
          <p:sp>
            <p:nvSpPr>
              <p:cNvPr id="534" name="Google Shape;534;p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5" name="Google Shape;535;p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36" name="Google Shape;536;p5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10233338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matchingName="Cover">
  <p:cSld name="Cover 9">
    <p:spTree>
      <p:nvGrpSpPr>
        <p:cNvPr id="1" name="Shape 10400"/>
        <p:cNvGrpSpPr/>
        <p:nvPr/>
      </p:nvGrpSpPr>
      <p:grpSpPr>
        <a:xfrm>
          <a:off x="0" y="0"/>
          <a:ext cx="0" cy="0"/>
          <a:chOff x="0" y="0"/>
          <a:chExt cx="0" cy="0"/>
        </a:xfrm>
      </p:grpSpPr>
      <p:sp>
        <p:nvSpPr>
          <p:cNvPr id="10401" name="Google Shape;10401;p144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402" name="Google Shape;10402;p144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403" name="Google Shape;10403;p144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404" name="Google Shape;10404;p1443"/>
          <p:cNvSpPr>
            <a:spLocks noGrp="1"/>
          </p:cNvSpPr>
          <p:nvPr>
            <p:ph type="pic" idx="2"/>
          </p:nvPr>
        </p:nvSpPr>
        <p:spPr>
          <a:xfrm>
            <a:off x="7118684" y="233915"/>
            <a:ext cx="5073316" cy="5943600"/>
          </a:xfrm>
          <a:prstGeom prst="rect">
            <a:avLst/>
          </a:prstGeom>
          <a:noFill/>
          <a:ln>
            <a:noFill/>
          </a:ln>
        </p:spPr>
      </p:sp>
      <p:grpSp>
        <p:nvGrpSpPr>
          <p:cNvPr id="10405" name="Google Shape;10405;p1443"/>
          <p:cNvGrpSpPr/>
          <p:nvPr/>
        </p:nvGrpSpPr>
        <p:grpSpPr>
          <a:xfrm>
            <a:off x="0" y="5020348"/>
            <a:ext cx="12192000" cy="1837653"/>
            <a:chOff x="0" y="5020348"/>
            <a:chExt cx="12192000" cy="1837653"/>
          </a:xfrm>
        </p:grpSpPr>
        <p:sp>
          <p:nvSpPr>
            <p:cNvPr id="10406" name="Google Shape;10406;p144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407" name="Google Shape;10407;p144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408" name="Google Shape;10408;p144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390.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537"/>
        <p:cNvGrpSpPr/>
        <p:nvPr/>
      </p:nvGrpSpPr>
      <p:grpSpPr>
        <a:xfrm>
          <a:off x="0" y="0"/>
          <a:ext cx="0" cy="0"/>
          <a:chOff x="0" y="0"/>
          <a:chExt cx="0" cy="0"/>
        </a:xfrm>
      </p:grpSpPr>
      <p:sp>
        <p:nvSpPr>
          <p:cNvPr id="538" name="Google Shape;538;p5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9" name="Google Shape;539;p5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0" name="Google Shape;540;p5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541" name="Google Shape;541;p5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42" name="Google Shape;542;p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3" name="Google Shape;543;p5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44" name="Google Shape;544;p52"/>
          <p:cNvGrpSpPr/>
          <p:nvPr/>
        </p:nvGrpSpPr>
        <p:grpSpPr>
          <a:xfrm>
            <a:off x="7191543" y="1"/>
            <a:ext cx="5000459" cy="1425992"/>
            <a:chOff x="7191542" y="1"/>
            <a:chExt cx="5000459" cy="1425992"/>
          </a:xfrm>
        </p:grpSpPr>
        <p:pic>
          <p:nvPicPr>
            <p:cNvPr id="545" name="Google Shape;545;p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6" name="Google Shape;546;p52"/>
            <p:cNvGrpSpPr/>
            <p:nvPr/>
          </p:nvGrpSpPr>
          <p:grpSpPr>
            <a:xfrm>
              <a:off x="7191542" y="1"/>
              <a:ext cx="5000459" cy="1425992"/>
              <a:chOff x="7186272" y="0"/>
              <a:chExt cx="5005729" cy="1427495"/>
            </a:xfrm>
          </p:grpSpPr>
          <p:sp>
            <p:nvSpPr>
              <p:cNvPr id="547" name="Google Shape;547;p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8" name="Google Shape;548;p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49" name="Google Shape;549;p5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582232877"/>
      </p:ext>
    </p:extLst>
  </p:cSld>
  <p:clrMapOvr>
    <a:masterClrMapping/>
  </p:clrMapOvr>
</p:sldLayout>
</file>

<file path=ppt/slideLayouts/slideLayout139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550"/>
        <p:cNvGrpSpPr/>
        <p:nvPr/>
      </p:nvGrpSpPr>
      <p:grpSpPr>
        <a:xfrm>
          <a:off x="0" y="0"/>
          <a:ext cx="0" cy="0"/>
          <a:chOff x="0" y="0"/>
          <a:chExt cx="0" cy="0"/>
        </a:xfrm>
      </p:grpSpPr>
      <p:sp>
        <p:nvSpPr>
          <p:cNvPr id="551" name="Google Shape;551;p5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52" name="Google Shape;552;p5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3" name="Google Shape;553;p5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554" name="Google Shape;554;p5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55" name="Google Shape;555;p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6" name="Google Shape;556;p5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57" name="Google Shape;557;p53"/>
          <p:cNvGrpSpPr/>
          <p:nvPr/>
        </p:nvGrpSpPr>
        <p:grpSpPr>
          <a:xfrm>
            <a:off x="7191543" y="1"/>
            <a:ext cx="5000459" cy="1425992"/>
            <a:chOff x="7191542" y="1"/>
            <a:chExt cx="5000459" cy="1425992"/>
          </a:xfrm>
        </p:grpSpPr>
        <p:pic>
          <p:nvPicPr>
            <p:cNvPr id="558" name="Google Shape;558;p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9" name="Google Shape;559;p53"/>
            <p:cNvGrpSpPr/>
            <p:nvPr/>
          </p:nvGrpSpPr>
          <p:grpSpPr>
            <a:xfrm>
              <a:off x="7191542" y="1"/>
              <a:ext cx="5000459" cy="1425992"/>
              <a:chOff x="7186272" y="0"/>
              <a:chExt cx="5005729" cy="1427495"/>
            </a:xfrm>
          </p:grpSpPr>
          <p:sp>
            <p:nvSpPr>
              <p:cNvPr id="560" name="Google Shape;560;p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1" name="Google Shape;561;p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62" name="Google Shape;562;p5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730722490"/>
      </p:ext>
    </p:extLst>
  </p:cSld>
  <p:clrMapOvr>
    <a:masterClrMapping/>
  </p:clrMapOvr>
</p:sldLayout>
</file>

<file path=ppt/slideLayouts/slideLayout1392.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563"/>
        <p:cNvGrpSpPr/>
        <p:nvPr/>
      </p:nvGrpSpPr>
      <p:grpSpPr>
        <a:xfrm>
          <a:off x="0" y="0"/>
          <a:ext cx="0" cy="0"/>
          <a:chOff x="0" y="0"/>
          <a:chExt cx="0" cy="0"/>
        </a:xfrm>
      </p:grpSpPr>
      <p:sp>
        <p:nvSpPr>
          <p:cNvPr id="564" name="Google Shape;564;p54"/>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5" name="Google Shape;565;p54"/>
          <p:cNvSpPr/>
          <p:nvPr/>
        </p:nvSpPr>
        <p:spPr>
          <a:xfrm>
            <a:off x="3"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566" name="Google Shape;566;p54"/>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567" name="Google Shape;567;p54"/>
          <p:cNvSpPr/>
          <p:nvPr/>
        </p:nvSpPr>
        <p:spPr>
          <a:xfrm>
            <a:off x="1" y="5020056"/>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568" name="Google Shape;568;p54"/>
          <p:cNvPicPr preferRelativeResize="0"/>
          <p:nvPr/>
        </p:nvPicPr>
        <p:blipFill rotWithShape="1">
          <a:blip r:embed="rId3">
            <a:alphaModFix/>
          </a:blip>
          <a:srcRect/>
          <a:stretch/>
        </p:blipFill>
        <p:spPr>
          <a:xfrm>
            <a:off x="313957" y="5564124"/>
            <a:ext cx="2025383" cy="911351"/>
          </a:xfrm>
          <a:prstGeom prst="rect">
            <a:avLst/>
          </a:prstGeom>
          <a:noFill/>
          <a:ln>
            <a:noFill/>
          </a:ln>
        </p:spPr>
      </p:pic>
      <p:sp>
        <p:nvSpPr>
          <p:cNvPr id="569" name="Google Shape;569;p54"/>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70" name="Google Shape;570;p54"/>
          <p:cNvSpPr txBox="1">
            <a:spLocks noGrp="1"/>
          </p:cNvSpPr>
          <p:nvPr>
            <p:ph type="ctrTitle"/>
          </p:nvPr>
        </p:nvSpPr>
        <p:spPr>
          <a:xfrm>
            <a:off x="471690" y="596274"/>
            <a:ext cx="11248618" cy="369332"/>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1" name="Google Shape;571;p54"/>
          <p:cNvSpPr txBox="1">
            <a:spLocks noGrp="1"/>
          </p:cNvSpPr>
          <p:nvPr>
            <p:ph type="subTitle" idx="1"/>
          </p:nvPr>
        </p:nvSpPr>
        <p:spPr>
          <a:xfrm>
            <a:off x="1828800" y="3840480"/>
            <a:ext cx="8534400" cy="374461"/>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572" name="Google Shape;572;p54"/>
          <p:cNvSpPr txBox="1">
            <a:spLocks noGrp="1"/>
          </p:cNvSpPr>
          <p:nvPr>
            <p:ph type="ftr" idx="11"/>
          </p:nvPr>
        </p:nvSpPr>
        <p:spPr>
          <a:xfrm>
            <a:off x="609600" y="6356351"/>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73" name="Google Shape;573;p54"/>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74" name="Google Shape;574;p54"/>
          <p:cNvSpPr txBox="1">
            <a:spLocks noGrp="1"/>
          </p:cNvSpPr>
          <p:nvPr>
            <p:ph type="sldNum" idx="12"/>
          </p:nvPr>
        </p:nvSpPr>
        <p:spPr>
          <a:xfrm>
            <a:off x="8839200" y="6356351"/>
            <a:ext cx="2743200" cy="365125"/>
          </a:xfrm>
          <a:prstGeom prst="rect">
            <a:avLst/>
          </a:prstGeom>
          <a:noFill/>
          <a:ln>
            <a:noFill/>
          </a:ln>
        </p:spPr>
        <p:txBody>
          <a:bodyPr spcFirstLastPara="1" wrap="square" lIns="0" tIns="0" rIns="0" bIns="0" anchor="ctr" anchorCtr="0">
            <a:noAutofit/>
          </a:bodyPr>
          <a:lstStyle>
            <a:lvl1pPr marL="38102" marR="0" lvl="0" indent="0" algn="r">
              <a:lnSpc>
                <a:spcPct val="118750"/>
              </a:lnSpc>
              <a:spcBef>
                <a:spcPts val="0"/>
              </a:spcBef>
              <a:buNone/>
              <a:defRPr sz="1200" b="0" i="0">
                <a:solidFill>
                  <a:srgbClr val="929599"/>
                </a:solidFill>
                <a:latin typeface="Arial"/>
                <a:ea typeface="Arial"/>
                <a:cs typeface="Arial"/>
                <a:sym typeface="Arial"/>
              </a:defRPr>
            </a:lvl1pPr>
            <a:lvl2pPr marL="38102" marR="0" lvl="1" indent="0" algn="r">
              <a:lnSpc>
                <a:spcPct val="118750"/>
              </a:lnSpc>
              <a:spcBef>
                <a:spcPts val="0"/>
              </a:spcBef>
              <a:buNone/>
              <a:defRPr sz="1200" b="0" i="0">
                <a:solidFill>
                  <a:srgbClr val="929599"/>
                </a:solidFill>
                <a:latin typeface="Arial"/>
                <a:ea typeface="Arial"/>
                <a:cs typeface="Arial"/>
                <a:sym typeface="Arial"/>
              </a:defRPr>
            </a:lvl2pPr>
            <a:lvl3pPr marL="38102" marR="0" lvl="2" indent="0" algn="r">
              <a:lnSpc>
                <a:spcPct val="118750"/>
              </a:lnSpc>
              <a:spcBef>
                <a:spcPts val="0"/>
              </a:spcBef>
              <a:buNone/>
              <a:defRPr sz="1200" b="0" i="0">
                <a:solidFill>
                  <a:srgbClr val="929599"/>
                </a:solidFill>
                <a:latin typeface="Arial"/>
                <a:ea typeface="Arial"/>
                <a:cs typeface="Arial"/>
                <a:sym typeface="Arial"/>
              </a:defRPr>
            </a:lvl3pPr>
            <a:lvl4pPr marL="38102" marR="0" lvl="3" indent="0" algn="r">
              <a:lnSpc>
                <a:spcPct val="118750"/>
              </a:lnSpc>
              <a:spcBef>
                <a:spcPts val="0"/>
              </a:spcBef>
              <a:buNone/>
              <a:defRPr sz="1200" b="0" i="0">
                <a:solidFill>
                  <a:srgbClr val="929599"/>
                </a:solidFill>
                <a:latin typeface="Arial"/>
                <a:ea typeface="Arial"/>
                <a:cs typeface="Arial"/>
                <a:sym typeface="Arial"/>
              </a:defRPr>
            </a:lvl4pPr>
            <a:lvl5pPr marL="38102" marR="0" lvl="4" indent="0" algn="r">
              <a:lnSpc>
                <a:spcPct val="118750"/>
              </a:lnSpc>
              <a:spcBef>
                <a:spcPts val="0"/>
              </a:spcBef>
              <a:buNone/>
              <a:defRPr sz="1200" b="0" i="0">
                <a:solidFill>
                  <a:srgbClr val="929599"/>
                </a:solidFill>
                <a:latin typeface="Arial"/>
                <a:ea typeface="Arial"/>
                <a:cs typeface="Arial"/>
                <a:sym typeface="Arial"/>
              </a:defRPr>
            </a:lvl5pPr>
            <a:lvl6pPr marL="38102" marR="0" lvl="5" indent="0" algn="r">
              <a:lnSpc>
                <a:spcPct val="118750"/>
              </a:lnSpc>
              <a:spcBef>
                <a:spcPts val="0"/>
              </a:spcBef>
              <a:buNone/>
              <a:defRPr sz="1200" b="0" i="0">
                <a:solidFill>
                  <a:srgbClr val="929599"/>
                </a:solidFill>
                <a:latin typeface="Arial"/>
                <a:ea typeface="Arial"/>
                <a:cs typeface="Arial"/>
                <a:sym typeface="Arial"/>
              </a:defRPr>
            </a:lvl6pPr>
            <a:lvl7pPr marL="38102" marR="0" lvl="6" indent="0" algn="r">
              <a:lnSpc>
                <a:spcPct val="118750"/>
              </a:lnSpc>
              <a:spcBef>
                <a:spcPts val="0"/>
              </a:spcBef>
              <a:buNone/>
              <a:defRPr sz="1200" b="0" i="0">
                <a:solidFill>
                  <a:srgbClr val="929599"/>
                </a:solidFill>
                <a:latin typeface="Arial"/>
                <a:ea typeface="Arial"/>
                <a:cs typeface="Arial"/>
                <a:sym typeface="Arial"/>
              </a:defRPr>
            </a:lvl7pPr>
            <a:lvl8pPr marL="38102" marR="0" lvl="7" indent="0" algn="r">
              <a:lnSpc>
                <a:spcPct val="118750"/>
              </a:lnSpc>
              <a:spcBef>
                <a:spcPts val="0"/>
              </a:spcBef>
              <a:buNone/>
              <a:defRPr sz="1200" b="0" i="0">
                <a:solidFill>
                  <a:srgbClr val="929599"/>
                </a:solidFill>
                <a:latin typeface="Arial"/>
                <a:ea typeface="Arial"/>
                <a:cs typeface="Arial"/>
                <a:sym typeface="Arial"/>
              </a:defRPr>
            </a:lvl8pPr>
            <a:lvl9pPr marL="38102" marR="0" lvl="8" indent="0" algn="r">
              <a:lnSpc>
                <a:spcPct val="118750"/>
              </a:lnSpc>
              <a:spcBef>
                <a:spcPts val="0"/>
              </a:spcBef>
              <a:buNone/>
              <a:defRPr sz="1200" b="0" i="0">
                <a:solidFill>
                  <a:srgbClr val="929599"/>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054797305"/>
      </p:ext>
    </p:extLst>
  </p:cSld>
  <p:clrMapOvr>
    <a:masterClrMapping/>
  </p:clrMapOvr>
</p:sldLayout>
</file>

<file path=ppt/slideLayouts/slideLayout1393.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575"/>
        <p:cNvGrpSpPr/>
        <p:nvPr/>
      </p:nvGrpSpPr>
      <p:grpSpPr>
        <a:xfrm>
          <a:off x="0" y="0"/>
          <a:ext cx="0" cy="0"/>
          <a:chOff x="0" y="0"/>
          <a:chExt cx="0" cy="0"/>
        </a:xfrm>
      </p:grpSpPr>
      <p:sp>
        <p:nvSpPr>
          <p:cNvPr id="576" name="Google Shape;576;p5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7" name="Google Shape;577;p5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8" name="Google Shape;578;p5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579" name="Google Shape;579;p5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80" name="Google Shape;580;p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1" name="Google Shape;581;p5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82" name="Google Shape;582;p55"/>
          <p:cNvGrpSpPr/>
          <p:nvPr/>
        </p:nvGrpSpPr>
        <p:grpSpPr>
          <a:xfrm>
            <a:off x="7191543" y="1"/>
            <a:ext cx="5000459" cy="1425992"/>
            <a:chOff x="7191542" y="1"/>
            <a:chExt cx="5000459" cy="1425992"/>
          </a:xfrm>
        </p:grpSpPr>
        <p:pic>
          <p:nvPicPr>
            <p:cNvPr id="583" name="Google Shape;583;p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4" name="Google Shape;584;p55"/>
            <p:cNvGrpSpPr/>
            <p:nvPr/>
          </p:nvGrpSpPr>
          <p:grpSpPr>
            <a:xfrm>
              <a:off x="7191542" y="1"/>
              <a:ext cx="5000459" cy="1425992"/>
              <a:chOff x="7186272" y="0"/>
              <a:chExt cx="5005729" cy="1427495"/>
            </a:xfrm>
          </p:grpSpPr>
          <p:sp>
            <p:nvSpPr>
              <p:cNvPr id="585" name="Google Shape;585;p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86" name="Google Shape;586;p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87" name="Google Shape;587;p5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981487483"/>
      </p:ext>
    </p:extLst>
  </p:cSld>
  <p:clrMapOvr>
    <a:masterClrMapping/>
  </p:clrMapOvr>
</p:sldLayout>
</file>

<file path=ppt/slideLayouts/slideLayout1394.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588"/>
        <p:cNvGrpSpPr/>
        <p:nvPr/>
      </p:nvGrpSpPr>
      <p:grpSpPr>
        <a:xfrm>
          <a:off x="0" y="0"/>
          <a:ext cx="0" cy="0"/>
          <a:chOff x="0" y="0"/>
          <a:chExt cx="0" cy="0"/>
        </a:xfrm>
      </p:grpSpPr>
      <p:sp>
        <p:nvSpPr>
          <p:cNvPr id="589" name="Google Shape;589;p56"/>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0" name="Google Shape;590;p56"/>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1" name="Google Shape;591;p56"/>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92" name="Google Shape;592;p56"/>
          <p:cNvSpPr>
            <a:spLocks noGrp="1"/>
          </p:cNvSpPr>
          <p:nvPr>
            <p:ph type="pic" idx="2"/>
          </p:nvPr>
        </p:nvSpPr>
        <p:spPr>
          <a:xfrm>
            <a:off x="7118684" y="233915"/>
            <a:ext cx="5073316" cy="5943600"/>
          </a:xfrm>
          <a:prstGeom prst="rect">
            <a:avLst/>
          </a:prstGeom>
          <a:noFill/>
          <a:ln>
            <a:noFill/>
          </a:ln>
        </p:spPr>
      </p:sp>
      <p:grpSp>
        <p:nvGrpSpPr>
          <p:cNvPr id="593" name="Google Shape;593;p56"/>
          <p:cNvGrpSpPr/>
          <p:nvPr/>
        </p:nvGrpSpPr>
        <p:grpSpPr>
          <a:xfrm>
            <a:off x="0" y="5020349"/>
            <a:ext cx="12192000" cy="1837653"/>
            <a:chOff x="0" y="5020348"/>
            <a:chExt cx="12192000" cy="1837653"/>
          </a:xfrm>
        </p:grpSpPr>
        <p:sp>
          <p:nvSpPr>
            <p:cNvPr id="594" name="Google Shape;594;p5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5" name="Google Shape;595;p5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96" name="Google Shape;596;p5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770157343"/>
      </p:ext>
    </p:extLst>
  </p:cSld>
  <p:clrMapOvr>
    <a:masterClrMapping/>
  </p:clrMapOvr>
</p:sldLayout>
</file>

<file path=ppt/slideLayouts/slideLayout1395.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597"/>
        <p:cNvGrpSpPr/>
        <p:nvPr/>
      </p:nvGrpSpPr>
      <p:grpSpPr>
        <a:xfrm>
          <a:off x="0" y="0"/>
          <a:ext cx="0" cy="0"/>
          <a:chOff x="0" y="0"/>
          <a:chExt cx="0" cy="0"/>
        </a:xfrm>
      </p:grpSpPr>
      <p:grpSp>
        <p:nvGrpSpPr>
          <p:cNvPr id="598" name="Google Shape;598;p57"/>
          <p:cNvGrpSpPr/>
          <p:nvPr/>
        </p:nvGrpSpPr>
        <p:grpSpPr>
          <a:xfrm>
            <a:off x="0" y="5020348"/>
            <a:ext cx="12192000" cy="1837653"/>
            <a:chOff x="0" y="5020347"/>
            <a:chExt cx="12192000" cy="1837653"/>
          </a:xfrm>
        </p:grpSpPr>
        <p:sp>
          <p:nvSpPr>
            <p:cNvPr id="599" name="Google Shape;599;p5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0" name="Google Shape;600;p5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1" name="Google Shape;601;p5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02" name="Google Shape;602;p5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03" name="Google Shape;603;p57"/>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4" name="Google Shape;604;p57"/>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392711693"/>
      </p:ext>
    </p:extLst>
  </p:cSld>
  <p:clrMapOvr>
    <a:masterClrMapping/>
  </p:clrMapOvr>
</p:sldLayout>
</file>

<file path=ppt/slideLayouts/slideLayout139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605"/>
        <p:cNvGrpSpPr/>
        <p:nvPr/>
      </p:nvGrpSpPr>
      <p:grpSpPr>
        <a:xfrm>
          <a:off x="0" y="0"/>
          <a:ext cx="0" cy="0"/>
          <a:chOff x="0" y="0"/>
          <a:chExt cx="0" cy="0"/>
        </a:xfrm>
      </p:grpSpPr>
      <p:sp>
        <p:nvSpPr>
          <p:cNvPr id="606" name="Google Shape;606;p58"/>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607" name="Google Shape;607;p5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08" name="Google Shape;608;p58"/>
          <p:cNvGrpSpPr/>
          <p:nvPr/>
        </p:nvGrpSpPr>
        <p:grpSpPr>
          <a:xfrm>
            <a:off x="0" y="5379427"/>
            <a:ext cx="2807368" cy="753891"/>
            <a:chOff x="0" y="5379426"/>
            <a:chExt cx="2807368" cy="753891"/>
          </a:xfrm>
        </p:grpSpPr>
        <p:sp>
          <p:nvSpPr>
            <p:cNvPr id="609" name="Google Shape;609;p5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0" name="Google Shape;610;p5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11" name="Google Shape;611;p58"/>
          <p:cNvSpPr>
            <a:spLocks noGrp="1"/>
          </p:cNvSpPr>
          <p:nvPr>
            <p:ph type="pic" idx="2"/>
          </p:nvPr>
        </p:nvSpPr>
        <p:spPr>
          <a:xfrm>
            <a:off x="2807368" y="457202"/>
            <a:ext cx="8915400" cy="5943598"/>
          </a:xfrm>
          <a:prstGeom prst="rect">
            <a:avLst/>
          </a:prstGeom>
          <a:noFill/>
          <a:ln>
            <a:noFill/>
          </a:ln>
        </p:spPr>
      </p:sp>
      <p:pic>
        <p:nvPicPr>
          <p:cNvPr id="612" name="Google Shape;612;p58"/>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132952571"/>
      </p:ext>
    </p:extLst>
  </p:cSld>
  <p:clrMapOvr>
    <a:masterClrMapping/>
  </p:clrMapOvr>
</p:sldLayout>
</file>

<file path=ppt/slideLayouts/slideLayout1397.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613"/>
        <p:cNvGrpSpPr/>
        <p:nvPr/>
      </p:nvGrpSpPr>
      <p:grpSpPr>
        <a:xfrm>
          <a:off x="0" y="0"/>
          <a:ext cx="0" cy="0"/>
          <a:chOff x="0" y="0"/>
          <a:chExt cx="0" cy="0"/>
        </a:xfrm>
      </p:grpSpPr>
      <p:sp>
        <p:nvSpPr>
          <p:cNvPr id="614" name="Google Shape;614;p5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5" name="Google Shape;615;p5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6" name="Google Shape;616;p5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17" name="Google Shape;617;p5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18" name="Google Shape;618;p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9" name="Google Shape;619;p5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20" name="Google Shape;620;p59"/>
          <p:cNvGrpSpPr/>
          <p:nvPr/>
        </p:nvGrpSpPr>
        <p:grpSpPr>
          <a:xfrm>
            <a:off x="7191543" y="1"/>
            <a:ext cx="5000459" cy="1425992"/>
            <a:chOff x="7191542" y="1"/>
            <a:chExt cx="5000459" cy="1425992"/>
          </a:xfrm>
        </p:grpSpPr>
        <p:pic>
          <p:nvPicPr>
            <p:cNvPr id="621" name="Google Shape;621;p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2" name="Google Shape;622;p59"/>
            <p:cNvGrpSpPr/>
            <p:nvPr/>
          </p:nvGrpSpPr>
          <p:grpSpPr>
            <a:xfrm>
              <a:off x="7191542" y="1"/>
              <a:ext cx="5000459" cy="1425992"/>
              <a:chOff x="7186272" y="0"/>
              <a:chExt cx="5005729" cy="1427495"/>
            </a:xfrm>
          </p:grpSpPr>
          <p:sp>
            <p:nvSpPr>
              <p:cNvPr id="623" name="Google Shape;623;p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4" name="Google Shape;624;p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25" name="Google Shape;625;p5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075614126"/>
      </p:ext>
    </p:extLst>
  </p:cSld>
  <p:clrMapOvr>
    <a:masterClrMapping/>
  </p:clrMapOvr>
</p:sldLayout>
</file>

<file path=ppt/slideLayouts/slideLayout1398.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626"/>
        <p:cNvGrpSpPr/>
        <p:nvPr/>
      </p:nvGrpSpPr>
      <p:grpSpPr>
        <a:xfrm>
          <a:off x="0" y="0"/>
          <a:ext cx="0" cy="0"/>
          <a:chOff x="0" y="0"/>
          <a:chExt cx="0" cy="0"/>
        </a:xfrm>
      </p:grpSpPr>
      <p:grpSp>
        <p:nvGrpSpPr>
          <p:cNvPr id="627" name="Google Shape;627;p60"/>
          <p:cNvGrpSpPr/>
          <p:nvPr/>
        </p:nvGrpSpPr>
        <p:grpSpPr>
          <a:xfrm>
            <a:off x="7191543" y="1"/>
            <a:ext cx="5000459" cy="1425992"/>
            <a:chOff x="7191542" y="1"/>
            <a:chExt cx="5000459" cy="1425992"/>
          </a:xfrm>
        </p:grpSpPr>
        <p:pic>
          <p:nvPicPr>
            <p:cNvPr id="628" name="Google Shape;628;p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9" name="Google Shape;629;p60"/>
            <p:cNvGrpSpPr/>
            <p:nvPr/>
          </p:nvGrpSpPr>
          <p:grpSpPr>
            <a:xfrm>
              <a:off x="7191542" y="1"/>
              <a:ext cx="5000459" cy="1425992"/>
              <a:chOff x="7186272" y="0"/>
              <a:chExt cx="5005729" cy="1427495"/>
            </a:xfrm>
          </p:grpSpPr>
          <p:sp>
            <p:nvSpPr>
              <p:cNvPr id="630" name="Google Shape;630;p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1" name="Google Shape;631;p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2" name="Google Shape;632;p6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3" name="Google Shape;633;p60"/>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34" name="Google Shape;634;p6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35" name="Google Shape;635;p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6" name="Google Shape;636;p6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46586192"/>
      </p:ext>
    </p:extLst>
  </p:cSld>
  <p:clrMapOvr>
    <a:masterClrMapping/>
  </p:clrMapOvr>
</p:sldLayout>
</file>

<file path=ppt/slideLayouts/slideLayout1399.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637"/>
        <p:cNvGrpSpPr/>
        <p:nvPr/>
      </p:nvGrpSpPr>
      <p:grpSpPr>
        <a:xfrm>
          <a:off x="0" y="0"/>
          <a:ext cx="0" cy="0"/>
          <a:chOff x="0" y="0"/>
          <a:chExt cx="0" cy="0"/>
        </a:xfrm>
      </p:grpSpPr>
      <p:sp>
        <p:nvSpPr>
          <p:cNvPr id="638" name="Google Shape;638;p61"/>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9" name="Google Shape;639;p61"/>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grpSp>
        <p:nvGrpSpPr>
          <p:cNvPr id="640" name="Google Shape;640;p61"/>
          <p:cNvGrpSpPr/>
          <p:nvPr/>
        </p:nvGrpSpPr>
        <p:grpSpPr>
          <a:xfrm>
            <a:off x="7191543" y="1"/>
            <a:ext cx="5000459" cy="1425992"/>
            <a:chOff x="7191542" y="1"/>
            <a:chExt cx="5000459" cy="1425992"/>
          </a:xfrm>
        </p:grpSpPr>
        <p:pic>
          <p:nvPicPr>
            <p:cNvPr id="641" name="Google Shape;641;p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2" name="Google Shape;642;p61"/>
            <p:cNvGrpSpPr/>
            <p:nvPr/>
          </p:nvGrpSpPr>
          <p:grpSpPr>
            <a:xfrm>
              <a:off x="7191542" y="1"/>
              <a:ext cx="5000459" cy="1425992"/>
              <a:chOff x="7186272" y="0"/>
              <a:chExt cx="5005729" cy="1427495"/>
            </a:xfrm>
          </p:grpSpPr>
          <p:sp>
            <p:nvSpPr>
              <p:cNvPr id="643" name="Google Shape;643;p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4" name="Google Shape;644;p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45" name="Google Shape;645;p61"/>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46" name="Google Shape;646;p61"/>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647" name="Google Shape;647;p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8" name="Google Shape;648;p6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760713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9051"/>
        <p:cNvGrpSpPr/>
        <p:nvPr/>
      </p:nvGrpSpPr>
      <p:grpSpPr>
        <a:xfrm>
          <a:off x="0" y="0"/>
          <a:ext cx="0" cy="0"/>
          <a:chOff x="0" y="0"/>
          <a:chExt cx="0" cy="0"/>
        </a:xfrm>
      </p:grpSpPr>
      <p:sp>
        <p:nvSpPr>
          <p:cNvPr id="9052" name="Google Shape;9052;p28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053" name="Google Shape;9053;p28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054" name="Google Shape;9054;p287"/>
          <p:cNvGrpSpPr/>
          <p:nvPr/>
        </p:nvGrpSpPr>
        <p:grpSpPr>
          <a:xfrm>
            <a:off x="7191542" y="1"/>
            <a:ext cx="5000459" cy="1425992"/>
            <a:chOff x="7191542" y="1"/>
            <a:chExt cx="5000459" cy="1425992"/>
          </a:xfrm>
        </p:grpSpPr>
        <p:pic>
          <p:nvPicPr>
            <p:cNvPr id="9055" name="Google Shape;9055;p2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056" name="Google Shape;9056;p287"/>
            <p:cNvGrpSpPr/>
            <p:nvPr/>
          </p:nvGrpSpPr>
          <p:grpSpPr>
            <a:xfrm>
              <a:off x="7191542" y="1"/>
              <a:ext cx="5000459" cy="1425992"/>
              <a:chOff x="7186272" y="0"/>
              <a:chExt cx="5005729" cy="1427495"/>
            </a:xfrm>
          </p:grpSpPr>
          <p:sp>
            <p:nvSpPr>
              <p:cNvPr id="9057" name="Google Shape;9057;p2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058" name="Google Shape;9058;p2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059" name="Google Shape;9059;p28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60" name="Google Shape;9060;p28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061" name="Google Shape;9061;p2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62" name="Google Shape;9062;p2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matchingName="Divider">
  <p:cSld name="Divider 10">
    <p:spTree>
      <p:nvGrpSpPr>
        <p:cNvPr id="1" name="Shape 10409"/>
        <p:cNvGrpSpPr/>
        <p:nvPr/>
      </p:nvGrpSpPr>
      <p:grpSpPr>
        <a:xfrm>
          <a:off x="0" y="0"/>
          <a:ext cx="0" cy="0"/>
          <a:chOff x="0" y="0"/>
          <a:chExt cx="0" cy="0"/>
        </a:xfrm>
      </p:grpSpPr>
      <p:grpSp>
        <p:nvGrpSpPr>
          <p:cNvPr id="10410" name="Google Shape;10410;p1444"/>
          <p:cNvGrpSpPr/>
          <p:nvPr/>
        </p:nvGrpSpPr>
        <p:grpSpPr>
          <a:xfrm>
            <a:off x="0" y="5020347"/>
            <a:ext cx="12192000" cy="1837653"/>
            <a:chOff x="0" y="5020347"/>
            <a:chExt cx="12192000" cy="1837653"/>
          </a:xfrm>
        </p:grpSpPr>
        <p:sp>
          <p:nvSpPr>
            <p:cNvPr id="10411" name="Google Shape;10411;p144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412" name="Google Shape;10412;p144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413" name="Google Shape;10413;p144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414" name="Google Shape;10414;p144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415" name="Google Shape;10415;p144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416" name="Google Shape;10416;p144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400.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649"/>
        <p:cNvGrpSpPr/>
        <p:nvPr/>
      </p:nvGrpSpPr>
      <p:grpSpPr>
        <a:xfrm>
          <a:off x="0" y="0"/>
          <a:ext cx="0" cy="0"/>
          <a:chOff x="0" y="0"/>
          <a:chExt cx="0" cy="0"/>
        </a:xfrm>
      </p:grpSpPr>
      <p:grpSp>
        <p:nvGrpSpPr>
          <p:cNvPr id="650" name="Google Shape;650;p62"/>
          <p:cNvGrpSpPr/>
          <p:nvPr/>
        </p:nvGrpSpPr>
        <p:grpSpPr>
          <a:xfrm>
            <a:off x="7191543" y="1"/>
            <a:ext cx="5000459" cy="1425992"/>
            <a:chOff x="7191542" y="1"/>
            <a:chExt cx="5000459" cy="1425992"/>
          </a:xfrm>
        </p:grpSpPr>
        <p:pic>
          <p:nvPicPr>
            <p:cNvPr id="651" name="Google Shape;651;p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2" name="Google Shape;652;p62"/>
            <p:cNvGrpSpPr/>
            <p:nvPr/>
          </p:nvGrpSpPr>
          <p:grpSpPr>
            <a:xfrm>
              <a:off x="7191542" y="1"/>
              <a:ext cx="5000459" cy="1425992"/>
              <a:chOff x="7186272" y="0"/>
              <a:chExt cx="5005729" cy="1427495"/>
            </a:xfrm>
          </p:grpSpPr>
          <p:sp>
            <p:nvSpPr>
              <p:cNvPr id="653" name="Google Shape;653;p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4" name="Google Shape;654;p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55" name="Google Shape;655;p62"/>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6" name="Google Shape;656;p62"/>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23" lvl="0" indent="-228611"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46" lvl="1" indent="-228611" algn="l">
              <a:lnSpc>
                <a:spcPct val="100000"/>
              </a:lnSpc>
              <a:spcBef>
                <a:spcPts val="1000"/>
              </a:spcBef>
              <a:spcAft>
                <a:spcPts val="0"/>
              </a:spcAft>
              <a:buSzPts val="2000"/>
              <a:buNone/>
              <a:defRPr sz="2000" b="1"/>
            </a:lvl2pPr>
            <a:lvl3pPr marL="1371669" lvl="2" indent="-228611" algn="l">
              <a:lnSpc>
                <a:spcPct val="100000"/>
              </a:lnSpc>
              <a:spcBef>
                <a:spcPts val="1000"/>
              </a:spcBef>
              <a:spcAft>
                <a:spcPts val="0"/>
              </a:spcAft>
              <a:buSzPts val="1800"/>
              <a:buNone/>
              <a:defRPr sz="1800" b="1"/>
            </a:lvl3pPr>
            <a:lvl4pPr marL="1828891" lvl="3" indent="-228611" algn="l">
              <a:lnSpc>
                <a:spcPct val="100000"/>
              </a:lnSpc>
              <a:spcBef>
                <a:spcPts val="1000"/>
              </a:spcBef>
              <a:spcAft>
                <a:spcPts val="0"/>
              </a:spcAft>
              <a:buSzPts val="1600"/>
              <a:buNone/>
              <a:defRPr sz="1600" b="1"/>
            </a:lvl4pPr>
            <a:lvl5pPr marL="2286114" lvl="4" indent="-228611" algn="l">
              <a:lnSpc>
                <a:spcPct val="100000"/>
              </a:lnSpc>
              <a:spcBef>
                <a:spcPts val="1000"/>
              </a:spcBef>
              <a:spcAft>
                <a:spcPts val="0"/>
              </a:spcAft>
              <a:buSzPts val="1600"/>
              <a:buNone/>
              <a:defRPr sz="1600" b="1"/>
            </a:lvl5pPr>
            <a:lvl6pPr marL="2743337" lvl="5" indent="-228611" algn="l">
              <a:lnSpc>
                <a:spcPct val="90000"/>
              </a:lnSpc>
              <a:spcBef>
                <a:spcPts val="1000"/>
              </a:spcBef>
              <a:spcAft>
                <a:spcPts val="0"/>
              </a:spcAft>
              <a:buClr>
                <a:schemeClr val="dk1"/>
              </a:buClr>
              <a:buSzPts val="1600"/>
              <a:buNone/>
              <a:defRPr sz="1600" b="1"/>
            </a:lvl6pPr>
            <a:lvl7pPr marL="3200560" lvl="6" indent="-228611" algn="l">
              <a:lnSpc>
                <a:spcPct val="90000"/>
              </a:lnSpc>
              <a:spcBef>
                <a:spcPts val="500"/>
              </a:spcBef>
              <a:spcAft>
                <a:spcPts val="0"/>
              </a:spcAft>
              <a:buClr>
                <a:schemeClr val="dk1"/>
              </a:buClr>
              <a:buSzPts val="1600"/>
              <a:buNone/>
              <a:defRPr sz="1600" b="1"/>
            </a:lvl7pPr>
            <a:lvl8pPr marL="3657783" lvl="7" indent="-228611" algn="l">
              <a:lnSpc>
                <a:spcPct val="90000"/>
              </a:lnSpc>
              <a:spcBef>
                <a:spcPts val="500"/>
              </a:spcBef>
              <a:spcAft>
                <a:spcPts val="0"/>
              </a:spcAft>
              <a:buClr>
                <a:schemeClr val="dk1"/>
              </a:buClr>
              <a:buSzPts val="1600"/>
              <a:buNone/>
              <a:defRPr sz="1600" b="1"/>
            </a:lvl8pPr>
            <a:lvl9pPr marL="4115006" lvl="8" indent="-228611" algn="l">
              <a:lnSpc>
                <a:spcPct val="90000"/>
              </a:lnSpc>
              <a:spcBef>
                <a:spcPts val="500"/>
              </a:spcBef>
              <a:spcAft>
                <a:spcPts val="0"/>
              </a:spcAft>
              <a:buClr>
                <a:schemeClr val="dk1"/>
              </a:buClr>
              <a:buSzPts val="1600"/>
              <a:buNone/>
              <a:defRPr sz="1600" b="1"/>
            </a:lvl9pPr>
          </a:lstStyle>
          <a:p>
            <a:endParaRPr/>
          </a:p>
        </p:txBody>
      </p:sp>
      <p:sp>
        <p:nvSpPr>
          <p:cNvPr id="657" name="Google Shape;657;p62"/>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23" lvl="0" indent="-355618" algn="l">
              <a:lnSpc>
                <a:spcPct val="100000"/>
              </a:lnSpc>
              <a:spcBef>
                <a:spcPts val="1000"/>
              </a:spcBef>
              <a:spcAft>
                <a:spcPts val="0"/>
              </a:spcAft>
              <a:buSzPts val="2000"/>
              <a:buChar char="•"/>
              <a:defRPr sz="2000"/>
            </a:lvl1pPr>
            <a:lvl2pPr marL="914446" lvl="1" indent="-342917" algn="l">
              <a:lnSpc>
                <a:spcPct val="100000"/>
              </a:lnSpc>
              <a:spcBef>
                <a:spcPts val="1000"/>
              </a:spcBef>
              <a:spcAft>
                <a:spcPts val="0"/>
              </a:spcAft>
              <a:buSzPts val="1800"/>
              <a:buChar char="•"/>
              <a:defRPr sz="1800"/>
            </a:lvl2pPr>
            <a:lvl3pPr marL="1371669" lvl="2" indent="-330217" algn="l">
              <a:lnSpc>
                <a:spcPct val="100000"/>
              </a:lnSpc>
              <a:spcBef>
                <a:spcPts val="1000"/>
              </a:spcBef>
              <a:spcAft>
                <a:spcPts val="0"/>
              </a:spcAft>
              <a:buSzPts val="1600"/>
              <a:buChar char="•"/>
              <a:defRPr sz="1600"/>
            </a:lvl3pPr>
            <a:lvl4pPr marL="1828891" lvl="3" indent="-317516" algn="l">
              <a:lnSpc>
                <a:spcPct val="100000"/>
              </a:lnSpc>
              <a:spcBef>
                <a:spcPts val="1000"/>
              </a:spcBef>
              <a:spcAft>
                <a:spcPts val="0"/>
              </a:spcAft>
              <a:buSzPts val="1400"/>
              <a:buChar char="•"/>
              <a:defRPr sz="1400"/>
            </a:lvl4pPr>
            <a:lvl5pPr marL="2286114" lvl="4" indent="-317516" algn="l">
              <a:lnSpc>
                <a:spcPct val="100000"/>
              </a:lnSpc>
              <a:spcBef>
                <a:spcPts val="1000"/>
              </a:spcBef>
              <a:spcAft>
                <a:spcPts val="0"/>
              </a:spcAft>
              <a:buSzPts val="1400"/>
              <a:buChar char="•"/>
              <a:defRPr sz="1400"/>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8" name="Google Shape;658;p6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23" lvl="0" indent="-228611"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46" lvl="1" indent="-228611" algn="l">
              <a:lnSpc>
                <a:spcPct val="100000"/>
              </a:lnSpc>
              <a:spcBef>
                <a:spcPts val="1000"/>
              </a:spcBef>
              <a:spcAft>
                <a:spcPts val="0"/>
              </a:spcAft>
              <a:buSzPts val="2000"/>
              <a:buNone/>
              <a:defRPr sz="2000" b="1"/>
            </a:lvl2pPr>
            <a:lvl3pPr marL="1371669" lvl="2" indent="-228611" algn="l">
              <a:lnSpc>
                <a:spcPct val="100000"/>
              </a:lnSpc>
              <a:spcBef>
                <a:spcPts val="1000"/>
              </a:spcBef>
              <a:spcAft>
                <a:spcPts val="0"/>
              </a:spcAft>
              <a:buSzPts val="1800"/>
              <a:buNone/>
              <a:defRPr sz="1800" b="1"/>
            </a:lvl3pPr>
            <a:lvl4pPr marL="1828891" lvl="3" indent="-228611" algn="l">
              <a:lnSpc>
                <a:spcPct val="100000"/>
              </a:lnSpc>
              <a:spcBef>
                <a:spcPts val="1000"/>
              </a:spcBef>
              <a:spcAft>
                <a:spcPts val="0"/>
              </a:spcAft>
              <a:buSzPts val="1600"/>
              <a:buNone/>
              <a:defRPr sz="1600" b="1"/>
            </a:lvl4pPr>
            <a:lvl5pPr marL="2286114" lvl="4" indent="-228611" algn="l">
              <a:lnSpc>
                <a:spcPct val="100000"/>
              </a:lnSpc>
              <a:spcBef>
                <a:spcPts val="1000"/>
              </a:spcBef>
              <a:spcAft>
                <a:spcPts val="0"/>
              </a:spcAft>
              <a:buSzPts val="1600"/>
              <a:buNone/>
              <a:defRPr sz="1600" b="1"/>
            </a:lvl5pPr>
            <a:lvl6pPr marL="2743337" lvl="5" indent="-228611" algn="l">
              <a:lnSpc>
                <a:spcPct val="90000"/>
              </a:lnSpc>
              <a:spcBef>
                <a:spcPts val="1000"/>
              </a:spcBef>
              <a:spcAft>
                <a:spcPts val="0"/>
              </a:spcAft>
              <a:buClr>
                <a:schemeClr val="dk1"/>
              </a:buClr>
              <a:buSzPts val="1600"/>
              <a:buNone/>
              <a:defRPr sz="1600" b="1"/>
            </a:lvl6pPr>
            <a:lvl7pPr marL="3200560" lvl="6" indent="-228611" algn="l">
              <a:lnSpc>
                <a:spcPct val="90000"/>
              </a:lnSpc>
              <a:spcBef>
                <a:spcPts val="500"/>
              </a:spcBef>
              <a:spcAft>
                <a:spcPts val="0"/>
              </a:spcAft>
              <a:buClr>
                <a:schemeClr val="dk1"/>
              </a:buClr>
              <a:buSzPts val="1600"/>
              <a:buNone/>
              <a:defRPr sz="1600" b="1"/>
            </a:lvl7pPr>
            <a:lvl8pPr marL="3657783" lvl="7" indent="-228611" algn="l">
              <a:lnSpc>
                <a:spcPct val="90000"/>
              </a:lnSpc>
              <a:spcBef>
                <a:spcPts val="500"/>
              </a:spcBef>
              <a:spcAft>
                <a:spcPts val="0"/>
              </a:spcAft>
              <a:buClr>
                <a:schemeClr val="dk1"/>
              </a:buClr>
              <a:buSzPts val="1600"/>
              <a:buNone/>
              <a:defRPr sz="1600" b="1"/>
            </a:lvl8pPr>
            <a:lvl9pPr marL="4115006" lvl="8" indent="-228611" algn="l">
              <a:lnSpc>
                <a:spcPct val="90000"/>
              </a:lnSpc>
              <a:spcBef>
                <a:spcPts val="500"/>
              </a:spcBef>
              <a:spcAft>
                <a:spcPts val="0"/>
              </a:spcAft>
              <a:buClr>
                <a:schemeClr val="dk1"/>
              </a:buClr>
              <a:buSzPts val="1600"/>
              <a:buNone/>
              <a:defRPr sz="1600" b="1"/>
            </a:lvl9pPr>
          </a:lstStyle>
          <a:p>
            <a:endParaRPr/>
          </a:p>
        </p:txBody>
      </p:sp>
      <p:sp>
        <p:nvSpPr>
          <p:cNvPr id="659" name="Google Shape;659;p6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23" lvl="0" indent="-355618" algn="l">
              <a:lnSpc>
                <a:spcPct val="100000"/>
              </a:lnSpc>
              <a:spcBef>
                <a:spcPts val="1000"/>
              </a:spcBef>
              <a:spcAft>
                <a:spcPts val="0"/>
              </a:spcAft>
              <a:buSzPts val="2000"/>
              <a:buChar char="•"/>
              <a:defRPr sz="2000"/>
            </a:lvl1pPr>
            <a:lvl2pPr marL="914446" lvl="1" indent="-342917" algn="l">
              <a:lnSpc>
                <a:spcPct val="100000"/>
              </a:lnSpc>
              <a:spcBef>
                <a:spcPts val="1000"/>
              </a:spcBef>
              <a:spcAft>
                <a:spcPts val="0"/>
              </a:spcAft>
              <a:buSzPts val="1800"/>
              <a:buChar char="•"/>
              <a:defRPr sz="1800"/>
            </a:lvl2pPr>
            <a:lvl3pPr marL="1371669" lvl="2" indent="-330217" algn="l">
              <a:lnSpc>
                <a:spcPct val="100000"/>
              </a:lnSpc>
              <a:spcBef>
                <a:spcPts val="1000"/>
              </a:spcBef>
              <a:spcAft>
                <a:spcPts val="0"/>
              </a:spcAft>
              <a:buSzPts val="1600"/>
              <a:buChar char="•"/>
              <a:defRPr sz="1600"/>
            </a:lvl3pPr>
            <a:lvl4pPr marL="1828891" lvl="3" indent="-317516" algn="l">
              <a:lnSpc>
                <a:spcPct val="100000"/>
              </a:lnSpc>
              <a:spcBef>
                <a:spcPts val="1000"/>
              </a:spcBef>
              <a:spcAft>
                <a:spcPts val="0"/>
              </a:spcAft>
              <a:buSzPts val="1400"/>
              <a:buChar char="•"/>
              <a:defRPr sz="1400"/>
            </a:lvl4pPr>
            <a:lvl5pPr marL="2286114" lvl="4" indent="-317516" algn="l">
              <a:lnSpc>
                <a:spcPct val="100000"/>
              </a:lnSpc>
              <a:spcBef>
                <a:spcPts val="1000"/>
              </a:spcBef>
              <a:spcAft>
                <a:spcPts val="0"/>
              </a:spcAft>
              <a:buSzPts val="1400"/>
              <a:buChar char="•"/>
              <a:defRPr sz="1400"/>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60" name="Google Shape;660;p6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661" name="Google Shape;661;p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2" name="Google Shape;662;p6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52214666"/>
      </p:ext>
    </p:extLst>
  </p:cSld>
  <p:clrMapOvr>
    <a:masterClrMapping/>
  </p:clrMapOvr>
</p:sldLayout>
</file>

<file path=ppt/slideLayouts/slideLayout1401.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663"/>
        <p:cNvGrpSpPr/>
        <p:nvPr/>
      </p:nvGrpSpPr>
      <p:grpSpPr>
        <a:xfrm>
          <a:off x="0" y="0"/>
          <a:ext cx="0" cy="0"/>
          <a:chOff x="0" y="0"/>
          <a:chExt cx="0" cy="0"/>
        </a:xfrm>
      </p:grpSpPr>
      <p:grpSp>
        <p:nvGrpSpPr>
          <p:cNvPr id="664" name="Google Shape;664;p63"/>
          <p:cNvGrpSpPr/>
          <p:nvPr/>
        </p:nvGrpSpPr>
        <p:grpSpPr>
          <a:xfrm>
            <a:off x="7191543" y="1"/>
            <a:ext cx="5000459" cy="1425992"/>
            <a:chOff x="7191542" y="1"/>
            <a:chExt cx="5000459" cy="1425992"/>
          </a:xfrm>
        </p:grpSpPr>
        <p:pic>
          <p:nvPicPr>
            <p:cNvPr id="665" name="Google Shape;665;p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6" name="Google Shape;666;p63"/>
            <p:cNvGrpSpPr/>
            <p:nvPr/>
          </p:nvGrpSpPr>
          <p:grpSpPr>
            <a:xfrm>
              <a:off x="7191542" y="1"/>
              <a:ext cx="5000459" cy="1425992"/>
              <a:chOff x="7186272" y="0"/>
              <a:chExt cx="5005729" cy="1427495"/>
            </a:xfrm>
          </p:grpSpPr>
          <p:sp>
            <p:nvSpPr>
              <p:cNvPr id="667" name="Google Shape;667;p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8" name="Google Shape;668;p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69" name="Google Shape;669;p63"/>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0" name="Google Shape;670;p6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671" name="Google Shape;671;p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2" name="Google Shape;672;p6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44420083"/>
      </p:ext>
    </p:extLst>
  </p:cSld>
  <p:clrMapOvr>
    <a:masterClrMapping/>
  </p:clrMapOvr>
</p:sldLayout>
</file>

<file path=ppt/slideLayouts/slideLayout1402.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673"/>
        <p:cNvGrpSpPr/>
        <p:nvPr/>
      </p:nvGrpSpPr>
      <p:grpSpPr>
        <a:xfrm>
          <a:off x="0" y="0"/>
          <a:ext cx="0" cy="0"/>
          <a:chOff x="0" y="0"/>
          <a:chExt cx="0" cy="0"/>
        </a:xfrm>
      </p:grpSpPr>
      <p:grpSp>
        <p:nvGrpSpPr>
          <p:cNvPr id="674" name="Google Shape;674;p64"/>
          <p:cNvGrpSpPr/>
          <p:nvPr/>
        </p:nvGrpSpPr>
        <p:grpSpPr>
          <a:xfrm>
            <a:off x="0" y="0"/>
            <a:ext cx="12192000" cy="2148830"/>
            <a:chOff x="0" y="0"/>
            <a:chExt cx="12192000" cy="2148830"/>
          </a:xfrm>
        </p:grpSpPr>
        <p:sp>
          <p:nvSpPr>
            <p:cNvPr id="675" name="Google Shape;675;p6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6" name="Google Shape;676;p6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77" name="Google Shape;677;p64"/>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78" name="Google Shape;678;p64"/>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000"/>
              <a:buNone/>
              <a:defRPr sz="2000"/>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79" name="Google Shape;679;p6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80" name="Google Shape;680;p64"/>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681" name="Google Shape;681;p64"/>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950582158"/>
      </p:ext>
    </p:extLst>
  </p:cSld>
  <p:clrMapOvr>
    <a:masterClrMapping/>
  </p:clrMapOvr>
</p:sldLayout>
</file>

<file path=ppt/slideLayouts/slideLayout1403.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682"/>
        <p:cNvGrpSpPr/>
        <p:nvPr/>
      </p:nvGrpSpPr>
      <p:grpSpPr>
        <a:xfrm>
          <a:off x="0" y="0"/>
          <a:ext cx="0" cy="0"/>
          <a:chOff x="0" y="0"/>
          <a:chExt cx="0" cy="0"/>
        </a:xfrm>
      </p:grpSpPr>
      <p:sp>
        <p:nvSpPr>
          <p:cNvPr id="683" name="Google Shape;683;p6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684" name="Google Shape;684;p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5" name="Google Shape;685;p6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86" name="Google Shape;686;p65"/>
          <p:cNvGrpSpPr/>
          <p:nvPr/>
        </p:nvGrpSpPr>
        <p:grpSpPr>
          <a:xfrm>
            <a:off x="7191543" y="1"/>
            <a:ext cx="5000459" cy="1425992"/>
            <a:chOff x="7191542" y="1"/>
            <a:chExt cx="5000459" cy="1425992"/>
          </a:xfrm>
        </p:grpSpPr>
        <p:pic>
          <p:nvPicPr>
            <p:cNvPr id="687" name="Google Shape;687;p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8" name="Google Shape;688;p65"/>
            <p:cNvGrpSpPr/>
            <p:nvPr/>
          </p:nvGrpSpPr>
          <p:grpSpPr>
            <a:xfrm>
              <a:off x="7191542" y="1"/>
              <a:ext cx="5000459" cy="1425992"/>
              <a:chOff x="7186272" y="0"/>
              <a:chExt cx="5005729" cy="1427495"/>
            </a:xfrm>
          </p:grpSpPr>
          <p:sp>
            <p:nvSpPr>
              <p:cNvPr id="689" name="Google Shape;689;p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0" name="Google Shape;690;p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734982317"/>
      </p:ext>
    </p:extLst>
  </p:cSld>
  <p:clrMapOvr>
    <a:masterClrMapping/>
  </p:clrMapOvr>
</p:sldLayout>
</file>

<file path=ppt/slideLayouts/slideLayout1404.xml><?xml version="1.0" encoding="utf-8"?>
<p:sldLayout xmlns:a="http://schemas.openxmlformats.org/drawingml/2006/main" xmlns:r="http://schemas.openxmlformats.org/officeDocument/2006/relationships" xmlns:p="http://schemas.openxmlformats.org/presentationml/2006/main" matchingName="Title Slide" type="title">
  <p:cSld name="1_Title Slide">
    <p:spTree>
      <p:nvGrpSpPr>
        <p:cNvPr id="1" name="Shape 691"/>
        <p:cNvGrpSpPr/>
        <p:nvPr/>
      </p:nvGrpSpPr>
      <p:grpSpPr>
        <a:xfrm>
          <a:off x="0" y="0"/>
          <a:ext cx="0" cy="0"/>
          <a:chOff x="0" y="0"/>
          <a:chExt cx="0" cy="0"/>
        </a:xfrm>
      </p:grpSpPr>
      <p:sp>
        <p:nvSpPr>
          <p:cNvPr id="692" name="Google Shape;692;p66"/>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3" name="Google Shape;693;p66"/>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94" name="Google Shape;694;p6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695" name="Google Shape;695;p6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96" name="Google Shape;696;p6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463087829"/>
      </p:ext>
    </p:extLst>
  </p:cSld>
  <p:clrMapOvr>
    <a:masterClrMapping/>
  </p:clrMapOvr>
</p:sldLayout>
</file>

<file path=ppt/slideLayouts/slideLayout1405.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697"/>
        <p:cNvGrpSpPr/>
        <p:nvPr/>
      </p:nvGrpSpPr>
      <p:grpSpPr>
        <a:xfrm>
          <a:off x="0" y="0"/>
          <a:ext cx="0" cy="0"/>
          <a:chOff x="0" y="0"/>
          <a:chExt cx="0" cy="0"/>
        </a:xfrm>
      </p:grpSpPr>
      <p:sp>
        <p:nvSpPr>
          <p:cNvPr id="698" name="Google Shape;698;p67"/>
          <p:cNvSpPr txBox="1">
            <a:spLocks noGrp="1"/>
          </p:cNvSpPr>
          <p:nvPr>
            <p:ph type="body" idx="1"/>
          </p:nvPr>
        </p:nvSpPr>
        <p:spPr>
          <a:xfrm>
            <a:off x="2826556" y="5400857"/>
            <a:ext cx="8178613" cy="477112"/>
          </a:xfrm>
          <a:prstGeom prst="rect">
            <a:avLst/>
          </a:prstGeom>
          <a:noFill/>
          <a:ln>
            <a:noFill/>
          </a:ln>
        </p:spPr>
        <p:txBody>
          <a:bodyPr spcFirstLastPara="1" wrap="square" lIns="91425" tIns="45700" rIns="91425" bIns="45700" anchor="t" anchorCtr="0">
            <a:spAutoFit/>
          </a:bodyPr>
          <a:lstStyle>
            <a:lvl1pPr marL="457223" lvl="0" indent="-228611"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99" name="Google Shape;699;p67"/>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0" name="Google Shape;700;p6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701" name="Google Shape;701;p6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02" name="Google Shape;702;p6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sp>
        <p:nvSpPr>
          <p:cNvPr id="703" name="Google Shape;703;p67"/>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704" name="Google Shape;704;p67"/>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705" name="Google Shape;705;p67"/>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pic>
        <p:nvPicPr>
          <p:cNvPr id="706" name="Google Shape;706;p67"/>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1699467628"/>
      </p:ext>
    </p:extLst>
  </p:cSld>
  <p:clrMapOvr>
    <a:masterClrMapping/>
  </p:clrMapOvr>
</p:sldLayout>
</file>

<file path=ppt/slideLayouts/slideLayout1406.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707"/>
        <p:cNvGrpSpPr/>
        <p:nvPr/>
      </p:nvGrpSpPr>
      <p:grpSpPr>
        <a:xfrm>
          <a:off x="0" y="0"/>
          <a:ext cx="0" cy="0"/>
          <a:chOff x="0" y="0"/>
          <a:chExt cx="0" cy="0"/>
        </a:xfrm>
      </p:grpSpPr>
      <p:sp>
        <p:nvSpPr>
          <p:cNvPr id="708" name="Google Shape;708;p68"/>
          <p:cNvSpPr txBox="1">
            <a:spLocks noGrp="1"/>
          </p:cNvSpPr>
          <p:nvPr>
            <p:ph type="body" idx="1"/>
          </p:nvPr>
        </p:nvSpPr>
        <p:spPr>
          <a:xfrm>
            <a:off x="2826556" y="5400857"/>
            <a:ext cx="8178613" cy="477112"/>
          </a:xfrm>
          <a:prstGeom prst="rect">
            <a:avLst/>
          </a:prstGeom>
          <a:noFill/>
          <a:ln>
            <a:noFill/>
          </a:ln>
        </p:spPr>
        <p:txBody>
          <a:bodyPr spcFirstLastPara="1" wrap="square" lIns="91425" tIns="45700" rIns="91425" bIns="45700" anchor="t" anchorCtr="0">
            <a:spAutoFit/>
          </a:bodyPr>
          <a:lstStyle>
            <a:lvl1pPr marL="457223" lvl="0" indent="-228611"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709" name="Google Shape;709;p68"/>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0" name="Google Shape;710;p6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711" name="Google Shape;711;p6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12" name="Google Shape;712;p6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sp>
        <p:nvSpPr>
          <p:cNvPr id="713" name="Google Shape;713;p68"/>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714" name="Google Shape;714;p68"/>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715" name="Google Shape;715;p68"/>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pic>
        <p:nvPicPr>
          <p:cNvPr id="716" name="Google Shape;716;p68"/>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459159075"/>
      </p:ext>
    </p:extLst>
  </p:cSld>
  <p:clrMapOvr>
    <a:masterClrMapping/>
  </p:clrMapOvr>
</p:sldLayout>
</file>

<file path=ppt/slideLayouts/slideLayout1407.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717"/>
        <p:cNvGrpSpPr/>
        <p:nvPr/>
      </p:nvGrpSpPr>
      <p:grpSpPr>
        <a:xfrm>
          <a:off x="0" y="0"/>
          <a:ext cx="0" cy="0"/>
          <a:chOff x="0" y="0"/>
          <a:chExt cx="0" cy="0"/>
        </a:xfrm>
      </p:grpSpPr>
      <p:sp>
        <p:nvSpPr>
          <p:cNvPr id="718" name="Google Shape;718;p69"/>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9" name="Google Shape;719;p69"/>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20" name="Google Shape;720;p69"/>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21" name="Google Shape;721;p69"/>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23" lvl="0" indent="-364064"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46" lvl="1" indent="-364064" algn="l">
              <a:lnSpc>
                <a:spcPct val="100000"/>
              </a:lnSpc>
              <a:spcBef>
                <a:spcPts val="1000"/>
              </a:spcBef>
              <a:spcAft>
                <a:spcPts val="0"/>
              </a:spcAft>
              <a:buSzPts val="2133"/>
              <a:buChar char="•"/>
              <a:defRPr sz="2133">
                <a:latin typeface="Verdana"/>
                <a:ea typeface="Verdana"/>
                <a:cs typeface="Verdana"/>
                <a:sym typeface="Verdana"/>
              </a:defRPr>
            </a:lvl2pPr>
            <a:lvl3pPr marL="1371669" lvl="2" indent="-364064" algn="l">
              <a:lnSpc>
                <a:spcPct val="100000"/>
              </a:lnSpc>
              <a:spcBef>
                <a:spcPts val="1000"/>
              </a:spcBef>
              <a:spcAft>
                <a:spcPts val="0"/>
              </a:spcAft>
              <a:buSzPts val="2133"/>
              <a:buChar char="•"/>
              <a:defRPr sz="2133">
                <a:latin typeface="Verdana"/>
                <a:ea typeface="Verdana"/>
                <a:cs typeface="Verdana"/>
                <a:sym typeface="Verdana"/>
              </a:defRPr>
            </a:lvl3pPr>
            <a:lvl4pPr marL="1828891" lvl="3" indent="-364064" algn="l">
              <a:lnSpc>
                <a:spcPct val="100000"/>
              </a:lnSpc>
              <a:spcBef>
                <a:spcPts val="1000"/>
              </a:spcBef>
              <a:spcAft>
                <a:spcPts val="0"/>
              </a:spcAft>
              <a:buSzPts val="2133"/>
              <a:buChar char="•"/>
              <a:defRPr sz="2133">
                <a:latin typeface="Verdana"/>
                <a:ea typeface="Verdana"/>
                <a:cs typeface="Verdana"/>
                <a:sym typeface="Verdana"/>
              </a:defRPr>
            </a:lvl4pPr>
            <a:lvl5pPr marL="2286114" lvl="4" indent="-364064" algn="l">
              <a:lnSpc>
                <a:spcPct val="100000"/>
              </a:lnSpc>
              <a:spcBef>
                <a:spcPts val="1000"/>
              </a:spcBef>
              <a:spcAft>
                <a:spcPts val="0"/>
              </a:spcAft>
              <a:buSzPts val="2133"/>
              <a:buChar char="•"/>
              <a:defRPr sz="2133">
                <a:latin typeface="Verdana"/>
                <a:ea typeface="Verdana"/>
                <a:cs typeface="Verdana"/>
                <a:sym typeface="Verdana"/>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pic>
        <p:nvPicPr>
          <p:cNvPr id="722" name="Google Shape;722;p6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158597776"/>
      </p:ext>
    </p:extLst>
  </p:cSld>
  <p:clrMapOvr>
    <a:masterClrMapping/>
  </p:clrMapOvr>
</p:sldLayout>
</file>

<file path=ppt/slideLayouts/slideLayout1408.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723"/>
        <p:cNvGrpSpPr/>
        <p:nvPr/>
      </p:nvGrpSpPr>
      <p:grpSpPr>
        <a:xfrm>
          <a:off x="0" y="0"/>
          <a:ext cx="0" cy="0"/>
          <a:chOff x="0" y="0"/>
          <a:chExt cx="0" cy="0"/>
        </a:xfrm>
      </p:grpSpPr>
      <p:sp>
        <p:nvSpPr>
          <p:cNvPr id="724" name="Google Shape;724;p70"/>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725" name="Google Shape;725;p7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726" name="Google Shape;726;p70"/>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27" name="Google Shape;727;p70"/>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8" name="Google Shape;728;p70"/>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23" marR="0" lvl="0" indent="-228611"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46" lvl="1" indent="-347171" algn="l">
              <a:lnSpc>
                <a:spcPct val="100000"/>
              </a:lnSpc>
              <a:spcBef>
                <a:spcPts val="500"/>
              </a:spcBef>
              <a:spcAft>
                <a:spcPts val="0"/>
              </a:spcAft>
              <a:buSzPts val="1867"/>
              <a:buChar char="•"/>
              <a:defRPr sz="1867">
                <a:latin typeface="Verdana"/>
                <a:ea typeface="Verdana"/>
                <a:cs typeface="Verdana"/>
                <a:sym typeface="Verdana"/>
              </a:defRPr>
            </a:lvl2pPr>
            <a:lvl3pPr marL="1371669" lvl="2" indent="-347171" algn="l">
              <a:lnSpc>
                <a:spcPct val="100000"/>
              </a:lnSpc>
              <a:spcBef>
                <a:spcPts val="1000"/>
              </a:spcBef>
              <a:spcAft>
                <a:spcPts val="0"/>
              </a:spcAft>
              <a:buSzPts val="1867"/>
              <a:buChar char="•"/>
              <a:defRPr sz="1867">
                <a:latin typeface="Verdana"/>
                <a:ea typeface="Verdana"/>
                <a:cs typeface="Verdana"/>
                <a:sym typeface="Verdana"/>
              </a:defRPr>
            </a:lvl3pPr>
            <a:lvl4pPr marL="1828891" lvl="3" indent="-347171" algn="l">
              <a:lnSpc>
                <a:spcPct val="100000"/>
              </a:lnSpc>
              <a:spcBef>
                <a:spcPts val="1000"/>
              </a:spcBef>
              <a:spcAft>
                <a:spcPts val="0"/>
              </a:spcAft>
              <a:buSzPts val="1867"/>
              <a:buChar char="•"/>
              <a:defRPr sz="1867">
                <a:latin typeface="Verdana"/>
                <a:ea typeface="Verdana"/>
                <a:cs typeface="Verdana"/>
                <a:sym typeface="Verdana"/>
              </a:defRPr>
            </a:lvl4pPr>
            <a:lvl5pPr marL="2286114" lvl="4" indent="-347171" algn="l">
              <a:lnSpc>
                <a:spcPct val="100000"/>
              </a:lnSpc>
              <a:spcBef>
                <a:spcPts val="1000"/>
              </a:spcBef>
              <a:spcAft>
                <a:spcPts val="0"/>
              </a:spcAft>
              <a:buSzPts val="1867"/>
              <a:buChar char="•"/>
              <a:defRPr sz="1867">
                <a:latin typeface="Verdana"/>
                <a:ea typeface="Verdana"/>
                <a:cs typeface="Verdana"/>
                <a:sym typeface="Verdana"/>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25188171"/>
      </p:ext>
    </p:extLst>
  </p:cSld>
  <p:clrMapOvr>
    <a:masterClrMapping/>
  </p:clrMapOvr>
</p:sldLayout>
</file>

<file path=ppt/slideLayouts/slideLayout1409.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729"/>
        <p:cNvGrpSpPr/>
        <p:nvPr/>
      </p:nvGrpSpPr>
      <p:grpSpPr>
        <a:xfrm>
          <a:off x="0" y="0"/>
          <a:ext cx="0" cy="0"/>
          <a:chOff x="0" y="0"/>
          <a:chExt cx="0" cy="0"/>
        </a:xfrm>
      </p:grpSpPr>
      <p:sp>
        <p:nvSpPr>
          <p:cNvPr id="730" name="Google Shape;730;p71"/>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31" name="Google Shape;731;p71"/>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32" name="Google Shape;732;p71"/>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733" name="Google Shape;733;p71"/>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23" marR="0" lvl="0" indent="-228611"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46" lvl="1" indent="-347171"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69" lvl="2" indent="-347171"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91" lvl="3" indent="-347171"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114" lvl="4" indent="-347171"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734" name="Google Shape;734;p71"/>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35" name="Google Shape;735;p7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20093859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matchingName="Photo Slide">
  <p:cSld name="Photo Slide 9">
    <p:spTree>
      <p:nvGrpSpPr>
        <p:cNvPr id="1" name="Shape 10417"/>
        <p:cNvGrpSpPr/>
        <p:nvPr/>
      </p:nvGrpSpPr>
      <p:grpSpPr>
        <a:xfrm>
          <a:off x="0" y="0"/>
          <a:ext cx="0" cy="0"/>
          <a:chOff x="0" y="0"/>
          <a:chExt cx="0" cy="0"/>
        </a:xfrm>
      </p:grpSpPr>
      <p:sp>
        <p:nvSpPr>
          <p:cNvPr id="10418" name="Google Shape;10418;p144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419" name="Google Shape;10419;p144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420" name="Google Shape;10420;p1445"/>
          <p:cNvGrpSpPr/>
          <p:nvPr/>
        </p:nvGrpSpPr>
        <p:grpSpPr>
          <a:xfrm>
            <a:off x="0" y="5379426"/>
            <a:ext cx="2807368" cy="753891"/>
            <a:chOff x="0" y="5379426"/>
            <a:chExt cx="2807368" cy="753891"/>
          </a:xfrm>
        </p:grpSpPr>
        <p:sp>
          <p:nvSpPr>
            <p:cNvPr id="10421" name="Google Shape;10421;p144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422" name="Google Shape;10422;p144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0423" name="Google Shape;10423;p1445"/>
          <p:cNvSpPr>
            <a:spLocks noGrp="1"/>
          </p:cNvSpPr>
          <p:nvPr>
            <p:ph type="pic" idx="2"/>
          </p:nvPr>
        </p:nvSpPr>
        <p:spPr>
          <a:xfrm>
            <a:off x="2807368" y="457202"/>
            <a:ext cx="8915400" cy="5943598"/>
          </a:xfrm>
          <a:prstGeom prst="rect">
            <a:avLst/>
          </a:prstGeom>
          <a:noFill/>
          <a:ln>
            <a:noFill/>
          </a:ln>
        </p:spPr>
      </p:sp>
      <p:pic>
        <p:nvPicPr>
          <p:cNvPr id="10424" name="Google Shape;10424;p144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410.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736"/>
        <p:cNvGrpSpPr/>
        <p:nvPr/>
      </p:nvGrpSpPr>
      <p:grpSpPr>
        <a:xfrm>
          <a:off x="0" y="0"/>
          <a:ext cx="0" cy="0"/>
          <a:chOff x="0" y="0"/>
          <a:chExt cx="0" cy="0"/>
        </a:xfrm>
      </p:grpSpPr>
      <p:sp>
        <p:nvSpPr>
          <p:cNvPr id="737" name="Google Shape;737;p72"/>
          <p:cNvSpPr txBox="1">
            <a:spLocks noGrp="1"/>
          </p:cNvSpPr>
          <p:nvPr>
            <p:ph type="body" idx="1"/>
          </p:nvPr>
        </p:nvSpPr>
        <p:spPr>
          <a:xfrm>
            <a:off x="2826556" y="5400857"/>
            <a:ext cx="8178613" cy="477112"/>
          </a:xfrm>
          <a:prstGeom prst="rect">
            <a:avLst/>
          </a:prstGeom>
          <a:noFill/>
          <a:ln>
            <a:noFill/>
          </a:ln>
        </p:spPr>
        <p:txBody>
          <a:bodyPr spcFirstLastPara="1" wrap="square" lIns="91425" tIns="45700" rIns="91425" bIns="45700" anchor="t" anchorCtr="0">
            <a:spAutoFit/>
          </a:bodyPr>
          <a:lstStyle>
            <a:lvl1pPr marL="457223" lvl="0" indent="-228611"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738" name="Google Shape;738;p72"/>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9" name="Google Shape;739;p7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740" name="Google Shape;740;p7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41" name="Google Shape;741;p7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sp>
        <p:nvSpPr>
          <p:cNvPr id="742" name="Google Shape;742;p72"/>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743" name="Google Shape;743;p72"/>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744" name="Google Shape;744;p72"/>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pic>
        <p:nvPicPr>
          <p:cNvPr id="745" name="Google Shape;745;p72"/>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1305974300"/>
      </p:ext>
    </p:extLst>
  </p:cSld>
  <p:clrMapOvr>
    <a:masterClrMapping/>
  </p:clrMapOvr>
</p:sldLayout>
</file>

<file path=ppt/slideLayouts/slideLayout1411.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746"/>
        <p:cNvGrpSpPr/>
        <p:nvPr/>
      </p:nvGrpSpPr>
      <p:grpSpPr>
        <a:xfrm>
          <a:off x="0" y="0"/>
          <a:ext cx="0" cy="0"/>
          <a:chOff x="0" y="0"/>
          <a:chExt cx="0" cy="0"/>
        </a:xfrm>
      </p:grpSpPr>
      <p:sp>
        <p:nvSpPr>
          <p:cNvPr id="747" name="Google Shape;747;p73"/>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8" name="Google Shape;748;p73"/>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49" name="Google Shape;749;p73"/>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50" name="Google Shape;750;p73"/>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23" lvl="0" indent="-364064"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46" lvl="1" indent="-364064" algn="l">
              <a:lnSpc>
                <a:spcPct val="100000"/>
              </a:lnSpc>
              <a:spcBef>
                <a:spcPts val="1000"/>
              </a:spcBef>
              <a:spcAft>
                <a:spcPts val="0"/>
              </a:spcAft>
              <a:buSzPts val="2133"/>
              <a:buChar char="•"/>
              <a:defRPr sz="2133">
                <a:latin typeface="Verdana"/>
                <a:ea typeface="Verdana"/>
                <a:cs typeface="Verdana"/>
                <a:sym typeface="Verdana"/>
              </a:defRPr>
            </a:lvl2pPr>
            <a:lvl3pPr marL="1371669" lvl="2" indent="-364064" algn="l">
              <a:lnSpc>
                <a:spcPct val="100000"/>
              </a:lnSpc>
              <a:spcBef>
                <a:spcPts val="1000"/>
              </a:spcBef>
              <a:spcAft>
                <a:spcPts val="0"/>
              </a:spcAft>
              <a:buSzPts val="2133"/>
              <a:buChar char="•"/>
              <a:defRPr sz="2133">
                <a:latin typeface="Verdana"/>
                <a:ea typeface="Verdana"/>
                <a:cs typeface="Verdana"/>
                <a:sym typeface="Verdana"/>
              </a:defRPr>
            </a:lvl3pPr>
            <a:lvl4pPr marL="1828891" lvl="3" indent="-364064" algn="l">
              <a:lnSpc>
                <a:spcPct val="100000"/>
              </a:lnSpc>
              <a:spcBef>
                <a:spcPts val="1000"/>
              </a:spcBef>
              <a:spcAft>
                <a:spcPts val="0"/>
              </a:spcAft>
              <a:buSzPts val="2133"/>
              <a:buChar char="•"/>
              <a:defRPr sz="2133">
                <a:latin typeface="Verdana"/>
                <a:ea typeface="Verdana"/>
                <a:cs typeface="Verdana"/>
                <a:sym typeface="Verdana"/>
              </a:defRPr>
            </a:lvl4pPr>
            <a:lvl5pPr marL="2286114" lvl="4" indent="-364064" algn="l">
              <a:lnSpc>
                <a:spcPct val="100000"/>
              </a:lnSpc>
              <a:spcBef>
                <a:spcPts val="1000"/>
              </a:spcBef>
              <a:spcAft>
                <a:spcPts val="0"/>
              </a:spcAft>
              <a:buSzPts val="2133"/>
              <a:buChar char="•"/>
              <a:defRPr sz="2133">
                <a:latin typeface="Verdana"/>
                <a:ea typeface="Verdana"/>
                <a:cs typeface="Verdana"/>
                <a:sym typeface="Verdana"/>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pic>
        <p:nvPicPr>
          <p:cNvPr id="751" name="Google Shape;751;p7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70500882"/>
      </p:ext>
    </p:extLst>
  </p:cSld>
  <p:clrMapOvr>
    <a:masterClrMapping/>
  </p:clrMapOvr>
</p:sldLayout>
</file>

<file path=ppt/slideLayouts/slideLayout1412.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752"/>
        <p:cNvGrpSpPr/>
        <p:nvPr/>
      </p:nvGrpSpPr>
      <p:grpSpPr>
        <a:xfrm>
          <a:off x="0" y="0"/>
          <a:ext cx="0" cy="0"/>
          <a:chOff x="0" y="0"/>
          <a:chExt cx="0" cy="0"/>
        </a:xfrm>
      </p:grpSpPr>
      <p:sp>
        <p:nvSpPr>
          <p:cNvPr id="753" name="Google Shape;753;p74"/>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754" name="Google Shape;754;p74"/>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55" name="Google Shape;755;p74"/>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56" name="Google Shape;756;p74"/>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7" name="Google Shape;757;p74"/>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23" marR="0" lvl="0" indent="-228611"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46" lvl="1" indent="-347171" algn="l">
              <a:lnSpc>
                <a:spcPct val="100000"/>
              </a:lnSpc>
              <a:spcBef>
                <a:spcPts val="500"/>
              </a:spcBef>
              <a:spcAft>
                <a:spcPts val="0"/>
              </a:spcAft>
              <a:buSzPts val="1867"/>
              <a:buChar char="•"/>
              <a:defRPr sz="1867">
                <a:latin typeface="Verdana"/>
                <a:ea typeface="Verdana"/>
                <a:cs typeface="Verdana"/>
                <a:sym typeface="Verdana"/>
              </a:defRPr>
            </a:lvl2pPr>
            <a:lvl3pPr marL="1371669" lvl="2" indent="-347171" algn="l">
              <a:lnSpc>
                <a:spcPct val="100000"/>
              </a:lnSpc>
              <a:spcBef>
                <a:spcPts val="1000"/>
              </a:spcBef>
              <a:spcAft>
                <a:spcPts val="0"/>
              </a:spcAft>
              <a:buSzPts val="1867"/>
              <a:buChar char="•"/>
              <a:defRPr sz="1867">
                <a:latin typeface="Verdana"/>
                <a:ea typeface="Verdana"/>
                <a:cs typeface="Verdana"/>
                <a:sym typeface="Verdana"/>
              </a:defRPr>
            </a:lvl3pPr>
            <a:lvl4pPr marL="1828891" lvl="3" indent="-347171" algn="l">
              <a:lnSpc>
                <a:spcPct val="100000"/>
              </a:lnSpc>
              <a:spcBef>
                <a:spcPts val="1000"/>
              </a:spcBef>
              <a:spcAft>
                <a:spcPts val="0"/>
              </a:spcAft>
              <a:buSzPts val="1867"/>
              <a:buChar char="•"/>
              <a:defRPr sz="1867">
                <a:latin typeface="Verdana"/>
                <a:ea typeface="Verdana"/>
                <a:cs typeface="Verdana"/>
                <a:sym typeface="Verdana"/>
              </a:defRPr>
            </a:lvl4pPr>
            <a:lvl5pPr marL="2286114" lvl="4" indent="-347171" algn="l">
              <a:lnSpc>
                <a:spcPct val="100000"/>
              </a:lnSpc>
              <a:spcBef>
                <a:spcPts val="1000"/>
              </a:spcBef>
              <a:spcAft>
                <a:spcPts val="0"/>
              </a:spcAft>
              <a:buSzPts val="1867"/>
              <a:buChar char="•"/>
              <a:defRPr sz="1867">
                <a:latin typeface="Verdana"/>
                <a:ea typeface="Verdana"/>
                <a:cs typeface="Verdana"/>
                <a:sym typeface="Verdana"/>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191605188"/>
      </p:ext>
    </p:extLst>
  </p:cSld>
  <p:clrMapOvr>
    <a:masterClrMapping/>
  </p:clrMapOvr>
</p:sldLayout>
</file>

<file path=ppt/slideLayouts/slideLayout1413.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758"/>
        <p:cNvGrpSpPr/>
        <p:nvPr/>
      </p:nvGrpSpPr>
      <p:grpSpPr>
        <a:xfrm>
          <a:off x="0" y="0"/>
          <a:ext cx="0" cy="0"/>
          <a:chOff x="0" y="0"/>
          <a:chExt cx="0" cy="0"/>
        </a:xfrm>
      </p:grpSpPr>
      <p:sp>
        <p:nvSpPr>
          <p:cNvPr id="759" name="Google Shape;759;p75"/>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60" name="Google Shape;760;p75"/>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61" name="Google Shape;761;p75"/>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762" name="Google Shape;762;p75"/>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23" marR="0" lvl="0" indent="-228611"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46" lvl="1" indent="-347171"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69" lvl="2" indent="-347171"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91" lvl="3" indent="-347171"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114" lvl="4" indent="-347171"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763" name="Google Shape;763;p75"/>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64" name="Google Shape;764;p7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468671323"/>
      </p:ext>
    </p:extLst>
  </p:cSld>
  <p:clrMapOvr>
    <a:masterClrMapping/>
  </p:clrMapOvr>
</p:sldLayout>
</file>

<file path=ppt/slideLayouts/slideLayout1414.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765"/>
        <p:cNvGrpSpPr/>
        <p:nvPr/>
      </p:nvGrpSpPr>
      <p:grpSpPr>
        <a:xfrm>
          <a:off x="0" y="0"/>
          <a:ext cx="0" cy="0"/>
          <a:chOff x="0" y="0"/>
          <a:chExt cx="0" cy="0"/>
        </a:xfrm>
      </p:grpSpPr>
      <p:sp>
        <p:nvSpPr>
          <p:cNvPr id="766" name="Google Shape;766;p76"/>
          <p:cNvSpPr txBox="1">
            <a:spLocks noGrp="1"/>
          </p:cNvSpPr>
          <p:nvPr>
            <p:ph type="body" idx="1"/>
          </p:nvPr>
        </p:nvSpPr>
        <p:spPr>
          <a:xfrm>
            <a:off x="2826556" y="5400857"/>
            <a:ext cx="8178613" cy="477112"/>
          </a:xfrm>
          <a:prstGeom prst="rect">
            <a:avLst/>
          </a:prstGeom>
          <a:noFill/>
          <a:ln>
            <a:noFill/>
          </a:ln>
        </p:spPr>
        <p:txBody>
          <a:bodyPr spcFirstLastPara="1" wrap="square" lIns="91425" tIns="45700" rIns="91425" bIns="45700" anchor="t" anchorCtr="0">
            <a:spAutoFit/>
          </a:bodyPr>
          <a:lstStyle>
            <a:lvl1pPr marL="457223" lvl="0" indent="-228611"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767" name="Google Shape;767;p76"/>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8" name="Google Shape;768;p7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769" name="Google Shape;769;p7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70" name="Google Shape;770;p7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sp>
        <p:nvSpPr>
          <p:cNvPr id="771" name="Google Shape;771;p76"/>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772" name="Google Shape;772;p76"/>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773" name="Google Shape;773;p76"/>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pic>
        <p:nvPicPr>
          <p:cNvPr id="774" name="Google Shape;774;p76"/>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939934705"/>
      </p:ext>
    </p:extLst>
  </p:cSld>
  <p:clrMapOvr>
    <a:masterClrMapping/>
  </p:clrMapOvr>
</p:sldLayout>
</file>

<file path=ppt/slideLayouts/slideLayout1415.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775"/>
        <p:cNvGrpSpPr/>
        <p:nvPr/>
      </p:nvGrpSpPr>
      <p:grpSpPr>
        <a:xfrm>
          <a:off x="0" y="0"/>
          <a:ext cx="0" cy="0"/>
          <a:chOff x="0" y="0"/>
          <a:chExt cx="0" cy="0"/>
        </a:xfrm>
      </p:grpSpPr>
      <p:sp>
        <p:nvSpPr>
          <p:cNvPr id="776" name="Google Shape;776;p77"/>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7" name="Google Shape;777;p77"/>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78" name="Google Shape;778;p77"/>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79" name="Google Shape;779;p77"/>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23" lvl="0" indent="-364064"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46" lvl="1" indent="-364064" algn="l">
              <a:lnSpc>
                <a:spcPct val="100000"/>
              </a:lnSpc>
              <a:spcBef>
                <a:spcPts val="1000"/>
              </a:spcBef>
              <a:spcAft>
                <a:spcPts val="0"/>
              </a:spcAft>
              <a:buSzPts val="2133"/>
              <a:buChar char="•"/>
              <a:defRPr sz="2133">
                <a:latin typeface="Verdana"/>
                <a:ea typeface="Verdana"/>
                <a:cs typeface="Verdana"/>
                <a:sym typeface="Verdana"/>
              </a:defRPr>
            </a:lvl2pPr>
            <a:lvl3pPr marL="1371669" lvl="2" indent="-364064" algn="l">
              <a:lnSpc>
                <a:spcPct val="100000"/>
              </a:lnSpc>
              <a:spcBef>
                <a:spcPts val="1000"/>
              </a:spcBef>
              <a:spcAft>
                <a:spcPts val="0"/>
              </a:spcAft>
              <a:buSzPts val="2133"/>
              <a:buChar char="•"/>
              <a:defRPr sz="2133">
                <a:latin typeface="Verdana"/>
                <a:ea typeface="Verdana"/>
                <a:cs typeface="Verdana"/>
                <a:sym typeface="Verdana"/>
              </a:defRPr>
            </a:lvl3pPr>
            <a:lvl4pPr marL="1828891" lvl="3" indent="-364064" algn="l">
              <a:lnSpc>
                <a:spcPct val="100000"/>
              </a:lnSpc>
              <a:spcBef>
                <a:spcPts val="1000"/>
              </a:spcBef>
              <a:spcAft>
                <a:spcPts val="0"/>
              </a:spcAft>
              <a:buSzPts val="2133"/>
              <a:buChar char="•"/>
              <a:defRPr sz="2133">
                <a:latin typeface="Verdana"/>
                <a:ea typeface="Verdana"/>
                <a:cs typeface="Verdana"/>
                <a:sym typeface="Verdana"/>
              </a:defRPr>
            </a:lvl4pPr>
            <a:lvl5pPr marL="2286114" lvl="4" indent="-364064" algn="l">
              <a:lnSpc>
                <a:spcPct val="100000"/>
              </a:lnSpc>
              <a:spcBef>
                <a:spcPts val="1000"/>
              </a:spcBef>
              <a:spcAft>
                <a:spcPts val="0"/>
              </a:spcAft>
              <a:buSzPts val="2133"/>
              <a:buChar char="•"/>
              <a:defRPr sz="2133">
                <a:latin typeface="Verdana"/>
                <a:ea typeface="Verdana"/>
                <a:cs typeface="Verdana"/>
                <a:sym typeface="Verdana"/>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pic>
        <p:nvPicPr>
          <p:cNvPr id="780" name="Google Shape;780;p7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553933414"/>
      </p:ext>
    </p:extLst>
  </p:cSld>
  <p:clrMapOvr>
    <a:masterClrMapping/>
  </p:clrMapOvr>
</p:sldLayout>
</file>

<file path=ppt/slideLayouts/slideLayout1416.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781"/>
        <p:cNvGrpSpPr/>
        <p:nvPr/>
      </p:nvGrpSpPr>
      <p:grpSpPr>
        <a:xfrm>
          <a:off x="0" y="0"/>
          <a:ext cx="0" cy="0"/>
          <a:chOff x="0" y="0"/>
          <a:chExt cx="0" cy="0"/>
        </a:xfrm>
      </p:grpSpPr>
      <p:sp>
        <p:nvSpPr>
          <p:cNvPr id="782" name="Google Shape;782;p78"/>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783" name="Google Shape;783;p78"/>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84" name="Google Shape;784;p78"/>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85" name="Google Shape;785;p78"/>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6" name="Google Shape;786;p78"/>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23" marR="0" lvl="0" indent="-228611"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46" lvl="1" indent="-347171" algn="l">
              <a:lnSpc>
                <a:spcPct val="100000"/>
              </a:lnSpc>
              <a:spcBef>
                <a:spcPts val="500"/>
              </a:spcBef>
              <a:spcAft>
                <a:spcPts val="0"/>
              </a:spcAft>
              <a:buSzPts val="1867"/>
              <a:buChar char="•"/>
              <a:defRPr sz="1867">
                <a:latin typeface="Verdana"/>
                <a:ea typeface="Verdana"/>
                <a:cs typeface="Verdana"/>
                <a:sym typeface="Verdana"/>
              </a:defRPr>
            </a:lvl2pPr>
            <a:lvl3pPr marL="1371669" lvl="2" indent="-347171" algn="l">
              <a:lnSpc>
                <a:spcPct val="100000"/>
              </a:lnSpc>
              <a:spcBef>
                <a:spcPts val="1000"/>
              </a:spcBef>
              <a:spcAft>
                <a:spcPts val="0"/>
              </a:spcAft>
              <a:buSzPts val="1867"/>
              <a:buChar char="•"/>
              <a:defRPr sz="1867">
                <a:latin typeface="Verdana"/>
                <a:ea typeface="Verdana"/>
                <a:cs typeface="Verdana"/>
                <a:sym typeface="Verdana"/>
              </a:defRPr>
            </a:lvl3pPr>
            <a:lvl4pPr marL="1828891" lvl="3" indent="-347171" algn="l">
              <a:lnSpc>
                <a:spcPct val="100000"/>
              </a:lnSpc>
              <a:spcBef>
                <a:spcPts val="1000"/>
              </a:spcBef>
              <a:spcAft>
                <a:spcPts val="0"/>
              </a:spcAft>
              <a:buSzPts val="1867"/>
              <a:buChar char="•"/>
              <a:defRPr sz="1867">
                <a:latin typeface="Verdana"/>
                <a:ea typeface="Verdana"/>
                <a:cs typeface="Verdana"/>
                <a:sym typeface="Verdana"/>
              </a:defRPr>
            </a:lvl4pPr>
            <a:lvl5pPr marL="2286114" lvl="4" indent="-347171" algn="l">
              <a:lnSpc>
                <a:spcPct val="100000"/>
              </a:lnSpc>
              <a:spcBef>
                <a:spcPts val="1000"/>
              </a:spcBef>
              <a:spcAft>
                <a:spcPts val="0"/>
              </a:spcAft>
              <a:buSzPts val="1867"/>
              <a:buChar char="•"/>
              <a:defRPr sz="1867">
                <a:latin typeface="Verdana"/>
                <a:ea typeface="Verdana"/>
                <a:cs typeface="Verdana"/>
                <a:sym typeface="Verdana"/>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87039914"/>
      </p:ext>
    </p:extLst>
  </p:cSld>
  <p:clrMapOvr>
    <a:masterClrMapping/>
  </p:clrMapOvr>
</p:sldLayout>
</file>

<file path=ppt/slideLayouts/slideLayout1417.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787"/>
        <p:cNvGrpSpPr/>
        <p:nvPr/>
      </p:nvGrpSpPr>
      <p:grpSpPr>
        <a:xfrm>
          <a:off x="0" y="0"/>
          <a:ext cx="0" cy="0"/>
          <a:chOff x="0" y="0"/>
          <a:chExt cx="0" cy="0"/>
        </a:xfrm>
      </p:grpSpPr>
      <p:sp>
        <p:nvSpPr>
          <p:cNvPr id="788" name="Google Shape;788;p79"/>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89" name="Google Shape;789;p79"/>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0" name="Google Shape;790;p79"/>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791" name="Google Shape;791;p79"/>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23" marR="0" lvl="0" indent="-228611"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46" lvl="1" indent="-347171"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69" lvl="2" indent="-347171"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91" lvl="3" indent="-347171"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114" lvl="4" indent="-347171"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792" name="Google Shape;792;p79"/>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93" name="Google Shape;793;p7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02534200"/>
      </p:ext>
    </p:extLst>
  </p:cSld>
  <p:clrMapOvr>
    <a:masterClrMapping/>
  </p:clrMapOvr>
</p:sldLayout>
</file>

<file path=ppt/slideLayouts/slideLayout1418.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794"/>
        <p:cNvGrpSpPr/>
        <p:nvPr/>
      </p:nvGrpSpPr>
      <p:grpSpPr>
        <a:xfrm>
          <a:off x="0" y="0"/>
          <a:ext cx="0" cy="0"/>
          <a:chOff x="0" y="0"/>
          <a:chExt cx="0" cy="0"/>
        </a:xfrm>
      </p:grpSpPr>
      <p:sp>
        <p:nvSpPr>
          <p:cNvPr id="795" name="Google Shape;795;p80"/>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6" name="Google Shape;796;p80"/>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7" name="Google Shape;797;p80"/>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8" name="Google Shape;798;p80"/>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23" lvl="0" indent="-364064"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46" lvl="1" indent="-364064" algn="l">
              <a:lnSpc>
                <a:spcPct val="100000"/>
              </a:lnSpc>
              <a:spcBef>
                <a:spcPts val="1000"/>
              </a:spcBef>
              <a:spcAft>
                <a:spcPts val="0"/>
              </a:spcAft>
              <a:buSzPts val="2133"/>
              <a:buChar char="•"/>
              <a:defRPr sz="2133">
                <a:latin typeface="Verdana"/>
                <a:ea typeface="Verdana"/>
                <a:cs typeface="Verdana"/>
                <a:sym typeface="Verdana"/>
              </a:defRPr>
            </a:lvl2pPr>
            <a:lvl3pPr marL="1371669" lvl="2" indent="-364064" algn="l">
              <a:lnSpc>
                <a:spcPct val="100000"/>
              </a:lnSpc>
              <a:spcBef>
                <a:spcPts val="1000"/>
              </a:spcBef>
              <a:spcAft>
                <a:spcPts val="0"/>
              </a:spcAft>
              <a:buSzPts val="2133"/>
              <a:buChar char="•"/>
              <a:defRPr sz="2133">
                <a:latin typeface="Verdana"/>
                <a:ea typeface="Verdana"/>
                <a:cs typeface="Verdana"/>
                <a:sym typeface="Verdana"/>
              </a:defRPr>
            </a:lvl3pPr>
            <a:lvl4pPr marL="1828891" lvl="3" indent="-364064" algn="l">
              <a:lnSpc>
                <a:spcPct val="100000"/>
              </a:lnSpc>
              <a:spcBef>
                <a:spcPts val="1000"/>
              </a:spcBef>
              <a:spcAft>
                <a:spcPts val="0"/>
              </a:spcAft>
              <a:buSzPts val="2133"/>
              <a:buChar char="•"/>
              <a:defRPr sz="2133">
                <a:latin typeface="Verdana"/>
                <a:ea typeface="Verdana"/>
                <a:cs typeface="Verdana"/>
                <a:sym typeface="Verdana"/>
              </a:defRPr>
            </a:lvl4pPr>
            <a:lvl5pPr marL="2286114" lvl="4" indent="-364064" algn="l">
              <a:lnSpc>
                <a:spcPct val="100000"/>
              </a:lnSpc>
              <a:spcBef>
                <a:spcPts val="1000"/>
              </a:spcBef>
              <a:spcAft>
                <a:spcPts val="0"/>
              </a:spcAft>
              <a:buSzPts val="2133"/>
              <a:buChar char="•"/>
              <a:defRPr sz="2133">
                <a:latin typeface="Verdana"/>
                <a:ea typeface="Verdana"/>
                <a:cs typeface="Verdana"/>
                <a:sym typeface="Verdana"/>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pic>
        <p:nvPicPr>
          <p:cNvPr id="799" name="Google Shape;799;p8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878257560"/>
      </p:ext>
    </p:extLst>
  </p:cSld>
  <p:clrMapOvr>
    <a:masterClrMapping/>
  </p:clrMapOvr>
</p:sldLayout>
</file>

<file path=ppt/slideLayouts/slideLayout1419.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800"/>
        <p:cNvGrpSpPr/>
        <p:nvPr/>
      </p:nvGrpSpPr>
      <p:grpSpPr>
        <a:xfrm>
          <a:off x="0" y="0"/>
          <a:ext cx="0" cy="0"/>
          <a:chOff x="0" y="0"/>
          <a:chExt cx="0" cy="0"/>
        </a:xfrm>
      </p:grpSpPr>
      <p:sp>
        <p:nvSpPr>
          <p:cNvPr id="801" name="Google Shape;801;p81"/>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802" name="Google Shape;802;p8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803" name="Google Shape;803;p81"/>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04" name="Google Shape;804;p81"/>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5" name="Google Shape;805;p81"/>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23" marR="0" lvl="0" indent="-228611"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46" lvl="1" indent="-347171" algn="l">
              <a:lnSpc>
                <a:spcPct val="100000"/>
              </a:lnSpc>
              <a:spcBef>
                <a:spcPts val="500"/>
              </a:spcBef>
              <a:spcAft>
                <a:spcPts val="0"/>
              </a:spcAft>
              <a:buSzPts val="1867"/>
              <a:buChar char="•"/>
              <a:defRPr sz="1867">
                <a:latin typeface="Verdana"/>
                <a:ea typeface="Verdana"/>
                <a:cs typeface="Verdana"/>
                <a:sym typeface="Verdana"/>
              </a:defRPr>
            </a:lvl2pPr>
            <a:lvl3pPr marL="1371669" lvl="2" indent="-347171" algn="l">
              <a:lnSpc>
                <a:spcPct val="100000"/>
              </a:lnSpc>
              <a:spcBef>
                <a:spcPts val="1000"/>
              </a:spcBef>
              <a:spcAft>
                <a:spcPts val="0"/>
              </a:spcAft>
              <a:buSzPts val="1867"/>
              <a:buChar char="•"/>
              <a:defRPr sz="1867">
                <a:latin typeface="Verdana"/>
                <a:ea typeface="Verdana"/>
                <a:cs typeface="Verdana"/>
                <a:sym typeface="Verdana"/>
              </a:defRPr>
            </a:lvl3pPr>
            <a:lvl4pPr marL="1828891" lvl="3" indent="-347171" algn="l">
              <a:lnSpc>
                <a:spcPct val="100000"/>
              </a:lnSpc>
              <a:spcBef>
                <a:spcPts val="1000"/>
              </a:spcBef>
              <a:spcAft>
                <a:spcPts val="0"/>
              </a:spcAft>
              <a:buSzPts val="1867"/>
              <a:buChar char="•"/>
              <a:defRPr sz="1867">
                <a:latin typeface="Verdana"/>
                <a:ea typeface="Verdana"/>
                <a:cs typeface="Verdana"/>
                <a:sym typeface="Verdana"/>
              </a:defRPr>
            </a:lvl4pPr>
            <a:lvl5pPr marL="2286114" lvl="4" indent="-347171" algn="l">
              <a:lnSpc>
                <a:spcPct val="100000"/>
              </a:lnSpc>
              <a:spcBef>
                <a:spcPts val="1000"/>
              </a:spcBef>
              <a:spcAft>
                <a:spcPts val="0"/>
              </a:spcAft>
              <a:buSzPts val="1867"/>
              <a:buChar char="•"/>
              <a:defRPr sz="1867">
                <a:latin typeface="Verdana"/>
                <a:ea typeface="Verdana"/>
                <a:cs typeface="Verdana"/>
                <a:sym typeface="Verdana"/>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77564726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matchingName="Quotation">
  <p:cSld name="Quotation 14">
    <p:spTree>
      <p:nvGrpSpPr>
        <p:cNvPr id="1" name="Shape 10425"/>
        <p:cNvGrpSpPr/>
        <p:nvPr/>
      </p:nvGrpSpPr>
      <p:grpSpPr>
        <a:xfrm>
          <a:off x="0" y="0"/>
          <a:ext cx="0" cy="0"/>
          <a:chOff x="0" y="0"/>
          <a:chExt cx="0" cy="0"/>
        </a:xfrm>
      </p:grpSpPr>
      <p:sp>
        <p:nvSpPr>
          <p:cNvPr id="10426" name="Google Shape;10426;p144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427" name="Google Shape;10427;p144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428" name="Google Shape;10428;p144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29" name="Google Shape;10429;p14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430" name="Google Shape;10430;p14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31" name="Google Shape;10431;p14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432" name="Google Shape;10432;p1446"/>
          <p:cNvGrpSpPr/>
          <p:nvPr/>
        </p:nvGrpSpPr>
        <p:grpSpPr>
          <a:xfrm>
            <a:off x="7191542" y="1"/>
            <a:ext cx="5000459" cy="1425992"/>
            <a:chOff x="7191542" y="1"/>
            <a:chExt cx="5000459" cy="1425992"/>
          </a:xfrm>
        </p:grpSpPr>
        <p:pic>
          <p:nvPicPr>
            <p:cNvPr id="10433" name="Google Shape;10433;p14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34" name="Google Shape;10434;p1446"/>
            <p:cNvGrpSpPr/>
            <p:nvPr/>
          </p:nvGrpSpPr>
          <p:grpSpPr>
            <a:xfrm>
              <a:off x="7191542" y="1"/>
              <a:ext cx="5000459" cy="1425992"/>
              <a:chOff x="7186272" y="0"/>
              <a:chExt cx="5005729" cy="1427495"/>
            </a:xfrm>
          </p:grpSpPr>
          <p:sp>
            <p:nvSpPr>
              <p:cNvPr id="10435" name="Google Shape;10435;p14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436" name="Google Shape;10436;p14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437" name="Google Shape;10437;p144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420.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806"/>
        <p:cNvGrpSpPr/>
        <p:nvPr/>
      </p:nvGrpSpPr>
      <p:grpSpPr>
        <a:xfrm>
          <a:off x="0" y="0"/>
          <a:ext cx="0" cy="0"/>
          <a:chOff x="0" y="0"/>
          <a:chExt cx="0" cy="0"/>
        </a:xfrm>
      </p:grpSpPr>
      <p:sp>
        <p:nvSpPr>
          <p:cNvPr id="807" name="Google Shape;807;p82"/>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08" name="Google Shape;808;p82"/>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09" name="Google Shape;809;p82"/>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10" name="Google Shape;810;p82"/>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23" marR="0" lvl="0" indent="-228611"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46" lvl="1" indent="-347171"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69" lvl="2" indent="-347171"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91" lvl="3" indent="-347171"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114" lvl="4" indent="-347171"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11" name="Google Shape;811;p82"/>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12" name="Google Shape;812;p8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378916459"/>
      </p:ext>
    </p:extLst>
  </p:cSld>
  <p:clrMapOvr>
    <a:masterClrMapping/>
  </p:clrMapOvr>
</p:sldLayout>
</file>

<file path=ppt/slideLayouts/slideLayout1421.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813"/>
        <p:cNvGrpSpPr/>
        <p:nvPr/>
      </p:nvGrpSpPr>
      <p:grpSpPr>
        <a:xfrm>
          <a:off x="0" y="0"/>
          <a:ext cx="0" cy="0"/>
          <a:chOff x="0" y="0"/>
          <a:chExt cx="0" cy="0"/>
        </a:xfrm>
      </p:grpSpPr>
      <p:sp>
        <p:nvSpPr>
          <p:cNvPr id="814" name="Google Shape;814;p83"/>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5" name="Google Shape;815;p83"/>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6" name="Google Shape;816;p83"/>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17" name="Google Shape;817;p83"/>
          <p:cNvSpPr>
            <a:spLocks noGrp="1"/>
          </p:cNvSpPr>
          <p:nvPr>
            <p:ph type="pic" idx="2"/>
          </p:nvPr>
        </p:nvSpPr>
        <p:spPr>
          <a:xfrm>
            <a:off x="7118684" y="233915"/>
            <a:ext cx="5073316" cy="5943600"/>
          </a:xfrm>
          <a:prstGeom prst="rect">
            <a:avLst/>
          </a:prstGeom>
          <a:noFill/>
          <a:ln>
            <a:noFill/>
          </a:ln>
        </p:spPr>
      </p:sp>
      <p:grpSp>
        <p:nvGrpSpPr>
          <p:cNvPr id="818" name="Google Shape;818;p83"/>
          <p:cNvGrpSpPr/>
          <p:nvPr/>
        </p:nvGrpSpPr>
        <p:grpSpPr>
          <a:xfrm>
            <a:off x="0" y="5020349"/>
            <a:ext cx="12192000" cy="1837653"/>
            <a:chOff x="0" y="5020348"/>
            <a:chExt cx="12192000" cy="1837653"/>
          </a:xfrm>
        </p:grpSpPr>
        <p:sp>
          <p:nvSpPr>
            <p:cNvPr id="819" name="Google Shape;819;p8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0" name="Google Shape;820;p8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21" name="Google Shape;821;p8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780552806"/>
      </p:ext>
    </p:extLst>
  </p:cSld>
  <p:clrMapOvr>
    <a:masterClrMapping/>
  </p:clrMapOvr>
</p:sldLayout>
</file>

<file path=ppt/slideLayouts/slideLayout1422.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822"/>
        <p:cNvGrpSpPr/>
        <p:nvPr/>
      </p:nvGrpSpPr>
      <p:grpSpPr>
        <a:xfrm>
          <a:off x="0" y="0"/>
          <a:ext cx="0" cy="0"/>
          <a:chOff x="0" y="0"/>
          <a:chExt cx="0" cy="0"/>
        </a:xfrm>
      </p:grpSpPr>
      <p:grpSp>
        <p:nvGrpSpPr>
          <p:cNvPr id="823" name="Google Shape;823;p84"/>
          <p:cNvGrpSpPr/>
          <p:nvPr/>
        </p:nvGrpSpPr>
        <p:grpSpPr>
          <a:xfrm>
            <a:off x="0" y="5020348"/>
            <a:ext cx="12192000" cy="1837653"/>
            <a:chOff x="0" y="5020347"/>
            <a:chExt cx="12192000" cy="1837653"/>
          </a:xfrm>
        </p:grpSpPr>
        <p:sp>
          <p:nvSpPr>
            <p:cNvPr id="824" name="Google Shape;824;p8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5" name="Google Shape;825;p8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6" name="Google Shape;826;p8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27" name="Google Shape;827;p8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28" name="Google Shape;828;p84"/>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9" name="Google Shape;829;p84"/>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621193463"/>
      </p:ext>
    </p:extLst>
  </p:cSld>
  <p:clrMapOvr>
    <a:masterClrMapping/>
  </p:clrMapOvr>
</p:sldLayout>
</file>

<file path=ppt/slideLayouts/slideLayout142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30"/>
        <p:cNvGrpSpPr/>
        <p:nvPr/>
      </p:nvGrpSpPr>
      <p:grpSpPr>
        <a:xfrm>
          <a:off x="0" y="0"/>
          <a:ext cx="0" cy="0"/>
          <a:chOff x="0" y="0"/>
          <a:chExt cx="0" cy="0"/>
        </a:xfrm>
      </p:grpSpPr>
      <p:sp>
        <p:nvSpPr>
          <p:cNvPr id="831" name="Google Shape;831;p85"/>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32" name="Google Shape;832;p8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33" name="Google Shape;833;p85"/>
          <p:cNvGrpSpPr/>
          <p:nvPr/>
        </p:nvGrpSpPr>
        <p:grpSpPr>
          <a:xfrm>
            <a:off x="0" y="5379427"/>
            <a:ext cx="2807368" cy="753891"/>
            <a:chOff x="0" y="5379426"/>
            <a:chExt cx="2807368" cy="753891"/>
          </a:xfrm>
        </p:grpSpPr>
        <p:sp>
          <p:nvSpPr>
            <p:cNvPr id="834" name="Google Shape;834;p8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35" name="Google Shape;835;p8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836" name="Google Shape;836;p85"/>
          <p:cNvSpPr>
            <a:spLocks noGrp="1"/>
          </p:cNvSpPr>
          <p:nvPr>
            <p:ph type="pic" idx="2"/>
          </p:nvPr>
        </p:nvSpPr>
        <p:spPr>
          <a:xfrm>
            <a:off x="2807368" y="457202"/>
            <a:ext cx="8915400" cy="5943598"/>
          </a:xfrm>
          <a:prstGeom prst="rect">
            <a:avLst/>
          </a:prstGeom>
          <a:noFill/>
          <a:ln>
            <a:noFill/>
          </a:ln>
        </p:spPr>
      </p:sp>
      <p:pic>
        <p:nvPicPr>
          <p:cNvPr id="837" name="Google Shape;837;p85"/>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623545965"/>
      </p:ext>
    </p:extLst>
  </p:cSld>
  <p:clrMapOvr>
    <a:masterClrMapping/>
  </p:clrMapOvr>
</p:sldLayout>
</file>

<file path=ppt/slideLayouts/slideLayout142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838"/>
        <p:cNvGrpSpPr/>
        <p:nvPr/>
      </p:nvGrpSpPr>
      <p:grpSpPr>
        <a:xfrm>
          <a:off x="0" y="0"/>
          <a:ext cx="0" cy="0"/>
          <a:chOff x="0" y="0"/>
          <a:chExt cx="0" cy="0"/>
        </a:xfrm>
      </p:grpSpPr>
      <p:sp>
        <p:nvSpPr>
          <p:cNvPr id="839" name="Google Shape;839;p8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40" name="Google Shape;840;p8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1" name="Google Shape;841;p8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42" name="Google Shape;842;p8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3" name="Google Shape;843;p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44" name="Google Shape;844;p8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45" name="Google Shape;845;p86"/>
          <p:cNvGrpSpPr/>
          <p:nvPr/>
        </p:nvGrpSpPr>
        <p:grpSpPr>
          <a:xfrm>
            <a:off x="7191543" y="1"/>
            <a:ext cx="5000459" cy="1425992"/>
            <a:chOff x="7191542" y="1"/>
            <a:chExt cx="5000459" cy="1425992"/>
          </a:xfrm>
        </p:grpSpPr>
        <p:pic>
          <p:nvPicPr>
            <p:cNvPr id="846" name="Google Shape;846;p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47" name="Google Shape;847;p86"/>
            <p:cNvGrpSpPr/>
            <p:nvPr/>
          </p:nvGrpSpPr>
          <p:grpSpPr>
            <a:xfrm>
              <a:off x="7191542" y="1"/>
              <a:ext cx="5000459" cy="1425992"/>
              <a:chOff x="7186272" y="0"/>
              <a:chExt cx="5005729" cy="1427495"/>
            </a:xfrm>
          </p:grpSpPr>
          <p:sp>
            <p:nvSpPr>
              <p:cNvPr id="848" name="Google Shape;848;p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49" name="Google Shape;849;p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50" name="Google Shape;850;p8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079560527"/>
      </p:ext>
    </p:extLst>
  </p:cSld>
  <p:clrMapOvr>
    <a:masterClrMapping/>
  </p:clrMapOvr>
</p:sldLayout>
</file>

<file path=ppt/slideLayouts/slideLayout1425.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851"/>
        <p:cNvGrpSpPr/>
        <p:nvPr/>
      </p:nvGrpSpPr>
      <p:grpSpPr>
        <a:xfrm>
          <a:off x="0" y="0"/>
          <a:ext cx="0" cy="0"/>
          <a:chOff x="0" y="0"/>
          <a:chExt cx="0" cy="0"/>
        </a:xfrm>
      </p:grpSpPr>
      <p:grpSp>
        <p:nvGrpSpPr>
          <p:cNvPr id="852" name="Google Shape;852;p87"/>
          <p:cNvGrpSpPr/>
          <p:nvPr/>
        </p:nvGrpSpPr>
        <p:grpSpPr>
          <a:xfrm>
            <a:off x="7191543" y="1"/>
            <a:ext cx="5000459" cy="1425992"/>
            <a:chOff x="7191542" y="1"/>
            <a:chExt cx="5000459" cy="1425992"/>
          </a:xfrm>
        </p:grpSpPr>
        <p:pic>
          <p:nvPicPr>
            <p:cNvPr id="853" name="Google Shape;853;p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54" name="Google Shape;854;p87"/>
            <p:cNvGrpSpPr/>
            <p:nvPr/>
          </p:nvGrpSpPr>
          <p:grpSpPr>
            <a:xfrm>
              <a:off x="7191542" y="1"/>
              <a:ext cx="5000459" cy="1425992"/>
              <a:chOff x="7186272" y="0"/>
              <a:chExt cx="5005729" cy="1427495"/>
            </a:xfrm>
          </p:grpSpPr>
          <p:sp>
            <p:nvSpPr>
              <p:cNvPr id="855" name="Google Shape;855;p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56" name="Google Shape;856;p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57" name="Google Shape;857;p8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8" name="Google Shape;858;p87"/>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59" name="Google Shape;859;p8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60" name="Google Shape;860;p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1" name="Google Shape;861;p8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43417571"/>
      </p:ext>
    </p:extLst>
  </p:cSld>
  <p:clrMapOvr>
    <a:masterClrMapping/>
  </p:clrMapOvr>
</p:sldLayout>
</file>

<file path=ppt/slideLayouts/slideLayout1426.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862"/>
        <p:cNvGrpSpPr/>
        <p:nvPr/>
      </p:nvGrpSpPr>
      <p:grpSpPr>
        <a:xfrm>
          <a:off x="0" y="0"/>
          <a:ext cx="0" cy="0"/>
          <a:chOff x="0" y="0"/>
          <a:chExt cx="0" cy="0"/>
        </a:xfrm>
      </p:grpSpPr>
      <p:sp>
        <p:nvSpPr>
          <p:cNvPr id="863" name="Google Shape;863;p8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4" name="Google Shape;864;p88"/>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grpSp>
        <p:nvGrpSpPr>
          <p:cNvPr id="865" name="Google Shape;865;p88"/>
          <p:cNvGrpSpPr/>
          <p:nvPr/>
        </p:nvGrpSpPr>
        <p:grpSpPr>
          <a:xfrm>
            <a:off x="7191543" y="1"/>
            <a:ext cx="5000459" cy="1425992"/>
            <a:chOff x="7191542" y="1"/>
            <a:chExt cx="5000459" cy="1425992"/>
          </a:xfrm>
        </p:grpSpPr>
        <p:pic>
          <p:nvPicPr>
            <p:cNvPr id="866" name="Google Shape;866;p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7" name="Google Shape;867;p88"/>
            <p:cNvGrpSpPr/>
            <p:nvPr/>
          </p:nvGrpSpPr>
          <p:grpSpPr>
            <a:xfrm>
              <a:off x="7191542" y="1"/>
              <a:ext cx="5000459" cy="1425992"/>
              <a:chOff x="7186272" y="0"/>
              <a:chExt cx="5005729" cy="1427495"/>
            </a:xfrm>
          </p:grpSpPr>
          <p:sp>
            <p:nvSpPr>
              <p:cNvPr id="868" name="Google Shape;868;p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69" name="Google Shape;869;p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70" name="Google Shape;870;p88"/>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71" name="Google Shape;871;p88"/>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872" name="Google Shape;872;p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3" name="Google Shape;873;p8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790756185"/>
      </p:ext>
    </p:extLst>
  </p:cSld>
  <p:clrMapOvr>
    <a:masterClrMapping/>
  </p:clrMapOvr>
</p:sldLayout>
</file>

<file path=ppt/slideLayouts/slideLayout1427.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874"/>
        <p:cNvGrpSpPr/>
        <p:nvPr/>
      </p:nvGrpSpPr>
      <p:grpSpPr>
        <a:xfrm>
          <a:off x="0" y="0"/>
          <a:ext cx="0" cy="0"/>
          <a:chOff x="0" y="0"/>
          <a:chExt cx="0" cy="0"/>
        </a:xfrm>
      </p:grpSpPr>
      <p:grpSp>
        <p:nvGrpSpPr>
          <p:cNvPr id="875" name="Google Shape;875;p89"/>
          <p:cNvGrpSpPr/>
          <p:nvPr/>
        </p:nvGrpSpPr>
        <p:grpSpPr>
          <a:xfrm>
            <a:off x="7191543" y="1"/>
            <a:ext cx="5000459" cy="1425992"/>
            <a:chOff x="7191542" y="1"/>
            <a:chExt cx="5000459" cy="1425992"/>
          </a:xfrm>
        </p:grpSpPr>
        <p:pic>
          <p:nvPicPr>
            <p:cNvPr id="876" name="Google Shape;876;p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7" name="Google Shape;877;p89"/>
            <p:cNvGrpSpPr/>
            <p:nvPr/>
          </p:nvGrpSpPr>
          <p:grpSpPr>
            <a:xfrm>
              <a:off x="7191542" y="1"/>
              <a:ext cx="5000459" cy="1425992"/>
              <a:chOff x="7186272" y="0"/>
              <a:chExt cx="5005729" cy="1427495"/>
            </a:xfrm>
          </p:grpSpPr>
          <p:sp>
            <p:nvSpPr>
              <p:cNvPr id="878" name="Google Shape;878;p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9" name="Google Shape;879;p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80" name="Google Shape;880;p89"/>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1" name="Google Shape;881;p89"/>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23" lvl="0" indent="-228611"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46" lvl="1" indent="-228611" algn="l">
              <a:lnSpc>
                <a:spcPct val="100000"/>
              </a:lnSpc>
              <a:spcBef>
                <a:spcPts val="1000"/>
              </a:spcBef>
              <a:spcAft>
                <a:spcPts val="0"/>
              </a:spcAft>
              <a:buSzPts val="2000"/>
              <a:buNone/>
              <a:defRPr sz="2000" b="1"/>
            </a:lvl2pPr>
            <a:lvl3pPr marL="1371669" lvl="2" indent="-228611" algn="l">
              <a:lnSpc>
                <a:spcPct val="100000"/>
              </a:lnSpc>
              <a:spcBef>
                <a:spcPts val="1000"/>
              </a:spcBef>
              <a:spcAft>
                <a:spcPts val="0"/>
              </a:spcAft>
              <a:buSzPts val="1800"/>
              <a:buNone/>
              <a:defRPr sz="1800" b="1"/>
            </a:lvl3pPr>
            <a:lvl4pPr marL="1828891" lvl="3" indent="-228611" algn="l">
              <a:lnSpc>
                <a:spcPct val="100000"/>
              </a:lnSpc>
              <a:spcBef>
                <a:spcPts val="1000"/>
              </a:spcBef>
              <a:spcAft>
                <a:spcPts val="0"/>
              </a:spcAft>
              <a:buSzPts val="1600"/>
              <a:buNone/>
              <a:defRPr sz="1600" b="1"/>
            </a:lvl4pPr>
            <a:lvl5pPr marL="2286114" lvl="4" indent="-228611" algn="l">
              <a:lnSpc>
                <a:spcPct val="100000"/>
              </a:lnSpc>
              <a:spcBef>
                <a:spcPts val="1000"/>
              </a:spcBef>
              <a:spcAft>
                <a:spcPts val="0"/>
              </a:spcAft>
              <a:buSzPts val="1600"/>
              <a:buNone/>
              <a:defRPr sz="1600" b="1"/>
            </a:lvl5pPr>
            <a:lvl6pPr marL="2743337" lvl="5" indent="-228611" algn="l">
              <a:lnSpc>
                <a:spcPct val="90000"/>
              </a:lnSpc>
              <a:spcBef>
                <a:spcPts val="1000"/>
              </a:spcBef>
              <a:spcAft>
                <a:spcPts val="0"/>
              </a:spcAft>
              <a:buClr>
                <a:schemeClr val="dk1"/>
              </a:buClr>
              <a:buSzPts val="1600"/>
              <a:buNone/>
              <a:defRPr sz="1600" b="1"/>
            </a:lvl6pPr>
            <a:lvl7pPr marL="3200560" lvl="6" indent="-228611" algn="l">
              <a:lnSpc>
                <a:spcPct val="90000"/>
              </a:lnSpc>
              <a:spcBef>
                <a:spcPts val="500"/>
              </a:spcBef>
              <a:spcAft>
                <a:spcPts val="0"/>
              </a:spcAft>
              <a:buClr>
                <a:schemeClr val="dk1"/>
              </a:buClr>
              <a:buSzPts val="1600"/>
              <a:buNone/>
              <a:defRPr sz="1600" b="1"/>
            </a:lvl7pPr>
            <a:lvl8pPr marL="3657783" lvl="7" indent="-228611" algn="l">
              <a:lnSpc>
                <a:spcPct val="90000"/>
              </a:lnSpc>
              <a:spcBef>
                <a:spcPts val="500"/>
              </a:spcBef>
              <a:spcAft>
                <a:spcPts val="0"/>
              </a:spcAft>
              <a:buClr>
                <a:schemeClr val="dk1"/>
              </a:buClr>
              <a:buSzPts val="1600"/>
              <a:buNone/>
              <a:defRPr sz="1600" b="1"/>
            </a:lvl8pPr>
            <a:lvl9pPr marL="4115006" lvl="8" indent="-228611" algn="l">
              <a:lnSpc>
                <a:spcPct val="90000"/>
              </a:lnSpc>
              <a:spcBef>
                <a:spcPts val="500"/>
              </a:spcBef>
              <a:spcAft>
                <a:spcPts val="0"/>
              </a:spcAft>
              <a:buClr>
                <a:schemeClr val="dk1"/>
              </a:buClr>
              <a:buSzPts val="1600"/>
              <a:buNone/>
              <a:defRPr sz="1600" b="1"/>
            </a:lvl9pPr>
          </a:lstStyle>
          <a:p>
            <a:endParaRPr/>
          </a:p>
        </p:txBody>
      </p:sp>
      <p:sp>
        <p:nvSpPr>
          <p:cNvPr id="882" name="Google Shape;882;p89"/>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23" lvl="0" indent="-355618" algn="l">
              <a:lnSpc>
                <a:spcPct val="100000"/>
              </a:lnSpc>
              <a:spcBef>
                <a:spcPts val="1000"/>
              </a:spcBef>
              <a:spcAft>
                <a:spcPts val="0"/>
              </a:spcAft>
              <a:buSzPts val="2000"/>
              <a:buChar char="•"/>
              <a:defRPr sz="2000"/>
            </a:lvl1pPr>
            <a:lvl2pPr marL="914446" lvl="1" indent="-342917" algn="l">
              <a:lnSpc>
                <a:spcPct val="100000"/>
              </a:lnSpc>
              <a:spcBef>
                <a:spcPts val="1000"/>
              </a:spcBef>
              <a:spcAft>
                <a:spcPts val="0"/>
              </a:spcAft>
              <a:buSzPts val="1800"/>
              <a:buChar char="•"/>
              <a:defRPr sz="1800"/>
            </a:lvl2pPr>
            <a:lvl3pPr marL="1371669" lvl="2" indent="-330217" algn="l">
              <a:lnSpc>
                <a:spcPct val="100000"/>
              </a:lnSpc>
              <a:spcBef>
                <a:spcPts val="1000"/>
              </a:spcBef>
              <a:spcAft>
                <a:spcPts val="0"/>
              </a:spcAft>
              <a:buSzPts val="1600"/>
              <a:buChar char="•"/>
              <a:defRPr sz="1600"/>
            </a:lvl3pPr>
            <a:lvl4pPr marL="1828891" lvl="3" indent="-317516" algn="l">
              <a:lnSpc>
                <a:spcPct val="100000"/>
              </a:lnSpc>
              <a:spcBef>
                <a:spcPts val="1000"/>
              </a:spcBef>
              <a:spcAft>
                <a:spcPts val="0"/>
              </a:spcAft>
              <a:buSzPts val="1400"/>
              <a:buChar char="•"/>
              <a:defRPr sz="1400"/>
            </a:lvl4pPr>
            <a:lvl5pPr marL="2286114" lvl="4" indent="-317516" algn="l">
              <a:lnSpc>
                <a:spcPct val="100000"/>
              </a:lnSpc>
              <a:spcBef>
                <a:spcPts val="1000"/>
              </a:spcBef>
              <a:spcAft>
                <a:spcPts val="0"/>
              </a:spcAft>
              <a:buSzPts val="1400"/>
              <a:buChar char="•"/>
              <a:defRPr sz="1400"/>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83" name="Google Shape;883;p8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23" lvl="0" indent="-228611"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46" lvl="1" indent="-228611" algn="l">
              <a:lnSpc>
                <a:spcPct val="100000"/>
              </a:lnSpc>
              <a:spcBef>
                <a:spcPts val="1000"/>
              </a:spcBef>
              <a:spcAft>
                <a:spcPts val="0"/>
              </a:spcAft>
              <a:buSzPts val="2000"/>
              <a:buNone/>
              <a:defRPr sz="2000" b="1"/>
            </a:lvl2pPr>
            <a:lvl3pPr marL="1371669" lvl="2" indent="-228611" algn="l">
              <a:lnSpc>
                <a:spcPct val="100000"/>
              </a:lnSpc>
              <a:spcBef>
                <a:spcPts val="1000"/>
              </a:spcBef>
              <a:spcAft>
                <a:spcPts val="0"/>
              </a:spcAft>
              <a:buSzPts val="1800"/>
              <a:buNone/>
              <a:defRPr sz="1800" b="1"/>
            </a:lvl3pPr>
            <a:lvl4pPr marL="1828891" lvl="3" indent="-228611" algn="l">
              <a:lnSpc>
                <a:spcPct val="100000"/>
              </a:lnSpc>
              <a:spcBef>
                <a:spcPts val="1000"/>
              </a:spcBef>
              <a:spcAft>
                <a:spcPts val="0"/>
              </a:spcAft>
              <a:buSzPts val="1600"/>
              <a:buNone/>
              <a:defRPr sz="1600" b="1"/>
            </a:lvl4pPr>
            <a:lvl5pPr marL="2286114" lvl="4" indent="-228611" algn="l">
              <a:lnSpc>
                <a:spcPct val="100000"/>
              </a:lnSpc>
              <a:spcBef>
                <a:spcPts val="1000"/>
              </a:spcBef>
              <a:spcAft>
                <a:spcPts val="0"/>
              </a:spcAft>
              <a:buSzPts val="1600"/>
              <a:buNone/>
              <a:defRPr sz="1600" b="1"/>
            </a:lvl5pPr>
            <a:lvl6pPr marL="2743337" lvl="5" indent="-228611" algn="l">
              <a:lnSpc>
                <a:spcPct val="90000"/>
              </a:lnSpc>
              <a:spcBef>
                <a:spcPts val="1000"/>
              </a:spcBef>
              <a:spcAft>
                <a:spcPts val="0"/>
              </a:spcAft>
              <a:buClr>
                <a:schemeClr val="dk1"/>
              </a:buClr>
              <a:buSzPts val="1600"/>
              <a:buNone/>
              <a:defRPr sz="1600" b="1"/>
            </a:lvl6pPr>
            <a:lvl7pPr marL="3200560" lvl="6" indent="-228611" algn="l">
              <a:lnSpc>
                <a:spcPct val="90000"/>
              </a:lnSpc>
              <a:spcBef>
                <a:spcPts val="500"/>
              </a:spcBef>
              <a:spcAft>
                <a:spcPts val="0"/>
              </a:spcAft>
              <a:buClr>
                <a:schemeClr val="dk1"/>
              </a:buClr>
              <a:buSzPts val="1600"/>
              <a:buNone/>
              <a:defRPr sz="1600" b="1"/>
            </a:lvl7pPr>
            <a:lvl8pPr marL="3657783" lvl="7" indent="-228611" algn="l">
              <a:lnSpc>
                <a:spcPct val="90000"/>
              </a:lnSpc>
              <a:spcBef>
                <a:spcPts val="500"/>
              </a:spcBef>
              <a:spcAft>
                <a:spcPts val="0"/>
              </a:spcAft>
              <a:buClr>
                <a:schemeClr val="dk1"/>
              </a:buClr>
              <a:buSzPts val="1600"/>
              <a:buNone/>
              <a:defRPr sz="1600" b="1"/>
            </a:lvl8pPr>
            <a:lvl9pPr marL="4115006" lvl="8" indent="-228611" algn="l">
              <a:lnSpc>
                <a:spcPct val="90000"/>
              </a:lnSpc>
              <a:spcBef>
                <a:spcPts val="500"/>
              </a:spcBef>
              <a:spcAft>
                <a:spcPts val="0"/>
              </a:spcAft>
              <a:buClr>
                <a:schemeClr val="dk1"/>
              </a:buClr>
              <a:buSzPts val="1600"/>
              <a:buNone/>
              <a:defRPr sz="1600" b="1"/>
            </a:lvl9pPr>
          </a:lstStyle>
          <a:p>
            <a:endParaRPr/>
          </a:p>
        </p:txBody>
      </p:sp>
      <p:sp>
        <p:nvSpPr>
          <p:cNvPr id="884" name="Google Shape;884;p8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23" lvl="0" indent="-355618" algn="l">
              <a:lnSpc>
                <a:spcPct val="100000"/>
              </a:lnSpc>
              <a:spcBef>
                <a:spcPts val="1000"/>
              </a:spcBef>
              <a:spcAft>
                <a:spcPts val="0"/>
              </a:spcAft>
              <a:buSzPts val="2000"/>
              <a:buChar char="•"/>
              <a:defRPr sz="2000"/>
            </a:lvl1pPr>
            <a:lvl2pPr marL="914446" lvl="1" indent="-342917" algn="l">
              <a:lnSpc>
                <a:spcPct val="100000"/>
              </a:lnSpc>
              <a:spcBef>
                <a:spcPts val="1000"/>
              </a:spcBef>
              <a:spcAft>
                <a:spcPts val="0"/>
              </a:spcAft>
              <a:buSzPts val="1800"/>
              <a:buChar char="•"/>
              <a:defRPr sz="1800"/>
            </a:lvl2pPr>
            <a:lvl3pPr marL="1371669" lvl="2" indent="-330217" algn="l">
              <a:lnSpc>
                <a:spcPct val="100000"/>
              </a:lnSpc>
              <a:spcBef>
                <a:spcPts val="1000"/>
              </a:spcBef>
              <a:spcAft>
                <a:spcPts val="0"/>
              </a:spcAft>
              <a:buSzPts val="1600"/>
              <a:buChar char="•"/>
              <a:defRPr sz="1600"/>
            </a:lvl3pPr>
            <a:lvl4pPr marL="1828891" lvl="3" indent="-317516" algn="l">
              <a:lnSpc>
                <a:spcPct val="100000"/>
              </a:lnSpc>
              <a:spcBef>
                <a:spcPts val="1000"/>
              </a:spcBef>
              <a:spcAft>
                <a:spcPts val="0"/>
              </a:spcAft>
              <a:buSzPts val="1400"/>
              <a:buChar char="•"/>
              <a:defRPr sz="1400"/>
            </a:lvl4pPr>
            <a:lvl5pPr marL="2286114" lvl="4" indent="-317516" algn="l">
              <a:lnSpc>
                <a:spcPct val="100000"/>
              </a:lnSpc>
              <a:spcBef>
                <a:spcPts val="1000"/>
              </a:spcBef>
              <a:spcAft>
                <a:spcPts val="0"/>
              </a:spcAft>
              <a:buSzPts val="1400"/>
              <a:buChar char="•"/>
              <a:defRPr sz="1400"/>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85" name="Google Shape;885;p8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886" name="Google Shape;886;p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7" name="Google Shape;887;p8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73895778"/>
      </p:ext>
    </p:extLst>
  </p:cSld>
  <p:clrMapOvr>
    <a:masterClrMapping/>
  </p:clrMapOvr>
</p:sldLayout>
</file>

<file path=ppt/slideLayouts/slideLayout1428.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888"/>
        <p:cNvGrpSpPr/>
        <p:nvPr/>
      </p:nvGrpSpPr>
      <p:grpSpPr>
        <a:xfrm>
          <a:off x="0" y="0"/>
          <a:ext cx="0" cy="0"/>
          <a:chOff x="0" y="0"/>
          <a:chExt cx="0" cy="0"/>
        </a:xfrm>
      </p:grpSpPr>
      <p:grpSp>
        <p:nvGrpSpPr>
          <p:cNvPr id="889" name="Google Shape;889;p90"/>
          <p:cNvGrpSpPr/>
          <p:nvPr/>
        </p:nvGrpSpPr>
        <p:grpSpPr>
          <a:xfrm>
            <a:off x="7191543" y="1"/>
            <a:ext cx="5000459" cy="1425992"/>
            <a:chOff x="7191542" y="1"/>
            <a:chExt cx="5000459" cy="1425992"/>
          </a:xfrm>
        </p:grpSpPr>
        <p:pic>
          <p:nvPicPr>
            <p:cNvPr id="890" name="Google Shape;890;p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91" name="Google Shape;891;p90"/>
            <p:cNvGrpSpPr/>
            <p:nvPr/>
          </p:nvGrpSpPr>
          <p:grpSpPr>
            <a:xfrm>
              <a:off x="7191542" y="1"/>
              <a:ext cx="5000459" cy="1425992"/>
              <a:chOff x="7186272" y="0"/>
              <a:chExt cx="5005729" cy="1427495"/>
            </a:xfrm>
          </p:grpSpPr>
          <p:sp>
            <p:nvSpPr>
              <p:cNvPr id="892" name="Google Shape;892;p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93" name="Google Shape;893;p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94" name="Google Shape;894;p9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5" name="Google Shape;895;p9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896" name="Google Shape;896;p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97" name="Google Shape;897;p9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90775715"/>
      </p:ext>
    </p:extLst>
  </p:cSld>
  <p:clrMapOvr>
    <a:masterClrMapping/>
  </p:clrMapOvr>
</p:sldLayout>
</file>

<file path=ppt/slideLayouts/slideLayout1429.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898"/>
        <p:cNvGrpSpPr/>
        <p:nvPr/>
      </p:nvGrpSpPr>
      <p:grpSpPr>
        <a:xfrm>
          <a:off x="0" y="0"/>
          <a:ext cx="0" cy="0"/>
          <a:chOff x="0" y="0"/>
          <a:chExt cx="0" cy="0"/>
        </a:xfrm>
      </p:grpSpPr>
      <p:grpSp>
        <p:nvGrpSpPr>
          <p:cNvPr id="899" name="Google Shape;899;p91"/>
          <p:cNvGrpSpPr/>
          <p:nvPr/>
        </p:nvGrpSpPr>
        <p:grpSpPr>
          <a:xfrm>
            <a:off x="0" y="0"/>
            <a:ext cx="12192000" cy="2148830"/>
            <a:chOff x="0" y="0"/>
            <a:chExt cx="12192000" cy="2148830"/>
          </a:xfrm>
        </p:grpSpPr>
        <p:sp>
          <p:nvSpPr>
            <p:cNvPr id="900" name="Google Shape;900;p9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01" name="Google Shape;901;p9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902" name="Google Shape;902;p91"/>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03" name="Google Shape;903;p91"/>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000"/>
              <a:buNone/>
              <a:defRPr sz="2000"/>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904" name="Google Shape;904;p9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05" name="Google Shape;905;p91"/>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906" name="Google Shape;906;p91"/>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79045651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matchingName="Quotation">
  <p:cSld name="Quotation 14 2">
    <p:spTree>
      <p:nvGrpSpPr>
        <p:cNvPr id="1" name="Shape 10438"/>
        <p:cNvGrpSpPr/>
        <p:nvPr/>
      </p:nvGrpSpPr>
      <p:grpSpPr>
        <a:xfrm>
          <a:off x="0" y="0"/>
          <a:ext cx="0" cy="0"/>
          <a:chOff x="0" y="0"/>
          <a:chExt cx="0" cy="0"/>
        </a:xfrm>
      </p:grpSpPr>
      <p:sp>
        <p:nvSpPr>
          <p:cNvPr id="10439" name="Google Shape;10439;p144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440" name="Google Shape;10440;p144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441" name="Google Shape;10441;p144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42" name="Google Shape;10442;p14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443" name="Google Shape;10443;p14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44" name="Google Shape;10444;p14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445" name="Google Shape;10445;p1447"/>
          <p:cNvGrpSpPr/>
          <p:nvPr/>
        </p:nvGrpSpPr>
        <p:grpSpPr>
          <a:xfrm>
            <a:off x="7191542" y="1"/>
            <a:ext cx="5000459" cy="1425992"/>
            <a:chOff x="7191542" y="1"/>
            <a:chExt cx="5000459" cy="1425992"/>
          </a:xfrm>
        </p:grpSpPr>
        <p:pic>
          <p:nvPicPr>
            <p:cNvPr id="10446" name="Google Shape;10446;p14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47" name="Google Shape;10447;p1447"/>
            <p:cNvGrpSpPr/>
            <p:nvPr/>
          </p:nvGrpSpPr>
          <p:grpSpPr>
            <a:xfrm>
              <a:off x="7191542" y="1"/>
              <a:ext cx="5000459" cy="1425992"/>
              <a:chOff x="7186272" y="0"/>
              <a:chExt cx="5005729" cy="1427495"/>
            </a:xfrm>
          </p:grpSpPr>
          <p:sp>
            <p:nvSpPr>
              <p:cNvPr id="10448" name="Google Shape;10448;p14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449" name="Google Shape;10449;p14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450" name="Google Shape;10450;p144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430.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907"/>
        <p:cNvGrpSpPr/>
        <p:nvPr/>
      </p:nvGrpSpPr>
      <p:grpSpPr>
        <a:xfrm>
          <a:off x="0" y="0"/>
          <a:ext cx="0" cy="0"/>
          <a:chOff x="0" y="0"/>
          <a:chExt cx="0" cy="0"/>
        </a:xfrm>
      </p:grpSpPr>
      <p:sp>
        <p:nvSpPr>
          <p:cNvPr id="908" name="Google Shape;908;p9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909" name="Google Shape;909;p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0" name="Google Shape;910;p9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11" name="Google Shape;911;p92"/>
          <p:cNvGrpSpPr/>
          <p:nvPr/>
        </p:nvGrpSpPr>
        <p:grpSpPr>
          <a:xfrm>
            <a:off x="7191543" y="1"/>
            <a:ext cx="5000459" cy="1425992"/>
            <a:chOff x="7191542" y="1"/>
            <a:chExt cx="5000459" cy="1425992"/>
          </a:xfrm>
        </p:grpSpPr>
        <p:pic>
          <p:nvPicPr>
            <p:cNvPr id="912" name="Google Shape;912;p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13" name="Google Shape;913;p92"/>
            <p:cNvGrpSpPr/>
            <p:nvPr/>
          </p:nvGrpSpPr>
          <p:grpSpPr>
            <a:xfrm>
              <a:off x="7191542" y="1"/>
              <a:ext cx="5000459" cy="1425992"/>
              <a:chOff x="7186272" y="0"/>
              <a:chExt cx="5005729" cy="1427495"/>
            </a:xfrm>
          </p:grpSpPr>
          <p:sp>
            <p:nvSpPr>
              <p:cNvPr id="914" name="Google Shape;914;p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15" name="Google Shape;915;p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777389412"/>
      </p:ext>
    </p:extLst>
  </p:cSld>
  <p:clrMapOvr>
    <a:masterClrMapping/>
  </p:clrMapOvr>
</p:sldLayout>
</file>

<file path=ppt/slideLayouts/slideLayout1431.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916"/>
        <p:cNvGrpSpPr/>
        <p:nvPr/>
      </p:nvGrpSpPr>
      <p:grpSpPr>
        <a:xfrm>
          <a:off x="0" y="0"/>
          <a:ext cx="0" cy="0"/>
          <a:chOff x="0" y="0"/>
          <a:chExt cx="0" cy="0"/>
        </a:xfrm>
      </p:grpSpPr>
      <p:sp>
        <p:nvSpPr>
          <p:cNvPr id="917" name="Google Shape;917;p93"/>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18" name="Google Shape;918;p93"/>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19" name="Google Shape;919;p93"/>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20" name="Google Shape;920;p93"/>
          <p:cNvSpPr>
            <a:spLocks noGrp="1"/>
          </p:cNvSpPr>
          <p:nvPr>
            <p:ph type="pic" idx="2"/>
          </p:nvPr>
        </p:nvSpPr>
        <p:spPr>
          <a:xfrm>
            <a:off x="7118684" y="233915"/>
            <a:ext cx="5073316" cy="5943600"/>
          </a:xfrm>
          <a:prstGeom prst="rect">
            <a:avLst/>
          </a:prstGeom>
          <a:noFill/>
          <a:ln>
            <a:noFill/>
          </a:ln>
        </p:spPr>
      </p:sp>
      <p:grpSp>
        <p:nvGrpSpPr>
          <p:cNvPr id="921" name="Google Shape;921;p93"/>
          <p:cNvGrpSpPr/>
          <p:nvPr/>
        </p:nvGrpSpPr>
        <p:grpSpPr>
          <a:xfrm>
            <a:off x="0" y="5020349"/>
            <a:ext cx="12192000" cy="1837653"/>
            <a:chOff x="0" y="5020348"/>
            <a:chExt cx="12192000" cy="1837653"/>
          </a:xfrm>
        </p:grpSpPr>
        <p:sp>
          <p:nvSpPr>
            <p:cNvPr id="922" name="Google Shape;922;p9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3" name="Google Shape;923;p9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24" name="Google Shape;924;p9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42811444"/>
      </p:ext>
    </p:extLst>
  </p:cSld>
  <p:clrMapOvr>
    <a:masterClrMapping/>
  </p:clrMapOvr>
</p:sldLayout>
</file>

<file path=ppt/slideLayouts/slideLayout1432.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925"/>
        <p:cNvGrpSpPr/>
        <p:nvPr/>
      </p:nvGrpSpPr>
      <p:grpSpPr>
        <a:xfrm>
          <a:off x="0" y="0"/>
          <a:ext cx="0" cy="0"/>
          <a:chOff x="0" y="0"/>
          <a:chExt cx="0" cy="0"/>
        </a:xfrm>
      </p:grpSpPr>
      <p:grpSp>
        <p:nvGrpSpPr>
          <p:cNvPr id="926" name="Google Shape;926;p94"/>
          <p:cNvGrpSpPr/>
          <p:nvPr/>
        </p:nvGrpSpPr>
        <p:grpSpPr>
          <a:xfrm>
            <a:off x="0" y="5020348"/>
            <a:ext cx="12192000" cy="1837653"/>
            <a:chOff x="0" y="5020347"/>
            <a:chExt cx="12192000" cy="1837653"/>
          </a:xfrm>
        </p:grpSpPr>
        <p:sp>
          <p:nvSpPr>
            <p:cNvPr id="927" name="Google Shape;927;p9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8" name="Google Shape;928;p9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9" name="Google Shape;929;p9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30" name="Google Shape;930;p9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31" name="Google Shape;931;p94"/>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2" name="Google Shape;932;p94"/>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614121639"/>
      </p:ext>
    </p:extLst>
  </p:cSld>
  <p:clrMapOvr>
    <a:masterClrMapping/>
  </p:clrMapOvr>
</p:sldLayout>
</file>

<file path=ppt/slideLayouts/slideLayout143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933"/>
        <p:cNvGrpSpPr/>
        <p:nvPr/>
      </p:nvGrpSpPr>
      <p:grpSpPr>
        <a:xfrm>
          <a:off x="0" y="0"/>
          <a:ext cx="0" cy="0"/>
          <a:chOff x="0" y="0"/>
          <a:chExt cx="0" cy="0"/>
        </a:xfrm>
      </p:grpSpPr>
      <p:sp>
        <p:nvSpPr>
          <p:cNvPr id="934" name="Google Shape;934;p95"/>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935" name="Google Shape;935;p9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36" name="Google Shape;936;p95"/>
          <p:cNvGrpSpPr/>
          <p:nvPr/>
        </p:nvGrpSpPr>
        <p:grpSpPr>
          <a:xfrm>
            <a:off x="0" y="5379427"/>
            <a:ext cx="2807368" cy="753891"/>
            <a:chOff x="0" y="5379426"/>
            <a:chExt cx="2807368" cy="753891"/>
          </a:xfrm>
        </p:grpSpPr>
        <p:sp>
          <p:nvSpPr>
            <p:cNvPr id="937" name="Google Shape;937;p9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8" name="Google Shape;938;p9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939" name="Google Shape;939;p95"/>
          <p:cNvSpPr>
            <a:spLocks noGrp="1"/>
          </p:cNvSpPr>
          <p:nvPr>
            <p:ph type="pic" idx="2"/>
          </p:nvPr>
        </p:nvSpPr>
        <p:spPr>
          <a:xfrm>
            <a:off x="2807368" y="457202"/>
            <a:ext cx="8915400" cy="5943598"/>
          </a:xfrm>
          <a:prstGeom prst="rect">
            <a:avLst/>
          </a:prstGeom>
          <a:noFill/>
          <a:ln>
            <a:noFill/>
          </a:ln>
        </p:spPr>
      </p:sp>
      <p:pic>
        <p:nvPicPr>
          <p:cNvPr id="940" name="Google Shape;940;p95"/>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478333113"/>
      </p:ext>
    </p:extLst>
  </p:cSld>
  <p:clrMapOvr>
    <a:masterClrMapping/>
  </p:clrMapOvr>
</p:sldLayout>
</file>

<file path=ppt/slideLayouts/slideLayout143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941"/>
        <p:cNvGrpSpPr/>
        <p:nvPr/>
      </p:nvGrpSpPr>
      <p:grpSpPr>
        <a:xfrm>
          <a:off x="0" y="0"/>
          <a:ext cx="0" cy="0"/>
          <a:chOff x="0" y="0"/>
          <a:chExt cx="0" cy="0"/>
        </a:xfrm>
      </p:grpSpPr>
      <p:sp>
        <p:nvSpPr>
          <p:cNvPr id="942" name="Google Shape;942;p9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3" name="Google Shape;943;p9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44" name="Google Shape;944;p9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945" name="Google Shape;945;p9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946" name="Google Shape;946;p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7" name="Google Shape;947;p9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48" name="Google Shape;948;p96"/>
          <p:cNvGrpSpPr/>
          <p:nvPr/>
        </p:nvGrpSpPr>
        <p:grpSpPr>
          <a:xfrm>
            <a:off x="7191543" y="1"/>
            <a:ext cx="5000459" cy="1425992"/>
            <a:chOff x="7191542" y="1"/>
            <a:chExt cx="5000459" cy="1425992"/>
          </a:xfrm>
        </p:grpSpPr>
        <p:pic>
          <p:nvPicPr>
            <p:cNvPr id="949" name="Google Shape;949;p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50" name="Google Shape;950;p96"/>
            <p:cNvGrpSpPr/>
            <p:nvPr/>
          </p:nvGrpSpPr>
          <p:grpSpPr>
            <a:xfrm>
              <a:off x="7191542" y="1"/>
              <a:ext cx="5000459" cy="1425992"/>
              <a:chOff x="7186272" y="0"/>
              <a:chExt cx="5005729" cy="1427495"/>
            </a:xfrm>
          </p:grpSpPr>
          <p:sp>
            <p:nvSpPr>
              <p:cNvPr id="951" name="Google Shape;951;p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2" name="Google Shape;952;p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53" name="Google Shape;953;p9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965069294"/>
      </p:ext>
    </p:extLst>
  </p:cSld>
  <p:clrMapOvr>
    <a:masterClrMapping/>
  </p:clrMapOvr>
</p:sldLayout>
</file>

<file path=ppt/slideLayouts/slideLayout1435.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954"/>
        <p:cNvGrpSpPr/>
        <p:nvPr/>
      </p:nvGrpSpPr>
      <p:grpSpPr>
        <a:xfrm>
          <a:off x="0" y="0"/>
          <a:ext cx="0" cy="0"/>
          <a:chOff x="0" y="0"/>
          <a:chExt cx="0" cy="0"/>
        </a:xfrm>
      </p:grpSpPr>
      <p:grpSp>
        <p:nvGrpSpPr>
          <p:cNvPr id="955" name="Google Shape;955;p97"/>
          <p:cNvGrpSpPr/>
          <p:nvPr/>
        </p:nvGrpSpPr>
        <p:grpSpPr>
          <a:xfrm>
            <a:off x="7191543" y="1"/>
            <a:ext cx="5000459" cy="1425992"/>
            <a:chOff x="7191542" y="1"/>
            <a:chExt cx="5000459" cy="1425992"/>
          </a:xfrm>
        </p:grpSpPr>
        <p:pic>
          <p:nvPicPr>
            <p:cNvPr id="956" name="Google Shape;956;p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57" name="Google Shape;957;p97"/>
            <p:cNvGrpSpPr/>
            <p:nvPr/>
          </p:nvGrpSpPr>
          <p:grpSpPr>
            <a:xfrm>
              <a:off x="7191542" y="1"/>
              <a:ext cx="5000459" cy="1425992"/>
              <a:chOff x="7186272" y="0"/>
              <a:chExt cx="5005729" cy="1427495"/>
            </a:xfrm>
          </p:grpSpPr>
          <p:sp>
            <p:nvSpPr>
              <p:cNvPr id="958" name="Google Shape;958;p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9" name="Google Shape;959;p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60" name="Google Shape;960;p9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1" name="Google Shape;961;p97"/>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962" name="Google Shape;962;p9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963" name="Google Shape;963;p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64" name="Google Shape;964;p9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21667203"/>
      </p:ext>
    </p:extLst>
  </p:cSld>
  <p:clrMapOvr>
    <a:masterClrMapping/>
  </p:clrMapOvr>
</p:sldLayout>
</file>

<file path=ppt/slideLayouts/slideLayout1436.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965"/>
        <p:cNvGrpSpPr/>
        <p:nvPr/>
      </p:nvGrpSpPr>
      <p:grpSpPr>
        <a:xfrm>
          <a:off x="0" y="0"/>
          <a:ext cx="0" cy="0"/>
          <a:chOff x="0" y="0"/>
          <a:chExt cx="0" cy="0"/>
        </a:xfrm>
      </p:grpSpPr>
      <p:sp>
        <p:nvSpPr>
          <p:cNvPr id="966" name="Google Shape;966;p9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7" name="Google Shape;967;p98"/>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grpSp>
        <p:nvGrpSpPr>
          <p:cNvPr id="968" name="Google Shape;968;p98"/>
          <p:cNvGrpSpPr/>
          <p:nvPr/>
        </p:nvGrpSpPr>
        <p:grpSpPr>
          <a:xfrm>
            <a:off x="7191543" y="1"/>
            <a:ext cx="5000459" cy="1425992"/>
            <a:chOff x="7191542" y="1"/>
            <a:chExt cx="5000459" cy="1425992"/>
          </a:xfrm>
        </p:grpSpPr>
        <p:pic>
          <p:nvPicPr>
            <p:cNvPr id="969" name="Google Shape;969;p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0" name="Google Shape;970;p98"/>
            <p:cNvGrpSpPr/>
            <p:nvPr/>
          </p:nvGrpSpPr>
          <p:grpSpPr>
            <a:xfrm>
              <a:off x="7191542" y="1"/>
              <a:ext cx="5000459" cy="1425992"/>
              <a:chOff x="7186272" y="0"/>
              <a:chExt cx="5005729" cy="1427495"/>
            </a:xfrm>
          </p:grpSpPr>
          <p:sp>
            <p:nvSpPr>
              <p:cNvPr id="971" name="Google Shape;971;p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72" name="Google Shape;972;p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73" name="Google Shape;973;p98"/>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974" name="Google Shape;974;p98"/>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975" name="Google Shape;975;p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6" name="Google Shape;976;p9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67155201"/>
      </p:ext>
    </p:extLst>
  </p:cSld>
  <p:clrMapOvr>
    <a:masterClrMapping/>
  </p:clrMapOvr>
</p:sldLayout>
</file>

<file path=ppt/slideLayouts/slideLayout1437.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977"/>
        <p:cNvGrpSpPr/>
        <p:nvPr/>
      </p:nvGrpSpPr>
      <p:grpSpPr>
        <a:xfrm>
          <a:off x="0" y="0"/>
          <a:ext cx="0" cy="0"/>
          <a:chOff x="0" y="0"/>
          <a:chExt cx="0" cy="0"/>
        </a:xfrm>
      </p:grpSpPr>
      <p:grpSp>
        <p:nvGrpSpPr>
          <p:cNvPr id="978" name="Google Shape;978;p99"/>
          <p:cNvGrpSpPr/>
          <p:nvPr/>
        </p:nvGrpSpPr>
        <p:grpSpPr>
          <a:xfrm>
            <a:off x="7191543" y="1"/>
            <a:ext cx="5000459" cy="1425992"/>
            <a:chOff x="7191542" y="1"/>
            <a:chExt cx="5000459" cy="1425992"/>
          </a:xfrm>
        </p:grpSpPr>
        <p:pic>
          <p:nvPicPr>
            <p:cNvPr id="979" name="Google Shape;979;p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0" name="Google Shape;980;p99"/>
            <p:cNvGrpSpPr/>
            <p:nvPr/>
          </p:nvGrpSpPr>
          <p:grpSpPr>
            <a:xfrm>
              <a:off x="7191542" y="1"/>
              <a:ext cx="5000459" cy="1425992"/>
              <a:chOff x="7186272" y="0"/>
              <a:chExt cx="5005729" cy="1427495"/>
            </a:xfrm>
          </p:grpSpPr>
          <p:sp>
            <p:nvSpPr>
              <p:cNvPr id="981" name="Google Shape;981;p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2" name="Google Shape;982;p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83" name="Google Shape;983;p99"/>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84" name="Google Shape;984;p99"/>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23" lvl="0" indent="-228611"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46" lvl="1" indent="-228611" algn="l">
              <a:lnSpc>
                <a:spcPct val="100000"/>
              </a:lnSpc>
              <a:spcBef>
                <a:spcPts val="1000"/>
              </a:spcBef>
              <a:spcAft>
                <a:spcPts val="0"/>
              </a:spcAft>
              <a:buSzPts val="2000"/>
              <a:buNone/>
              <a:defRPr sz="2000" b="1"/>
            </a:lvl2pPr>
            <a:lvl3pPr marL="1371669" lvl="2" indent="-228611" algn="l">
              <a:lnSpc>
                <a:spcPct val="100000"/>
              </a:lnSpc>
              <a:spcBef>
                <a:spcPts val="1000"/>
              </a:spcBef>
              <a:spcAft>
                <a:spcPts val="0"/>
              </a:spcAft>
              <a:buSzPts val="1800"/>
              <a:buNone/>
              <a:defRPr sz="1800" b="1"/>
            </a:lvl3pPr>
            <a:lvl4pPr marL="1828891" lvl="3" indent="-228611" algn="l">
              <a:lnSpc>
                <a:spcPct val="100000"/>
              </a:lnSpc>
              <a:spcBef>
                <a:spcPts val="1000"/>
              </a:spcBef>
              <a:spcAft>
                <a:spcPts val="0"/>
              </a:spcAft>
              <a:buSzPts val="1600"/>
              <a:buNone/>
              <a:defRPr sz="1600" b="1"/>
            </a:lvl4pPr>
            <a:lvl5pPr marL="2286114" lvl="4" indent="-228611" algn="l">
              <a:lnSpc>
                <a:spcPct val="100000"/>
              </a:lnSpc>
              <a:spcBef>
                <a:spcPts val="1000"/>
              </a:spcBef>
              <a:spcAft>
                <a:spcPts val="0"/>
              </a:spcAft>
              <a:buSzPts val="1600"/>
              <a:buNone/>
              <a:defRPr sz="1600" b="1"/>
            </a:lvl5pPr>
            <a:lvl6pPr marL="2743337" lvl="5" indent="-228611" algn="l">
              <a:lnSpc>
                <a:spcPct val="90000"/>
              </a:lnSpc>
              <a:spcBef>
                <a:spcPts val="1000"/>
              </a:spcBef>
              <a:spcAft>
                <a:spcPts val="0"/>
              </a:spcAft>
              <a:buClr>
                <a:schemeClr val="dk1"/>
              </a:buClr>
              <a:buSzPts val="1600"/>
              <a:buNone/>
              <a:defRPr sz="1600" b="1"/>
            </a:lvl6pPr>
            <a:lvl7pPr marL="3200560" lvl="6" indent="-228611" algn="l">
              <a:lnSpc>
                <a:spcPct val="90000"/>
              </a:lnSpc>
              <a:spcBef>
                <a:spcPts val="500"/>
              </a:spcBef>
              <a:spcAft>
                <a:spcPts val="0"/>
              </a:spcAft>
              <a:buClr>
                <a:schemeClr val="dk1"/>
              </a:buClr>
              <a:buSzPts val="1600"/>
              <a:buNone/>
              <a:defRPr sz="1600" b="1"/>
            </a:lvl7pPr>
            <a:lvl8pPr marL="3657783" lvl="7" indent="-228611" algn="l">
              <a:lnSpc>
                <a:spcPct val="90000"/>
              </a:lnSpc>
              <a:spcBef>
                <a:spcPts val="500"/>
              </a:spcBef>
              <a:spcAft>
                <a:spcPts val="0"/>
              </a:spcAft>
              <a:buClr>
                <a:schemeClr val="dk1"/>
              </a:buClr>
              <a:buSzPts val="1600"/>
              <a:buNone/>
              <a:defRPr sz="1600" b="1"/>
            </a:lvl8pPr>
            <a:lvl9pPr marL="4115006" lvl="8" indent="-228611" algn="l">
              <a:lnSpc>
                <a:spcPct val="90000"/>
              </a:lnSpc>
              <a:spcBef>
                <a:spcPts val="500"/>
              </a:spcBef>
              <a:spcAft>
                <a:spcPts val="0"/>
              </a:spcAft>
              <a:buClr>
                <a:schemeClr val="dk1"/>
              </a:buClr>
              <a:buSzPts val="1600"/>
              <a:buNone/>
              <a:defRPr sz="1600" b="1"/>
            </a:lvl9pPr>
          </a:lstStyle>
          <a:p>
            <a:endParaRPr/>
          </a:p>
        </p:txBody>
      </p:sp>
      <p:sp>
        <p:nvSpPr>
          <p:cNvPr id="985" name="Google Shape;985;p99"/>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23" lvl="0" indent="-355618" algn="l">
              <a:lnSpc>
                <a:spcPct val="100000"/>
              </a:lnSpc>
              <a:spcBef>
                <a:spcPts val="1000"/>
              </a:spcBef>
              <a:spcAft>
                <a:spcPts val="0"/>
              </a:spcAft>
              <a:buSzPts val="2000"/>
              <a:buChar char="•"/>
              <a:defRPr sz="2000"/>
            </a:lvl1pPr>
            <a:lvl2pPr marL="914446" lvl="1" indent="-342917" algn="l">
              <a:lnSpc>
                <a:spcPct val="100000"/>
              </a:lnSpc>
              <a:spcBef>
                <a:spcPts val="1000"/>
              </a:spcBef>
              <a:spcAft>
                <a:spcPts val="0"/>
              </a:spcAft>
              <a:buSzPts val="1800"/>
              <a:buChar char="•"/>
              <a:defRPr sz="1800"/>
            </a:lvl2pPr>
            <a:lvl3pPr marL="1371669" lvl="2" indent="-330217" algn="l">
              <a:lnSpc>
                <a:spcPct val="100000"/>
              </a:lnSpc>
              <a:spcBef>
                <a:spcPts val="1000"/>
              </a:spcBef>
              <a:spcAft>
                <a:spcPts val="0"/>
              </a:spcAft>
              <a:buSzPts val="1600"/>
              <a:buChar char="•"/>
              <a:defRPr sz="1600"/>
            </a:lvl3pPr>
            <a:lvl4pPr marL="1828891" lvl="3" indent="-317516" algn="l">
              <a:lnSpc>
                <a:spcPct val="100000"/>
              </a:lnSpc>
              <a:spcBef>
                <a:spcPts val="1000"/>
              </a:spcBef>
              <a:spcAft>
                <a:spcPts val="0"/>
              </a:spcAft>
              <a:buSzPts val="1400"/>
              <a:buChar char="•"/>
              <a:defRPr sz="1400"/>
            </a:lvl4pPr>
            <a:lvl5pPr marL="2286114" lvl="4" indent="-317516" algn="l">
              <a:lnSpc>
                <a:spcPct val="100000"/>
              </a:lnSpc>
              <a:spcBef>
                <a:spcPts val="1000"/>
              </a:spcBef>
              <a:spcAft>
                <a:spcPts val="0"/>
              </a:spcAft>
              <a:buSzPts val="1400"/>
              <a:buChar char="•"/>
              <a:defRPr sz="1400"/>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986" name="Google Shape;986;p9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23" lvl="0" indent="-228611"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46" lvl="1" indent="-228611" algn="l">
              <a:lnSpc>
                <a:spcPct val="100000"/>
              </a:lnSpc>
              <a:spcBef>
                <a:spcPts val="1000"/>
              </a:spcBef>
              <a:spcAft>
                <a:spcPts val="0"/>
              </a:spcAft>
              <a:buSzPts val="2000"/>
              <a:buNone/>
              <a:defRPr sz="2000" b="1"/>
            </a:lvl2pPr>
            <a:lvl3pPr marL="1371669" lvl="2" indent="-228611" algn="l">
              <a:lnSpc>
                <a:spcPct val="100000"/>
              </a:lnSpc>
              <a:spcBef>
                <a:spcPts val="1000"/>
              </a:spcBef>
              <a:spcAft>
                <a:spcPts val="0"/>
              </a:spcAft>
              <a:buSzPts val="1800"/>
              <a:buNone/>
              <a:defRPr sz="1800" b="1"/>
            </a:lvl3pPr>
            <a:lvl4pPr marL="1828891" lvl="3" indent="-228611" algn="l">
              <a:lnSpc>
                <a:spcPct val="100000"/>
              </a:lnSpc>
              <a:spcBef>
                <a:spcPts val="1000"/>
              </a:spcBef>
              <a:spcAft>
                <a:spcPts val="0"/>
              </a:spcAft>
              <a:buSzPts val="1600"/>
              <a:buNone/>
              <a:defRPr sz="1600" b="1"/>
            </a:lvl4pPr>
            <a:lvl5pPr marL="2286114" lvl="4" indent="-228611" algn="l">
              <a:lnSpc>
                <a:spcPct val="100000"/>
              </a:lnSpc>
              <a:spcBef>
                <a:spcPts val="1000"/>
              </a:spcBef>
              <a:spcAft>
                <a:spcPts val="0"/>
              </a:spcAft>
              <a:buSzPts val="1600"/>
              <a:buNone/>
              <a:defRPr sz="1600" b="1"/>
            </a:lvl5pPr>
            <a:lvl6pPr marL="2743337" lvl="5" indent="-228611" algn="l">
              <a:lnSpc>
                <a:spcPct val="90000"/>
              </a:lnSpc>
              <a:spcBef>
                <a:spcPts val="1000"/>
              </a:spcBef>
              <a:spcAft>
                <a:spcPts val="0"/>
              </a:spcAft>
              <a:buClr>
                <a:schemeClr val="dk1"/>
              </a:buClr>
              <a:buSzPts val="1600"/>
              <a:buNone/>
              <a:defRPr sz="1600" b="1"/>
            </a:lvl6pPr>
            <a:lvl7pPr marL="3200560" lvl="6" indent="-228611" algn="l">
              <a:lnSpc>
                <a:spcPct val="90000"/>
              </a:lnSpc>
              <a:spcBef>
                <a:spcPts val="500"/>
              </a:spcBef>
              <a:spcAft>
                <a:spcPts val="0"/>
              </a:spcAft>
              <a:buClr>
                <a:schemeClr val="dk1"/>
              </a:buClr>
              <a:buSzPts val="1600"/>
              <a:buNone/>
              <a:defRPr sz="1600" b="1"/>
            </a:lvl7pPr>
            <a:lvl8pPr marL="3657783" lvl="7" indent="-228611" algn="l">
              <a:lnSpc>
                <a:spcPct val="90000"/>
              </a:lnSpc>
              <a:spcBef>
                <a:spcPts val="500"/>
              </a:spcBef>
              <a:spcAft>
                <a:spcPts val="0"/>
              </a:spcAft>
              <a:buClr>
                <a:schemeClr val="dk1"/>
              </a:buClr>
              <a:buSzPts val="1600"/>
              <a:buNone/>
              <a:defRPr sz="1600" b="1"/>
            </a:lvl8pPr>
            <a:lvl9pPr marL="4115006" lvl="8" indent="-228611" algn="l">
              <a:lnSpc>
                <a:spcPct val="90000"/>
              </a:lnSpc>
              <a:spcBef>
                <a:spcPts val="500"/>
              </a:spcBef>
              <a:spcAft>
                <a:spcPts val="0"/>
              </a:spcAft>
              <a:buClr>
                <a:schemeClr val="dk1"/>
              </a:buClr>
              <a:buSzPts val="1600"/>
              <a:buNone/>
              <a:defRPr sz="1600" b="1"/>
            </a:lvl9pPr>
          </a:lstStyle>
          <a:p>
            <a:endParaRPr/>
          </a:p>
        </p:txBody>
      </p:sp>
      <p:sp>
        <p:nvSpPr>
          <p:cNvPr id="987" name="Google Shape;987;p9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23" lvl="0" indent="-355618" algn="l">
              <a:lnSpc>
                <a:spcPct val="100000"/>
              </a:lnSpc>
              <a:spcBef>
                <a:spcPts val="1000"/>
              </a:spcBef>
              <a:spcAft>
                <a:spcPts val="0"/>
              </a:spcAft>
              <a:buSzPts val="2000"/>
              <a:buChar char="•"/>
              <a:defRPr sz="2000"/>
            </a:lvl1pPr>
            <a:lvl2pPr marL="914446" lvl="1" indent="-342917" algn="l">
              <a:lnSpc>
                <a:spcPct val="100000"/>
              </a:lnSpc>
              <a:spcBef>
                <a:spcPts val="1000"/>
              </a:spcBef>
              <a:spcAft>
                <a:spcPts val="0"/>
              </a:spcAft>
              <a:buSzPts val="1800"/>
              <a:buChar char="•"/>
              <a:defRPr sz="1800"/>
            </a:lvl2pPr>
            <a:lvl3pPr marL="1371669" lvl="2" indent="-330217" algn="l">
              <a:lnSpc>
                <a:spcPct val="100000"/>
              </a:lnSpc>
              <a:spcBef>
                <a:spcPts val="1000"/>
              </a:spcBef>
              <a:spcAft>
                <a:spcPts val="0"/>
              </a:spcAft>
              <a:buSzPts val="1600"/>
              <a:buChar char="•"/>
              <a:defRPr sz="1600"/>
            </a:lvl3pPr>
            <a:lvl4pPr marL="1828891" lvl="3" indent="-317516" algn="l">
              <a:lnSpc>
                <a:spcPct val="100000"/>
              </a:lnSpc>
              <a:spcBef>
                <a:spcPts val="1000"/>
              </a:spcBef>
              <a:spcAft>
                <a:spcPts val="0"/>
              </a:spcAft>
              <a:buSzPts val="1400"/>
              <a:buChar char="•"/>
              <a:defRPr sz="1400"/>
            </a:lvl4pPr>
            <a:lvl5pPr marL="2286114" lvl="4" indent="-317516" algn="l">
              <a:lnSpc>
                <a:spcPct val="100000"/>
              </a:lnSpc>
              <a:spcBef>
                <a:spcPts val="1000"/>
              </a:spcBef>
              <a:spcAft>
                <a:spcPts val="0"/>
              </a:spcAft>
              <a:buSzPts val="1400"/>
              <a:buChar char="•"/>
              <a:defRPr sz="1400"/>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988" name="Google Shape;988;p9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989" name="Google Shape;989;p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0" name="Google Shape;990;p9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544420133"/>
      </p:ext>
    </p:extLst>
  </p:cSld>
  <p:clrMapOvr>
    <a:masterClrMapping/>
  </p:clrMapOvr>
</p:sldLayout>
</file>

<file path=ppt/slideLayouts/slideLayout1438.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991"/>
        <p:cNvGrpSpPr/>
        <p:nvPr/>
      </p:nvGrpSpPr>
      <p:grpSpPr>
        <a:xfrm>
          <a:off x="0" y="0"/>
          <a:ext cx="0" cy="0"/>
          <a:chOff x="0" y="0"/>
          <a:chExt cx="0" cy="0"/>
        </a:xfrm>
      </p:grpSpPr>
      <p:grpSp>
        <p:nvGrpSpPr>
          <p:cNvPr id="992" name="Google Shape;992;p100"/>
          <p:cNvGrpSpPr/>
          <p:nvPr/>
        </p:nvGrpSpPr>
        <p:grpSpPr>
          <a:xfrm>
            <a:off x="7191543" y="1"/>
            <a:ext cx="5000459" cy="1425992"/>
            <a:chOff x="7191542" y="1"/>
            <a:chExt cx="5000459" cy="1425992"/>
          </a:xfrm>
        </p:grpSpPr>
        <p:pic>
          <p:nvPicPr>
            <p:cNvPr id="993" name="Google Shape;993;p1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4" name="Google Shape;994;p100"/>
            <p:cNvGrpSpPr/>
            <p:nvPr/>
          </p:nvGrpSpPr>
          <p:grpSpPr>
            <a:xfrm>
              <a:off x="7191542" y="1"/>
              <a:ext cx="5000459" cy="1425992"/>
              <a:chOff x="7186272" y="0"/>
              <a:chExt cx="5005729" cy="1427495"/>
            </a:xfrm>
          </p:grpSpPr>
          <p:sp>
            <p:nvSpPr>
              <p:cNvPr id="995" name="Google Shape;995;p1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96" name="Google Shape;996;p1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97" name="Google Shape;997;p10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8" name="Google Shape;998;p10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999" name="Google Shape;999;p1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0" name="Google Shape;1000;p10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51621123"/>
      </p:ext>
    </p:extLst>
  </p:cSld>
  <p:clrMapOvr>
    <a:masterClrMapping/>
  </p:clrMapOvr>
</p:sldLayout>
</file>

<file path=ppt/slideLayouts/slideLayout1439.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001"/>
        <p:cNvGrpSpPr/>
        <p:nvPr/>
      </p:nvGrpSpPr>
      <p:grpSpPr>
        <a:xfrm>
          <a:off x="0" y="0"/>
          <a:ext cx="0" cy="0"/>
          <a:chOff x="0" y="0"/>
          <a:chExt cx="0" cy="0"/>
        </a:xfrm>
      </p:grpSpPr>
      <p:grpSp>
        <p:nvGrpSpPr>
          <p:cNvPr id="1002" name="Google Shape;1002;p101"/>
          <p:cNvGrpSpPr/>
          <p:nvPr/>
        </p:nvGrpSpPr>
        <p:grpSpPr>
          <a:xfrm>
            <a:off x="0" y="0"/>
            <a:ext cx="12192000" cy="2148830"/>
            <a:chOff x="0" y="0"/>
            <a:chExt cx="12192000" cy="2148830"/>
          </a:xfrm>
        </p:grpSpPr>
        <p:sp>
          <p:nvSpPr>
            <p:cNvPr id="1003" name="Google Shape;1003;p10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04" name="Google Shape;1004;p10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005" name="Google Shape;1005;p101"/>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06" name="Google Shape;1006;p101"/>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000"/>
              <a:buNone/>
              <a:defRPr sz="2000"/>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1007" name="Google Shape;1007;p10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08" name="Google Shape;1008;p101"/>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009" name="Google Shape;1009;p101"/>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4043220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matchingName="Title and Content">
  <p:cSld name="Title and Content 12">
    <p:spTree>
      <p:nvGrpSpPr>
        <p:cNvPr id="1" name="Shape 10451"/>
        <p:cNvGrpSpPr/>
        <p:nvPr/>
      </p:nvGrpSpPr>
      <p:grpSpPr>
        <a:xfrm>
          <a:off x="0" y="0"/>
          <a:ext cx="0" cy="0"/>
          <a:chOff x="0" y="0"/>
          <a:chExt cx="0" cy="0"/>
        </a:xfrm>
      </p:grpSpPr>
      <p:grpSp>
        <p:nvGrpSpPr>
          <p:cNvPr id="10452" name="Google Shape;10452;p1448"/>
          <p:cNvGrpSpPr/>
          <p:nvPr/>
        </p:nvGrpSpPr>
        <p:grpSpPr>
          <a:xfrm>
            <a:off x="7191542" y="1"/>
            <a:ext cx="5000459" cy="1425992"/>
            <a:chOff x="7191542" y="1"/>
            <a:chExt cx="5000459" cy="1425992"/>
          </a:xfrm>
        </p:grpSpPr>
        <p:pic>
          <p:nvPicPr>
            <p:cNvPr id="10453" name="Google Shape;10453;p14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54" name="Google Shape;10454;p1448"/>
            <p:cNvGrpSpPr/>
            <p:nvPr/>
          </p:nvGrpSpPr>
          <p:grpSpPr>
            <a:xfrm>
              <a:off x="7191542" y="1"/>
              <a:ext cx="5000459" cy="1425992"/>
              <a:chOff x="7186272" y="0"/>
              <a:chExt cx="5005729" cy="1427495"/>
            </a:xfrm>
          </p:grpSpPr>
          <p:sp>
            <p:nvSpPr>
              <p:cNvPr id="10455" name="Google Shape;10455;p14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456" name="Google Shape;10456;p14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457" name="Google Shape;10457;p144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458" name="Google Shape;10458;p144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59" name="Google Shape;10459;p14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460" name="Google Shape;10460;p14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61" name="Google Shape;10461;p14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440.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010"/>
        <p:cNvGrpSpPr/>
        <p:nvPr/>
      </p:nvGrpSpPr>
      <p:grpSpPr>
        <a:xfrm>
          <a:off x="0" y="0"/>
          <a:ext cx="0" cy="0"/>
          <a:chOff x="0" y="0"/>
          <a:chExt cx="0" cy="0"/>
        </a:xfrm>
      </p:grpSpPr>
      <p:sp>
        <p:nvSpPr>
          <p:cNvPr id="1011" name="Google Shape;1011;p10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1012" name="Google Shape;1012;p1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3" name="Google Shape;1013;p10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14" name="Google Shape;1014;p102"/>
          <p:cNvGrpSpPr/>
          <p:nvPr/>
        </p:nvGrpSpPr>
        <p:grpSpPr>
          <a:xfrm>
            <a:off x="7191543" y="1"/>
            <a:ext cx="5000459" cy="1425992"/>
            <a:chOff x="7191542" y="1"/>
            <a:chExt cx="5000459" cy="1425992"/>
          </a:xfrm>
        </p:grpSpPr>
        <p:pic>
          <p:nvPicPr>
            <p:cNvPr id="1015" name="Google Shape;1015;p1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6" name="Google Shape;1016;p102"/>
            <p:cNvGrpSpPr/>
            <p:nvPr/>
          </p:nvGrpSpPr>
          <p:grpSpPr>
            <a:xfrm>
              <a:off x="7191542" y="1"/>
              <a:ext cx="5000459" cy="1425992"/>
              <a:chOff x="7186272" y="0"/>
              <a:chExt cx="5005729" cy="1427495"/>
            </a:xfrm>
          </p:grpSpPr>
          <p:sp>
            <p:nvSpPr>
              <p:cNvPr id="1017" name="Google Shape;1017;p1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8" name="Google Shape;1018;p1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232785885"/>
      </p:ext>
    </p:extLst>
  </p:cSld>
  <p:clrMapOvr>
    <a:masterClrMapping/>
  </p:clrMapOvr>
</p:sldLayout>
</file>

<file path=ppt/slideLayouts/slideLayout1441.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1019"/>
        <p:cNvGrpSpPr/>
        <p:nvPr/>
      </p:nvGrpSpPr>
      <p:grpSpPr>
        <a:xfrm>
          <a:off x="0" y="0"/>
          <a:ext cx="0" cy="0"/>
          <a:chOff x="0" y="0"/>
          <a:chExt cx="0" cy="0"/>
        </a:xfrm>
      </p:grpSpPr>
      <p:sp>
        <p:nvSpPr>
          <p:cNvPr id="1020" name="Google Shape;1020;p103"/>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021" name="Google Shape;1021;p10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9"/>
            <a:ext cx="3706284" cy="1813983"/>
          </a:xfrm>
          <a:prstGeom prst="rect">
            <a:avLst/>
          </a:prstGeom>
          <a:noFill/>
          <a:ln>
            <a:noFill/>
          </a:ln>
        </p:spPr>
      </p:pic>
      <p:grpSp>
        <p:nvGrpSpPr>
          <p:cNvPr id="1022" name="Google Shape;1022;p103"/>
          <p:cNvGrpSpPr/>
          <p:nvPr/>
        </p:nvGrpSpPr>
        <p:grpSpPr>
          <a:xfrm>
            <a:off x="1" y="0"/>
            <a:ext cx="1862667" cy="6629400"/>
            <a:chOff x="-15876" y="0"/>
            <a:chExt cx="1927803" cy="6858000"/>
          </a:xfrm>
        </p:grpSpPr>
        <p:sp>
          <p:nvSpPr>
            <p:cNvPr id="1023" name="Google Shape;1023;p103"/>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024" name="Google Shape;1024;p103"/>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025" name="Google Shape;1025;p103"/>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026" name="Google Shape;1026;p103"/>
          <p:cNvSpPr txBox="1">
            <a:spLocks noGrp="1"/>
          </p:cNvSpPr>
          <p:nvPr>
            <p:ph type="ctrTitle"/>
          </p:nvPr>
        </p:nvSpPr>
        <p:spPr>
          <a:xfrm>
            <a:off x="1621873" y="1806430"/>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4">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7" name="Google Shape;1027;p103"/>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23" lvl="0" indent="-347171" algn="l">
              <a:lnSpc>
                <a:spcPct val="100000"/>
              </a:lnSpc>
              <a:spcBef>
                <a:spcPts val="1000"/>
              </a:spcBef>
              <a:spcAft>
                <a:spcPts val="0"/>
              </a:spcAft>
              <a:buSzPts val="1867"/>
              <a:buChar char="•"/>
              <a:defRPr sz="1867"/>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1028" name="Google Shape;1028;p103"/>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23" lvl="0" indent="-347171" algn="l">
              <a:lnSpc>
                <a:spcPct val="100000"/>
              </a:lnSpc>
              <a:spcBef>
                <a:spcPts val="1000"/>
              </a:spcBef>
              <a:spcAft>
                <a:spcPts val="0"/>
              </a:spcAft>
              <a:buSzPts val="1867"/>
              <a:buChar char="•"/>
              <a:defRPr sz="1867"/>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23686261"/>
      </p:ext>
    </p:extLst>
  </p:cSld>
  <p:clrMapOvr>
    <a:masterClrMapping/>
  </p:clrMapOvr>
</p:sldLayout>
</file>

<file path=ppt/slideLayouts/slideLayout1442.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1029"/>
        <p:cNvGrpSpPr/>
        <p:nvPr/>
      </p:nvGrpSpPr>
      <p:grpSpPr>
        <a:xfrm>
          <a:off x="0" y="0"/>
          <a:ext cx="0" cy="0"/>
          <a:chOff x="0" y="0"/>
          <a:chExt cx="0" cy="0"/>
        </a:xfrm>
      </p:grpSpPr>
      <p:sp>
        <p:nvSpPr>
          <p:cNvPr id="1030" name="Google Shape;1030;p104"/>
          <p:cNvSpPr/>
          <p:nvPr/>
        </p:nvSpPr>
        <p:spPr>
          <a:xfrm>
            <a:off x="-10584" y="6620934"/>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031" name="Google Shape;1031;p104"/>
          <p:cNvSpPr txBox="1">
            <a:spLocks noGrp="1"/>
          </p:cNvSpPr>
          <p:nvPr>
            <p:ph type="title"/>
          </p:nvPr>
        </p:nvSpPr>
        <p:spPr>
          <a:xfrm>
            <a:off x="218115" y="224841"/>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2" name="Google Shape;1032;p104"/>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457223" lvl="0" indent="-347171" algn="l">
              <a:lnSpc>
                <a:spcPct val="100000"/>
              </a:lnSpc>
              <a:spcBef>
                <a:spcPts val="1000"/>
              </a:spcBef>
              <a:spcAft>
                <a:spcPts val="0"/>
              </a:spcAft>
              <a:buSzPts val="1867"/>
              <a:buFont typeface="Noto Sans Symbols"/>
              <a:buChar char="▪"/>
              <a:defRPr sz="1867" b="1"/>
            </a:lvl1pPr>
            <a:lvl2pPr marL="914446" lvl="1" indent="-347171" algn="l">
              <a:lnSpc>
                <a:spcPct val="100000"/>
              </a:lnSpc>
              <a:spcBef>
                <a:spcPts val="1000"/>
              </a:spcBef>
              <a:spcAft>
                <a:spcPts val="0"/>
              </a:spcAft>
              <a:buSzPts val="1867"/>
              <a:buFont typeface="Arial"/>
              <a:buChar char="̶"/>
              <a:defRPr sz="1867"/>
            </a:lvl2pPr>
            <a:lvl3pPr marL="1371669" lvl="2" indent="-347171" algn="l">
              <a:lnSpc>
                <a:spcPct val="100000"/>
              </a:lnSpc>
              <a:spcBef>
                <a:spcPts val="1000"/>
              </a:spcBef>
              <a:spcAft>
                <a:spcPts val="0"/>
              </a:spcAft>
              <a:buSzPts val="1867"/>
              <a:buFont typeface="Arial"/>
              <a:buChar char="•"/>
              <a:defRPr sz="1867"/>
            </a:lvl3pPr>
            <a:lvl4pPr marL="1828891" lvl="3" indent="-347171" algn="l">
              <a:lnSpc>
                <a:spcPct val="100000"/>
              </a:lnSpc>
              <a:spcBef>
                <a:spcPts val="1000"/>
              </a:spcBef>
              <a:spcAft>
                <a:spcPts val="0"/>
              </a:spcAft>
              <a:buSzPts val="1867"/>
              <a:buFont typeface="Noto Sans Symbols"/>
              <a:buChar char="✔"/>
              <a:defRPr sz="1867"/>
            </a:lvl4pPr>
            <a:lvl5pPr marL="2286114" lvl="4" indent="-347171" algn="l">
              <a:lnSpc>
                <a:spcPct val="100000"/>
              </a:lnSpc>
              <a:spcBef>
                <a:spcPts val="1000"/>
              </a:spcBef>
              <a:spcAft>
                <a:spcPts val="0"/>
              </a:spcAft>
              <a:buSzPts val="1867"/>
              <a:buChar char="•"/>
              <a:defRPr sz="1867"/>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1033" name="Google Shape;1033;p104"/>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457223" lvl="0" indent="-313261" algn="l">
              <a:lnSpc>
                <a:spcPct val="100000"/>
              </a:lnSpc>
              <a:spcBef>
                <a:spcPts val="1000"/>
              </a:spcBef>
              <a:spcAft>
                <a:spcPts val="0"/>
              </a:spcAft>
              <a:buSzPts val="1333"/>
              <a:buChar char="•"/>
              <a:defRPr sz="1333" b="0"/>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1034" name="Google Shape;1034;p10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fld id="{00000000-1234-1234-1234-123412341234}" type="slidenum">
              <a:rPr lang="en-US" smtClean="0"/>
              <a:pPr/>
              <a:t>‹#›</a:t>
            </a:fld>
            <a:endParaRPr lang="en-US"/>
          </a:p>
        </p:txBody>
      </p:sp>
      <p:pic>
        <p:nvPicPr>
          <p:cNvPr id="1035" name="Google Shape;1035;p104"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2" y="5969001"/>
            <a:ext cx="3704343" cy="651933"/>
          </a:xfrm>
          <a:prstGeom prst="rect">
            <a:avLst/>
          </a:prstGeom>
          <a:noFill/>
          <a:ln>
            <a:noFill/>
          </a:ln>
        </p:spPr>
      </p:pic>
    </p:spTree>
    <p:extLst>
      <p:ext uri="{BB962C8B-B14F-4D97-AF65-F5344CB8AC3E}">
        <p14:creationId xmlns:p14="http://schemas.microsoft.com/office/powerpoint/2010/main" val="3117319314"/>
      </p:ext>
    </p:extLst>
  </p:cSld>
  <p:clrMapOvr>
    <a:masterClrMapping/>
  </p:clrMapOvr>
</p:sldLayout>
</file>

<file path=ppt/slideLayouts/slideLayout1443.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036"/>
        <p:cNvGrpSpPr/>
        <p:nvPr/>
      </p:nvGrpSpPr>
      <p:grpSpPr>
        <a:xfrm>
          <a:off x="0" y="0"/>
          <a:ext cx="0" cy="0"/>
          <a:chOff x="0" y="0"/>
          <a:chExt cx="0" cy="0"/>
        </a:xfrm>
      </p:grpSpPr>
      <p:sp>
        <p:nvSpPr>
          <p:cNvPr id="1037" name="Google Shape;1037;p105"/>
          <p:cNvSpPr txBox="1">
            <a:spLocks noGrp="1"/>
          </p:cNvSpPr>
          <p:nvPr>
            <p:ph type="body" idx="1"/>
          </p:nvPr>
        </p:nvSpPr>
        <p:spPr>
          <a:xfrm>
            <a:off x="2826556" y="5400857"/>
            <a:ext cx="8178613" cy="477112"/>
          </a:xfrm>
          <a:prstGeom prst="rect">
            <a:avLst/>
          </a:prstGeom>
          <a:noFill/>
          <a:ln>
            <a:noFill/>
          </a:ln>
        </p:spPr>
        <p:txBody>
          <a:bodyPr spcFirstLastPara="1" wrap="square" lIns="91425" tIns="45700" rIns="91425" bIns="45700" anchor="t" anchorCtr="0">
            <a:spAutoFit/>
          </a:bodyPr>
          <a:lstStyle>
            <a:lvl1pPr marL="457223" lvl="0" indent="-228611"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1038" name="Google Shape;1038;p105"/>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9" name="Google Shape;1039;p10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040" name="Google Shape;1040;p10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41" name="Google Shape;1041;p10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sp>
        <p:nvSpPr>
          <p:cNvPr id="1042" name="Google Shape;1042;p105"/>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043" name="Google Shape;1043;p105"/>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044" name="Google Shape;1044;p105"/>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pic>
        <p:nvPicPr>
          <p:cNvPr id="1045" name="Google Shape;1045;p105"/>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2644124445"/>
      </p:ext>
    </p:extLst>
  </p:cSld>
  <p:clrMapOvr>
    <a:masterClrMapping/>
  </p:clrMapOvr>
</p:sldLayout>
</file>

<file path=ppt/slideLayouts/slideLayout1444.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046"/>
        <p:cNvGrpSpPr/>
        <p:nvPr/>
      </p:nvGrpSpPr>
      <p:grpSpPr>
        <a:xfrm>
          <a:off x="0" y="0"/>
          <a:ext cx="0" cy="0"/>
          <a:chOff x="0" y="0"/>
          <a:chExt cx="0" cy="0"/>
        </a:xfrm>
      </p:grpSpPr>
      <p:sp>
        <p:nvSpPr>
          <p:cNvPr id="1047" name="Google Shape;1047;p106"/>
          <p:cNvSpPr txBox="1">
            <a:spLocks noGrp="1"/>
          </p:cNvSpPr>
          <p:nvPr>
            <p:ph type="title"/>
          </p:nvPr>
        </p:nvSpPr>
        <p:spPr>
          <a:xfrm>
            <a:off x="963084" y="4406904"/>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48" name="Google Shape;1048;p106"/>
          <p:cNvSpPr txBox="1">
            <a:spLocks noGrp="1"/>
          </p:cNvSpPr>
          <p:nvPr>
            <p:ph type="body" idx="1"/>
          </p:nvPr>
        </p:nvSpPr>
        <p:spPr>
          <a:xfrm>
            <a:off x="963084" y="2906714"/>
            <a:ext cx="10363200" cy="1500187"/>
          </a:xfrm>
          <a:prstGeom prst="rect">
            <a:avLst/>
          </a:prstGeom>
          <a:noFill/>
          <a:ln>
            <a:noFill/>
          </a:ln>
        </p:spPr>
        <p:txBody>
          <a:bodyPr spcFirstLastPara="1" wrap="square" lIns="91425" tIns="45700" rIns="91425" bIns="45700" anchor="b" anchorCtr="0">
            <a:noAutofit/>
          </a:bodyPr>
          <a:lstStyle>
            <a:lvl1pPr marL="457223" lvl="0" indent="-228611" algn="l">
              <a:lnSpc>
                <a:spcPct val="100000"/>
              </a:lnSpc>
              <a:spcBef>
                <a:spcPts val="1000"/>
              </a:spcBef>
              <a:spcAft>
                <a:spcPts val="0"/>
              </a:spcAft>
              <a:buSzPts val="2000"/>
              <a:buNone/>
              <a:defRPr sz="2000">
                <a:solidFill>
                  <a:srgbClr val="919497"/>
                </a:solidFill>
              </a:defRPr>
            </a:lvl1pPr>
            <a:lvl2pPr marL="914446" lvl="1" indent="-228611" algn="l">
              <a:lnSpc>
                <a:spcPct val="100000"/>
              </a:lnSpc>
              <a:spcBef>
                <a:spcPts val="1000"/>
              </a:spcBef>
              <a:spcAft>
                <a:spcPts val="0"/>
              </a:spcAft>
              <a:buSzPts val="1800"/>
              <a:buNone/>
              <a:defRPr sz="1800">
                <a:solidFill>
                  <a:srgbClr val="919497"/>
                </a:solidFill>
              </a:defRPr>
            </a:lvl2pPr>
            <a:lvl3pPr marL="1371669" lvl="2" indent="-228611" algn="l">
              <a:lnSpc>
                <a:spcPct val="100000"/>
              </a:lnSpc>
              <a:spcBef>
                <a:spcPts val="1000"/>
              </a:spcBef>
              <a:spcAft>
                <a:spcPts val="0"/>
              </a:spcAft>
              <a:buSzPts val="1600"/>
              <a:buNone/>
              <a:defRPr sz="1600">
                <a:solidFill>
                  <a:srgbClr val="919497"/>
                </a:solidFill>
              </a:defRPr>
            </a:lvl3pPr>
            <a:lvl4pPr marL="1828891" lvl="3" indent="-228611" algn="l">
              <a:lnSpc>
                <a:spcPct val="100000"/>
              </a:lnSpc>
              <a:spcBef>
                <a:spcPts val="1000"/>
              </a:spcBef>
              <a:spcAft>
                <a:spcPts val="0"/>
              </a:spcAft>
              <a:buSzPts val="1400"/>
              <a:buNone/>
              <a:defRPr sz="1400">
                <a:solidFill>
                  <a:srgbClr val="919497"/>
                </a:solidFill>
              </a:defRPr>
            </a:lvl4pPr>
            <a:lvl5pPr marL="2286114" lvl="4" indent="-228611" algn="l">
              <a:lnSpc>
                <a:spcPct val="100000"/>
              </a:lnSpc>
              <a:spcBef>
                <a:spcPts val="1000"/>
              </a:spcBef>
              <a:spcAft>
                <a:spcPts val="0"/>
              </a:spcAft>
              <a:buSzPts val="1400"/>
              <a:buNone/>
              <a:defRPr sz="1400">
                <a:solidFill>
                  <a:srgbClr val="919497"/>
                </a:solidFill>
              </a:defRPr>
            </a:lvl5pPr>
            <a:lvl6pPr marL="2743337" lvl="5" indent="-228611" algn="l">
              <a:lnSpc>
                <a:spcPct val="90000"/>
              </a:lnSpc>
              <a:spcBef>
                <a:spcPts val="1000"/>
              </a:spcBef>
              <a:spcAft>
                <a:spcPts val="0"/>
              </a:spcAft>
              <a:buClr>
                <a:srgbClr val="919497"/>
              </a:buClr>
              <a:buSzPts val="1400"/>
              <a:buNone/>
              <a:defRPr sz="1400">
                <a:solidFill>
                  <a:srgbClr val="919497"/>
                </a:solidFill>
              </a:defRPr>
            </a:lvl6pPr>
            <a:lvl7pPr marL="3200560" lvl="6" indent="-228611" algn="l">
              <a:lnSpc>
                <a:spcPct val="90000"/>
              </a:lnSpc>
              <a:spcBef>
                <a:spcPts val="500"/>
              </a:spcBef>
              <a:spcAft>
                <a:spcPts val="0"/>
              </a:spcAft>
              <a:buClr>
                <a:srgbClr val="919497"/>
              </a:buClr>
              <a:buSzPts val="1400"/>
              <a:buNone/>
              <a:defRPr sz="1400">
                <a:solidFill>
                  <a:srgbClr val="919497"/>
                </a:solidFill>
              </a:defRPr>
            </a:lvl7pPr>
            <a:lvl8pPr marL="3657783" lvl="7" indent="-228611" algn="l">
              <a:lnSpc>
                <a:spcPct val="90000"/>
              </a:lnSpc>
              <a:spcBef>
                <a:spcPts val="500"/>
              </a:spcBef>
              <a:spcAft>
                <a:spcPts val="0"/>
              </a:spcAft>
              <a:buClr>
                <a:srgbClr val="919497"/>
              </a:buClr>
              <a:buSzPts val="1400"/>
              <a:buNone/>
              <a:defRPr sz="1400">
                <a:solidFill>
                  <a:srgbClr val="919497"/>
                </a:solidFill>
              </a:defRPr>
            </a:lvl8pPr>
            <a:lvl9pPr marL="4115006" lvl="8" indent="-228611"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1049" name="Google Shape;1049;p10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050" name="Google Shape;1050;p10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51" name="Google Shape;1051;p10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929090499"/>
      </p:ext>
    </p:extLst>
  </p:cSld>
  <p:clrMapOvr>
    <a:masterClrMapping/>
  </p:clrMapOvr>
</p:sldLayout>
</file>

<file path=ppt/slideLayouts/slideLayout1445.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1052"/>
        <p:cNvGrpSpPr/>
        <p:nvPr/>
      </p:nvGrpSpPr>
      <p:grpSpPr>
        <a:xfrm>
          <a:off x="0" y="0"/>
          <a:ext cx="0" cy="0"/>
          <a:chOff x="0" y="0"/>
          <a:chExt cx="0" cy="0"/>
        </a:xfrm>
      </p:grpSpPr>
      <p:sp>
        <p:nvSpPr>
          <p:cNvPr id="1053" name="Google Shape;1053;p107"/>
          <p:cNvSpPr txBox="1">
            <a:spLocks noGrp="1"/>
          </p:cNvSpPr>
          <p:nvPr>
            <p:ph type="title"/>
          </p:nvPr>
        </p:nvSpPr>
        <p:spPr>
          <a:xfrm>
            <a:off x="609605" y="273052"/>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4" name="Google Shape;1054;p107"/>
          <p:cNvSpPr txBox="1">
            <a:spLocks noGrp="1"/>
          </p:cNvSpPr>
          <p:nvPr>
            <p:ph type="body" idx="1"/>
          </p:nvPr>
        </p:nvSpPr>
        <p:spPr>
          <a:xfrm>
            <a:off x="4766734" y="273055"/>
            <a:ext cx="6815667" cy="5853113"/>
          </a:xfrm>
          <a:prstGeom prst="rect">
            <a:avLst/>
          </a:prstGeom>
          <a:noFill/>
          <a:ln>
            <a:noFill/>
          </a:ln>
        </p:spPr>
        <p:txBody>
          <a:bodyPr spcFirstLastPara="1" wrap="square" lIns="91425" tIns="45700" rIns="91425" bIns="45700" anchor="t" anchorCtr="0">
            <a:noAutofit/>
          </a:bodyPr>
          <a:lstStyle>
            <a:lvl1pPr marL="457223" lvl="0" indent="-431822" algn="l">
              <a:lnSpc>
                <a:spcPct val="100000"/>
              </a:lnSpc>
              <a:spcBef>
                <a:spcPts val="1000"/>
              </a:spcBef>
              <a:spcAft>
                <a:spcPts val="0"/>
              </a:spcAft>
              <a:buSzPts val="3200"/>
              <a:buChar char="•"/>
              <a:defRPr sz="3200"/>
            </a:lvl1pPr>
            <a:lvl2pPr marL="914446" lvl="1" indent="-406420" algn="l">
              <a:lnSpc>
                <a:spcPct val="100000"/>
              </a:lnSpc>
              <a:spcBef>
                <a:spcPts val="1000"/>
              </a:spcBef>
              <a:spcAft>
                <a:spcPts val="0"/>
              </a:spcAft>
              <a:buSzPts val="2800"/>
              <a:buChar char="•"/>
              <a:defRPr sz="2800"/>
            </a:lvl2pPr>
            <a:lvl3pPr marL="1371669" lvl="2" indent="-381019" algn="l">
              <a:lnSpc>
                <a:spcPct val="100000"/>
              </a:lnSpc>
              <a:spcBef>
                <a:spcPts val="1000"/>
              </a:spcBef>
              <a:spcAft>
                <a:spcPts val="0"/>
              </a:spcAft>
              <a:buSzPts val="2400"/>
              <a:buChar char="•"/>
              <a:defRPr sz="2400"/>
            </a:lvl3pPr>
            <a:lvl4pPr marL="1828891" lvl="3" indent="-355618" algn="l">
              <a:lnSpc>
                <a:spcPct val="100000"/>
              </a:lnSpc>
              <a:spcBef>
                <a:spcPts val="1000"/>
              </a:spcBef>
              <a:spcAft>
                <a:spcPts val="0"/>
              </a:spcAft>
              <a:buSzPts val="2000"/>
              <a:buChar char="•"/>
              <a:defRPr sz="2000"/>
            </a:lvl4pPr>
            <a:lvl5pPr marL="2286114" lvl="4" indent="-355618" algn="l">
              <a:lnSpc>
                <a:spcPct val="100000"/>
              </a:lnSpc>
              <a:spcBef>
                <a:spcPts val="1000"/>
              </a:spcBef>
              <a:spcAft>
                <a:spcPts val="0"/>
              </a:spcAft>
              <a:buSzPts val="2000"/>
              <a:buChar char="•"/>
              <a:defRPr sz="2000"/>
            </a:lvl5pPr>
            <a:lvl6pPr marL="2743337" lvl="5" indent="-355618" algn="l">
              <a:lnSpc>
                <a:spcPct val="90000"/>
              </a:lnSpc>
              <a:spcBef>
                <a:spcPts val="1000"/>
              </a:spcBef>
              <a:spcAft>
                <a:spcPts val="0"/>
              </a:spcAft>
              <a:buClr>
                <a:schemeClr val="dk1"/>
              </a:buClr>
              <a:buSzPts val="2000"/>
              <a:buChar char="•"/>
              <a:defRPr sz="2000"/>
            </a:lvl6pPr>
            <a:lvl7pPr marL="3200560" lvl="6" indent="-355618" algn="l">
              <a:lnSpc>
                <a:spcPct val="90000"/>
              </a:lnSpc>
              <a:spcBef>
                <a:spcPts val="500"/>
              </a:spcBef>
              <a:spcAft>
                <a:spcPts val="0"/>
              </a:spcAft>
              <a:buClr>
                <a:schemeClr val="dk1"/>
              </a:buClr>
              <a:buSzPts val="2000"/>
              <a:buChar char="•"/>
              <a:defRPr sz="2000"/>
            </a:lvl7pPr>
            <a:lvl8pPr marL="3657783" lvl="7" indent="-355618" algn="l">
              <a:lnSpc>
                <a:spcPct val="90000"/>
              </a:lnSpc>
              <a:spcBef>
                <a:spcPts val="500"/>
              </a:spcBef>
              <a:spcAft>
                <a:spcPts val="0"/>
              </a:spcAft>
              <a:buClr>
                <a:schemeClr val="dk1"/>
              </a:buClr>
              <a:buSzPts val="2000"/>
              <a:buChar char="•"/>
              <a:defRPr sz="2000"/>
            </a:lvl8pPr>
            <a:lvl9pPr marL="4115006" lvl="8" indent="-355618" algn="l">
              <a:lnSpc>
                <a:spcPct val="90000"/>
              </a:lnSpc>
              <a:spcBef>
                <a:spcPts val="500"/>
              </a:spcBef>
              <a:spcAft>
                <a:spcPts val="0"/>
              </a:spcAft>
              <a:buClr>
                <a:schemeClr val="dk1"/>
              </a:buClr>
              <a:buSzPts val="2000"/>
              <a:buChar char="•"/>
              <a:defRPr sz="2000"/>
            </a:lvl9pPr>
          </a:lstStyle>
          <a:p>
            <a:endParaRPr/>
          </a:p>
        </p:txBody>
      </p:sp>
      <p:sp>
        <p:nvSpPr>
          <p:cNvPr id="1055" name="Google Shape;1055;p107"/>
          <p:cNvSpPr txBox="1">
            <a:spLocks noGrp="1"/>
          </p:cNvSpPr>
          <p:nvPr>
            <p:ph type="body" idx="2"/>
          </p:nvPr>
        </p:nvSpPr>
        <p:spPr>
          <a:xfrm>
            <a:off x="609605" y="1435104"/>
            <a:ext cx="4011084" cy="4691063"/>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1400"/>
              <a:buNone/>
              <a:defRPr sz="1400"/>
            </a:lvl1pPr>
            <a:lvl2pPr marL="914446" lvl="1" indent="-228611" algn="l">
              <a:lnSpc>
                <a:spcPct val="100000"/>
              </a:lnSpc>
              <a:spcBef>
                <a:spcPts val="1000"/>
              </a:spcBef>
              <a:spcAft>
                <a:spcPts val="0"/>
              </a:spcAft>
              <a:buSzPts val="1200"/>
              <a:buNone/>
              <a:defRPr sz="1200"/>
            </a:lvl2pPr>
            <a:lvl3pPr marL="1371669" lvl="2" indent="-228611" algn="l">
              <a:lnSpc>
                <a:spcPct val="100000"/>
              </a:lnSpc>
              <a:spcBef>
                <a:spcPts val="1000"/>
              </a:spcBef>
              <a:spcAft>
                <a:spcPts val="0"/>
              </a:spcAft>
              <a:buSzPts val="1000"/>
              <a:buNone/>
              <a:defRPr sz="1000"/>
            </a:lvl3pPr>
            <a:lvl4pPr marL="1828891" lvl="3" indent="-228611" algn="l">
              <a:lnSpc>
                <a:spcPct val="100000"/>
              </a:lnSpc>
              <a:spcBef>
                <a:spcPts val="1000"/>
              </a:spcBef>
              <a:spcAft>
                <a:spcPts val="0"/>
              </a:spcAft>
              <a:buSzPts val="900"/>
              <a:buNone/>
              <a:defRPr sz="900"/>
            </a:lvl4pPr>
            <a:lvl5pPr marL="2286114" lvl="4" indent="-228611" algn="l">
              <a:lnSpc>
                <a:spcPct val="100000"/>
              </a:lnSpc>
              <a:spcBef>
                <a:spcPts val="1000"/>
              </a:spcBef>
              <a:spcAft>
                <a:spcPts val="0"/>
              </a:spcAft>
              <a:buSzPts val="900"/>
              <a:buNone/>
              <a:defRPr sz="900"/>
            </a:lvl5pPr>
            <a:lvl6pPr marL="2743337" lvl="5" indent="-228611" algn="l">
              <a:lnSpc>
                <a:spcPct val="90000"/>
              </a:lnSpc>
              <a:spcBef>
                <a:spcPts val="1000"/>
              </a:spcBef>
              <a:spcAft>
                <a:spcPts val="0"/>
              </a:spcAft>
              <a:buClr>
                <a:schemeClr val="dk1"/>
              </a:buClr>
              <a:buSzPts val="900"/>
              <a:buNone/>
              <a:defRPr sz="900"/>
            </a:lvl6pPr>
            <a:lvl7pPr marL="3200560" lvl="6" indent="-228611" algn="l">
              <a:lnSpc>
                <a:spcPct val="90000"/>
              </a:lnSpc>
              <a:spcBef>
                <a:spcPts val="500"/>
              </a:spcBef>
              <a:spcAft>
                <a:spcPts val="0"/>
              </a:spcAft>
              <a:buClr>
                <a:schemeClr val="dk1"/>
              </a:buClr>
              <a:buSzPts val="900"/>
              <a:buNone/>
              <a:defRPr sz="900"/>
            </a:lvl7pPr>
            <a:lvl8pPr marL="3657783" lvl="7" indent="-228611" algn="l">
              <a:lnSpc>
                <a:spcPct val="90000"/>
              </a:lnSpc>
              <a:spcBef>
                <a:spcPts val="500"/>
              </a:spcBef>
              <a:spcAft>
                <a:spcPts val="0"/>
              </a:spcAft>
              <a:buClr>
                <a:schemeClr val="dk1"/>
              </a:buClr>
              <a:buSzPts val="900"/>
              <a:buNone/>
              <a:defRPr sz="900"/>
            </a:lvl8pPr>
            <a:lvl9pPr marL="4115006" lvl="8" indent="-228611" algn="l">
              <a:lnSpc>
                <a:spcPct val="90000"/>
              </a:lnSpc>
              <a:spcBef>
                <a:spcPts val="500"/>
              </a:spcBef>
              <a:spcAft>
                <a:spcPts val="0"/>
              </a:spcAft>
              <a:buClr>
                <a:schemeClr val="dk1"/>
              </a:buClr>
              <a:buSzPts val="900"/>
              <a:buNone/>
              <a:defRPr sz="900"/>
            </a:lvl9pPr>
          </a:lstStyle>
          <a:p>
            <a:endParaRPr/>
          </a:p>
        </p:txBody>
      </p:sp>
      <p:sp>
        <p:nvSpPr>
          <p:cNvPr id="1056" name="Google Shape;1056;p10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057" name="Google Shape;1057;p10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58" name="Google Shape;1058;p10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969069018"/>
      </p:ext>
    </p:extLst>
  </p:cSld>
  <p:clrMapOvr>
    <a:masterClrMapping/>
  </p:clrMapOvr>
</p:sldLayout>
</file>

<file path=ppt/slideLayouts/slideLayout1446.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1059"/>
        <p:cNvGrpSpPr/>
        <p:nvPr/>
      </p:nvGrpSpPr>
      <p:grpSpPr>
        <a:xfrm>
          <a:off x="0" y="0"/>
          <a:ext cx="0" cy="0"/>
          <a:chOff x="0" y="0"/>
          <a:chExt cx="0" cy="0"/>
        </a:xfrm>
      </p:grpSpPr>
      <p:sp>
        <p:nvSpPr>
          <p:cNvPr id="1060" name="Google Shape;1060;p108"/>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61" name="Google Shape;1061;p108"/>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062" name="Google Shape;1062;p108"/>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23" lvl="0" indent="-381019" algn="l">
              <a:lnSpc>
                <a:spcPct val="100000"/>
              </a:lnSpc>
              <a:spcBef>
                <a:spcPts val="1000"/>
              </a:spcBef>
              <a:spcAft>
                <a:spcPts val="0"/>
              </a:spcAft>
              <a:buSzPts val="2400"/>
              <a:buChar char="•"/>
              <a:defRPr>
                <a:solidFill>
                  <a:srgbClr val="4B545E"/>
                </a:solidFill>
              </a:defRPr>
            </a:lvl1pPr>
            <a:lvl2pPr marL="914446" lvl="1" indent="-355618" algn="l">
              <a:lnSpc>
                <a:spcPct val="100000"/>
              </a:lnSpc>
              <a:spcBef>
                <a:spcPts val="1000"/>
              </a:spcBef>
              <a:spcAft>
                <a:spcPts val="0"/>
              </a:spcAft>
              <a:buSzPts val="2000"/>
              <a:buChar char="•"/>
              <a:defRPr>
                <a:solidFill>
                  <a:srgbClr val="4B545E"/>
                </a:solidFill>
              </a:defRPr>
            </a:lvl2pPr>
            <a:lvl3pPr marL="1371669" lvl="2" indent="-342917" algn="l">
              <a:lnSpc>
                <a:spcPct val="100000"/>
              </a:lnSpc>
              <a:spcBef>
                <a:spcPts val="1000"/>
              </a:spcBef>
              <a:spcAft>
                <a:spcPts val="0"/>
              </a:spcAft>
              <a:buSzPts val="1800"/>
              <a:buChar char="•"/>
              <a:defRPr>
                <a:solidFill>
                  <a:srgbClr val="4B545E"/>
                </a:solidFill>
              </a:defRPr>
            </a:lvl3pPr>
            <a:lvl4pPr marL="1828891" lvl="3" indent="-330217" algn="l">
              <a:lnSpc>
                <a:spcPct val="100000"/>
              </a:lnSpc>
              <a:spcBef>
                <a:spcPts val="1000"/>
              </a:spcBef>
              <a:spcAft>
                <a:spcPts val="0"/>
              </a:spcAft>
              <a:buSzPts val="1600"/>
              <a:buChar char="•"/>
              <a:defRPr>
                <a:solidFill>
                  <a:srgbClr val="4B545E"/>
                </a:solidFill>
              </a:defRPr>
            </a:lvl4pPr>
            <a:lvl5pPr marL="2286114" lvl="4" indent="-330217" algn="l">
              <a:lnSpc>
                <a:spcPct val="100000"/>
              </a:lnSpc>
              <a:spcBef>
                <a:spcPts val="1000"/>
              </a:spcBef>
              <a:spcAft>
                <a:spcPts val="0"/>
              </a:spcAft>
              <a:buSzPts val="1600"/>
              <a:buChar char="•"/>
              <a:defRPr>
                <a:solidFill>
                  <a:srgbClr val="4B545E"/>
                </a:solidFill>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1063" name="Google Shape;1063;p108"/>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064" name="Google Shape;1064;p108"/>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65" name="Google Shape;1065;p108"/>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23" lvl="0" indent="-228611" algn="l">
              <a:lnSpc>
                <a:spcPct val="100000"/>
              </a:lnSpc>
              <a:spcBef>
                <a:spcPts val="1000"/>
              </a:spcBef>
              <a:spcAft>
                <a:spcPts val="0"/>
              </a:spcAft>
              <a:buSzPts val="1400"/>
              <a:buNone/>
              <a:defRPr sz="1400">
                <a:solidFill>
                  <a:schemeClr val="lt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066" name="Google Shape;1066;p108"/>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067" name="Google Shape;1067;p108"/>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pic>
        <p:nvPicPr>
          <p:cNvPr id="1068" name="Google Shape;1068;p108"/>
          <p:cNvPicPr preferRelativeResize="0"/>
          <p:nvPr/>
        </p:nvPicPr>
        <p:blipFill rotWithShape="1">
          <a:blip r:embed="rId2">
            <a:alphaModFix/>
          </a:blip>
          <a:srcRect/>
          <a:stretch/>
        </p:blipFill>
        <p:spPr>
          <a:xfrm>
            <a:off x="9596462" y="6492240"/>
            <a:ext cx="1606135" cy="229238"/>
          </a:xfrm>
          <a:prstGeom prst="rect">
            <a:avLst/>
          </a:prstGeom>
          <a:noFill/>
          <a:ln>
            <a:noFill/>
          </a:ln>
        </p:spPr>
      </p:pic>
    </p:spTree>
    <p:extLst>
      <p:ext uri="{BB962C8B-B14F-4D97-AF65-F5344CB8AC3E}">
        <p14:creationId xmlns:p14="http://schemas.microsoft.com/office/powerpoint/2010/main" val="658177760"/>
      </p:ext>
    </p:extLst>
  </p:cSld>
  <p:clrMapOvr>
    <a:masterClrMapping/>
  </p:clrMapOvr>
</p:sldLayout>
</file>

<file path=ppt/slideLayouts/slideLayout1447.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069"/>
        <p:cNvGrpSpPr/>
        <p:nvPr/>
      </p:nvGrpSpPr>
      <p:grpSpPr>
        <a:xfrm>
          <a:off x="0" y="0"/>
          <a:ext cx="0" cy="0"/>
          <a:chOff x="0" y="0"/>
          <a:chExt cx="0" cy="0"/>
        </a:xfrm>
      </p:grpSpPr>
      <p:sp>
        <p:nvSpPr>
          <p:cNvPr id="1070" name="Google Shape;1070;p10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71" name="Google Shape;1071;p10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2" name="Google Shape;1072;p10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1073" name="Google Shape;1073;p10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074" name="Google Shape;1074;p1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5" name="Google Shape;1075;p10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76" name="Google Shape;1076;p109"/>
          <p:cNvGrpSpPr/>
          <p:nvPr/>
        </p:nvGrpSpPr>
        <p:grpSpPr>
          <a:xfrm>
            <a:off x="7191543" y="1"/>
            <a:ext cx="5000459" cy="1425992"/>
            <a:chOff x="7191542" y="1"/>
            <a:chExt cx="5000459" cy="1425992"/>
          </a:xfrm>
        </p:grpSpPr>
        <p:pic>
          <p:nvPicPr>
            <p:cNvPr id="1077" name="Google Shape;1077;p10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78" name="Google Shape;1078;p109"/>
            <p:cNvGrpSpPr/>
            <p:nvPr/>
          </p:nvGrpSpPr>
          <p:grpSpPr>
            <a:xfrm>
              <a:off x="7191542" y="1"/>
              <a:ext cx="5000459" cy="1425992"/>
              <a:chOff x="7186272" y="0"/>
              <a:chExt cx="5005729" cy="1427495"/>
            </a:xfrm>
          </p:grpSpPr>
          <p:sp>
            <p:nvSpPr>
              <p:cNvPr id="1079" name="Google Shape;1079;p1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0" name="Google Shape;1080;p1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081" name="Google Shape;1081;p10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508551697"/>
      </p:ext>
    </p:extLst>
  </p:cSld>
  <p:clrMapOvr>
    <a:masterClrMapping/>
  </p:clrMapOvr>
</p:sldLayout>
</file>

<file path=ppt/slideLayouts/slideLayout1448.xml><?xml version="1.0" encoding="utf-8"?>
<p:sldLayout xmlns:a="http://schemas.openxmlformats.org/drawingml/2006/main" xmlns:r="http://schemas.openxmlformats.org/officeDocument/2006/relationships" xmlns:p="http://schemas.openxmlformats.org/presentationml/2006/main" showMasterSp="0" matchingName="Title Slide">
  <p:cSld name="2_Title Slide">
    <p:bg>
      <p:bgPr>
        <a:solidFill>
          <a:schemeClr val="lt1"/>
        </a:solidFill>
        <a:effectLst/>
      </p:bgPr>
    </p:bg>
    <p:spTree>
      <p:nvGrpSpPr>
        <p:cNvPr id="1" name="Shape 1082"/>
        <p:cNvGrpSpPr/>
        <p:nvPr/>
      </p:nvGrpSpPr>
      <p:grpSpPr>
        <a:xfrm>
          <a:off x="0" y="0"/>
          <a:ext cx="0" cy="0"/>
          <a:chOff x="0" y="0"/>
          <a:chExt cx="0" cy="0"/>
        </a:xfrm>
      </p:grpSpPr>
      <p:sp>
        <p:nvSpPr>
          <p:cNvPr id="1083" name="Google Shape;1083;p110"/>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4" name="Google Shape;1084;p110"/>
          <p:cNvSpPr/>
          <p:nvPr/>
        </p:nvSpPr>
        <p:spPr>
          <a:xfrm>
            <a:off x="3"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085" name="Google Shape;1085;p110"/>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086" name="Google Shape;1086;p110"/>
          <p:cNvSpPr/>
          <p:nvPr/>
        </p:nvSpPr>
        <p:spPr>
          <a:xfrm>
            <a:off x="1" y="5020056"/>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087" name="Google Shape;1087;p110"/>
          <p:cNvPicPr preferRelativeResize="0"/>
          <p:nvPr/>
        </p:nvPicPr>
        <p:blipFill rotWithShape="1">
          <a:blip r:embed="rId3">
            <a:alphaModFix/>
          </a:blip>
          <a:srcRect/>
          <a:stretch/>
        </p:blipFill>
        <p:spPr>
          <a:xfrm>
            <a:off x="313957" y="5564124"/>
            <a:ext cx="2025383" cy="911351"/>
          </a:xfrm>
          <a:prstGeom prst="rect">
            <a:avLst/>
          </a:prstGeom>
          <a:noFill/>
          <a:ln>
            <a:noFill/>
          </a:ln>
        </p:spPr>
      </p:pic>
      <p:sp>
        <p:nvSpPr>
          <p:cNvPr id="1088" name="Google Shape;1088;p110"/>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9" name="Google Shape;1089;p110"/>
          <p:cNvSpPr txBox="1">
            <a:spLocks noGrp="1"/>
          </p:cNvSpPr>
          <p:nvPr>
            <p:ph type="ctrTitle"/>
          </p:nvPr>
        </p:nvSpPr>
        <p:spPr>
          <a:xfrm>
            <a:off x="471690" y="596274"/>
            <a:ext cx="11248618" cy="369332"/>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0" name="Google Shape;1090;p110"/>
          <p:cNvSpPr txBox="1">
            <a:spLocks noGrp="1"/>
          </p:cNvSpPr>
          <p:nvPr>
            <p:ph type="subTitle" idx="1"/>
          </p:nvPr>
        </p:nvSpPr>
        <p:spPr>
          <a:xfrm>
            <a:off x="1828800" y="3840480"/>
            <a:ext cx="8534400" cy="374461"/>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091" name="Google Shape;1091;p110"/>
          <p:cNvSpPr txBox="1">
            <a:spLocks noGrp="1"/>
          </p:cNvSpPr>
          <p:nvPr>
            <p:ph type="ftr" idx="11"/>
          </p:nvPr>
        </p:nvSpPr>
        <p:spPr>
          <a:xfrm>
            <a:off x="609600" y="6356351"/>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92" name="Google Shape;1092;p110"/>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093" name="Google Shape;1093;p110"/>
          <p:cNvSpPr txBox="1">
            <a:spLocks noGrp="1"/>
          </p:cNvSpPr>
          <p:nvPr>
            <p:ph type="sldNum" idx="12"/>
          </p:nvPr>
        </p:nvSpPr>
        <p:spPr>
          <a:xfrm>
            <a:off x="8839200" y="6356351"/>
            <a:ext cx="2743200" cy="365125"/>
          </a:xfrm>
          <a:prstGeom prst="rect">
            <a:avLst/>
          </a:prstGeom>
          <a:noFill/>
          <a:ln>
            <a:noFill/>
          </a:ln>
        </p:spPr>
        <p:txBody>
          <a:bodyPr spcFirstLastPara="1" wrap="square" lIns="0" tIns="0" rIns="0" bIns="0" anchor="ctr" anchorCtr="0">
            <a:noAutofit/>
          </a:bodyPr>
          <a:lstStyle>
            <a:lvl1pPr marL="38102" marR="0" lvl="0" indent="0" algn="r">
              <a:lnSpc>
                <a:spcPct val="118750"/>
              </a:lnSpc>
              <a:spcBef>
                <a:spcPts val="0"/>
              </a:spcBef>
              <a:buNone/>
              <a:defRPr sz="1200" b="0" i="0">
                <a:solidFill>
                  <a:srgbClr val="929599"/>
                </a:solidFill>
                <a:latin typeface="Arial"/>
                <a:ea typeface="Arial"/>
                <a:cs typeface="Arial"/>
                <a:sym typeface="Arial"/>
              </a:defRPr>
            </a:lvl1pPr>
            <a:lvl2pPr marL="38102" marR="0" lvl="1" indent="0" algn="r">
              <a:lnSpc>
                <a:spcPct val="118750"/>
              </a:lnSpc>
              <a:spcBef>
                <a:spcPts val="0"/>
              </a:spcBef>
              <a:buNone/>
              <a:defRPr sz="1200" b="0" i="0">
                <a:solidFill>
                  <a:srgbClr val="929599"/>
                </a:solidFill>
                <a:latin typeface="Arial"/>
                <a:ea typeface="Arial"/>
                <a:cs typeface="Arial"/>
                <a:sym typeface="Arial"/>
              </a:defRPr>
            </a:lvl2pPr>
            <a:lvl3pPr marL="38102" marR="0" lvl="2" indent="0" algn="r">
              <a:lnSpc>
                <a:spcPct val="118750"/>
              </a:lnSpc>
              <a:spcBef>
                <a:spcPts val="0"/>
              </a:spcBef>
              <a:buNone/>
              <a:defRPr sz="1200" b="0" i="0">
                <a:solidFill>
                  <a:srgbClr val="929599"/>
                </a:solidFill>
                <a:latin typeface="Arial"/>
                <a:ea typeface="Arial"/>
                <a:cs typeface="Arial"/>
                <a:sym typeface="Arial"/>
              </a:defRPr>
            </a:lvl3pPr>
            <a:lvl4pPr marL="38102" marR="0" lvl="3" indent="0" algn="r">
              <a:lnSpc>
                <a:spcPct val="118750"/>
              </a:lnSpc>
              <a:spcBef>
                <a:spcPts val="0"/>
              </a:spcBef>
              <a:buNone/>
              <a:defRPr sz="1200" b="0" i="0">
                <a:solidFill>
                  <a:srgbClr val="929599"/>
                </a:solidFill>
                <a:latin typeface="Arial"/>
                <a:ea typeface="Arial"/>
                <a:cs typeface="Arial"/>
                <a:sym typeface="Arial"/>
              </a:defRPr>
            </a:lvl4pPr>
            <a:lvl5pPr marL="38102" marR="0" lvl="4" indent="0" algn="r">
              <a:lnSpc>
                <a:spcPct val="118750"/>
              </a:lnSpc>
              <a:spcBef>
                <a:spcPts val="0"/>
              </a:spcBef>
              <a:buNone/>
              <a:defRPr sz="1200" b="0" i="0">
                <a:solidFill>
                  <a:srgbClr val="929599"/>
                </a:solidFill>
                <a:latin typeface="Arial"/>
                <a:ea typeface="Arial"/>
                <a:cs typeface="Arial"/>
                <a:sym typeface="Arial"/>
              </a:defRPr>
            </a:lvl5pPr>
            <a:lvl6pPr marL="38102" marR="0" lvl="5" indent="0" algn="r">
              <a:lnSpc>
                <a:spcPct val="118750"/>
              </a:lnSpc>
              <a:spcBef>
                <a:spcPts val="0"/>
              </a:spcBef>
              <a:buNone/>
              <a:defRPr sz="1200" b="0" i="0">
                <a:solidFill>
                  <a:srgbClr val="929599"/>
                </a:solidFill>
                <a:latin typeface="Arial"/>
                <a:ea typeface="Arial"/>
                <a:cs typeface="Arial"/>
                <a:sym typeface="Arial"/>
              </a:defRPr>
            </a:lvl6pPr>
            <a:lvl7pPr marL="38102" marR="0" lvl="6" indent="0" algn="r">
              <a:lnSpc>
                <a:spcPct val="118750"/>
              </a:lnSpc>
              <a:spcBef>
                <a:spcPts val="0"/>
              </a:spcBef>
              <a:buNone/>
              <a:defRPr sz="1200" b="0" i="0">
                <a:solidFill>
                  <a:srgbClr val="929599"/>
                </a:solidFill>
                <a:latin typeface="Arial"/>
                <a:ea typeface="Arial"/>
                <a:cs typeface="Arial"/>
                <a:sym typeface="Arial"/>
              </a:defRPr>
            </a:lvl7pPr>
            <a:lvl8pPr marL="38102" marR="0" lvl="7" indent="0" algn="r">
              <a:lnSpc>
                <a:spcPct val="118750"/>
              </a:lnSpc>
              <a:spcBef>
                <a:spcPts val="0"/>
              </a:spcBef>
              <a:buNone/>
              <a:defRPr sz="1200" b="0" i="0">
                <a:solidFill>
                  <a:srgbClr val="929599"/>
                </a:solidFill>
                <a:latin typeface="Arial"/>
                <a:ea typeface="Arial"/>
                <a:cs typeface="Arial"/>
                <a:sym typeface="Arial"/>
              </a:defRPr>
            </a:lvl8pPr>
            <a:lvl9pPr marL="38102" marR="0" lvl="8" indent="0" algn="r">
              <a:lnSpc>
                <a:spcPct val="118750"/>
              </a:lnSpc>
              <a:spcBef>
                <a:spcPts val="0"/>
              </a:spcBef>
              <a:buNone/>
              <a:defRPr sz="1200" b="0" i="0">
                <a:solidFill>
                  <a:srgbClr val="929599"/>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602715915"/>
      </p:ext>
    </p:extLst>
  </p:cSld>
  <p:clrMapOvr>
    <a:masterClrMapping/>
  </p:clrMapOvr>
</p:sldLayout>
</file>

<file path=ppt/slideLayouts/slideLayout1449.xml><?xml version="1.0" encoding="utf-8"?>
<p:sldLayout xmlns:a="http://schemas.openxmlformats.org/drawingml/2006/main" xmlns:r="http://schemas.openxmlformats.org/officeDocument/2006/relationships" xmlns:p="http://schemas.openxmlformats.org/presentationml/2006/main" matchingName="2_Quotation">
  <p:cSld name="5_Quotation">
    <p:spTree>
      <p:nvGrpSpPr>
        <p:cNvPr id="1" name="Shape 1094"/>
        <p:cNvGrpSpPr/>
        <p:nvPr/>
      </p:nvGrpSpPr>
      <p:grpSpPr>
        <a:xfrm>
          <a:off x="0" y="0"/>
          <a:ext cx="0" cy="0"/>
          <a:chOff x="0" y="0"/>
          <a:chExt cx="0" cy="0"/>
        </a:xfrm>
      </p:grpSpPr>
      <p:sp>
        <p:nvSpPr>
          <p:cNvPr id="1095" name="Google Shape;1095;p11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6" name="Google Shape;1096;p11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7" name="Google Shape;1097;p11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1098" name="Google Shape;1098;p11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099" name="Google Shape;1099;p1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0" name="Google Shape;1100;p11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01" name="Google Shape;1101;p111"/>
          <p:cNvGrpSpPr/>
          <p:nvPr/>
        </p:nvGrpSpPr>
        <p:grpSpPr>
          <a:xfrm>
            <a:off x="7191543" y="1"/>
            <a:ext cx="5000459" cy="1425992"/>
            <a:chOff x="7191542" y="1"/>
            <a:chExt cx="5000459" cy="1425992"/>
          </a:xfrm>
        </p:grpSpPr>
        <p:pic>
          <p:nvPicPr>
            <p:cNvPr id="1102" name="Google Shape;1102;p1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3" name="Google Shape;1103;p111"/>
            <p:cNvGrpSpPr/>
            <p:nvPr/>
          </p:nvGrpSpPr>
          <p:grpSpPr>
            <a:xfrm>
              <a:off x="7191542" y="1"/>
              <a:ext cx="5000459" cy="1425992"/>
              <a:chOff x="7186272" y="0"/>
              <a:chExt cx="5005729" cy="1427495"/>
            </a:xfrm>
          </p:grpSpPr>
          <p:sp>
            <p:nvSpPr>
              <p:cNvPr id="1104" name="Google Shape;1104;p1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05" name="Google Shape;1105;p1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106" name="Google Shape;1106;p11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288425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matchingName="Two Content">
  <p:cSld name="Two Content 8">
    <p:spTree>
      <p:nvGrpSpPr>
        <p:cNvPr id="1" name="Shape 10462"/>
        <p:cNvGrpSpPr/>
        <p:nvPr/>
      </p:nvGrpSpPr>
      <p:grpSpPr>
        <a:xfrm>
          <a:off x="0" y="0"/>
          <a:ext cx="0" cy="0"/>
          <a:chOff x="0" y="0"/>
          <a:chExt cx="0" cy="0"/>
        </a:xfrm>
      </p:grpSpPr>
      <p:sp>
        <p:nvSpPr>
          <p:cNvPr id="10463" name="Google Shape;10463;p14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464" name="Google Shape;10464;p144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465" name="Google Shape;10465;p1449"/>
          <p:cNvGrpSpPr/>
          <p:nvPr/>
        </p:nvGrpSpPr>
        <p:grpSpPr>
          <a:xfrm>
            <a:off x="7191542" y="1"/>
            <a:ext cx="5000459" cy="1425992"/>
            <a:chOff x="7191542" y="1"/>
            <a:chExt cx="5000459" cy="1425992"/>
          </a:xfrm>
        </p:grpSpPr>
        <p:pic>
          <p:nvPicPr>
            <p:cNvPr id="10466" name="Google Shape;10466;p14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67" name="Google Shape;10467;p1449"/>
            <p:cNvGrpSpPr/>
            <p:nvPr/>
          </p:nvGrpSpPr>
          <p:grpSpPr>
            <a:xfrm>
              <a:off x="7191542" y="1"/>
              <a:ext cx="5000459" cy="1425992"/>
              <a:chOff x="7186272" y="0"/>
              <a:chExt cx="5005729" cy="1427495"/>
            </a:xfrm>
          </p:grpSpPr>
          <p:sp>
            <p:nvSpPr>
              <p:cNvPr id="10468" name="Google Shape;10468;p14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469" name="Google Shape;10469;p14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470" name="Google Shape;10470;p144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71" name="Google Shape;10471;p144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472" name="Google Shape;10472;p14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73" name="Google Shape;10473;p14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450.xml><?xml version="1.0" encoding="utf-8"?>
<p:sldLayout xmlns:a="http://schemas.openxmlformats.org/drawingml/2006/main" xmlns:r="http://schemas.openxmlformats.org/officeDocument/2006/relationships" xmlns:p="http://schemas.openxmlformats.org/presentationml/2006/main" matchingName="cover_2">
  <p:cSld name="cover_2">
    <p:bg>
      <p:bgPr>
        <a:solidFill>
          <a:schemeClr val="lt1"/>
        </a:solidFill>
        <a:effectLst/>
      </p:bgPr>
    </p:bg>
    <p:spTree>
      <p:nvGrpSpPr>
        <p:cNvPr id="1" name="Shape 1107"/>
        <p:cNvGrpSpPr/>
        <p:nvPr/>
      </p:nvGrpSpPr>
      <p:grpSpPr>
        <a:xfrm>
          <a:off x="0" y="0"/>
          <a:ext cx="0" cy="0"/>
          <a:chOff x="0" y="0"/>
          <a:chExt cx="0" cy="0"/>
        </a:xfrm>
      </p:grpSpPr>
      <p:pic>
        <p:nvPicPr>
          <p:cNvPr id="1108" name="Google Shape;1108;p112"/>
          <p:cNvPicPr preferRelativeResize="0"/>
          <p:nvPr/>
        </p:nvPicPr>
        <p:blipFill rotWithShape="1">
          <a:blip r:embed="rId2">
            <a:alphaModFix/>
          </a:blip>
          <a:srcRect/>
          <a:stretch/>
        </p:blipFill>
        <p:spPr>
          <a:xfrm>
            <a:off x="6350" y="0"/>
            <a:ext cx="12179300" cy="6858000"/>
          </a:xfrm>
          <a:prstGeom prst="rect">
            <a:avLst/>
          </a:prstGeom>
          <a:noFill/>
          <a:ln>
            <a:noFill/>
          </a:ln>
        </p:spPr>
      </p:pic>
      <p:sp>
        <p:nvSpPr>
          <p:cNvPr id="1109" name="Google Shape;1109;p112"/>
          <p:cNvSpPr txBox="1">
            <a:spLocks noGrp="1"/>
          </p:cNvSpPr>
          <p:nvPr>
            <p:ph type="title"/>
          </p:nvPr>
        </p:nvSpPr>
        <p:spPr>
          <a:xfrm>
            <a:off x="6560622" y="2025004"/>
            <a:ext cx="5530850" cy="3356433"/>
          </a:xfrm>
          <a:prstGeom prst="rect">
            <a:avLst/>
          </a:prstGeom>
          <a:noFill/>
          <a:ln>
            <a:noFill/>
          </a:ln>
        </p:spPr>
        <p:txBody>
          <a:bodyPr spcFirstLastPara="1" wrap="square" lIns="0" tIns="0" rIns="0" bIns="228600" anchor="b" anchorCtr="0">
            <a:noAutofit/>
          </a:bodyPr>
          <a:lstStyle>
            <a:lvl1pPr lvl="0" algn="l">
              <a:lnSpc>
                <a:spcPct val="100000"/>
              </a:lnSpc>
              <a:spcBef>
                <a:spcPts val="0"/>
              </a:spcBef>
              <a:spcAft>
                <a:spcPts val="0"/>
              </a:spcAft>
              <a:buClr>
                <a:schemeClr val="lt1"/>
              </a:buClr>
              <a:buSzPts val="4000"/>
              <a:buFont typeface="Calibri"/>
              <a:buNone/>
              <a:defRPr sz="40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0" name="Google Shape;1110;p112"/>
          <p:cNvSpPr txBox="1">
            <a:spLocks noGrp="1"/>
          </p:cNvSpPr>
          <p:nvPr>
            <p:ph type="body" idx="1"/>
          </p:nvPr>
        </p:nvSpPr>
        <p:spPr>
          <a:xfrm>
            <a:off x="6560624" y="5381437"/>
            <a:ext cx="5530850" cy="809167"/>
          </a:xfrm>
          <a:prstGeom prst="rect">
            <a:avLst/>
          </a:prstGeom>
          <a:noFill/>
          <a:ln>
            <a:noFill/>
          </a:ln>
        </p:spPr>
        <p:txBody>
          <a:bodyPr spcFirstLastPara="1" wrap="square" lIns="0" tIns="91425" rIns="0" bIns="0" anchor="t" anchorCtr="0">
            <a:noAutofit/>
          </a:bodyPr>
          <a:lstStyle>
            <a:lvl1pPr marL="457223" lvl="0" indent="-228611" algn="l">
              <a:lnSpc>
                <a:spcPct val="100000"/>
              </a:lnSpc>
              <a:spcBef>
                <a:spcPts val="0"/>
              </a:spcBef>
              <a:spcAft>
                <a:spcPts val="0"/>
              </a:spcAft>
              <a:buClr>
                <a:schemeClr val="lt1"/>
              </a:buClr>
              <a:buSzPts val="1800"/>
              <a:buFont typeface="Calibri"/>
              <a:buNone/>
              <a:defRPr sz="1800" b="0" i="0">
                <a:solidFill>
                  <a:schemeClr val="lt1"/>
                </a:solidFill>
              </a:defRPr>
            </a:lvl1pPr>
            <a:lvl2pPr marL="914446" lvl="1" indent="-228611" algn="l">
              <a:lnSpc>
                <a:spcPct val="100000"/>
              </a:lnSpc>
              <a:spcBef>
                <a:spcPts val="0"/>
              </a:spcBef>
              <a:spcAft>
                <a:spcPts val="0"/>
              </a:spcAft>
              <a:buSzPts val="1800"/>
              <a:buFont typeface="Calibri"/>
              <a:buNone/>
              <a:defRPr sz="1800" b="0">
                <a:solidFill>
                  <a:schemeClr val="lt1"/>
                </a:solidFill>
              </a:defRPr>
            </a:lvl2pPr>
            <a:lvl3pPr marL="1371669" lvl="2" indent="-228611" algn="l">
              <a:lnSpc>
                <a:spcPct val="116666"/>
              </a:lnSpc>
              <a:spcBef>
                <a:spcPts val="0"/>
              </a:spcBef>
              <a:spcAft>
                <a:spcPts val="0"/>
              </a:spcAft>
              <a:buSzPts val="1800"/>
              <a:buFont typeface="Calibri"/>
              <a:buNone/>
              <a:defRPr sz="1800" b="0">
                <a:solidFill>
                  <a:schemeClr val="lt1"/>
                </a:solidFill>
              </a:defRPr>
            </a:lvl3pPr>
            <a:lvl4pPr marL="1828891" lvl="3" indent="-228611" algn="l">
              <a:lnSpc>
                <a:spcPct val="116666"/>
              </a:lnSpc>
              <a:spcBef>
                <a:spcPts val="0"/>
              </a:spcBef>
              <a:spcAft>
                <a:spcPts val="0"/>
              </a:spcAft>
              <a:buSzPts val="1800"/>
              <a:buFont typeface="Calibri"/>
              <a:buNone/>
              <a:defRPr sz="1800" b="0">
                <a:solidFill>
                  <a:schemeClr val="lt1"/>
                </a:solidFill>
              </a:defRPr>
            </a:lvl4pPr>
            <a:lvl5pPr marL="2286114" lvl="4" indent="-228611" algn="l">
              <a:lnSpc>
                <a:spcPct val="116666"/>
              </a:lnSpc>
              <a:spcBef>
                <a:spcPts val="0"/>
              </a:spcBef>
              <a:spcAft>
                <a:spcPts val="0"/>
              </a:spcAft>
              <a:buSzPts val="1800"/>
              <a:buFont typeface="Calibri"/>
              <a:buNone/>
              <a:defRPr sz="1800" b="0">
                <a:solidFill>
                  <a:schemeClr val="lt1"/>
                </a:solidFill>
              </a:defRPr>
            </a:lvl5pPr>
            <a:lvl6pPr marL="2743337" lvl="5" indent="-228611" algn="l">
              <a:lnSpc>
                <a:spcPct val="116666"/>
              </a:lnSpc>
              <a:spcBef>
                <a:spcPts val="0"/>
              </a:spcBef>
              <a:spcAft>
                <a:spcPts val="0"/>
              </a:spcAft>
              <a:buClr>
                <a:schemeClr val="lt1"/>
              </a:buClr>
              <a:buSzPts val="1800"/>
              <a:buFont typeface="Arial"/>
              <a:buNone/>
              <a:defRPr sz="1800" b="0">
                <a:solidFill>
                  <a:schemeClr val="lt1"/>
                </a:solidFill>
              </a:defRPr>
            </a:lvl6pPr>
            <a:lvl7pPr marL="3200560" lvl="6" indent="-228611" algn="l">
              <a:lnSpc>
                <a:spcPct val="116666"/>
              </a:lnSpc>
              <a:spcBef>
                <a:spcPts val="0"/>
              </a:spcBef>
              <a:spcAft>
                <a:spcPts val="0"/>
              </a:spcAft>
              <a:buClr>
                <a:schemeClr val="lt1"/>
              </a:buClr>
              <a:buSzPts val="1800"/>
              <a:buFont typeface="Arial"/>
              <a:buNone/>
              <a:defRPr sz="1800" b="0">
                <a:solidFill>
                  <a:schemeClr val="lt1"/>
                </a:solidFill>
              </a:defRPr>
            </a:lvl7pPr>
            <a:lvl8pPr marL="3657783" lvl="7" indent="-228611" algn="l">
              <a:lnSpc>
                <a:spcPct val="116666"/>
              </a:lnSpc>
              <a:spcBef>
                <a:spcPts val="0"/>
              </a:spcBef>
              <a:spcAft>
                <a:spcPts val="0"/>
              </a:spcAft>
              <a:buClr>
                <a:schemeClr val="lt1"/>
              </a:buClr>
              <a:buSzPts val="1800"/>
              <a:buFont typeface="Arial"/>
              <a:buNone/>
              <a:defRPr sz="1800" b="0">
                <a:solidFill>
                  <a:schemeClr val="lt1"/>
                </a:solidFill>
              </a:defRPr>
            </a:lvl8pPr>
            <a:lvl9pPr marL="4115006" lvl="8" indent="-228611" algn="l">
              <a:lnSpc>
                <a:spcPct val="116666"/>
              </a:lnSpc>
              <a:spcBef>
                <a:spcPts val="0"/>
              </a:spcBef>
              <a:spcAft>
                <a:spcPts val="0"/>
              </a:spcAft>
              <a:buClr>
                <a:schemeClr val="lt1"/>
              </a:buClr>
              <a:buSzPts val="1800"/>
              <a:buFont typeface="Arial"/>
              <a:buNone/>
              <a:defRPr sz="1800" b="0">
                <a:solidFill>
                  <a:schemeClr val="lt1"/>
                </a:solidFill>
              </a:defRPr>
            </a:lvl9pPr>
          </a:lstStyle>
          <a:p>
            <a:endParaRPr/>
          </a:p>
        </p:txBody>
      </p:sp>
      <p:pic>
        <p:nvPicPr>
          <p:cNvPr id="1111" name="Google Shape;1111;p112" descr="A picture containing logo&#10;&#10;Description automatically generated"/>
          <p:cNvPicPr preferRelativeResize="0"/>
          <p:nvPr/>
        </p:nvPicPr>
        <p:blipFill rotWithShape="1">
          <a:blip r:embed="rId3">
            <a:alphaModFix/>
          </a:blip>
          <a:srcRect/>
          <a:stretch/>
        </p:blipFill>
        <p:spPr>
          <a:xfrm>
            <a:off x="380607" y="369352"/>
            <a:ext cx="2020713" cy="924369"/>
          </a:xfrm>
          <a:prstGeom prst="rect">
            <a:avLst/>
          </a:prstGeom>
          <a:noFill/>
          <a:ln>
            <a:noFill/>
          </a:ln>
        </p:spPr>
      </p:pic>
    </p:spTree>
    <p:extLst>
      <p:ext uri="{BB962C8B-B14F-4D97-AF65-F5344CB8AC3E}">
        <p14:creationId xmlns:p14="http://schemas.microsoft.com/office/powerpoint/2010/main" val="2557049562"/>
      </p:ext>
    </p:extLst>
  </p:cSld>
  <p:clrMapOvr>
    <a:masterClrMapping/>
  </p:clrMapOvr>
</p:sldLayout>
</file>

<file path=ppt/slideLayouts/slideLayout1451.xml><?xml version="1.0" encoding="utf-8"?>
<p:sldLayout xmlns:a="http://schemas.openxmlformats.org/drawingml/2006/main" xmlns:r="http://schemas.openxmlformats.org/officeDocument/2006/relationships" xmlns:p="http://schemas.openxmlformats.org/presentationml/2006/main" matchingName="agenda">
  <p:cSld name="agenda">
    <p:bg>
      <p:bgPr>
        <a:solidFill>
          <a:schemeClr val="lt1"/>
        </a:solidFill>
        <a:effectLst/>
      </p:bgPr>
    </p:bg>
    <p:spTree>
      <p:nvGrpSpPr>
        <p:cNvPr id="1" name="Shape 1112"/>
        <p:cNvGrpSpPr/>
        <p:nvPr/>
      </p:nvGrpSpPr>
      <p:grpSpPr>
        <a:xfrm>
          <a:off x="0" y="0"/>
          <a:ext cx="0" cy="0"/>
          <a:chOff x="0" y="0"/>
          <a:chExt cx="0" cy="0"/>
        </a:xfrm>
      </p:grpSpPr>
      <p:pic>
        <p:nvPicPr>
          <p:cNvPr id="1113" name="Google Shape;1113;p113"/>
          <p:cNvPicPr preferRelativeResize="0"/>
          <p:nvPr/>
        </p:nvPicPr>
        <p:blipFill rotWithShape="1">
          <a:blip r:embed="rId2">
            <a:alphaModFix/>
          </a:blip>
          <a:srcRect/>
          <a:stretch/>
        </p:blipFill>
        <p:spPr>
          <a:xfrm>
            <a:off x="2" y="3572"/>
            <a:ext cx="12191999" cy="6858000"/>
          </a:xfrm>
          <a:prstGeom prst="rect">
            <a:avLst/>
          </a:prstGeom>
          <a:noFill/>
          <a:ln>
            <a:noFill/>
          </a:ln>
        </p:spPr>
      </p:pic>
      <p:sp>
        <p:nvSpPr>
          <p:cNvPr id="1114" name="Google Shape;1114;p113"/>
          <p:cNvSpPr txBox="1">
            <a:spLocks noGrp="1"/>
          </p:cNvSpPr>
          <p:nvPr>
            <p:ph type="dt" idx="10"/>
          </p:nvPr>
        </p:nvSpPr>
        <p:spPr>
          <a:xfrm>
            <a:off x="6210300" y="6362701"/>
            <a:ext cx="1695450" cy="231921"/>
          </a:xfrm>
          <a:prstGeom prst="rect">
            <a:avLst/>
          </a:prstGeom>
          <a:noFill/>
          <a:ln>
            <a:noFill/>
          </a:ln>
        </p:spPr>
        <p:txBody>
          <a:bodyPr spcFirstLastPara="1" wrap="square" lIns="0" tIns="0" rIns="0" bIns="0" anchor="b" anchorCtr="0">
            <a:noAutofit/>
          </a:bodyPr>
          <a:lstStyle>
            <a:lvl1pPr marR="0" lvl="0" algn="l"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115" name="Google Shape;1115;p113"/>
          <p:cNvSpPr txBox="1">
            <a:spLocks noGrp="1"/>
          </p:cNvSpPr>
          <p:nvPr>
            <p:ph type="ftr" idx="11"/>
          </p:nvPr>
        </p:nvSpPr>
        <p:spPr>
          <a:xfrm>
            <a:off x="773048" y="6364784"/>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116" name="Google Shape;1116;p113"/>
          <p:cNvSpPr txBox="1">
            <a:spLocks noGrp="1"/>
          </p:cNvSpPr>
          <p:nvPr>
            <p:ph type="sldNum" idx="12"/>
          </p:nvPr>
        </p:nvSpPr>
        <p:spPr>
          <a:xfrm>
            <a:off x="457199" y="6362702"/>
            <a:ext cx="315849" cy="231921"/>
          </a:xfrm>
          <a:prstGeom prst="rect">
            <a:avLst/>
          </a:prstGeom>
          <a:noFill/>
          <a:ln>
            <a:noFill/>
          </a:ln>
        </p:spPr>
        <p:txBody>
          <a:bodyPr spcFirstLastPara="1" wrap="square" lIns="0" tIns="0" rIns="0" bIns="0" anchor="b" anchorCtr="0">
            <a:noAutofit/>
          </a:bodyPr>
          <a:lstStyle>
            <a:lvl1pPr marL="0" marR="0" lvl="0"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1pPr>
            <a:lvl2pPr marL="0" marR="0" lvl="1"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2pPr>
            <a:lvl3pPr marL="0" marR="0" lvl="2"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3pPr>
            <a:lvl4pPr marL="0" marR="0" lvl="3"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4pPr>
            <a:lvl5pPr marL="0" marR="0" lvl="4"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5pPr>
            <a:lvl6pPr marL="0" marR="0" lvl="5"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6pPr>
            <a:lvl7pPr marL="0" marR="0" lvl="6"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7pPr>
            <a:lvl8pPr marL="0" marR="0" lvl="7"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8pPr>
            <a:lvl9pPr marL="0" marR="0" lvl="8"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117" name="Google Shape;1117;p113"/>
          <p:cNvSpPr txBox="1">
            <a:spLocks noGrp="1"/>
          </p:cNvSpPr>
          <p:nvPr>
            <p:ph type="body" idx="1"/>
          </p:nvPr>
        </p:nvSpPr>
        <p:spPr>
          <a:xfrm>
            <a:off x="4305301" y="1781175"/>
            <a:ext cx="6156325" cy="4165600"/>
          </a:xfrm>
          <a:prstGeom prst="rect">
            <a:avLst/>
          </a:prstGeom>
          <a:noFill/>
          <a:ln>
            <a:noFill/>
          </a:ln>
        </p:spPr>
        <p:txBody>
          <a:bodyPr spcFirstLastPara="1" wrap="square" lIns="0" tIns="685800" rIns="0" bIns="0" anchor="t" anchorCtr="0">
            <a:noAutofit/>
          </a:bodyPr>
          <a:lstStyle>
            <a:lvl1pPr marL="457223" lvl="0" indent="-355618" algn="l">
              <a:lnSpc>
                <a:spcPct val="104999"/>
              </a:lnSpc>
              <a:spcBef>
                <a:spcPts val="0"/>
              </a:spcBef>
              <a:spcAft>
                <a:spcPts val="0"/>
              </a:spcAft>
              <a:buClr>
                <a:schemeClr val="accent1"/>
              </a:buClr>
              <a:buSzPts val="2000"/>
              <a:buFont typeface="Calibri"/>
              <a:buAutoNum type="arabicPeriod"/>
              <a:defRPr sz="2000" b="0">
                <a:solidFill>
                  <a:schemeClr val="accent1"/>
                </a:solidFill>
              </a:defRPr>
            </a:lvl1pPr>
            <a:lvl2pPr marL="914446" lvl="1" indent="-355618" algn="l">
              <a:lnSpc>
                <a:spcPct val="104999"/>
              </a:lnSpc>
              <a:spcBef>
                <a:spcPts val="1600"/>
              </a:spcBef>
              <a:spcAft>
                <a:spcPts val="0"/>
              </a:spcAft>
              <a:buClr>
                <a:schemeClr val="accent1"/>
              </a:buClr>
              <a:buSzPts val="2000"/>
              <a:buFont typeface="Calibri"/>
              <a:buAutoNum type="arabicPeriod"/>
              <a:defRPr sz="2000" b="0">
                <a:solidFill>
                  <a:schemeClr val="accent1"/>
                </a:solidFill>
              </a:defRPr>
            </a:lvl2pPr>
            <a:lvl3pPr marL="1371669" lvl="2" indent="-342917" algn="l">
              <a:lnSpc>
                <a:spcPct val="116666"/>
              </a:lnSpc>
              <a:spcBef>
                <a:spcPts val="1600"/>
              </a:spcBef>
              <a:spcAft>
                <a:spcPts val="0"/>
              </a:spcAft>
              <a:buClr>
                <a:schemeClr val="accent1"/>
              </a:buClr>
              <a:buSzPts val="1800"/>
              <a:buFont typeface="Calibri"/>
              <a:buAutoNum type="arabicPeriod"/>
              <a:defRPr sz="1800" b="0">
                <a:solidFill>
                  <a:schemeClr val="accent1"/>
                </a:solidFill>
              </a:defRPr>
            </a:lvl3pPr>
            <a:lvl4pPr marL="1828891" lvl="3" indent="-342917" algn="l">
              <a:lnSpc>
                <a:spcPct val="116666"/>
              </a:lnSpc>
              <a:spcBef>
                <a:spcPts val="1600"/>
              </a:spcBef>
              <a:spcAft>
                <a:spcPts val="0"/>
              </a:spcAft>
              <a:buClr>
                <a:schemeClr val="accent1"/>
              </a:buClr>
              <a:buSzPts val="1800"/>
              <a:buFont typeface="Calibri"/>
              <a:buAutoNum type="arabicPeriod"/>
              <a:defRPr sz="1800" b="0">
                <a:solidFill>
                  <a:schemeClr val="accent1"/>
                </a:solidFill>
              </a:defRPr>
            </a:lvl4pPr>
            <a:lvl5pPr marL="2286114" lvl="4" indent="-342917" algn="l">
              <a:lnSpc>
                <a:spcPct val="116666"/>
              </a:lnSpc>
              <a:spcBef>
                <a:spcPts val="1600"/>
              </a:spcBef>
              <a:spcAft>
                <a:spcPts val="0"/>
              </a:spcAft>
              <a:buClr>
                <a:schemeClr val="accent1"/>
              </a:buClr>
              <a:buSzPts val="1800"/>
              <a:buFont typeface="Calibri"/>
              <a:buAutoNum type="arabicPeriod"/>
              <a:defRPr sz="1800" b="0">
                <a:solidFill>
                  <a:schemeClr val="accent1"/>
                </a:solidFill>
              </a:defRPr>
            </a:lvl5pPr>
            <a:lvl6pPr marL="2743337" lvl="5" indent="-342917" algn="l">
              <a:lnSpc>
                <a:spcPct val="116666"/>
              </a:lnSpc>
              <a:spcBef>
                <a:spcPts val="1600"/>
              </a:spcBef>
              <a:spcAft>
                <a:spcPts val="0"/>
              </a:spcAft>
              <a:buClr>
                <a:schemeClr val="accent1"/>
              </a:buClr>
              <a:buSzPts val="1800"/>
              <a:buFont typeface="Calibri"/>
              <a:buAutoNum type="arabicPeriod"/>
              <a:defRPr sz="1800" b="0">
                <a:solidFill>
                  <a:schemeClr val="accent1"/>
                </a:solidFill>
              </a:defRPr>
            </a:lvl6pPr>
            <a:lvl7pPr marL="3200560" lvl="6" indent="-342917" algn="l">
              <a:lnSpc>
                <a:spcPct val="116666"/>
              </a:lnSpc>
              <a:spcBef>
                <a:spcPts val="1600"/>
              </a:spcBef>
              <a:spcAft>
                <a:spcPts val="0"/>
              </a:spcAft>
              <a:buClr>
                <a:schemeClr val="accent1"/>
              </a:buClr>
              <a:buSzPts val="1800"/>
              <a:buFont typeface="Calibri"/>
              <a:buAutoNum type="arabicPeriod"/>
              <a:defRPr sz="1800" b="0">
                <a:solidFill>
                  <a:schemeClr val="accent1"/>
                </a:solidFill>
              </a:defRPr>
            </a:lvl7pPr>
            <a:lvl8pPr marL="3657783" lvl="7" indent="-342917" algn="l">
              <a:lnSpc>
                <a:spcPct val="116666"/>
              </a:lnSpc>
              <a:spcBef>
                <a:spcPts val="1600"/>
              </a:spcBef>
              <a:spcAft>
                <a:spcPts val="0"/>
              </a:spcAft>
              <a:buClr>
                <a:schemeClr val="accent1"/>
              </a:buClr>
              <a:buSzPts val="1800"/>
              <a:buFont typeface="Calibri"/>
              <a:buAutoNum type="arabicPeriod"/>
              <a:defRPr sz="1800" b="0">
                <a:solidFill>
                  <a:schemeClr val="accent1"/>
                </a:solidFill>
              </a:defRPr>
            </a:lvl8pPr>
            <a:lvl9pPr marL="4115006" lvl="8" indent="-342917" algn="l">
              <a:lnSpc>
                <a:spcPct val="116666"/>
              </a:lnSpc>
              <a:spcBef>
                <a:spcPts val="1600"/>
              </a:spcBef>
              <a:spcAft>
                <a:spcPts val="1600"/>
              </a:spcAft>
              <a:buClr>
                <a:schemeClr val="accent1"/>
              </a:buClr>
              <a:buSzPts val="1800"/>
              <a:buFont typeface="Calibri"/>
              <a:buAutoNum type="arabicPeriod"/>
              <a:defRPr sz="1800" b="0">
                <a:solidFill>
                  <a:schemeClr val="accent1"/>
                </a:solidFill>
              </a:defRPr>
            </a:lvl9pPr>
          </a:lstStyle>
          <a:p>
            <a:endParaRPr/>
          </a:p>
        </p:txBody>
      </p:sp>
      <p:sp>
        <p:nvSpPr>
          <p:cNvPr id="1118" name="Google Shape;1118;p113"/>
          <p:cNvSpPr txBox="1"/>
          <p:nvPr/>
        </p:nvSpPr>
        <p:spPr>
          <a:xfrm>
            <a:off x="1736725" y="-1782"/>
            <a:ext cx="2336800" cy="1781173"/>
          </a:xfrm>
          <a:prstGeom prst="rect">
            <a:avLst/>
          </a:prstGeom>
          <a:noFill/>
          <a:ln>
            <a:noFill/>
          </a:ln>
        </p:spPr>
        <p:txBody>
          <a:bodyPr spcFirstLastPara="1" wrap="square" lIns="0" tIns="0" rIns="0" bIns="128000" anchor="b" anchorCtr="0">
            <a:noAutofit/>
          </a:bodyPr>
          <a:lstStyle/>
          <a:p>
            <a:pPr marL="0" marR="0" lvl="0" indent="0" algn="l" rtl="0">
              <a:lnSpc>
                <a:spcPct val="77272"/>
              </a:lnSpc>
              <a:spcBef>
                <a:spcPts val="0"/>
              </a:spcBef>
              <a:spcAft>
                <a:spcPts val="0"/>
              </a:spcAft>
              <a:buClr>
                <a:schemeClr val="lt1"/>
              </a:buClr>
              <a:buSzPts val="4400"/>
              <a:buFont typeface="Calibri"/>
              <a:buNone/>
            </a:pPr>
            <a:r>
              <a:rPr lang="en-US" sz="4400" b="1" i="0" u="none" strike="noStrike" cap="none">
                <a:solidFill>
                  <a:schemeClr val="lt1"/>
                </a:solidFill>
                <a:latin typeface="Calibri"/>
                <a:ea typeface="Calibri"/>
                <a:cs typeface="Calibri"/>
                <a:sym typeface="Calibri"/>
              </a:rPr>
              <a:t>Agenda</a:t>
            </a:r>
            <a:endParaRPr sz="1800">
              <a:solidFill>
                <a:schemeClr val="dk1"/>
              </a:solidFill>
              <a:latin typeface="Calibri"/>
              <a:ea typeface="Calibri"/>
              <a:cs typeface="Calibri"/>
              <a:sym typeface="Calibri"/>
            </a:endParaRPr>
          </a:p>
        </p:txBody>
      </p:sp>
      <p:pic>
        <p:nvPicPr>
          <p:cNvPr id="1119" name="Google Shape;1119;p113"/>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810446" y="6358648"/>
            <a:ext cx="2016517" cy="235975"/>
          </a:xfrm>
          <a:prstGeom prst="rect">
            <a:avLst/>
          </a:prstGeom>
          <a:noFill/>
          <a:ln>
            <a:noFill/>
          </a:ln>
        </p:spPr>
      </p:pic>
    </p:spTree>
    <p:extLst>
      <p:ext uri="{BB962C8B-B14F-4D97-AF65-F5344CB8AC3E}">
        <p14:creationId xmlns:p14="http://schemas.microsoft.com/office/powerpoint/2010/main" val="1714479539"/>
      </p:ext>
    </p:extLst>
  </p:cSld>
  <p:clrMapOvr>
    <a:masterClrMapping/>
  </p:clrMapOvr>
</p:sldLayout>
</file>

<file path=ppt/slideLayouts/slideLayout1452.xml><?xml version="1.0" encoding="utf-8"?>
<p:sldLayout xmlns:a="http://schemas.openxmlformats.org/drawingml/2006/main" xmlns:r="http://schemas.openxmlformats.org/officeDocument/2006/relationships" xmlns:p="http://schemas.openxmlformats.org/presentationml/2006/main" matchingName="2_divider_1">
  <p:cSld name="2_divider_1">
    <p:spTree>
      <p:nvGrpSpPr>
        <p:cNvPr id="1" name="Shape 1120"/>
        <p:cNvGrpSpPr/>
        <p:nvPr/>
      </p:nvGrpSpPr>
      <p:grpSpPr>
        <a:xfrm>
          <a:off x="0" y="0"/>
          <a:ext cx="0" cy="0"/>
          <a:chOff x="0" y="0"/>
          <a:chExt cx="0" cy="0"/>
        </a:xfrm>
      </p:grpSpPr>
      <p:pic>
        <p:nvPicPr>
          <p:cNvPr id="1121" name="Google Shape;1121;p114"/>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122" name="Google Shape;1122;p114"/>
          <p:cNvSpPr txBox="1">
            <a:spLocks noGrp="1"/>
          </p:cNvSpPr>
          <p:nvPr>
            <p:ph type="title"/>
          </p:nvPr>
        </p:nvSpPr>
        <p:spPr>
          <a:xfrm>
            <a:off x="457200" y="1781176"/>
            <a:ext cx="7448551" cy="4165600"/>
          </a:xfrm>
          <a:prstGeom prst="rect">
            <a:avLst/>
          </a:prstGeom>
          <a:noFill/>
          <a:ln>
            <a:noFill/>
          </a:ln>
        </p:spPr>
        <p:txBody>
          <a:bodyPr spcFirstLastPara="1" wrap="square" lIns="0" tIns="1234425" rIns="0" bIns="0" anchor="t" anchorCtr="0">
            <a:noAutofit/>
          </a:bodyPr>
          <a:lstStyle>
            <a:lvl1pPr lvl="0" algn="l">
              <a:lnSpc>
                <a:spcPct val="100000"/>
              </a:lnSpc>
              <a:spcBef>
                <a:spcPts val="0"/>
              </a:spcBef>
              <a:spcAft>
                <a:spcPts val="0"/>
              </a:spcAft>
              <a:buClr>
                <a:schemeClr val="accent1"/>
              </a:buClr>
              <a:buSzPts val="4000"/>
              <a:buFont typeface="Calibri"/>
              <a:buNone/>
              <a:defRPr sz="4000" b="1">
                <a:solidFill>
                  <a:schemeClr val="accen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3" name="Google Shape;1123;p114"/>
          <p:cNvSpPr txBox="1">
            <a:spLocks noGrp="1"/>
          </p:cNvSpPr>
          <p:nvPr>
            <p:ph type="dt" idx="10"/>
          </p:nvPr>
        </p:nvSpPr>
        <p:spPr>
          <a:xfrm>
            <a:off x="6210300" y="6362701"/>
            <a:ext cx="1695450" cy="231921"/>
          </a:xfrm>
          <a:prstGeom prst="rect">
            <a:avLst/>
          </a:prstGeom>
          <a:noFill/>
          <a:ln>
            <a:noFill/>
          </a:ln>
        </p:spPr>
        <p:txBody>
          <a:bodyPr spcFirstLastPara="1" wrap="square" lIns="0" tIns="0" rIns="0" bIns="0" anchor="b" anchorCtr="0">
            <a:noAutofit/>
          </a:bodyPr>
          <a:lstStyle>
            <a:lvl1pPr marR="0" lvl="0" algn="l" rtl="0">
              <a:spcBef>
                <a:spcPts val="0"/>
              </a:spcBef>
              <a:spcAft>
                <a:spcPts val="0"/>
              </a:spcAft>
              <a:buClr>
                <a:schemeClr val="dk2"/>
              </a:buClr>
              <a:buSzPts val="1400"/>
              <a:buFont typeface="Calibri"/>
              <a:buNone/>
              <a:defRPr sz="1800">
                <a:solidFill>
                  <a:schemeClr val="dk2"/>
                </a:solidFill>
                <a:latin typeface="Calibri"/>
                <a:ea typeface="Calibri"/>
                <a:cs typeface="Calibri"/>
                <a:sym typeface="Calibri"/>
              </a:defRPr>
            </a:lvl1pPr>
            <a:lvl2pPr marR="0" lvl="1"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2pPr>
            <a:lvl3pPr marR="0" lvl="2"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3pPr>
            <a:lvl4pPr marR="0" lvl="3"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4pPr>
            <a:lvl5pPr marR="0" lvl="4"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5pPr>
            <a:lvl6pPr marR="0" lvl="5"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6pPr>
            <a:lvl7pPr marR="0" lvl="6"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7pPr>
            <a:lvl8pPr marR="0" lvl="7"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8pPr>
            <a:lvl9pPr marR="0" lvl="8"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9pPr>
          </a:lstStyle>
          <a:p>
            <a:endParaRPr/>
          </a:p>
        </p:txBody>
      </p:sp>
      <p:sp>
        <p:nvSpPr>
          <p:cNvPr id="1124" name="Google Shape;1124;p114"/>
          <p:cNvSpPr txBox="1">
            <a:spLocks noGrp="1"/>
          </p:cNvSpPr>
          <p:nvPr>
            <p:ph type="ftr" idx="11"/>
          </p:nvPr>
        </p:nvSpPr>
        <p:spPr>
          <a:xfrm>
            <a:off x="773048" y="6364784"/>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Clr>
                <a:schemeClr val="dk2"/>
              </a:buClr>
              <a:buSzPts val="1400"/>
              <a:buFont typeface="Calibri"/>
              <a:buNone/>
              <a:defRPr>
                <a:solidFill>
                  <a:schemeClr val="dk2"/>
                </a:solidFill>
              </a:defRPr>
            </a:lvl1pPr>
            <a:lvl2pPr lvl="1" algn="l">
              <a:spcBef>
                <a:spcPts val="0"/>
              </a:spcBef>
              <a:spcAft>
                <a:spcPts val="0"/>
              </a:spcAft>
              <a:buClr>
                <a:schemeClr val="lt1"/>
              </a:buClr>
              <a:buSzPts val="1400"/>
              <a:buFont typeface="Calibri"/>
              <a:buNone/>
              <a:defRPr>
                <a:solidFill>
                  <a:schemeClr val="lt1"/>
                </a:solidFill>
              </a:defRPr>
            </a:lvl2pPr>
            <a:lvl3pPr lvl="2" algn="l">
              <a:spcBef>
                <a:spcPts val="0"/>
              </a:spcBef>
              <a:spcAft>
                <a:spcPts val="0"/>
              </a:spcAft>
              <a:buClr>
                <a:schemeClr val="lt1"/>
              </a:buClr>
              <a:buSzPts val="1400"/>
              <a:buFont typeface="Calibri"/>
              <a:buNone/>
              <a:defRPr>
                <a:solidFill>
                  <a:schemeClr val="lt1"/>
                </a:solidFill>
              </a:defRPr>
            </a:lvl3pPr>
            <a:lvl4pPr lvl="3" algn="l">
              <a:spcBef>
                <a:spcPts val="0"/>
              </a:spcBef>
              <a:spcAft>
                <a:spcPts val="0"/>
              </a:spcAft>
              <a:buClr>
                <a:schemeClr val="lt1"/>
              </a:buClr>
              <a:buSzPts val="1400"/>
              <a:buFont typeface="Calibri"/>
              <a:buNone/>
              <a:defRPr>
                <a:solidFill>
                  <a:schemeClr val="lt1"/>
                </a:solidFill>
              </a:defRPr>
            </a:lvl4pPr>
            <a:lvl5pPr lvl="4" algn="l">
              <a:spcBef>
                <a:spcPts val="0"/>
              </a:spcBef>
              <a:spcAft>
                <a:spcPts val="0"/>
              </a:spcAft>
              <a:buClr>
                <a:schemeClr val="lt1"/>
              </a:buClr>
              <a:buSzPts val="1400"/>
              <a:buFont typeface="Calibri"/>
              <a:buNone/>
              <a:defRPr>
                <a:solidFill>
                  <a:schemeClr val="lt1"/>
                </a:solidFill>
              </a:defRPr>
            </a:lvl5pPr>
            <a:lvl6pPr lvl="5" algn="l">
              <a:spcBef>
                <a:spcPts val="0"/>
              </a:spcBef>
              <a:spcAft>
                <a:spcPts val="0"/>
              </a:spcAft>
              <a:buClr>
                <a:schemeClr val="lt1"/>
              </a:buClr>
              <a:buSzPts val="1400"/>
              <a:buFont typeface="Calibri"/>
              <a:buNone/>
              <a:defRPr>
                <a:solidFill>
                  <a:schemeClr val="lt1"/>
                </a:solidFill>
              </a:defRPr>
            </a:lvl6pPr>
            <a:lvl7pPr lvl="6" algn="l">
              <a:spcBef>
                <a:spcPts val="0"/>
              </a:spcBef>
              <a:spcAft>
                <a:spcPts val="0"/>
              </a:spcAft>
              <a:buClr>
                <a:schemeClr val="lt1"/>
              </a:buClr>
              <a:buSzPts val="1400"/>
              <a:buFont typeface="Calibri"/>
              <a:buNone/>
              <a:defRPr>
                <a:solidFill>
                  <a:schemeClr val="lt1"/>
                </a:solidFill>
              </a:defRPr>
            </a:lvl7pPr>
            <a:lvl8pPr lvl="7" algn="l">
              <a:spcBef>
                <a:spcPts val="0"/>
              </a:spcBef>
              <a:spcAft>
                <a:spcPts val="0"/>
              </a:spcAft>
              <a:buClr>
                <a:schemeClr val="lt1"/>
              </a:buClr>
              <a:buSzPts val="1400"/>
              <a:buFont typeface="Calibri"/>
              <a:buNone/>
              <a:defRPr>
                <a:solidFill>
                  <a:schemeClr val="lt1"/>
                </a:solidFill>
              </a:defRPr>
            </a:lvl8pPr>
            <a:lvl9pPr lvl="8" algn="l">
              <a:spcBef>
                <a:spcPts val="0"/>
              </a:spcBef>
              <a:spcAft>
                <a:spcPts val="0"/>
              </a:spcAft>
              <a:buClr>
                <a:schemeClr val="lt1"/>
              </a:buClr>
              <a:buSzPts val="1400"/>
              <a:buFont typeface="Calibri"/>
              <a:buNone/>
              <a:defRPr>
                <a:solidFill>
                  <a:schemeClr val="lt1"/>
                </a:solidFill>
              </a:defRPr>
            </a:lvl9pPr>
          </a:lstStyle>
          <a:p>
            <a:endParaRPr/>
          </a:p>
        </p:txBody>
      </p:sp>
      <p:sp>
        <p:nvSpPr>
          <p:cNvPr id="1125" name="Google Shape;1125;p114"/>
          <p:cNvSpPr txBox="1">
            <a:spLocks noGrp="1"/>
          </p:cNvSpPr>
          <p:nvPr>
            <p:ph type="sldNum" idx="12"/>
          </p:nvPr>
        </p:nvSpPr>
        <p:spPr>
          <a:xfrm>
            <a:off x="457199" y="6362702"/>
            <a:ext cx="315849" cy="231921"/>
          </a:xfrm>
          <a:prstGeom prst="rect">
            <a:avLst/>
          </a:prstGeom>
          <a:noFill/>
          <a:ln>
            <a:noFill/>
          </a:ln>
        </p:spPr>
        <p:txBody>
          <a:bodyPr spcFirstLastPara="1" wrap="square" lIns="0" tIns="0" rIns="0" bIns="0" anchor="b" anchorCtr="0">
            <a:noAutofit/>
          </a:bodyPr>
          <a:lstStyle>
            <a:lvl1pPr marL="0" marR="0" lvl="0"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1pPr>
            <a:lvl2pPr marL="0" marR="0" lvl="1"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2pPr>
            <a:lvl3pPr marL="0" marR="0" lvl="2"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3pPr>
            <a:lvl4pPr marL="0" marR="0" lvl="3"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4pPr>
            <a:lvl5pPr marL="0" marR="0" lvl="4"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5pPr>
            <a:lvl6pPr marL="0" marR="0" lvl="5"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6pPr>
            <a:lvl7pPr marL="0" marR="0" lvl="6"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7pPr>
            <a:lvl8pPr marL="0" marR="0" lvl="7"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8pPr>
            <a:lvl9pPr marL="0" marR="0" lvl="8"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9pPr>
          </a:lstStyle>
          <a:p>
            <a:fld id="{00000000-1234-1234-1234-123412341234}" type="slidenum">
              <a:rPr lang="en-US" smtClean="0"/>
              <a:pPr/>
              <a:t>‹#›</a:t>
            </a:fld>
            <a:endParaRPr lang="en-US"/>
          </a:p>
        </p:txBody>
      </p:sp>
      <p:pic>
        <p:nvPicPr>
          <p:cNvPr id="1126" name="Google Shape;1126;p114"/>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724642" y="6358648"/>
            <a:ext cx="2016509" cy="235974"/>
          </a:xfrm>
          <a:prstGeom prst="rect">
            <a:avLst/>
          </a:prstGeom>
          <a:noFill/>
          <a:ln>
            <a:noFill/>
          </a:ln>
        </p:spPr>
      </p:pic>
    </p:spTree>
    <p:extLst>
      <p:ext uri="{BB962C8B-B14F-4D97-AF65-F5344CB8AC3E}">
        <p14:creationId xmlns:p14="http://schemas.microsoft.com/office/powerpoint/2010/main" val="3308187861"/>
      </p:ext>
    </p:extLst>
  </p:cSld>
  <p:clrMapOvr>
    <a:masterClrMapping/>
  </p:clrMapOvr>
</p:sldLayout>
</file>

<file path=ppt/slideLayouts/slideLayout1453.xml><?xml version="1.0" encoding="utf-8"?>
<p:sldLayout xmlns:a="http://schemas.openxmlformats.org/drawingml/2006/main" xmlns:r="http://schemas.openxmlformats.org/officeDocument/2006/relationships" xmlns:p="http://schemas.openxmlformats.org/presentationml/2006/main" matchingName="content_1_column">
  <p:cSld name="content_1_column">
    <p:bg>
      <p:bgPr>
        <a:solidFill>
          <a:schemeClr val="lt1"/>
        </a:solidFill>
        <a:effectLst/>
      </p:bgPr>
    </p:bg>
    <p:spTree>
      <p:nvGrpSpPr>
        <p:cNvPr id="1" name="Shape 1127"/>
        <p:cNvGrpSpPr/>
        <p:nvPr/>
      </p:nvGrpSpPr>
      <p:grpSpPr>
        <a:xfrm>
          <a:off x="0" y="0"/>
          <a:ext cx="0" cy="0"/>
          <a:chOff x="0" y="0"/>
          <a:chExt cx="0" cy="0"/>
        </a:xfrm>
      </p:grpSpPr>
      <p:pic>
        <p:nvPicPr>
          <p:cNvPr id="1128" name="Google Shape;1128;p115"/>
          <p:cNvPicPr preferRelativeResize="0"/>
          <p:nvPr/>
        </p:nvPicPr>
        <p:blipFill rotWithShape="1">
          <a:blip r:embed="rId2">
            <a:alphaModFix/>
          </a:blip>
          <a:srcRect/>
          <a:stretch/>
        </p:blipFill>
        <p:spPr>
          <a:xfrm>
            <a:off x="0" y="1"/>
            <a:ext cx="12192000" cy="6850855"/>
          </a:xfrm>
          <a:prstGeom prst="rect">
            <a:avLst/>
          </a:prstGeom>
          <a:noFill/>
          <a:ln>
            <a:noFill/>
          </a:ln>
        </p:spPr>
      </p:pic>
      <p:sp>
        <p:nvSpPr>
          <p:cNvPr id="1129" name="Google Shape;1129;p115"/>
          <p:cNvSpPr txBox="1">
            <a:spLocks noGrp="1"/>
          </p:cNvSpPr>
          <p:nvPr>
            <p:ph type="dt" idx="10"/>
          </p:nvPr>
        </p:nvSpPr>
        <p:spPr>
          <a:xfrm>
            <a:off x="6210300" y="6362701"/>
            <a:ext cx="1695450" cy="231921"/>
          </a:xfrm>
          <a:prstGeom prst="rect">
            <a:avLst/>
          </a:prstGeom>
          <a:noFill/>
          <a:ln>
            <a:noFill/>
          </a:ln>
        </p:spPr>
        <p:txBody>
          <a:bodyPr spcFirstLastPara="1" wrap="square" lIns="0" tIns="0" rIns="0" bIns="0" anchor="b" anchorCtr="0">
            <a:noAutofit/>
          </a:bodyPr>
          <a:lstStyle>
            <a:lvl1pPr marR="0" lvl="0" algn="l"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130" name="Google Shape;1130;p115"/>
          <p:cNvSpPr txBox="1">
            <a:spLocks noGrp="1"/>
          </p:cNvSpPr>
          <p:nvPr>
            <p:ph type="ftr" idx="11"/>
          </p:nvPr>
        </p:nvSpPr>
        <p:spPr>
          <a:xfrm>
            <a:off x="773048" y="6364784"/>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131" name="Google Shape;1131;p115"/>
          <p:cNvSpPr txBox="1">
            <a:spLocks noGrp="1"/>
          </p:cNvSpPr>
          <p:nvPr>
            <p:ph type="sldNum" idx="12"/>
          </p:nvPr>
        </p:nvSpPr>
        <p:spPr>
          <a:xfrm>
            <a:off x="457199" y="6362702"/>
            <a:ext cx="315849" cy="231921"/>
          </a:xfrm>
          <a:prstGeom prst="rect">
            <a:avLst/>
          </a:prstGeom>
          <a:noFill/>
          <a:ln>
            <a:noFill/>
          </a:ln>
        </p:spPr>
        <p:txBody>
          <a:bodyPr spcFirstLastPara="1" wrap="square" lIns="0" tIns="0" rIns="0" bIns="0" anchor="b" anchorCtr="0">
            <a:noAutofit/>
          </a:bodyPr>
          <a:lstStyle>
            <a:lvl1pPr marL="0" marR="0" lvl="0"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1pPr>
            <a:lvl2pPr marL="0" marR="0" lvl="1"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2pPr>
            <a:lvl3pPr marL="0" marR="0" lvl="2"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3pPr>
            <a:lvl4pPr marL="0" marR="0" lvl="3"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4pPr>
            <a:lvl5pPr marL="0" marR="0" lvl="4"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5pPr>
            <a:lvl6pPr marL="0" marR="0" lvl="5"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6pPr>
            <a:lvl7pPr marL="0" marR="0" lvl="6"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7pPr>
            <a:lvl8pPr marL="0" marR="0" lvl="7"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8pPr>
            <a:lvl9pPr marL="0" marR="0" lvl="8"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132" name="Google Shape;1132;p115"/>
          <p:cNvSpPr txBox="1">
            <a:spLocks noGrp="1"/>
          </p:cNvSpPr>
          <p:nvPr>
            <p:ph type="title"/>
          </p:nvPr>
        </p:nvSpPr>
        <p:spPr>
          <a:xfrm>
            <a:off x="457201" y="460375"/>
            <a:ext cx="10004425" cy="1063625"/>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accent1"/>
              </a:buClr>
              <a:buSzPts val="4000"/>
              <a:buFont typeface="Calibri"/>
              <a:buNone/>
              <a:defRPr sz="4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33" name="Google Shape;1133;p115"/>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810446" y="6358648"/>
            <a:ext cx="2016517" cy="235975"/>
          </a:xfrm>
          <a:prstGeom prst="rect">
            <a:avLst/>
          </a:prstGeom>
          <a:noFill/>
          <a:ln>
            <a:noFill/>
          </a:ln>
        </p:spPr>
      </p:pic>
      <p:sp>
        <p:nvSpPr>
          <p:cNvPr id="1134" name="Google Shape;1134;p115"/>
          <p:cNvSpPr txBox="1">
            <a:spLocks noGrp="1"/>
          </p:cNvSpPr>
          <p:nvPr>
            <p:ph type="body" idx="1"/>
          </p:nvPr>
        </p:nvSpPr>
        <p:spPr>
          <a:xfrm>
            <a:off x="457199" y="1781175"/>
            <a:ext cx="10004427" cy="4165600"/>
          </a:xfrm>
          <a:prstGeom prst="rect">
            <a:avLst/>
          </a:prstGeom>
          <a:noFill/>
          <a:ln>
            <a:noFill/>
          </a:ln>
        </p:spPr>
        <p:txBody>
          <a:bodyPr spcFirstLastPara="1" wrap="square" lIns="0" tIns="0" rIns="0" bIns="0" anchor="t" anchorCtr="0">
            <a:normAutofit/>
          </a:bodyPr>
          <a:lstStyle>
            <a:lvl1pPr marL="457223" lvl="0" indent="-228611" algn="l">
              <a:lnSpc>
                <a:spcPct val="100000"/>
              </a:lnSpc>
              <a:spcBef>
                <a:spcPts val="0"/>
              </a:spcBef>
              <a:spcAft>
                <a:spcPts val="0"/>
              </a:spcAft>
              <a:buClr>
                <a:schemeClr val="dk2"/>
              </a:buClr>
              <a:buSzPts val="1800"/>
              <a:buNone/>
              <a:defRPr/>
            </a:lvl1pPr>
            <a:lvl2pPr marL="914446" lvl="1" indent="-228611" algn="l">
              <a:lnSpc>
                <a:spcPct val="100000"/>
              </a:lnSpc>
              <a:spcBef>
                <a:spcPts val="1200"/>
              </a:spcBef>
              <a:spcAft>
                <a:spcPts val="0"/>
              </a:spcAft>
              <a:buSzPts val="1800"/>
              <a:buNone/>
              <a:defRPr/>
            </a:lvl2pPr>
            <a:lvl3pPr marL="1371669" lvl="2" indent="-355618" algn="l">
              <a:lnSpc>
                <a:spcPct val="100000"/>
              </a:lnSpc>
              <a:spcBef>
                <a:spcPts val="1200"/>
              </a:spcBef>
              <a:spcAft>
                <a:spcPts val="0"/>
              </a:spcAft>
              <a:buSzPts val="2000"/>
              <a:buChar char="•"/>
              <a:defRPr/>
            </a:lvl3pPr>
            <a:lvl4pPr marL="1828891" lvl="3" indent="-342917" algn="l">
              <a:lnSpc>
                <a:spcPct val="100000"/>
              </a:lnSpc>
              <a:spcBef>
                <a:spcPts val="600"/>
              </a:spcBef>
              <a:spcAft>
                <a:spcPts val="0"/>
              </a:spcAft>
              <a:buSzPts val="1800"/>
              <a:buChar char="•"/>
              <a:defRPr/>
            </a:lvl4pPr>
            <a:lvl5pPr marL="2286114" lvl="4" indent="-342917" algn="l">
              <a:lnSpc>
                <a:spcPct val="100000"/>
              </a:lnSpc>
              <a:spcBef>
                <a:spcPts val="600"/>
              </a:spcBef>
              <a:spcAft>
                <a:spcPts val="0"/>
              </a:spcAft>
              <a:buSzPts val="1800"/>
              <a:buChar char="•"/>
              <a:defRPr/>
            </a:lvl5pPr>
            <a:lvl6pPr marL="2743337" lvl="5" indent="-342917" algn="l">
              <a:lnSpc>
                <a:spcPct val="116666"/>
              </a:lnSpc>
              <a:spcBef>
                <a:spcPts val="600"/>
              </a:spcBef>
              <a:spcAft>
                <a:spcPts val="0"/>
              </a:spcAft>
              <a:buClr>
                <a:schemeClr val="dk1"/>
              </a:buClr>
              <a:buSzPts val="1800"/>
              <a:buChar char="•"/>
              <a:defRPr/>
            </a:lvl6pPr>
            <a:lvl7pPr marL="3200560" lvl="6" indent="-342917" algn="l">
              <a:lnSpc>
                <a:spcPct val="116666"/>
              </a:lnSpc>
              <a:spcBef>
                <a:spcPts val="1200"/>
              </a:spcBef>
              <a:spcAft>
                <a:spcPts val="0"/>
              </a:spcAft>
              <a:buClr>
                <a:schemeClr val="dk1"/>
              </a:buClr>
              <a:buSzPts val="1800"/>
              <a:buChar char="•"/>
              <a:defRPr/>
            </a:lvl7pPr>
            <a:lvl8pPr marL="3657783" lvl="7" indent="-342917" algn="l">
              <a:lnSpc>
                <a:spcPct val="116666"/>
              </a:lnSpc>
              <a:spcBef>
                <a:spcPts val="1200"/>
              </a:spcBef>
              <a:spcAft>
                <a:spcPts val="0"/>
              </a:spcAft>
              <a:buClr>
                <a:schemeClr val="dk1"/>
              </a:buClr>
              <a:buSzPts val="1800"/>
              <a:buChar char="•"/>
              <a:defRPr/>
            </a:lvl8pPr>
            <a:lvl9pPr marL="4115006" lvl="8" indent="-342917" algn="l">
              <a:lnSpc>
                <a:spcPct val="116666"/>
              </a:lnSpc>
              <a:spcBef>
                <a:spcPts val="1200"/>
              </a:spcBef>
              <a:spcAft>
                <a:spcPts val="1200"/>
              </a:spcAft>
              <a:buClr>
                <a:schemeClr val="dk1"/>
              </a:buClr>
              <a:buSzPts val="1800"/>
              <a:buChar char="•"/>
              <a:defRPr/>
            </a:lvl9pPr>
          </a:lstStyle>
          <a:p>
            <a:endParaRPr/>
          </a:p>
        </p:txBody>
      </p:sp>
    </p:spTree>
    <p:extLst>
      <p:ext uri="{BB962C8B-B14F-4D97-AF65-F5344CB8AC3E}">
        <p14:creationId xmlns:p14="http://schemas.microsoft.com/office/powerpoint/2010/main" val="1772820253"/>
      </p:ext>
    </p:extLst>
  </p:cSld>
  <p:clrMapOvr>
    <a:masterClrMapping/>
  </p:clrMapOvr>
</p:sldLayout>
</file>

<file path=ppt/slideLayouts/slideLayout1454.xml><?xml version="1.0" encoding="utf-8"?>
<p:sldLayout xmlns:a="http://schemas.openxmlformats.org/drawingml/2006/main" xmlns:r="http://schemas.openxmlformats.org/officeDocument/2006/relationships" xmlns:p="http://schemas.openxmlformats.org/presentationml/2006/main" matchingName="callout_graphic">
  <p:cSld name="callout_graphic">
    <p:bg>
      <p:bgPr>
        <a:solidFill>
          <a:schemeClr val="lt1"/>
        </a:solidFill>
        <a:effectLst/>
      </p:bgPr>
    </p:bg>
    <p:spTree>
      <p:nvGrpSpPr>
        <p:cNvPr id="1" name="Shape 1135"/>
        <p:cNvGrpSpPr/>
        <p:nvPr/>
      </p:nvGrpSpPr>
      <p:grpSpPr>
        <a:xfrm>
          <a:off x="0" y="0"/>
          <a:ext cx="0" cy="0"/>
          <a:chOff x="0" y="0"/>
          <a:chExt cx="0" cy="0"/>
        </a:xfrm>
      </p:grpSpPr>
      <p:pic>
        <p:nvPicPr>
          <p:cNvPr id="1136" name="Google Shape;1136;p116"/>
          <p:cNvPicPr preferRelativeResize="0"/>
          <p:nvPr/>
        </p:nvPicPr>
        <p:blipFill rotWithShape="1">
          <a:blip r:embed="rId2">
            <a:alphaModFix/>
          </a:blip>
          <a:srcRect/>
          <a:stretch/>
        </p:blipFill>
        <p:spPr>
          <a:xfrm>
            <a:off x="12695" y="1"/>
            <a:ext cx="12166611" cy="6850855"/>
          </a:xfrm>
          <a:prstGeom prst="rect">
            <a:avLst/>
          </a:prstGeom>
          <a:noFill/>
          <a:ln>
            <a:noFill/>
          </a:ln>
        </p:spPr>
      </p:pic>
      <p:sp>
        <p:nvSpPr>
          <p:cNvPr id="1137" name="Google Shape;1137;p116"/>
          <p:cNvSpPr txBox="1">
            <a:spLocks noGrp="1"/>
          </p:cNvSpPr>
          <p:nvPr>
            <p:ph type="dt" idx="10"/>
          </p:nvPr>
        </p:nvSpPr>
        <p:spPr>
          <a:xfrm>
            <a:off x="6210300" y="6362701"/>
            <a:ext cx="1695450" cy="231921"/>
          </a:xfrm>
          <a:prstGeom prst="rect">
            <a:avLst/>
          </a:prstGeom>
          <a:noFill/>
          <a:ln>
            <a:noFill/>
          </a:ln>
        </p:spPr>
        <p:txBody>
          <a:bodyPr spcFirstLastPara="1" wrap="square" lIns="0" tIns="0" rIns="0" bIns="0" anchor="b" anchorCtr="0">
            <a:noAutofit/>
          </a:bodyPr>
          <a:lstStyle>
            <a:lvl1pPr marR="0" lvl="0" algn="l"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138" name="Google Shape;1138;p116"/>
          <p:cNvSpPr txBox="1">
            <a:spLocks noGrp="1"/>
          </p:cNvSpPr>
          <p:nvPr>
            <p:ph type="ftr" idx="11"/>
          </p:nvPr>
        </p:nvSpPr>
        <p:spPr>
          <a:xfrm>
            <a:off x="773048" y="6364784"/>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139" name="Google Shape;1139;p116"/>
          <p:cNvSpPr txBox="1">
            <a:spLocks noGrp="1"/>
          </p:cNvSpPr>
          <p:nvPr>
            <p:ph type="sldNum" idx="12"/>
          </p:nvPr>
        </p:nvSpPr>
        <p:spPr>
          <a:xfrm>
            <a:off x="457199" y="6362702"/>
            <a:ext cx="315849" cy="231921"/>
          </a:xfrm>
          <a:prstGeom prst="rect">
            <a:avLst/>
          </a:prstGeom>
          <a:noFill/>
          <a:ln>
            <a:noFill/>
          </a:ln>
        </p:spPr>
        <p:txBody>
          <a:bodyPr spcFirstLastPara="1" wrap="square" lIns="0" tIns="0" rIns="0" bIns="0" anchor="b" anchorCtr="0">
            <a:noAutofit/>
          </a:bodyPr>
          <a:lstStyle>
            <a:lvl1pPr marL="0" marR="0" lvl="0"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1pPr>
            <a:lvl2pPr marL="0" marR="0" lvl="1"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2pPr>
            <a:lvl3pPr marL="0" marR="0" lvl="2"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3pPr>
            <a:lvl4pPr marL="0" marR="0" lvl="3"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4pPr>
            <a:lvl5pPr marL="0" marR="0" lvl="4"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5pPr>
            <a:lvl6pPr marL="0" marR="0" lvl="5"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6pPr>
            <a:lvl7pPr marL="0" marR="0" lvl="6"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7pPr>
            <a:lvl8pPr marL="0" marR="0" lvl="7"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8pPr>
            <a:lvl9pPr marL="0" marR="0" lvl="8"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140" name="Google Shape;1140;p116"/>
          <p:cNvSpPr txBox="1">
            <a:spLocks noGrp="1"/>
          </p:cNvSpPr>
          <p:nvPr>
            <p:ph type="title"/>
          </p:nvPr>
        </p:nvSpPr>
        <p:spPr>
          <a:xfrm>
            <a:off x="457201" y="460376"/>
            <a:ext cx="6388100" cy="5486399"/>
          </a:xfrm>
          <a:prstGeom prst="rect">
            <a:avLst/>
          </a:prstGeom>
          <a:noFill/>
          <a:ln>
            <a:noFill/>
          </a:ln>
        </p:spPr>
        <p:txBody>
          <a:bodyPr spcFirstLastPara="1" wrap="square" lIns="0" tIns="274300" rIns="0" bIns="0" anchor="ctr" anchorCtr="0">
            <a:noAutofit/>
          </a:bodyPr>
          <a:lstStyle>
            <a:lvl1pPr lvl="0" algn="l">
              <a:lnSpc>
                <a:spcPct val="100000"/>
              </a:lnSpc>
              <a:spcBef>
                <a:spcPts val="0"/>
              </a:spcBef>
              <a:spcAft>
                <a:spcPts val="0"/>
              </a:spcAft>
              <a:buClr>
                <a:schemeClr val="accent6"/>
              </a:buClr>
              <a:buSzPts val="4000"/>
              <a:buFont typeface="Calibri"/>
              <a:buNone/>
              <a:defRPr sz="4000">
                <a:solidFill>
                  <a:schemeClr val="accent6"/>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41" name="Google Shape;1141;p116"/>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810446" y="6358648"/>
            <a:ext cx="2016517" cy="235975"/>
          </a:xfrm>
          <a:prstGeom prst="rect">
            <a:avLst/>
          </a:prstGeom>
          <a:noFill/>
          <a:ln>
            <a:noFill/>
          </a:ln>
        </p:spPr>
      </p:pic>
    </p:spTree>
    <p:extLst>
      <p:ext uri="{BB962C8B-B14F-4D97-AF65-F5344CB8AC3E}">
        <p14:creationId xmlns:p14="http://schemas.microsoft.com/office/powerpoint/2010/main" val="3928652757"/>
      </p:ext>
    </p:extLst>
  </p:cSld>
  <p:clrMapOvr>
    <a:masterClrMapping/>
  </p:clrMapOvr>
</p:sldLayout>
</file>

<file path=ppt/slideLayouts/slideLayout1455.xml><?xml version="1.0" encoding="utf-8"?>
<p:sldLayout xmlns:a="http://schemas.openxmlformats.org/drawingml/2006/main" xmlns:r="http://schemas.openxmlformats.org/officeDocument/2006/relationships" xmlns:p="http://schemas.openxmlformats.org/presentationml/2006/main" showMasterSp="0" matchingName="Section Header 4">
  <p:cSld name="Section Header 4">
    <p:bg>
      <p:bgPr>
        <a:gradFill>
          <a:gsLst>
            <a:gs pos="0">
              <a:srgbClr val="645B9B"/>
            </a:gs>
            <a:gs pos="100000">
              <a:schemeClr val="accent1"/>
            </a:gs>
          </a:gsLst>
          <a:lin ang="0" scaled="0"/>
        </a:gradFill>
        <a:effectLst/>
      </p:bgPr>
    </p:bg>
    <p:spTree>
      <p:nvGrpSpPr>
        <p:cNvPr id="1" name="Shape 1142"/>
        <p:cNvGrpSpPr/>
        <p:nvPr/>
      </p:nvGrpSpPr>
      <p:grpSpPr>
        <a:xfrm>
          <a:off x="0" y="0"/>
          <a:ext cx="0" cy="0"/>
          <a:chOff x="0" y="0"/>
          <a:chExt cx="0" cy="0"/>
        </a:xfrm>
      </p:grpSpPr>
      <p:pic>
        <p:nvPicPr>
          <p:cNvPr id="1143" name="Google Shape;1143;p117" descr="Cadence image1rgb 16x9.jpg"/>
          <p:cNvPicPr preferRelativeResize="0"/>
          <p:nvPr/>
        </p:nvPicPr>
        <p:blipFill rotWithShape="1">
          <a:blip r:embed="rId2">
            <a:alphaModFix/>
          </a:blip>
          <a:srcRect/>
          <a:stretch/>
        </p:blipFill>
        <p:spPr>
          <a:xfrm>
            <a:off x="32427" y="0"/>
            <a:ext cx="12159575" cy="6858000"/>
          </a:xfrm>
          <a:prstGeom prst="rect">
            <a:avLst/>
          </a:prstGeom>
          <a:noFill/>
          <a:ln>
            <a:noFill/>
          </a:ln>
        </p:spPr>
      </p:pic>
      <p:sp>
        <p:nvSpPr>
          <p:cNvPr id="1144" name="Google Shape;1144;p117"/>
          <p:cNvSpPr/>
          <p:nvPr/>
        </p:nvSpPr>
        <p:spPr>
          <a:xfrm>
            <a:off x="-43701" y="-1"/>
            <a:ext cx="8920916" cy="6858001"/>
          </a:xfrm>
          <a:custGeom>
            <a:avLst/>
            <a:gdLst/>
            <a:ahLst/>
            <a:cxnLst/>
            <a:rect l="l" t="t" r="r" b="b"/>
            <a:pathLst>
              <a:path w="8931777" h="6942534" extrusionOk="0">
                <a:moveTo>
                  <a:pt x="5266013" y="2891"/>
                </a:moveTo>
                <a:lnTo>
                  <a:pt x="8931777" y="6942534"/>
                </a:lnTo>
                <a:lnTo>
                  <a:pt x="116" y="6931481"/>
                </a:lnTo>
                <a:cubicBezTo>
                  <a:pt x="77" y="4617342"/>
                  <a:pt x="39" y="2314139"/>
                  <a:pt x="0" y="0"/>
                </a:cubicBezTo>
                <a:lnTo>
                  <a:pt x="5266013" y="2891"/>
                </a:lnTo>
                <a:close/>
              </a:path>
            </a:pathLst>
          </a:custGeom>
          <a:solidFill>
            <a:srgbClr val="514689"/>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400"/>
              <a:buFont typeface="Calibri"/>
              <a:buNone/>
            </a:pPr>
            <a:endParaRPr sz="2400" b="0" i="0" u="none" strike="noStrike" cap="none">
              <a:solidFill>
                <a:schemeClr val="lt1"/>
              </a:solidFill>
              <a:latin typeface="Calibri"/>
              <a:ea typeface="Calibri"/>
              <a:cs typeface="Calibri"/>
              <a:sym typeface="Calibri"/>
            </a:endParaRPr>
          </a:p>
        </p:txBody>
      </p:sp>
      <p:sp>
        <p:nvSpPr>
          <p:cNvPr id="1145" name="Google Shape;1145;p117"/>
          <p:cNvSpPr txBox="1">
            <a:spLocks noGrp="1"/>
          </p:cNvSpPr>
          <p:nvPr>
            <p:ph type="ctrTitle"/>
          </p:nvPr>
        </p:nvSpPr>
        <p:spPr>
          <a:xfrm>
            <a:off x="907142" y="2491618"/>
            <a:ext cx="5746524" cy="1388492"/>
          </a:xfrm>
          <a:prstGeom prst="rect">
            <a:avLst/>
          </a:prstGeom>
          <a:noFill/>
          <a:ln>
            <a:noFill/>
          </a:ln>
        </p:spPr>
        <p:txBody>
          <a:bodyPr spcFirstLastPara="1" wrap="square" lIns="0" tIns="45700" rIns="0" bIns="0" anchor="b" anchorCtr="0">
            <a:normAutofit/>
          </a:bodyPr>
          <a:lstStyle>
            <a:lvl1pPr lvl="0" algn="l">
              <a:lnSpc>
                <a:spcPct val="90000"/>
              </a:lnSpc>
              <a:spcBef>
                <a:spcPts val="0"/>
              </a:spcBef>
              <a:spcAft>
                <a:spcPts val="0"/>
              </a:spcAft>
              <a:buClr>
                <a:schemeClr val="lt1"/>
              </a:buClr>
              <a:buSzPts val="3733"/>
              <a:buFont typeface="Calibri"/>
              <a:buNone/>
              <a:defRPr sz="3734" b="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46" name="Google Shape;1146;p117"/>
          <p:cNvSpPr txBox="1">
            <a:spLocks noGrp="1"/>
          </p:cNvSpPr>
          <p:nvPr>
            <p:ph type="subTitle" idx="1"/>
          </p:nvPr>
        </p:nvSpPr>
        <p:spPr>
          <a:xfrm>
            <a:off x="895049" y="3953558"/>
            <a:ext cx="6426277" cy="1247353"/>
          </a:xfrm>
          <a:prstGeom prst="rect">
            <a:avLst/>
          </a:prstGeom>
          <a:noFill/>
          <a:ln>
            <a:noFill/>
          </a:ln>
        </p:spPr>
        <p:txBody>
          <a:bodyPr spcFirstLastPara="1" wrap="square" lIns="0" tIns="0" rIns="91425" bIns="45700" anchor="t" anchorCtr="0">
            <a:noAutofit/>
          </a:bodyPr>
          <a:lstStyle>
            <a:lvl1pPr lvl="0" algn="l">
              <a:lnSpc>
                <a:spcPct val="90000"/>
              </a:lnSpc>
              <a:spcBef>
                <a:spcPts val="0"/>
              </a:spcBef>
              <a:spcAft>
                <a:spcPts val="0"/>
              </a:spcAft>
              <a:buSzPts val="2667"/>
              <a:buNone/>
              <a:defRPr sz="2667">
                <a:solidFill>
                  <a:schemeClr val="lt1"/>
                </a:solidFill>
              </a:defRPr>
            </a:lvl1pPr>
            <a:lvl2pPr lvl="1" algn="ctr">
              <a:lnSpc>
                <a:spcPct val="100000"/>
              </a:lnSpc>
              <a:spcBef>
                <a:spcPts val="453"/>
              </a:spcBef>
              <a:spcAft>
                <a:spcPts val="0"/>
              </a:spcAft>
              <a:buClr>
                <a:srgbClr val="979899"/>
              </a:buClr>
              <a:buSzPts val="1814"/>
              <a:buNone/>
              <a:defRPr>
                <a:solidFill>
                  <a:srgbClr val="979899"/>
                </a:solidFill>
              </a:defRPr>
            </a:lvl2pPr>
            <a:lvl3pPr lvl="2" algn="ctr">
              <a:lnSpc>
                <a:spcPct val="100000"/>
              </a:lnSpc>
              <a:spcBef>
                <a:spcPts val="373"/>
              </a:spcBef>
              <a:spcAft>
                <a:spcPts val="0"/>
              </a:spcAft>
              <a:buClr>
                <a:srgbClr val="979899"/>
              </a:buClr>
              <a:buSzPts val="1867"/>
              <a:buNone/>
              <a:defRPr>
                <a:solidFill>
                  <a:srgbClr val="979899"/>
                </a:solidFill>
              </a:defRPr>
            </a:lvl3pPr>
            <a:lvl4pPr lvl="3" algn="ctr">
              <a:lnSpc>
                <a:spcPct val="100000"/>
              </a:lnSpc>
              <a:spcBef>
                <a:spcPts val="373"/>
              </a:spcBef>
              <a:spcAft>
                <a:spcPts val="0"/>
              </a:spcAft>
              <a:buClr>
                <a:srgbClr val="979899"/>
              </a:buClr>
              <a:buSzPts val="1867"/>
              <a:buNone/>
              <a:defRPr>
                <a:solidFill>
                  <a:srgbClr val="979899"/>
                </a:solidFill>
              </a:defRPr>
            </a:lvl4pPr>
            <a:lvl5pPr lvl="4" algn="ctr">
              <a:lnSpc>
                <a:spcPct val="100000"/>
              </a:lnSpc>
              <a:spcBef>
                <a:spcPts val="373"/>
              </a:spcBef>
              <a:spcAft>
                <a:spcPts val="0"/>
              </a:spcAft>
              <a:buClr>
                <a:srgbClr val="979899"/>
              </a:buClr>
              <a:buSzPts val="1867"/>
              <a:buNone/>
              <a:defRPr>
                <a:solidFill>
                  <a:srgbClr val="979899"/>
                </a:solidFill>
              </a:defRPr>
            </a:lvl5pPr>
            <a:lvl6pPr lvl="5" algn="ctr">
              <a:lnSpc>
                <a:spcPct val="90000"/>
              </a:lnSpc>
              <a:spcBef>
                <a:spcPts val="533"/>
              </a:spcBef>
              <a:spcAft>
                <a:spcPts val="0"/>
              </a:spcAft>
              <a:buClr>
                <a:srgbClr val="979899"/>
              </a:buClr>
              <a:buSzPts val="2667"/>
              <a:buNone/>
              <a:defRPr>
                <a:solidFill>
                  <a:srgbClr val="979899"/>
                </a:solidFill>
              </a:defRPr>
            </a:lvl6pPr>
            <a:lvl7pPr lvl="6" algn="ctr">
              <a:lnSpc>
                <a:spcPct val="90000"/>
              </a:lnSpc>
              <a:spcBef>
                <a:spcPts val="533"/>
              </a:spcBef>
              <a:spcAft>
                <a:spcPts val="0"/>
              </a:spcAft>
              <a:buClr>
                <a:srgbClr val="979899"/>
              </a:buClr>
              <a:buSzPts val="2667"/>
              <a:buNone/>
              <a:defRPr>
                <a:solidFill>
                  <a:srgbClr val="979899"/>
                </a:solidFill>
              </a:defRPr>
            </a:lvl7pPr>
            <a:lvl8pPr lvl="7" algn="ctr">
              <a:lnSpc>
                <a:spcPct val="90000"/>
              </a:lnSpc>
              <a:spcBef>
                <a:spcPts val="533"/>
              </a:spcBef>
              <a:spcAft>
                <a:spcPts val="0"/>
              </a:spcAft>
              <a:buClr>
                <a:srgbClr val="979899"/>
              </a:buClr>
              <a:buSzPts val="2667"/>
              <a:buNone/>
              <a:defRPr>
                <a:solidFill>
                  <a:srgbClr val="979899"/>
                </a:solidFill>
              </a:defRPr>
            </a:lvl8pPr>
            <a:lvl9pPr lvl="8" algn="ctr">
              <a:lnSpc>
                <a:spcPct val="90000"/>
              </a:lnSpc>
              <a:spcBef>
                <a:spcPts val="533"/>
              </a:spcBef>
              <a:spcAft>
                <a:spcPts val="0"/>
              </a:spcAft>
              <a:buClr>
                <a:srgbClr val="979899"/>
              </a:buClr>
              <a:buSzPts val="2667"/>
              <a:buNone/>
              <a:defRPr>
                <a:solidFill>
                  <a:srgbClr val="979899"/>
                </a:solidFill>
              </a:defRPr>
            </a:lvl9pPr>
          </a:lstStyle>
          <a:p>
            <a:endParaRPr/>
          </a:p>
        </p:txBody>
      </p:sp>
      <p:pic>
        <p:nvPicPr>
          <p:cNvPr id="1147" name="Google Shape;1147;p117"/>
          <p:cNvPicPr preferRelativeResize="0"/>
          <p:nvPr/>
        </p:nvPicPr>
        <p:blipFill rotWithShape="1">
          <a:blip r:embed="rId3">
            <a:alphaModFix/>
          </a:blip>
          <a:srcRect/>
          <a:stretch/>
        </p:blipFill>
        <p:spPr>
          <a:xfrm>
            <a:off x="539142" y="498513"/>
            <a:ext cx="3318337" cy="468861"/>
          </a:xfrm>
          <a:prstGeom prst="rect">
            <a:avLst/>
          </a:prstGeom>
          <a:noFill/>
          <a:ln>
            <a:noFill/>
          </a:ln>
        </p:spPr>
      </p:pic>
    </p:spTree>
    <p:extLst>
      <p:ext uri="{BB962C8B-B14F-4D97-AF65-F5344CB8AC3E}">
        <p14:creationId xmlns:p14="http://schemas.microsoft.com/office/powerpoint/2010/main" val="3591053011"/>
      </p:ext>
    </p:extLst>
  </p:cSld>
  <p:clrMapOvr>
    <a:masterClrMapping/>
  </p:clrMapOvr>
</p:sldLayout>
</file>

<file path=ppt/slideLayouts/slideLayout1456.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148"/>
        <p:cNvGrpSpPr/>
        <p:nvPr/>
      </p:nvGrpSpPr>
      <p:grpSpPr>
        <a:xfrm>
          <a:off x="0" y="0"/>
          <a:ext cx="0" cy="0"/>
          <a:chOff x="0" y="0"/>
          <a:chExt cx="0" cy="0"/>
        </a:xfrm>
      </p:grpSpPr>
      <p:sp>
        <p:nvSpPr>
          <p:cNvPr id="1149" name="Google Shape;1149;p118"/>
          <p:cNvSpPr txBox="1">
            <a:spLocks noGrp="1"/>
          </p:cNvSpPr>
          <p:nvPr>
            <p:ph type="title"/>
          </p:nvPr>
        </p:nvSpPr>
        <p:spPr>
          <a:xfrm>
            <a:off x="1464743" y="389336"/>
            <a:ext cx="9570720" cy="999744"/>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514689"/>
              </a:buClr>
              <a:buSzPts val="3733"/>
              <a:buFont typeface="Calibri"/>
              <a:buNone/>
              <a:defRPr>
                <a:solidFill>
                  <a:srgbClr val="514689"/>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0" name="Google Shape;1150;p118"/>
          <p:cNvSpPr txBox="1">
            <a:spLocks noGrp="1"/>
          </p:cNvSpPr>
          <p:nvPr>
            <p:ph type="body" idx="1"/>
          </p:nvPr>
        </p:nvSpPr>
        <p:spPr>
          <a:xfrm>
            <a:off x="1241842" y="2035614"/>
            <a:ext cx="4769503" cy="3968748"/>
          </a:xfrm>
          <a:prstGeom prst="rect">
            <a:avLst/>
          </a:prstGeom>
          <a:noFill/>
          <a:ln>
            <a:noFill/>
          </a:ln>
        </p:spPr>
        <p:txBody>
          <a:bodyPr spcFirstLastPara="1" wrap="square" lIns="0" tIns="0" rIns="91425" bIns="45700" anchor="t" anchorCtr="0">
            <a:noAutofit/>
          </a:bodyPr>
          <a:lstStyle>
            <a:lvl1pPr marL="457223" lvl="0" indent="-372573" algn="l">
              <a:lnSpc>
                <a:spcPct val="100000"/>
              </a:lnSpc>
              <a:spcBef>
                <a:spcPts val="453"/>
              </a:spcBef>
              <a:spcAft>
                <a:spcPts val="0"/>
              </a:spcAft>
              <a:buSzPts val="2267"/>
              <a:buChar char="•"/>
              <a:defRPr/>
            </a:lvl1pPr>
            <a:lvl2pPr marL="914446" lvl="1" indent="-343807" algn="l">
              <a:lnSpc>
                <a:spcPct val="100000"/>
              </a:lnSpc>
              <a:spcBef>
                <a:spcPts val="453"/>
              </a:spcBef>
              <a:spcAft>
                <a:spcPts val="0"/>
              </a:spcAft>
              <a:buClr>
                <a:schemeClr val="dk1"/>
              </a:buClr>
              <a:buSzPts val="1814"/>
              <a:buChar char="-"/>
              <a:defRPr/>
            </a:lvl2pPr>
            <a:lvl3pPr marL="1371669" lvl="2" indent="-347171" algn="l">
              <a:lnSpc>
                <a:spcPct val="100000"/>
              </a:lnSpc>
              <a:spcBef>
                <a:spcPts val="373"/>
              </a:spcBef>
              <a:spcAft>
                <a:spcPts val="0"/>
              </a:spcAft>
              <a:buClr>
                <a:schemeClr val="dk1"/>
              </a:buClr>
              <a:buSzPts val="1867"/>
              <a:buChar char="•"/>
              <a:defRPr/>
            </a:lvl3pPr>
            <a:lvl4pPr marL="1828891" lvl="3" indent="-347171" algn="l">
              <a:lnSpc>
                <a:spcPct val="100000"/>
              </a:lnSpc>
              <a:spcBef>
                <a:spcPts val="373"/>
              </a:spcBef>
              <a:spcAft>
                <a:spcPts val="0"/>
              </a:spcAft>
              <a:buClr>
                <a:schemeClr val="dk1"/>
              </a:buClr>
              <a:buSzPts val="1867"/>
              <a:buChar char="•"/>
              <a:defRPr/>
            </a:lvl4pPr>
            <a:lvl5pPr marL="2286114" lvl="4" indent="-347171" algn="l">
              <a:lnSpc>
                <a:spcPct val="100000"/>
              </a:lnSpc>
              <a:spcBef>
                <a:spcPts val="373"/>
              </a:spcBef>
              <a:spcAft>
                <a:spcPts val="0"/>
              </a:spcAft>
              <a:buClr>
                <a:schemeClr val="dk1"/>
              </a:buClr>
              <a:buSzPts val="1867"/>
              <a:buChar char="•"/>
              <a:defRPr/>
            </a:lvl5pPr>
            <a:lvl6pPr marL="2743337" lvl="5" indent="-342917" algn="l">
              <a:lnSpc>
                <a:spcPct val="90000"/>
              </a:lnSpc>
              <a:spcBef>
                <a:spcPts val="360"/>
              </a:spcBef>
              <a:spcAft>
                <a:spcPts val="0"/>
              </a:spcAft>
              <a:buClr>
                <a:schemeClr val="dk1"/>
              </a:buClr>
              <a:buSzPts val="1800"/>
              <a:buChar char="•"/>
              <a:defRPr/>
            </a:lvl6pPr>
            <a:lvl7pPr marL="3200560" lvl="6" indent="-342917" algn="l">
              <a:lnSpc>
                <a:spcPct val="90000"/>
              </a:lnSpc>
              <a:spcBef>
                <a:spcPts val="360"/>
              </a:spcBef>
              <a:spcAft>
                <a:spcPts val="0"/>
              </a:spcAft>
              <a:buClr>
                <a:schemeClr val="dk1"/>
              </a:buClr>
              <a:buSzPts val="1800"/>
              <a:buChar char="•"/>
              <a:defRPr/>
            </a:lvl7pPr>
            <a:lvl8pPr marL="3657783" lvl="7" indent="-342917" algn="l">
              <a:lnSpc>
                <a:spcPct val="90000"/>
              </a:lnSpc>
              <a:spcBef>
                <a:spcPts val="360"/>
              </a:spcBef>
              <a:spcAft>
                <a:spcPts val="0"/>
              </a:spcAft>
              <a:buClr>
                <a:schemeClr val="dk1"/>
              </a:buClr>
              <a:buSzPts val="1800"/>
              <a:buChar char="•"/>
              <a:defRPr/>
            </a:lvl8pPr>
            <a:lvl9pPr marL="4115006" lvl="8" indent="-342917" algn="l">
              <a:lnSpc>
                <a:spcPct val="90000"/>
              </a:lnSpc>
              <a:spcBef>
                <a:spcPts val="360"/>
              </a:spcBef>
              <a:spcAft>
                <a:spcPts val="0"/>
              </a:spcAft>
              <a:buClr>
                <a:schemeClr val="dk1"/>
              </a:buClr>
              <a:buSzPts val="1800"/>
              <a:buChar char="•"/>
              <a:defRPr/>
            </a:lvl9pPr>
          </a:lstStyle>
          <a:p>
            <a:endParaRPr/>
          </a:p>
        </p:txBody>
      </p:sp>
      <p:sp>
        <p:nvSpPr>
          <p:cNvPr id="1151" name="Google Shape;1151;p118"/>
          <p:cNvSpPr txBox="1">
            <a:spLocks noGrp="1"/>
          </p:cNvSpPr>
          <p:nvPr>
            <p:ph type="body" idx="2"/>
          </p:nvPr>
        </p:nvSpPr>
        <p:spPr>
          <a:xfrm>
            <a:off x="6261111" y="2032810"/>
            <a:ext cx="4777316" cy="3971553"/>
          </a:xfrm>
          <a:prstGeom prst="rect">
            <a:avLst/>
          </a:prstGeom>
          <a:noFill/>
          <a:ln>
            <a:noFill/>
          </a:ln>
        </p:spPr>
        <p:txBody>
          <a:bodyPr spcFirstLastPara="1" wrap="square" lIns="0" tIns="0" rIns="91425" bIns="45700" anchor="t" anchorCtr="0">
            <a:noAutofit/>
          </a:bodyPr>
          <a:lstStyle>
            <a:lvl1pPr marL="457223" lvl="0" indent="-372573" algn="l">
              <a:lnSpc>
                <a:spcPct val="100000"/>
              </a:lnSpc>
              <a:spcBef>
                <a:spcPts val="453"/>
              </a:spcBef>
              <a:spcAft>
                <a:spcPts val="0"/>
              </a:spcAft>
              <a:buSzPts val="2267"/>
              <a:buChar char="•"/>
              <a:defRPr/>
            </a:lvl1pPr>
            <a:lvl2pPr marL="914446" lvl="1" indent="-343807" algn="l">
              <a:lnSpc>
                <a:spcPct val="100000"/>
              </a:lnSpc>
              <a:spcBef>
                <a:spcPts val="453"/>
              </a:spcBef>
              <a:spcAft>
                <a:spcPts val="0"/>
              </a:spcAft>
              <a:buClr>
                <a:schemeClr val="dk1"/>
              </a:buClr>
              <a:buSzPts val="1814"/>
              <a:buChar char="-"/>
              <a:defRPr/>
            </a:lvl2pPr>
            <a:lvl3pPr marL="1371669" lvl="2" indent="-347171" algn="l">
              <a:lnSpc>
                <a:spcPct val="100000"/>
              </a:lnSpc>
              <a:spcBef>
                <a:spcPts val="373"/>
              </a:spcBef>
              <a:spcAft>
                <a:spcPts val="0"/>
              </a:spcAft>
              <a:buClr>
                <a:schemeClr val="dk1"/>
              </a:buClr>
              <a:buSzPts val="1867"/>
              <a:buChar char="•"/>
              <a:defRPr/>
            </a:lvl3pPr>
            <a:lvl4pPr marL="1828891" lvl="3" indent="-347171" algn="l">
              <a:lnSpc>
                <a:spcPct val="100000"/>
              </a:lnSpc>
              <a:spcBef>
                <a:spcPts val="373"/>
              </a:spcBef>
              <a:spcAft>
                <a:spcPts val="0"/>
              </a:spcAft>
              <a:buClr>
                <a:schemeClr val="dk1"/>
              </a:buClr>
              <a:buSzPts val="1867"/>
              <a:buChar char="•"/>
              <a:defRPr/>
            </a:lvl4pPr>
            <a:lvl5pPr marL="2286114" lvl="4" indent="-347171" algn="l">
              <a:lnSpc>
                <a:spcPct val="100000"/>
              </a:lnSpc>
              <a:spcBef>
                <a:spcPts val="373"/>
              </a:spcBef>
              <a:spcAft>
                <a:spcPts val="0"/>
              </a:spcAft>
              <a:buClr>
                <a:schemeClr val="dk1"/>
              </a:buClr>
              <a:buSzPts val="1867"/>
              <a:buChar char="•"/>
              <a:defRPr/>
            </a:lvl5pPr>
            <a:lvl6pPr marL="2743337" lvl="5" indent="-342917" algn="l">
              <a:lnSpc>
                <a:spcPct val="90000"/>
              </a:lnSpc>
              <a:spcBef>
                <a:spcPts val="360"/>
              </a:spcBef>
              <a:spcAft>
                <a:spcPts val="0"/>
              </a:spcAft>
              <a:buClr>
                <a:schemeClr val="dk1"/>
              </a:buClr>
              <a:buSzPts val="1800"/>
              <a:buChar char="•"/>
              <a:defRPr/>
            </a:lvl6pPr>
            <a:lvl7pPr marL="3200560" lvl="6" indent="-342917" algn="l">
              <a:lnSpc>
                <a:spcPct val="90000"/>
              </a:lnSpc>
              <a:spcBef>
                <a:spcPts val="360"/>
              </a:spcBef>
              <a:spcAft>
                <a:spcPts val="0"/>
              </a:spcAft>
              <a:buClr>
                <a:schemeClr val="dk1"/>
              </a:buClr>
              <a:buSzPts val="1800"/>
              <a:buChar char="•"/>
              <a:defRPr/>
            </a:lvl7pPr>
            <a:lvl8pPr marL="3657783" lvl="7" indent="-342917" algn="l">
              <a:lnSpc>
                <a:spcPct val="90000"/>
              </a:lnSpc>
              <a:spcBef>
                <a:spcPts val="360"/>
              </a:spcBef>
              <a:spcAft>
                <a:spcPts val="0"/>
              </a:spcAft>
              <a:buClr>
                <a:schemeClr val="dk1"/>
              </a:buClr>
              <a:buSzPts val="1800"/>
              <a:buChar char="•"/>
              <a:defRPr/>
            </a:lvl8pPr>
            <a:lvl9pPr marL="4115006" lvl="8" indent="-342917" algn="l">
              <a:lnSpc>
                <a:spcPct val="90000"/>
              </a:lnSpc>
              <a:spcBef>
                <a:spcPts val="360"/>
              </a:spcBef>
              <a:spcAft>
                <a:spcPts val="0"/>
              </a:spcAft>
              <a:buClr>
                <a:schemeClr val="dk1"/>
              </a:buClr>
              <a:buSzPts val="1800"/>
              <a:buChar char="•"/>
              <a:defRPr/>
            </a:lvl9pPr>
          </a:lstStyle>
          <a:p>
            <a:endParaRPr/>
          </a:p>
        </p:txBody>
      </p:sp>
      <p:sp>
        <p:nvSpPr>
          <p:cNvPr id="1152" name="Google Shape;1152;p118"/>
          <p:cNvSpPr txBox="1">
            <a:spLocks noGrp="1"/>
          </p:cNvSpPr>
          <p:nvPr>
            <p:ph type="body" idx="3"/>
          </p:nvPr>
        </p:nvSpPr>
        <p:spPr>
          <a:xfrm>
            <a:off x="1464742" y="1380204"/>
            <a:ext cx="9573684" cy="521749"/>
          </a:xfrm>
          <a:prstGeom prst="rect">
            <a:avLst/>
          </a:prstGeom>
          <a:noFill/>
          <a:ln>
            <a:noFill/>
          </a:ln>
        </p:spPr>
        <p:txBody>
          <a:bodyPr spcFirstLastPara="1" wrap="square" lIns="0" tIns="0" rIns="91425" bIns="45700" anchor="t" anchorCtr="0">
            <a:noAutofit/>
          </a:bodyPr>
          <a:lstStyle>
            <a:lvl1pPr marL="457223" lvl="0" indent="-228611" algn="l">
              <a:lnSpc>
                <a:spcPct val="85000"/>
              </a:lnSpc>
              <a:spcBef>
                <a:spcPts val="0"/>
              </a:spcBef>
              <a:spcAft>
                <a:spcPts val="0"/>
              </a:spcAft>
              <a:buSzPts val="2667"/>
              <a:buNone/>
              <a:defRPr sz="2667">
                <a:solidFill>
                  <a:schemeClr val="accent2"/>
                </a:solidFill>
              </a:defRPr>
            </a:lvl1pPr>
            <a:lvl2pPr marL="914446" lvl="1" indent="-228611" algn="l">
              <a:lnSpc>
                <a:spcPct val="100000"/>
              </a:lnSpc>
              <a:spcBef>
                <a:spcPts val="453"/>
              </a:spcBef>
              <a:spcAft>
                <a:spcPts val="0"/>
              </a:spcAft>
              <a:buClr>
                <a:schemeClr val="dk1"/>
              </a:buClr>
              <a:buSzPts val="1814"/>
              <a:buNone/>
              <a:defRPr/>
            </a:lvl2pPr>
            <a:lvl3pPr marL="1371669" lvl="2" indent="-228611" algn="l">
              <a:lnSpc>
                <a:spcPct val="100000"/>
              </a:lnSpc>
              <a:spcBef>
                <a:spcPts val="373"/>
              </a:spcBef>
              <a:spcAft>
                <a:spcPts val="0"/>
              </a:spcAft>
              <a:buClr>
                <a:schemeClr val="dk1"/>
              </a:buClr>
              <a:buSzPts val="1867"/>
              <a:buNone/>
              <a:defRPr/>
            </a:lvl3pPr>
            <a:lvl4pPr marL="1828891" lvl="3" indent="-228611" algn="l">
              <a:lnSpc>
                <a:spcPct val="100000"/>
              </a:lnSpc>
              <a:spcBef>
                <a:spcPts val="373"/>
              </a:spcBef>
              <a:spcAft>
                <a:spcPts val="0"/>
              </a:spcAft>
              <a:buClr>
                <a:schemeClr val="dk1"/>
              </a:buClr>
              <a:buSzPts val="1867"/>
              <a:buNone/>
              <a:defRPr/>
            </a:lvl4pPr>
            <a:lvl5pPr marL="2286114" lvl="4" indent="-228611" algn="l">
              <a:lnSpc>
                <a:spcPct val="100000"/>
              </a:lnSpc>
              <a:spcBef>
                <a:spcPts val="373"/>
              </a:spcBef>
              <a:spcAft>
                <a:spcPts val="0"/>
              </a:spcAft>
              <a:buClr>
                <a:schemeClr val="dk1"/>
              </a:buClr>
              <a:buSzPts val="1867"/>
              <a:buNone/>
              <a:defRPr/>
            </a:lvl5pPr>
            <a:lvl6pPr marL="2743337" lvl="5" indent="-342917" algn="l">
              <a:lnSpc>
                <a:spcPct val="90000"/>
              </a:lnSpc>
              <a:spcBef>
                <a:spcPts val="360"/>
              </a:spcBef>
              <a:spcAft>
                <a:spcPts val="0"/>
              </a:spcAft>
              <a:buClr>
                <a:schemeClr val="dk1"/>
              </a:buClr>
              <a:buSzPts val="1800"/>
              <a:buChar char="•"/>
              <a:defRPr/>
            </a:lvl6pPr>
            <a:lvl7pPr marL="3200560" lvl="6" indent="-342917" algn="l">
              <a:lnSpc>
                <a:spcPct val="90000"/>
              </a:lnSpc>
              <a:spcBef>
                <a:spcPts val="360"/>
              </a:spcBef>
              <a:spcAft>
                <a:spcPts val="0"/>
              </a:spcAft>
              <a:buClr>
                <a:schemeClr val="dk1"/>
              </a:buClr>
              <a:buSzPts val="1800"/>
              <a:buChar char="•"/>
              <a:defRPr/>
            </a:lvl7pPr>
            <a:lvl8pPr marL="3657783" lvl="7" indent="-342917" algn="l">
              <a:lnSpc>
                <a:spcPct val="90000"/>
              </a:lnSpc>
              <a:spcBef>
                <a:spcPts val="360"/>
              </a:spcBef>
              <a:spcAft>
                <a:spcPts val="0"/>
              </a:spcAft>
              <a:buClr>
                <a:schemeClr val="dk1"/>
              </a:buClr>
              <a:buSzPts val="1800"/>
              <a:buChar char="•"/>
              <a:defRPr/>
            </a:lvl8pPr>
            <a:lvl9pPr marL="4115006" lvl="8" indent="-342917" algn="l">
              <a:lnSpc>
                <a:spcPct val="90000"/>
              </a:lnSpc>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880912809"/>
      </p:ext>
    </p:extLst>
  </p:cSld>
  <p:clrMapOvr>
    <a:masterClrMapping/>
  </p:clrMapOvr>
</p:sldLayout>
</file>

<file path=ppt/slideLayouts/slideLayout1457.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153"/>
        <p:cNvGrpSpPr/>
        <p:nvPr/>
      </p:nvGrpSpPr>
      <p:grpSpPr>
        <a:xfrm>
          <a:off x="0" y="0"/>
          <a:ext cx="0" cy="0"/>
          <a:chOff x="0" y="0"/>
          <a:chExt cx="0" cy="0"/>
        </a:xfrm>
      </p:grpSpPr>
      <p:sp>
        <p:nvSpPr>
          <p:cNvPr id="1154" name="Google Shape;1154;p119"/>
          <p:cNvSpPr txBox="1">
            <a:spLocks noGrp="1"/>
          </p:cNvSpPr>
          <p:nvPr>
            <p:ph type="title"/>
          </p:nvPr>
        </p:nvSpPr>
        <p:spPr>
          <a:xfrm>
            <a:off x="1464744" y="377145"/>
            <a:ext cx="9573685" cy="1003056"/>
          </a:xfrm>
          <a:prstGeom prst="rect">
            <a:avLst/>
          </a:prstGeom>
          <a:noFill/>
          <a:ln>
            <a:noFill/>
          </a:ln>
        </p:spPr>
        <p:txBody>
          <a:bodyPr spcFirstLastPara="1" wrap="square" lIns="0" tIns="45700" rIns="91425" bIns="45700" anchor="ctr" anchorCtr="0">
            <a:normAutofit/>
          </a:bodyPr>
          <a:lstStyle>
            <a:lvl1pPr lvl="0" algn="l">
              <a:lnSpc>
                <a:spcPct val="90000"/>
              </a:lnSpc>
              <a:spcBef>
                <a:spcPts val="0"/>
              </a:spcBef>
              <a:spcAft>
                <a:spcPts val="0"/>
              </a:spcAft>
              <a:buClr>
                <a:srgbClr val="514689"/>
              </a:buClr>
              <a:buSzPts val="3733"/>
              <a:buFont typeface="Calibri"/>
              <a:buNone/>
              <a:defRPr>
                <a:solidFill>
                  <a:srgbClr val="514689"/>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5" name="Google Shape;1155;p119"/>
          <p:cNvSpPr txBox="1">
            <a:spLocks noGrp="1"/>
          </p:cNvSpPr>
          <p:nvPr>
            <p:ph type="body" idx="1"/>
          </p:nvPr>
        </p:nvSpPr>
        <p:spPr>
          <a:xfrm>
            <a:off x="1451428" y="2035613"/>
            <a:ext cx="9586999" cy="3968748"/>
          </a:xfrm>
          <a:prstGeom prst="rect">
            <a:avLst/>
          </a:prstGeom>
          <a:noFill/>
          <a:ln>
            <a:noFill/>
          </a:ln>
        </p:spPr>
        <p:txBody>
          <a:bodyPr spcFirstLastPara="1" wrap="square" lIns="0" tIns="0" rIns="91425" bIns="45700" anchor="t" anchorCtr="0">
            <a:noAutofit/>
          </a:bodyPr>
          <a:lstStyle>
            <a:lvl1pPr marL="457223" lvl="0" indent="-342917" algn="l">
              <a:lnSpc>
                <a:spcPct val="100000"/>
              </a:lnSpc>
              <a:spcBef>
                <a:spcPts val="360"/>
              </a:spcBef>
              <a:spcAft>
                <a:spcPts val="0"/>
              </a:spcAft>
              <a:buSzPts val="1800"/>
              <a:buChar char="•"/>
              <a:defRPr/>
            </a:lvl1pPr>
            <a:lvl2pPr marL="914446" lvl="1" indent="-320056" algn="l">
              <a:lnSpc>
                <a:spcPct val="100000"/>
              </a:lnSpc>
              <a:spcBef>
                <a:spcPts val="360"/>
              </a:spcBef>
              <a:spcAft>
                <a:spcPts val="0"/>
              </a:spcAft>
              <a:buClr>
                <a:schemeClr val="dk1"/>
              </a:buClr>
              <a:buSzPts val="1440"/>
              <a:buChar char="-"/>
              <a:defRPr/>
            </a:lvl2pPr>
            <a:lvl3pPr marL="1371669" lvl="2" indent="-342917" algn="l">
              <a:lnSpc>
                <a:spcPct val="100000"/>
              </a:lnSpc>
              <a:spcBef>
                <a:spcPts val="360"/>
              </a:spcBef>
              <a:spcAft>
                <a:spcPts val="0"/>
              </a:spcAft>
              <a:buClr>
                <a:schemeClr val="dk1"/>
              </a:buClr>
              <a:buSzPts val="1800"/>
              <a:buChar char="•"/>
              <a:defRPr/>
            </a:lvl3pPr>
            <a:lvl4pPr marL="1828891" lvl="3" indent="-342917" algn="l">
              <a:lnSpc>
                <a:spcPct val="100000"/>
              </a:lnSpc>
              <a:spcBef>
                <a:spcPts val="360"/>
              </a:spcBef>
              <a:spcAft>
                <a:spcPts val="0"/>
              </a:spcAft>
              <a:buClr>
                <a:schemeClr val="dk1"/>
              </a:buClr>
              <a:buSzPts val="1800"/>
              <a:buChar char="•"/>
              <a:defRPr/>
            </a:lvl4pPr>
            <a:lvl5pPr marL="2286114" lvl="4" indent="-342917" algn="l">
              <a:lnSpc>
                <a:spcPct val="100000"/>
              </a:lnSpc>
              <a:spcBef>
                <a:spcPts val="360"/>
              </a:spcBef>
              <a:spcAft>
                <a:spcPts val="0"/>
              </a:spcAft>
              <a:buClr>
                <a:schemeClr val="dk1"/>
              </a:buClr>
              <a:buSzPts val="1800"/>
              <a:buChar char="•"/>
              <a:defRPr/>
            </a:lvl5pPr>
            <a:lvl6pPr marL="2743337" lvl="5" indent="-342917" algn="l">
              <a:lnSpc>
                <a:spcPct val="90000"/>
              </a:lnSpc>
              <a:spcBef>
                <a:spcPts val="360"/>
              </a:spcBef>
              <a:spcAft>
                <a:spcPts val="0"/>
              </a:spcAft>
              <a:buClr>
                <a:schemeClr val="dk1"/>
              </a:buClr>
              <a:buSzPts val="1800"/>
              <a:buChar char="•"/>
              <a:defRPr/>
            </a:lvl6pPr>
            <a:lvl7pPr marL="3200560" lvl="6" indent="-342917" algn="l">
              <a:lnSpc>
                <a:spcPct val="90000"/>
              </a:lnSpc>
              <a:spcBef>
                <a:spcPts val="360"/>
              </a:spcBef>
              <a:spcAft>
                <a:spcPts val="0"/>
              </a:spcAft>
              <a:buClr>
                <a:schemeClr val="dk1"/>
              </a:buClr>
              <a:buSzPts val="1800"/>
              <a:buChar char="•"/>
              <a:defRPr/>
            </a:lvl7pPr>
            <a:lvl8pPr marL="3657783" lvl="7" indent="-342917" algn="l">
              <a:lnSpc>
                <a:spcPct val="90000"/>
              </a:lnSpc>
              <a:spcBef>
                <a:spcPts val="360"/>
              </a:spcBef>
              <a:spcAft>
                <a:spcPts val="0"/>
              </a:spcAft>
              <a:buClr>
                <a:schemeClr val="dk1"/>
              </a:buClr>
              <a:buSzPts val="1800"/>
              <a:buChar char="•"/>
              <a:defRPr/>
            </a:lvl8pPr>
            <a:lvl9pPr marL="4115006" lvl="8" indent="-342917" algn="l">
              <a:lnSpc>
                <a:spcPct val="90000"/>
              </a:lnSpc>
              <a:spcBef>
                <a:spcPts val="360"/>
              </a:spcBef>
              <a:spcAft>
                <a:spcPts val="0"/>
              </a:spcAft>
              <a:buClr>
                <a:schemeClr val="dk1"/>
              </a:buClr>
              <a:buSzPts val="1800"/>
              <a:buChar char="•"/>
              <a:defRPr/>
            </a:lvl9pPr>
          </a:lstStyle>
          <a:p>
            <a:endParaRPr/>
          </a:p>
        </p:txBody>
      </p:sp>
      <p:sp>
        <p:nvSpPr>
          <p:cNvPr id="1156" name="Google Shape;1156;p119"/>
          <p:cNvSpPr txBox="1">
            <a:spLocks noGrp="1"/>
          </p:cNvSpPr>
          <p:nvPr>
            <p:ph type="body" idx="2"/>
          </p:nvPr>
        </p:nvSpPr>
        <p:spPr>
          <a:xfrm>
            <a:off x="1451431" y="1380204"/>
            <a:ext cx="9586997" cy="521749"/>
          </a:xfrm>
          <a:prstGeom prst="rect">
            <a:avLst/>
          </a:prstGeom>
          <a:noFill/>
          <a:ln>
            <a:noFill/>
          </a:ln>
        </p:spPr>
        <p:txBody>
          <a:bodyPr spcFirstLastPara="1" wrap="square" lIns="0" tIns="0" rIns="91425" bIns="45700" anchor="t" anchorCtr="0">
            <a:noAutofit/>
          </a:bodyPr>
          <a:lstStyle>
            <a:lvl1pPr marL="457223" lvl="0" indent="-228611" algn="l">
              <a:lnSpc>
                <a:spcPct val="85000"/>
              </a:lnSpc>
              <a:spcBef>
                <a:spcPts val="0"/>
              </a:spcBef>
              <a:spcAft>
                <a:spcPts val="0"/>
              </a:spcAft>
              <a:buSzPts val="2667"/>
              <a:buNone/>
              <a:defRPr sz="2667">
                <a:solidFill>
                  <a:schemeClr val="accent2"/>
                </a:solidFill>
              </a:defRPr>
            </a:lvl1pPr>
            <a:lvl2pPr marL="914446" lvl="1" indent="-228611" algn="l">
              <a:lnSpc>
                <a:spcPct val="100000"/>
              </a:lnSpc>
              <a:spcBef>
                <a:spcPts val="453"/>
              </a:spcBef>
              <a:spcAft>
                <a:spcPts val="0"/>
              </a:spcAft>
              <a:buClr>
                <a:schemeClr val="dk1"/>
              </a:buClr>
              <a:buSzPts val="1814"/>
              <a:buNone/>
              <a:defRPr/>
            </a:lvl2pPr>
            <a:lvl3pPr marL="1371669" lvl="2" indent="-228611" algn="l">
              <a:lnSpc>
                <a:spcPct val="100000"/>
              </a:lnSpc>
              <a:spcBef>
                <a:spcPts val="373"/>
              </a:spcBef>
              <a:spcAft>
                <a:spcPts val="0"/>
              </a:spcAft>
              <a:buClr>
                <a:schemeClr val="dk1"/>
              </a:buClr>
              <a:buSzPts val="1867"/>
              <a:buNone/>
              <a:defRPr/>
            </a:lvl3pPr>
            <a:lvl4pPr marL="1828891" lvl="3" indent="-228611" algn="l">
              <a:lnSpc>
                <a:spcPct val="100000"/>
              </a:lnSpc>
              <a:spcBef>
                <a:spcPts val="373"/>
              </a:spcBef>
              <a:spcAft>
                <a:spcPts val="0"/>
              </a:spcAft>
              <a:buClr>
                <a:schemeClr val="dk1"/>
              </a:buClr>
              <a:buSzPts val="1867"/>
              <a:buNone/>
              <a:defRPr/>
            </a:lvl4pPr>
            <a:lvl5pPr marL="2286114" lvl="4" indent="-228611" algn="l">
              <a:lnSpc>
                <a:spcPct val="100000"/>
              </a:lnSpc>
              <a:spcBef>
                <a:spcPts val="373"/>
              </a:spcBef>
              <a:spcAft>
                <a:spcPts val="0"/>
              </a:spcAft>
              <a:buClr>
                <a:schemeClr val="dk1"/>
              </a:buClr>
              <a:buSzPts val="1867"/>
              <a:buNone/>
              <a:defRPr/>
            </a:lvl5pPr>
            <a:lvl6pPr marL="2743337" lvl="5" indent="-342917" algn="l">
              <a:lnSpc>
                <a:spcPct val="90000"/>
              </a:lnSpc>
              <a:spcBef>
                <a:spcPts val="360"/>
              </a:spcBef>
              <a:spcAft>
                <a:spcPts val="0"/>
              </a:spcAft>
              <a:buClr>
                <a:schemeClr val="dk1"/>
              </a:buClr>
              <a:buSzPts val="1800"/>
              <a:buChar char="•"/>
              <a:defRPr/>
            </a:lvl6pPr>
            <a:lvl7pPr marL="3200560" lvl="6" indent="-342917" algn="l">
              <a:lnSpc>
                <a:spcPct val="90000"/>
              </a:lnSpc>
              <a:spcBef>
                <a:spcPts val="360"/>
              </a:spcBef>
              <a:spcAft>
                <a:spcPts val="0"/>
              </a:spcAft>
              <a:buClr>
                <a:schemeClr val="dk1"/>
              </a:buClr>
              <a:buSzPts val="1800"/>
              <a:buChar char="•"/>
              <a:defRPr/>
            </a:lvl7pPr>
            <a:lvl8pPr marL="3657783" lvl="7" indent="-342917" algn="l">
              <a:lnSpc>
                <a:spcPct val="90000"/>
              </a:lnSpc>
              <a:spcBef>
                <a:spcPts val="360"/>
              </a:spcBef>
              <a:spcAft>
                <a:spcPts val="0"/>
              </a:spcAft>
              <a:buClr>
                <a:schemeClr val="dk1"/>
              </a:buClr>
              <a:buSzPts val="1800"/>
              <a:buChar char="•"/>
              <a:defRPr/>
            </a:lvl8pPr>
            <a:lvl9pPr marL="4115006" lvl="8" indent="-342917" algn="l">
              <a:lnSpc>
                <a:spcPct val="90000"/>
              </a:lnSpc>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109948302"/>
      </p:ext>
    </p:extLst>
  </p:cSld>
  <p:clrMapOvr>
    <a:masterClrMapping/>
  </p:clrMapOvr>
</p:sldLayout>
</file>

<file path=ppt/slideLayouts/slideLayout1458.xml><?xml version="1.0" encoding="utf-8"?>
<p:sldLayout xmlns:a="http://schemas.openxmlformats.org/drawingml/2006/main" xmlns:r="http://schemas.openxmlformats.org/officeDocument/2006/relationships" xmlns:p="http://schemas.openxmlformats.org/presentationml/2006/main" matchingName="LM-Title">
  <p:cSld name="LM-Title">
    <p:spTree>
      <p:nvGrpSpPr>
        <p:cNvPr id="1" name="Shape 1157"/>
        <p:cNvGrpSpPr/>
        <p:nvPr/>
      </p:nvGrpSpPr>
      <p:grpSpPr>
        <a:xfrm>
          <a:off x="0" y="0"/>
          <a:ext cx="0" cy="0"/>
          <a:chOff x="0" y="0"/>
          <a:chExt cx="0" cy="0"/>
        </a:xfrm>
      </p:grpSpPr>
      <p:sp>
        <p:nvSpPr>
          <p:cNvPr id="1158" name="Google Shape;1158;p120"/>
          <p:cNvSpPr txBox="1">
            <a:spLocks noGrp="1"/>
          </p:cNvSpPr>
          <p:nvPr>
            <p:ph type="body" idx="1"/>
          </p:nvPr>
        </p:nvSpPr>
        <p:spPr>
          <a:xfrm>
            <a:off x="4663019" y="3112038"/>
            <a:ext cx="6345767" cy="735013"/>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4000"/>
              <a:buNone/>
              <a:defRPr sz="4000" b="1">
                <a:solidFill>
                  <a:srgbClr val="8C2347"/>
                </a:solidFill>
              </a:defRPr>
            </a:lvl1pPr>
            <a:lvl2pPr marL="914446" lvl="1" indent="-228611" algn="l">
              <a:lnSpc>
                <a:spcPct val="100000"/>
              </a:lnSpc>
              <a:spcBef>
                <a:spcPts val="1000"/>
              </a:spcBef>
              <a:spcAft>
                <a:spcPts val="0"/>
              </a:spcAft>
              <a:buSzPts val="4000"/>
              <a:buNone/>
              <a:defRPr sz="4000" b="1"/>
            </a:lvl2pPr>
            <a:lvl3pPr marL="1371669" lvl="2" indent="-228611" algn="l">
              <a:lnSpc>
                <a:spcPct val="100000"/>
              </a:lnSpc>
              <a:spcBef>
                <a:spcPts val="1000"/>
              </a:spcBef>
              <a:spcAft>
                <a:spcPts val="0"/>
              </a:spcAft>
              <a:buSzPts val="4000"/>
              <a:buNone/>
              <a:defRPr sz="4000" b="1"/>
            </a:lvl3pPr>
            <a:lvl4pPr marL="1828891" lvl="3" indent="-228611" algn="l">
              <a:lnSpc>
                <a:spcPct val="100000"/>
              </a:lnSpc>
              <a:spcBef>
                <a:spcPts val="1000"/>
              </a:spcBef>
              <a:spcAft>
                <a:spcPts val="0"/>
              </a:spcAft>
              <a:buSzPts val="4000"/>
              <a:buNone/>
              <a:defRPr sz="4000" b="1"/>
            </a:lvl4pPr>
            <a:lvl5pPr marL="2286114" lvl="4" indent="-228611" algn="l">
              <a:lnSpc>
                <a:spcPct val="100000"/>
              </a:lnSpc>
              <a:spcBef>
                <a:spcPts val="1000"/>
              </a:spcBef>
              <a:spcAft>
                <a:spcPts val="0"/>
              </a:spcAft>
              <a:buSzPts val="4000"/>
              <a:buNone/>
              <a:defRPr sz="4000" b="1"/>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1159" name="Google Shape;1159;p120"/>
          <p:cNvSpPr txBox="1">
            <a:spLocks noGrp="1"/>
          </p:cNvSpPr>
          <p:nvPr>
            <p:ph type="body" idx="2"/>
          </p:nvPr>
        </p:nvSpPr>
        <p:spPr>
          <a:xfrm>
            <a:off x="4663019" y="2731036"/>
            <a:ext cx="6345767" cy="381000"/>
          </a:xfrm>
          <a:prstGeom prst="rect">
            <a:avLst/>
          </a:prstGeom>
          <a:noFill/>
          <a:ln>
            <a:noFill/>
          </a:ln>
        </p:spPr>
        <p:txBody>
          <a:bodyPr spcFirstLastPara="1" wrap="square" lIns="91425" tIns="45700" rIns="91425" bIns="45700" anchor="ctr" anchorCtr="0">
            <a:noAutofit/>
          </a:bodyPr>
          <a:lstStyle>
            <a:lvl1pPr marL="457223" lvl="0" indent="-228611"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1pPr>
            <a:lvl2pPr marL="914446" lvl="1" indent="-228611"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2pPr>
            <a:lvl3pPr marL="1371669" lvl="2" indent="-228611"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3pPr>
            <a:lvl4pPr marL="1828891" lvl="3" indent="-228611"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4pPr>
            <a:lvl5pPr marL="2286114" lvl="4" indent="-228611"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grpSp>
        <p:nvGrpSpPr>
          <p:cNvPr id="1160" name="Google Shape;1160;p120"/>
          <p:cNvGrpSpPr/>
          <p:nvPr/>
        </p:nvGrpSpPr>
        <p:grpSpPr>
          <a:xfrm>
            <a:off x="791245" y="2369596"/>
            <a:ext cx="2416216" cy="1878202"/>
            <a:chOff x="297439" y="2116926"/>
            <a:chExt cx="1826636" cy="1893204"/>
          </a:xfrm>
        </p:grpSpPr>
        <p:pic>
          <p:nvPicPr>
            <p:cNvPr id="1161" name="Google Shape;1161;p120"/>
            <p:cNvPicPr preferRelativeResize="0"/>
            <p:nvPr/>
          </p:nvPicPr>
          <p:blipFill rotWithShape="1">
            <a:blip r:embed="rId2">
              <a:alphaModFix/>
            </a:blip>
            <a:srcRect/>
            <a:stretch/>
          </p:blipFill>
          <p:spPr>
            <a:xfrm>
              <a:off x="517217" y="2677246"/>
              <a:ext cx="1450128" cy="1332884"/>
            </a:xfrm>
            <a:prstGeom prst="rect">
              <a:avLst/>
            </a:prstGeom>
            <a:noFill/>
            <a:ln>
              <a:noFill/>
            </a:ln>
          </p:spPr>
        </p:pic>
        <p:pic>
          <p:nvPicPr>
            <p:cNvPr id="1162" name="Google Shape;1162;p120"/>
            <p:cNvPicPr preferRelativeResize="0"/>
            <p:nvPr/>
          </p:nvPicPr>
          <p:blipFill rotWithShape="1">
            <a:blip r:embed="rId3">
              <a:alphaModFix/>
            </a:blip>
            <a:srcRect/>
            <a:stretch/>
          </p:blipFill>
          <p:spPr>
            <a:xfrm>
              <a:off x="297439" y="2116926"/>
              <a:ext cx="1826636" cy="533646"/>
            </a:xfrm>
            <a:prstGeom prst="rect">
              <a:avLst/>
            </a:prstGeom>
            <a:noFill/>
            <a:ln>
              <a:noFill/>
            </a:ln>
          </p:spPr>
        </p:pic>
      </p:grpSp>
    </p:spTree>
    <p:extLst>
      <p:ext uri="{BB962C8B-B14F-4D97-AF65-F5344CB8AC3E}">
        <p14:creationId xmlns:p14="http://schemas.microsoft.com/office/powerpoint/2010/main" val="172716186"/>
      </p:ext>
    </p:extLst>
  </p:cSld>
  <p:clrMapOvr>
    <a:masterClrMapping/>
  </p:clrMapOvr>
</p:sldLayout>
</file>

<file path=ppt/slideLayouts/slideLayout1459.xml><?xml version="1.0" encoding="utf-8"?>
<p:sldLayout xmlns:a="http://schemas.openxmlformats.org/drawingml/2006/main" xmlns:r="http://schemas.openxmlformats.org/officeDocument/2006/relationships" xmlns:p="http://schemas.openxmlformats.org/presentationml/2006/main" matchingName="LM-Title">
  <p:cSld name="1_LM-Title">
    <p:spTree>
      <p:nvGrpSpPr>
        <p:cNvPr id="1" name="Shape 1163"/>
        <p:cNvGrpSpPr/>
        <p:nvPr/>
      </p:nvGrpSpPr>
      <p:grpSpPr>
        <a:xfrm>
          <a:off x="0" y="0"/>
          <a:ext cx="0" cy="0"/>
          <a:chOff x="0" y="0"/>
          <a:chExt cx="0" cy="0"/>
        </a:xfrm>
      </p:grpSpPr>
      <p:sp>
        <p:nvSpPr>
          <p:cNvPr id="1164" name="Google Shape;1164;p121"/>
          <p:cNvSpPr txBox="1">
            <a:spLocks noGrp="1"/>
          </p:cNvSpPr>
          <p:nvPr>
            <p:ph type="body" idx="1"/>
          </p:nvPr>
        </p:nvSpPr>
        <p:spPr>
          <a:xfrm>
            <a:off x="4663019" y="3112038"/>
            <a:ext cx="6345767" cy="735013"/>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4000"/>
              <a:buNone/>
              <a:defRPr sz="4000" b="1">
                <a:solidFill>
                  <a:srgbClr val="8C2347"/>
                </a:solidFill>
              </a:defRPr>
            </a:lvl1pPr>
            <a:lvl2pPr marL="914446" lvl="1" indent="-228611" algn="l">
              <a:lnSpc>
                <a:spcPct val="100000"/>
              </a:lnSpc>
              <a:spcBef>
                <a:spcPts val="1000"/>
              </a:spcBef>
              <a:spcAft>
                <a:spcPts val="0"/>
              </a:spcAft>
              <a:buSzPts val="4000"/>
              <a:buNone/>
              <a:defRPr sz="4000" b="1"/>
            </a:lvl2pPr>
            <a:lvl3pPr marL="1371669" lvl="2" indent="-228611" algn="l">
              <a:lnSpc>
                <a:spcPct val="100000"/>
              </a:lnSpc>
              <a:spcBef>
                <a:spcPts val="1000"/>
              </a:spcBef>
              <a:spcAft>
                <a:spcPts val="0"/>
              </a:spcAft>
              <a:buSzPts val="4000"/>
              <a:buNone/>
              <a:defRPr sz="4000" b="1"/>
            </a:lvl3pPr>
            <a:lvl4pPr marL="1828891" lvl="3" indent="-228611" algn="l">
              <a:lnSpc>
                <a:spcPct val="100000"/>
              </a:lnSpc>
              <a:spcBef>
                <a:spcPts val="1000"/>
              </a:spcBef>
              <a:spcAft>
                <a:spcPts val="0"/>
              </a:spcAft>
              <a:buSzPts val="4000"/>
              <a:buNone/>
              <a:defRPr sz="4000" b="1"/>
            </a:lvl4pPr>
            <a:lvl5pPr marL="2286114" lvl="4" indent="-228611" algn="l">
              <a:lnSpc>
                <a:spcPct val="100000"/>
              </a:lnSpc>
              <a:spcBef>
                <a:spcPts val="1000"/>
              </a:spcBef>
              <a:spcAft>
                <a:spcPts val="0"/>
              </a:spcAft>
              <a:buSzPts val="4000"/>
              <a:buNone/>
              <a:defRPr sz="4000" b="1"/>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1165" name="Google Shape;1165;p121"/>
          <p:cNvSpPr txBox="1">
            <a:spLocks noGrp="1"/>
          </p:cNvSpPr>
          <p:nvPr>
            <p:ph type="body" idx="2"/>
          </p:nvPr>
        </p:nvSpPr>
        <p:spPr>
          <a:xfrm>
            <a:off x="4663019" y="2731036"/>
            <a:ext cx="6345767" cy="381000"/>
          </a:xfrm>
          <a:prstGeom prst="rect">
            <a:avLst/>
          </a:prstGeom>
          <a:noFill/>
          <a:ln>
            <a:noFill/>
          </a:ln>
        </p:spPr>
        <p:txBody>
          <a:bodyPr spcFirstLastPara="1" wrap="square" lIns="91425" tIns="45700" rIns="91425" bIns="45700" anchor="ctr" anchorCtr="0">
            <a:noAutofit/>
          </a:bodyPr>
          <a:lstStyle>
            <a:lvl1pPr marL="457223" lvl="0" indent="-228611"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1pPr>
            <a:lvl2pPr marL="914446" lvl="1" indent="-228611"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2pPr>
            <a:lvl3pPr marL="1371669" lvl="2" indent="-228611"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3pPr>
            <a:lvl4pPr marL="1828891" lvl="3" indent="-228611"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4pPr>
            <a:lvl5pPr marL="2286114" lvl="4" indent="-228611"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grpSp>
        <p:nvGrpSpPr>
          <p:cNvPr id="1166" name="Google Shape;1166;p121"/>
          <p:cNvGrpSpPr/>
          <p:nvPr/>
        </p:nvGrpSpPr>
        <p:grpSpPr>
          <a:xfrm>
            <a:off x="791245" y="2369596"/>
            <a:ext cx="2416216" cy="1878202"/>
            <a:chOff x="297439" y="2116926"/>
            <a:chExt cx="1826636" cy="1893204"/>
          </a:xfrm>
        </p:grpSpPr>
        <p:pic>
          <p:nvPicPr>
            <p:cNvPr id="1167" name="Google Shape;1167;p121"/>
            <p:cNvPicPr preferRelativeResize="0"/>
            <p:nvPr/>
          </p:nvPicPr>
          <p:blipFill rotWithShape="1">
            <a:blip r:embed="rId2">
              <a:alphaModFix/>
            </a:blip>
            <a:srcRect/>
            <a:stretch/>
          </p:blipFill>
          <p:spPr>
            <a:xfrm>
              <a:off x="517217" y="2677246"/>
              <a:ext cx="1450128" cy="1332884"/>
            </a:xfrm>
            <a:prstGeom prst="rect">
              <a:avLst/>
            </a:prstGeom>
            <a:noFill/>
            <a:ln>
              <a:noFill/>
            </a:ln>
          </p:spPr>
        </p:pic>
        <p:pic>
          <p:nvPicPr>
            <p:cNvPr id="1168" name="Google Shape;1168;p121"/>
            <p:cNvPicPr preferRelativeResize="0"/>
            <p:nvPr/>
          </p:nvPicPr>
          <p:blipFill rotWithShape="1">
            <a:blip r:embed="rId3">
              <a:alphaModFix/>
            </a:blip>
            <a:srcRect/>
            <a:stretch/>
          </p:blipFill>
          <p:spPr>
            <a:xfrm>
              <a:off x="297439" y="2116926"/>
              <a:ext cx="1826636" cy="533646"/>
            </a:xfrm>
            <a:prstGeom prst="rect">
              <a:avLst/>
            </a:prstGeom>
            <a:noFill/>
            <a:ln>
              <a:noFill/>
            </a:ln>
          </p:spPr>
        </p:pic>
      </p:grpSp>
    </p:spTree>
    <p:extLst>
      <p:ext uri="{BB962C8B-B14F-4D97-AF65-F5344CB8AC3E}">
        <p14:creationId xmlns:p14="http://schemas.microsoft.com/office/powerpoint/2010/main" val="142881295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matchingName="Comparison">
  <p:cSld name="Comparison 7">
    <p:spTree>
      <p:nvGrpSpPr>
        <p:cNvPr id="1" name="Shape 10474"/>
        <p:cNvGrpSpPr/>
        <p:nvPr/>
      </p:nvGrpSpPr>
      <p:grpSpPr>
        <a:xfrm>
          <a:off x="0" y="0"/>
          <a:ext cx="0" cy="0"/>
          <a:chOff x="0" y="0"/>
          <a:chExt cx="0" cy="0"/>
        </a:xfrm>
      </p:grpSpPr>
      <p:grpSp>
        <p:nvGrpSpPr>
          <p:cNvPr id="10475" name="Google Shape;10475;p1450"/>
          <p:cNvGrpSpPr/>
          <p:nvPr/>
        </p:nvGrpSpPr>
        <p:grpSpPr>
          <a:xfrm>
            <a:off x="7191542" y="1"/>
            <a:ext cx="5000459" cy="1425992"/>
            <a:chOff x="7191542" y="1"/>
            <a:chExt cx="5000459" cy="1425992"/>
          </a:xfrm>
        </p:grpSpPr>
        <p:pic>
          <p:nvPicPr>
            <p:cNvPr id="10476" name="Google Shape;10476;p14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77" name="Google Shape;10477;p1450"/>
            <p:cNvGrpSpPr/>
            <p:nvPr/>
          </p:nvGrpSpPr>
          <p:grpSpPr>
            <a:xfrm>
              <a:off x="7191542" y="1"/>
              <a:ext cx="5000459" cy="1425992"/>
              <a:chOff x="7186272" y="0"/>
              <a:chExt cx="5005729" cy="1427495"/>
            </a:xfrm>
          </p:grpSpPr>
          <p:sp>
            <p:nvSpPr>
              <p:cNvPr id="10478" name="Google Shape;10478;p14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479" name="Google Shape;10479;p14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480" name="Google Shape;10480;p145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481" name="Google Shape;10481;p145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482" name="Google Shape;10482;p145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83" name="Google Shape;10483;p145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484" name="Google Shape;10484;p145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85" name="Google Shape;10485;p14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486" name="Google Shape;10486;p14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87" name="Google Shape;10487;p14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460.xml><?xml version="1.0" encoding="utf-8"?>
<p:sldLayout xmlns:a="http://schemas.openxmlformats.org/drawingml/2006/main" xmlns:r="http://schemas.openxmlformats.org/officeDocument/2006/relationships" xmlns:p="http://schemas.openxmlformats.org/presentationml/2006/main" matchingName="LM-Transition">
  <p:cSld name="LM-Transition">
    <p:spTree>
      <p:nvGrpSpPr>
        <p:cNvPr id="1" name="Shape 1169"/>
        <p:cNvGrpSpPr/>
        <p:nvPr/>
      </p:nvGrpSpPr>
      <p:grpSpPr>
        <a:xfrm>
          <a:off x="0" y="0"/>
          <a:ext cx="0" cy="0"/>
          <a:chOff x="0" y="0"/>
          <a:chExt cx="0" cy="0"/>
        </a:xfrm>
      </p:grpSpPr>
      <p:sp>
        <p:nvSpPr>
          <p:cNvPr id="1170" name="Google Shape;1170;p122"/>
          <p:cNvSpPr/>
          <p:nvPr/>
        </p:nvSpPr>
        <p:spPr>
          <a:xfrm>
            <a:off x="0" y="2290794"/>
            <a:ext cx="12192000" cy="4567206"/>
          </a:xfrm>
          <a:prstGeom prst="rect">
            <a:avLst/>
          </a:prstGeom>
          <a:solidFill>
            <a:srgbClr val="8D234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1171" name="Google Shape;1171;p122"/>
          <p:cNvCxnSpPr/>
          <p:nvPr/>
        </p:nvCxnSpPr>
        <p:spPr>
          <a:xfrm>
            <a:off x="875820" y="4631593"/>
            <a:ext cx="10440363" cy="0"/>
          </a:xfrm>
          <a:prstGeom prst="straightConnector1">
            <a:avLst/>
          </a:prstGeom>
          <a:noFill/>
          <a:ln w="9525" cap="flat" cmpd="sng">
            <a:solidFill>
              <a:srgbClr val="C9C9C9"/>
            </a:solidFill>
            <a:prstDash val="solid"/>
            <a:miter lim="800000"/>
            <a:headEnd type="none" w="sm" len="sm"/>
            <a:tailEnd type="none" w="sm" len="sm"/>
          </a:ln>
        </p:spPr>
      </p:cxnSp>
      <p:pic>
        <p:nvPicPr>
          <p:cNvPr id="1172" name="Google Shape;1172;p122" descr="LM_3C_H-300.png"/>
          <p:cNvPicPr preferRelativeResize="0"/>
          <p:nvPr/>
        </p:nvPicPr>
        <p:blipFill rotWithShape="1">
          <a:blip r:embed="rId2">
            <a:alphaModFix/>
          </a:blip>
          <a:srcRect/>
          <a:stretch/>
        </p:blipFill>
        <p:spPr>
          <a:xfrm>
            <a:off x="3848101" y="497976"/>
            <a:ext cx="4584701" cy="1142196"/>
          </a:xfrm>
          <a:prstGeom prst="rect">
            <a:avLst/>
          </a:prstGeom>
          <a:noFill/>
          <a:ln>
            <a:noFill/>
          </a:ln>
        </p:spPr>
      </p:pic>
      <p:pic>
        <p:nvPicPr>
          <p:cNvPr id="1173" name="Google Shape;1173;p122" descr="trinity_health.jpg"/>
          <p:cNvPicPr preferRelativeResize="0"/>
          <p:nvPr/>
        </p:nvPicPr>
        <p:blipFill rotWithShape="1">
          <a:blip r:embed="rId3">
            <a:alphaModFix/>
          </a:blip>
          <a:srcRect/>
          <a:stretch/>
        </p:blipFill>
        <p:spPr>
          <a:xfrm>
            <a:off x="4777706" y="1907926"/>
            <a:ext cx="2604577" cy="192492"/>
          </a:xfrm>
          <a:prstGeom prst="rect">
            <a:avLst/>
          </a:prstGeom>
          <a:noFill/>
          <a:ln>
            <a:noFill/>
          </a:ln>
        </p:spPr>
      </p:pic>
      <p:sp>
        <p:nvSpPr>
          <p:cNvPr id="1174" name="Google Shape;1174;p122"/>
          <p:cNvSpPr txBox="1">
            <a:spLocks noGrp="1"/>
          </p:cNvSpPr>
          <p:nvPr>
            <p:ph type="body" idx="1"/>
          </p:nvPr>
        </p:nvSpPr>
        <p:spPr>
          <a:xfrm>
            <a:off x="875820" y="4031767"/>
            <a:ext cx="10440363" cy="381000"/>
          </a:xfrm>
          <a:prstGeom prst="rect">
            <a:avLst/>
          </a:prstGeom>
          <a:noFill/>
          <a:ln>
            <a:noFill/>
          </a:ln>
        </p:spPr>
        <p:txBody>
          <a:bodyPr spcFirstLastPara="1" wrap="square" lIns="91425" tIns="45700" rIns="91425" bIns="45700" anchor="ctr" anchorCtr="0">
            <a:noAutofit/>
          </a:bodyPr>
          <a:lstStyle>
            <a:lvl1pPr marL="457223" lvl="0" indent="-228611" algn="ctr">
              <a:lnSpc>
                <a:spcPct val="100000"/>
              </a:lnSpc>
              <a:spcBef>
                <a:spcPts val="1000"/>
              </a:spcBef>
              <a:spcAft>
                <a:spcPts val="0"/>
              </a:spcAft>
              <a:buSzPts val="2800"/>
              <a:buNone/>
              <a:defRPr sz="2800" b="1" i="0">
                <a:solidFill>
                  <a:schemeClr val="lt1"/>
                </a:solidFill>
                <a:latin typeface="Arial"/>
                <a:ea typeface="Arial"/>
                <a:cs typeface="Arial"/>
                <a:sym typeface="Arial"/>
              </a:defRPr>
            </a:lvl1pPr>
            <a:lvl2pPr marL="914446" lvl="1" indent="-228611"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2pPr>
            <a:lvl3pPr marL="1371669" lvl="2" indent="-228611"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3pPr>
            <a:lvl4pPr marL="1828891" lvl="3" indent="-228611"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4pPr>
            <a:lvl5pPr marL="2286114" lvl="4" indent="-228611"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1175" name="Google Shape;1175;p122"/>
          <p:cNvSpPr txBox="1">
            <a:spLocks noGrp="1"/>
          </p:cNvSpPr>
          <p:nvPr>
            <p:ph type="body" idx="2"/>
          </p:nvPr>
        </p:nvSpPr>
        <p:spPr>
          <a:xfrm>
            <a:off x="875820" y="4886876"/>
            <a:ext cx="10440363" cy="381000"/>
          </a:xfrm>
          <a:prstGeom prst="rect">
            <a:avLst/>
          </a:prstGeom>
          <a:noFill/>
          <a:ln>
            <a:noFill/>
          </a:ln>
        </p:spPr>
        <p:txBody>
          <a:bodyPr spcFirstLastPara="1" wrap="square" lIns="91425" tIns="45700" rIns="91425" bIns="45700" anchor="ctr" anchorCtr="0">
            <a:noAutofit/>
          </a:bodyPr>
          <a:lstStyle>
            <a:lvl1pPr marL="457223" lvl="0" indent="-228611" algn="ctr">
              <a:lnSpc>
                <a:spcPct val="100000"/>
              </a:lnSpc>
              <a:spcBef>
                <a:spcPts val="1000"/>
              </a:spcBef>
              <a:spcAft>
                <a:spcPts val="0"/>
              </a:spcAft>
              <a:buSzPts val="2800"/>
              <a:buNone/>
              <a:defRPr sz="2800" b="1" i="1">
                <a:solidFill>
                  <a:schemeClr val="lt1"/>
                </a:solidFill>
                <a:latin typeface="Times"/>
                <a:ea typeface="Times"/>
                <a:cs typeface="Times"/>
                <a:sym typeface="Times"/>
              </a:defRPr>
            </a:lvl1pPr>
            <a:lvl2pPr marL="914446" lvl="1" indent="-228611"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2pPr>
            <a:lvl3pPr marL="1371669" lvl="2" indent="-228611"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3pPr>
            <a:lvl4pPr marL="1828891" lvl="3" indent="-228611"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4pPr>
            <a:lvl5pPr marL="2286114" lvl="4" indent="-228611"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415503858"/>
      </p:ext>
    </p:extLst>
  </p:cSld>
  <p:clrMapOvr>
    <a:masterClrMapping/>
  </p:clrMapOvr>
</p:sldLayout>
</file>

<file path=ppt/slideLayouts/slideLayout1461.xml><?xml version="1.0" encoding="utf-8"?>
<p:sldLayout xmlns:a="http://schemas.openxmlformats.org/drawingml/2006/main" xmlns:r="http://schemas.openxmlformats.org/officeDocument/2006/relationships" xmlns:p="http://schemas.openxmlformats.org/presentationml/2006/main" matchingName="1_1-Line Title (Blank, Logo Top)">
  <p:cSld name="1_1-Line Title (Blank, Logo Top)">
    <p:spTree>
      <p:nvGrpSpPr>
        <p:cNvPr id="1" name="Shape 1176"/>
        <p:cNvGrpSpPr/>
        <p:nvPr/>
      </p:nvGrpSpPr>
      <p:grpSpPr>
        <a:xfrm>
          <a:off x="0" y="0"/>
          <a:ext cx="0" cy="0"/>
          <a:chOff x="0" y="0"/>
          <a:chExt cx="0" cy="0"/>
        </a:xfrm>
      </p:grpSpPr>
      <p:cxnSp>
        <p:nvCxnSpPr>
          <p:cNvPr id="1177" name="Google Shape;1177;p123"/>
          <p:cNvCxnSpPr/>
          <p:nvPr/>
        </p:nvCxnSpPr>
        <p:spPr>
          <a:xfrm>
            <a:off x="2" y="1129976"/>
            <a:ext cx="10289308" cy="0"/>
          </a:xfrm>
          <a:prstGeom prst="straightConnector1">
            <a:avLst/>
          </a:prstGeom>
          <a:noFill/>
          <a:ln w="12700" cap="flat" cmpd="sng">
            <a:solidFill>
              <a:srgbClr val="C9C9C9"/>
            </a:solidFill>
            <a:prstDash val="solid"/>
            <a:miter lim="800000"/>
            <a:headEnd type="none" w="sm" len="sm"/>
            <a:tailEnd type="oval" w="med" len="med"/>
          </a:ln>
        </p:spPr>
      </p:cxnSp>
      <p:sp>
        <p:nvSpPr>
          <p:cNvPr id="1178" name="Google Shape;1178;p123"/>
          <p:cNvSpPr txBox="1">
            <a:spLocks noGrp="1"/>
          </p:cNvSpPr>
          <p:nvPr>
            <p:ph type="body" idx="1"/>
          </p:nvPr>
        </p:nvSpPr>
        <p:spPr>
          <a:xfrm>
            <a:off x="700621" y="533970"/>
            <a:ext cx="8867787" cy="488537"/>
          </a:xfrm>
          <a:prstGeom prst="rect">
            <a:avLst/>
          </a:prstGeom>
          <a:noFill/>
          <a:ln>
            <a:noFill/>
          </a:ln>
        </p:spPr>
        <p:txBody>
          <a:bodyPr spcFirstLastPara="1" wrap="square" lIns="91425" tIns="45700" rIns="91425" bIns="45700" anchor="ctr" anchorCtr="0">
            <a:noAutofit/>
          </a:bodyPr>
          <a:lstStyle>
            <a:lvl1pPr marL="457223" lvl="0" indent="-228611" algn="l">
              <a:lnSpc>
                <a:spcPct val="100000"/>
              </a:lnSpc>
              <a:spcBef>
                <a:spcPts val="1000"/>
              </a:spcBef>
              <a:spcAft>
                <a:spcPts val="0"/>
              </a:spcAft>
              <a:buSzPts val="2400"/>
              <a:buNone/>
              <a:defRPr b="1">
                <a:solidFill>
                  <a:srgbClr val="8C2347"/>
                </a:solidFill>
              </a:defRPr>
            </a:lvl1pPr>
            <a:lvl2pPr marL="914446" lvl="1" indent="-228611" algn="l">
              <a:lnSpc>
                <a:spcPct val="100000"/>
              </a:lnSpc>
              <a:spcBef>
                <a:spcPts val="1000"/>
              </a:spcBef>
              <a:spcAft>
                <a:spcPts val="0"/>
              </a:spcAft>
              <a:buSzPts val="2000"/>
              <a:buNone/>
              <a:defRPr b="1">
                <a:solidFill>
                  <a:srgbClr val="8C2347"/>
                </a:solidFill>
              </a:defRPr>
            </a:lvl2pPr>
            <a:lvl3pPr marL="1371669" lvl="2" indent="-228611" algn="l">
              <a:lnSpc>
                <a:spcPct val="100000"/>
              </a:lnSpc>
              <a:spcBef>
                <a:spcPts val="1000"/>
              </a:spcBef>
              <a:spcAft>
                <a:spcPts val="0"/>
              </a:spcAft>
              <a:buSzPts val="1800"/>
              <a:buNone/>
              <a:defRPr b="1">
                <a:solidFill>
                  <a:srgbClr val="8C2347"/>
                </a:solidFill>
              </a:defRPr>
            </a:lvl3pPr>
            <a:lvl4pPr marL="1828891" lvl="3" indent="-228611" algn="l">
              <a:lnSpc>
                <a:spcPct val="100000"/>
              </a:lnSpc>
              <a:spcBef>
                <a:spcPts val="1000"/>
              </a:spcBef>
              <a:spcAft>
                <a:spcPts val="0"/>
              </a:spcAft>
              <a:buSzPts val="1600"/>
              <a:buNone/>
              <a:defRPr b="1">
                <a:solidFill>
                  <a:srgbClr val="8C2347"/>
                </a:solidFill>
              </a:defRPr>
            </a:lvl4pPr>
            <a:lvl5pPr marL="2286114" lvl="4" indent="-228611" algn="l">
              <a:lnSpc>
                <a:spcPct val="100000"/>
              </a:lnSpc>
              <a:spcBef>
                <a:spcPts val="1000"/>
              </a:spcBef>
              <a:spcAft>
                <a:spcPts val="0"/>
              </a:spcAft>
              <a:buSzPts val="1600"/>
              <a:buNone/>
              <a:defRPr b="1">
                <a:solidFill>
                  <a:srgbClr val="8C2347"/>
                </a:solidFill>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1179" name="Google Shape;1179;p123"/>
          <p:cNvSpPr/>
          <p:nvPr/>
        </p:nvSpPr>
        <p:spPr>
          <a:xfrm>
            <a:off x="9815334" y="5955179"/>
            <a:ext cx="2376668" cy="902825"/>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sp>
        <p:nvSpPr>
          <p:cNvPr id="1180" name="Google Shape;1180;p123"/>
          <p:cNvSpPr/>
          <p:nvPr/>
        </p:nvSpPr>
        <p:spPr>
          <a:xfrm>
            <a:off x="9815334" y="77979"/>
            <a:ext cx="2376668" cy="94452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pic>
        <p:nvPicPr>
          <p:cNvPr id="1181" name="Google Shape;1181;p123" descr="LM_LUMC_3C_V.png"/>
          <p:cNvPicPr preferRelativeResize="0"/>
          <p:nvPr/>
        </p:nvPicPr>
        <p:blipFill rotWithShape="1">
          <a:blip r:embed="rId2">
            <a:alphaModFix/>
          </a:blip>
          <a:srcRect/>
          <a:stretch/>
        </p:blipFill>
        <p:spPr>
          <a:xfrm>
            <a:off x="9997748" y="317116"/>
            <a:ext cx="1653863" cy="574078"/>
          </a:xfrm>
          <a:prstGeom prst="rect">
            <a:avLst/>
          </a:prstGeom>
          <a:noFill/>
          <a:ln>
            <a:noFill/>
          </a:ln>
        </p:spPr>
      </p:pic>
    </p:spTree>
    <p:extLst>
      <p:ext uri="{BB962C8B-B14F-4D97-AF65-F5344CB8AC3E}">
        <p14:creationId xmlns:p14="http://schemas.microsoft.com/office/powerpoint/2010/main" val="3484832649"/>
      </p:ext>
    </p:extLst>
  </p:cSld>
  <p:clrMapOvr>
    <a:masterClrMapping/>
  </p:clrMapOvr>
</p:sldLayout>
</file>

<file path=ppt/slideLayouts/slideLayout1462.xml><?xml version="1.0" encoding="utf-8"?>
<p:sldLayout xmlns:a="http://schemas.openxmlformats.org/drawingml/2006/main" xmlns:r="http://schemas.openxmlformats.org/officeDocument/2006/relationships" xmlns:p="http://schemas.openxmlformats.org/presentationml/2006/main" matchingName="1_1-Line Title (Blank, Logo Top)">
  <p:cSld name="2_1-Line Title (Blank, Logo Top)">
    <p:spTree>
      <p:nvGrpSpPr>
        <p:cNvPr id="1" name="Shape 1182"/>
        <p:cNvGrpSpPr/>
        <p:nvPr/>
      </p:nvGrpSpPr>
      <p:grpSpPr>
        <a:xfrm>
          <a:off x="0" y="0"/>
          <a:ext cx="0" cy="0"/>
          <a:chOff x="0" y="0"/>
          <a:chExt cx="0" cy="0"/>
        </a:xfrm>
      </p:grpSpPr>
      <p:cxnSp>
        <p:nvCxnSpPr>
          <p:cNvPr id="1183" name="Google Shape;1183;p124"/>
          <p:cNvCxnSpPr/>
          <p:nvPr/>
        </p:nvCxnSpPr>
        <p:spPr>
          <a:xfrm>
            <a:off x="2" y="1129976"/>
            <a:ext cx="10289308" cy="0"/>
          </a:xfrm>
          <a:prstGeom prst="straightConnector1">
            <a:avLst/>
          </a:prstGeom>
          <a:noFill/>
          <a:ln w="12700" cap="flat" cmpd="sng">
            <a:solidFill>
              <a:srgbClr val="C9C9C9"/>
            </a:solidFill>
            <a:prstDash val="solid"/>
            <a:miter lim="800000"/>
            <a:headEnd type="none" w="sm" len="sm"/>
            <a:tailEnd type="oval" w="med" len="med"/>
          </a:ln>
        </p:spPr>
      </p:cxnSp>
      <p:sp>
        <p:nvSpPr>
          <p:cNvPr id="1184" name="Google Shape;1184;p124"/>
          <p:cNvSpPr txBox="1">
            <a:spLocks noGrp="1"/>
          </p:cNvSpPr>
          <p:nvPr>
            <p:ph type="body" idx="1"/>
          </p:nvPr>
        </p:nvSpPr>
        <p:spPr>
          <a:xfrm>
            <a:off x="700621" y="533970"/>
            <a:ext cx="8867787" cy="488537"/>
          </a:xfrm>
          <a:prstGeom prst="rect">
            <a:avLst/>
          </a:prstGeom>
          <a:noFill/>
          <a:ln>
            <a:noFill/>
          </a:ln>
        </p:spPr>
        <p:txBody>
          <a:bodyPr spcFirstLastPara="1" wrap="square" lIns="91425" tIns="45700" rIns="91425" bIns="45700" anchor="ctr" anchorCtr="0">
            <a:noAutofit/>
          </a:bodyPr>
          <a:lstStyle>
            <a:lvl1pPr marL="457223" lvl="0" indent="-228611" algn="l">
              <a:lnSpc>
                <a:spcPct val="100000"/>
              </a:lnSpc>
              <a:spcBef>
                <a:spcPts val="1000"/>
              </a:spcBef>
              <a:spcAft>
                <a:spcPts val="0"/>
              </a:spcAft>
              <a:buSzPts val="2400"/>
              <a:buNone/>
              <a:defRPr b="1">
                <a:solidFill>
                  <a:srgbClr val="8C2347"/>
                </a:solidFill>
              </a:defRPr>
            </a:lvl1pPr>
            <a:lvl2pPr marL="914446" lvl="1" indent="-228611" algn="l">
              <a:lnSpc>
                <a:spcPct val="100000"/>
              </a:lnSpc>
              <a:spcBef>
                <a:spcPts val="1000"/>
              </a:spcBef>
              <a:spcAft>
                <a:spcPts val="0"/>
              </a:spcAft>
              <a:buSzPts val="2000"/>
              <a:buNone/>
              <a:defRPr b="1">
                <a:solidFill>
                  <a:srgbClr val="8C2347"/>
                </a:solidFill>
              </a:defRPr>
            </a:lvl2pPr>
            <a:lvl3pPr marL="1371669" lvl="2" indent="-228611" algn="l">
              <a:lnSpc>
                <a:spcPct val="100000"/>
              </a:lnSpc>
              <a:spcBef>
                <a:spcPts val="1000"/>
              </a:spcBef>
              <a:spcAft>
                <a:spcPts val="0"/>
              </a:spcAft>
              <a:buSzPts val="1800"/>
              <a:buNone/>
              <a:defRPr b="1">
                <a:solidFill>
                  <a:srgbClr val="8C2347"/>
                </a:solidFill>
              </a:defRPr>
            </a:lvl3pPr>
            <a:lvl4pPr marL="1828891" lvl="3" indent="-228611" algn="l">
              <a:lnSpc>
                <a:spcPct val="100000"/>
              </a:lnSpc>
              <a:spcBef>
                <a:spcPts val="1000"/>
              </a:spcBef>
              <a:spcAft>
                <a:spcPts val="0"/>
              </a:spcAft>
              <a:buSzPts val="1600"/>
              <a:buNone/>
              <a:defRPr b="1">
                <a:solidFill>
                  <a:srgbClr val="8C2347"/>
                </a:solidFill>
              </a:defRPr>
            </a:lvl4pPr>
            <a:lvl5pPr marL="2286114" lvl="4" indent="-228611" algn="l">
              <a:lnSpc>
                <a:spcPct val="100000"/>
              </a:lnSpc>
              <a:spcBef>
                <a:spcPts val="1000"/>
              </a:spcBef>
              <a:spcAft>
                <a:spcPts val="0"/>
              </a:spcAft>
              <a:buSzPts val="1600"/>
              <a:buNone/>
              <a:defRPr b="1">
                <a:solidFill>
                  <a:srgbClr val="8C2347"/>
                </a:solidFill>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1185" name="Google Shape;1185;p124"/>
          <p:cNvSpPr/>
          <p:nvPr/>
        </p:nvSpPr>
        <p:spPr>
          <a:xfrm>
            <a:off x="9815334" y="5955179"/>
            <a:ext cx="2376668" cy="902825"/>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sp>
        <p:nvSpPr>
          <p:cNvPr id="1186" name="Google Shape;1186;p124"/>
          <p:cNvSpPr/>
          <p:nvPr/>
        </p:nvSpPr>
        <p:spPr>
          <a:xfrm>
            <a:off x="9815334" y="77979"/>
            <a:ext cx="2376668" cy="94452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pic>
        <p:nvPicPr>
          <p:cNvPr id="1187" name="Google Shape;1187;p124" descr="LM_LUMC_3C_V.png"/>
          <p:cNvPicPr preferRelativeResize="0"/>
          <p:nvPr/>
        </p:nvPicPr>
        <p:blipFill rotWithShape="1">
          <a:blip r:embed="rId2">
            <a:alphaModFix/>
          </a:blip>
          <a:srcRect/>
          <a:stretch/>
        </p:blipFill>
        <p:spPr>
          <a:xfrm>
            <a:off x="9997748" y="317116"/>
            <a:ext cx="1653863" cy="574078"/>
          </a:xfrm>
          <a:prstGeom prst="rect">
            <a:avLst/>
          </a:prstGeom>
          <a:noFill/>
          <a:ln>
            <a:noFill/>
          </a:ln>
        </p:spPr>
      </p:pic>
    </p:spTree>
    <p:extLst>
      <p:ext uri="{BB962C8B-B14F-4D97-AF65-F5344CB8AC3E}">
        <p14:creationId xmlns:p14="http://schemas.microsoft.com/office/powerpoint/2010/main" val="1687145816"/>
      </p:ext>
    </p:extLst>
  </p:cSld>
  <p:clrMapOvr>
    <a:masterClrMapping/>
  </p:clrMapOvr>
</p:sldLayout>
</file>

<file path=ppt/slideLayouts/slideLayout1463.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188"/>
        <p:cNvGrpSpPr/>
        <p:nvPr/>
      </p:nvGrpSpPr>
      <p:grpSpPr>
        <a:xfrm>
          <a:off x="0" y="0"/>
          <a:ext cx="0" cy="0"/>
          <a:chOff x="0" y="0"/>
          <a:chExt cx="0" cy="0"/>
        </a:xfrm>
      </p:grpSpPr>
      <p:sp>
        <p:nvSpPr>
          <p:cNvPr id="1189" name="Google Shape;1189;p125"/>
          <p:cNvSpPr/>
          <p:nvPr/>
        </p:nvSpPr>
        <p:spPr>
          <a:xfrm>
            <a:off x="0" y="0"/>
            <a:ext cx="12193200" cy="68616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000"/>
              <a:buFont typeface="Calibri"/>
              <a:buNone/>
            </a:pPr>
            <a:endParaRPr sz="2000" b="0" i="0" u="none" strike="noStrike" cap="none">
              <a:solidFill>
                <a:schemeClr val="lt1"/>
              </a:solidFill>
              <a:latin typeface="Cambria"/>
              <a:ea typeface="Cambria"/>
              <a:cs typeface="Cambria"/>
              <a:sym typeface="Cambria"/>
            </a:endParaRPr>
          </a:p>
        </p:txBody>
      </p:sp>
      <p:pic>
        <p:nvPicPr>
          <p:cNvPr id="1190" name="Google Shape;1190;p125"/>
          <p:cNvPicPr preferRelativeResize="0"/>
          <p:nvPr/>
        </p:nvPicPr>
        <p:blipFill rotWithShape="1">
          <a:blip r:embed="rId2">
            <a:alphaModFix/>
          </a:blip>
          <a:srcRect/>
          <a:stretch/>
        </p:blipFill>
        <p:spPr>
          <a:xfrm>
            <a:off x="0" y="4686300"/>
            <a:ext cx="12192000" cy="2171700"/>
          </a:xfrm>
          <a:prstGeom prst="rect">
            <a:avLst/>
          </a:prstGeom>
          <a:noFill/>
          <a:ln>
            <a:noFill/>
          </a:ln>
        </p:spPr>
      </p:pic>
      <p:sp>
        <p:nvSpPr>
          <p:cNvPr id="1191" name="Google Shape;1191;p125"/>
          <p:cNvSpPr txBox="1">
            <a:spLocks noGrp="1"/>
          </p:cNvSpPr>
          <p:nvPr>
            <p:ph type="ctrTitle"/>
          </p:nvPr>
        </p:nvSpPr>
        <p:spPr>
          <a:xfrm>
            <a:off x="979200" y="1828800"/>
            <a:ext cx="10234800" cy="1414500"/>
          </a:xfrm>
          <a:prstGeom prst="rect">
            <a:avLst/>
          </a:prstGeom>
          <a:noFill/>
          <a:ln>
            <a:noFill/>
          </a:ln>
        </p:spPr>
        <p:txBody>
          <a:bodyPr spcFirstLastPara="1" wrap="square" lIns="0" tIns="0" rIns="0" bIns="0" anchor="b" anchorCtr="0">
            <a:noAutofit/>
          </a:bodyPr>
          <a:lstStyle>
            <a:lvl1pPr lvl="0" algn="ctr">
              <a:lnSpc>
                <a:spcPct val="85000"/>
              </a:lnSpc>
              <a:spcBef>
                <a:spcPts val="0"/>
              </a:spcBef>
              <a:spcAft>
                <a:spcPts val="0"/>
              </a:spcAft>
              <a:buClr>
                <a:schemeClr val="lt1"/>
              </a:buClr>
              <a:buSzPts val="5400"/>
              <a:buFont typeface="Calibri"/>
              <a:buNone/>
              <a:defRPr sz="54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2" name="Google Shape;1192;p125"/>
          <p:cNvSpPr txBox="1">
            <a:spLocks noGrp="1"/>
          </p:cNvSpPr>
          <p:nvPr>
            <p:ph type="subTitle" idx="1"/>
          </p:nvPr>
        </p:nvSpPr>
        <p:spPr>
          <a:xfrm>
            <a:off x="979200" y="3520800"/>
            <a:ext cx="10234800" cy="442800"/>
          </a:xfrm>
          <a:prstGeom prst="rect">
            <a:avLst/>
          </a:prstGeom>
          <a:noFill/>
          <a:ln>
            <a:noFill/>
          </a:ln>
        </p:spPr>
        <p:txBody>
          <a:bodyPr spcFirstLastPara="1" wrap="square" lIns="0" tIns="0" rIns="0" bIns="0" anchor="t" anchorCtr="0">
            <a:noAutofit/>
          </a:bodyPr>
          <a:lstStyle>
            <a:lvl1pPr lvl="0" algn="ctr">
              <a:lnSpc>
                <a:spcPct val="90000"/>
              </a:lnSpc>
              <a:spcBef>
                <a:spcPts val="0"/>
              </a:spcBef>
              <a:spcAft>
                <a:spcPts val="0"/>
              </a:spcAft>
              <a:buSzPts val="3200"/>
              <a:buFont typeface="Calibri"/>
              <a:buChar char="​"/>
              <a:defRPr sz="3200" i="1">
                <a:solidFill>
                  <a:schemeClr val="lt1"/>
                </a:solidFill>
                <a:latin typeface="Cambria"/>
                <a:ea typeface="Cambria"/>
                <a:cs typeface="Cambria"/>
                <a:sym typeface="Cambria"/>
              </a:defRPr>
            </a:lvl1pPr>
            <a:lvl2pPr lvl="1" algn="ctr">
              <a:lnSpc>
                <a:spcPct val="90000"/>
              </a:lnSpc>
              <a:spcBef>
                <a:spcPts val="600"/>
              </a:spcBef>
              <a:spcAft>
                <a:spcPts val="0"/>
              </a:spcAft>
              <a:buSzPts val="3200"/>
              <a:buFont typeface="Calibri"/>
              <a:buNone/>
              <a:defRPr sz="3200" i="1">
                <a:solidFill>
                  <a:schemeClr val="lt1"/>
                </a:solidFill>
                <a:latin typeface="Cambria"/>
                <a:ea typeface="Cambria"/>
                <a:cs typeface="Cambria"/>
                <a:sym typeface="Cambria"/>
              </a:defRPr>
            </a:lvl2pPr>
            <a:lvl3pPr lvl="2" algn="ctr">
              <a:lnSpc>
                <a:spcPct val="90000"/>
              </a:lnSpc>
              <a:spcBef>
                <a:spcPts val="600"/>
              </a:spcBef>
              <a:spcAft>
                <a:spcPts val="0"/>
              </a:spcAft>
              <a:buSzPts val="3200"/>
              <a:buFont typeface="Calibri"/>
              <a:buChar char="​"/>
              <a:defRPr sz="3200" i="1">
                <a:solidFill>
                  <a:schemeClr val="lt1"/>
                </a:solidFill>
                <a:latin typeface="Cambria"/>
                <a:ea typeface="Cambria"/>
                <a:cs typeface="Cambria"/>
                <a:sym typeface="Cambria"/>
              </a:defRPr>
            </a:lvl3pPr>
            <a:lvl4pPr lvl="3"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4pPr>
            <a:lvl5pPr lvl="4" algn="ctr">
              <a:lnSpc>
                <a:spcPct val="90000"/>
              </a:lnSpc>
              <a:spcBef>
                <a:spcPts val="12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5pPr>
            <a:lvl6pPr lvl="5"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6pPr>
            <a:lvl7pPr lvl="6" algn="ctr">
              <a:lnSpc>
                <a:spcPct val="90000"/>
              </a:lnSpc>
              <a:spcBef>
                <a:spcPts val="9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7pPr>
            <a:lvl8pPr lvl="7"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8pPr>
            <a:lvl9pPr lvl="8"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9pPr>
          </a:lstStyle>
          <a:p>
            <a:endParaRPr/>
          </a:p>
        </p:txBody>
      </p:sp>
      <p:sp>
        <p:nvSpPr>
          <p:cNvPr id="1193" name="Google Shape;1193;p125"/>
          <p:cNvSpPr txBox="1"/>
          <p:nvPr/>
        </p:nvSpPr>
        <p:spPr>
          <a:xfrm>
            <a:off x="11212800" y="6498000"/>
            <a:ext cx="522000" cy="360000"/>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Clr>
                <a:srgbClr val="595959"/>
              </a:buClr>
              <a:buSzPts val="1400"/>
              <a:buFont typeface="Calibri"/>
              <a:buNone/>
            </a:pPr>
            <a:fld id="{00000000-1234-1234-1234-123412341234}" type="slidenum">
              <a:rPr lang="en-US" sz="1400" b="0" i="0" u="none" strike="noStrike" cap="none">
                <a:solidFill>
                  <a:srgbClr val="595959"/>
                </a:solidFill>
                <a:latin typeface="Calibri"/>
                <a:ea typeface="Calibri"/>
                <a:cs typeface="Calibri"/>
                <a:sym typeface="Calibri"/>
              </a:rPr>
              <a:pPr marL="0" marR="0" lvl="0" indent="0" algn="r" rtl="0">
                <a:spcBef>
                  <a:spcPts val="0"/>
                </a:spcBef>
                <a:spcAft>
                  <a:spcPts val="0"/>
                </a:spcAft>
                <a:buClr>
                  <a:srgbClr val="595959"/>
                </a:buClr>
                <a:buSzPts val="1400"/>
                <a:buFont typeface="Calibri"/>
                <a:buNone/>
              </a:pPr>
              <a:t>‹#›</a:t>
            </a:fld>
            <a:endParaRPr sz="1400" b="0" i="0" u="none" strike="noStrike" cap="none">
              <a:solidFill>
                <a:srgbClr val="595959"/>
              </a:solidFill>
              <a:latin typeface="Calibri"/>
              <a:ea typeface="Calibri"/>
              <a:cs typeface="Calibri"/>
              <a:sym typeface="Calibri"/>
            </a:endParaRPr>
          </a:p>
        </p:txBody>
      </p:sp>
    </p:spTree>
    <p:extLst>
      <p:ext uri="{BB962C8B-B14F-4D97-AF65-F5344CB8AC3E}">
        <p14:creationId xmlns:p14="http://schemas.microsoft.com/office/powerpoint/2010/main" val="780271223"/>
      </p:ext>
    </p:extLst>
  </p:cSld>
  <p:clrMapOvr>
    <a:masterClrMapping/>
  </p:clrMapOvr>
</p:sldLayout>
</file>

<file path=ppt/slideLayouts/slideLayout1464.xml><?xml version="1.0" encoding="utf-8"?>
<p:sldLayout xmlns:a="http://schemas.openxmlformats.org/drawingml/2006/main" xmlns:r="http://schemas.openxmlformats.org/officeDocument/2006/relationships" xmlns:p="http://schemas.openxmlformats.org/presentationml/2006/main" matchingName="Content and Picture">
  <p:cSld name="Content and Picture">
    <p:spTree>
      <p:nvGrpSpPr>
        <p:cNvPr id="1" name="Shape 1194"/>
        <p:cNvGrpSpPr/>
        <p:nvPr/>
      </p:nvGrpSpPr>
      <p:grpSpPr>
        <a:xfrm>
          <a:off x="0" y="0"/>
          <a:ext cx="0" cy="0"/>
          <a:chOff x="0" y="0"/>
          <a:chExt cx="0" cy="0"/>
        </a:xfrm>
      </p:grpSpPr>
      <p:sp>
        <p:nvSpPr>
          <p:cNvPr id="1195" name="Google Shape;1195;p126"/>
          <p:cNvSpPr txBox="1">
            <a:spLocks noGrp="1"/>
          </p:cNvSpPr>
          <p:nvPr>
            <p:ph type="body" idx="1"/>
          </p:nvPr>
        </p:nvSpPr>
        <p:spPr>
          <a:xfrm>
            <a:off x="457200" y="1828800"/>
            <a:ext cx="5410800" cy="4388400"/>
          </a:xfrm>
          <a:prstGeom prst="rect">
            <a:avLst/>
          </a:prstGeom>
          <a:noFill/>
          <a:ln>
            <a:noFill/>
          </a:ln>
        </p:spPr>
        <p:txBody>
          <a:bodyPr spcFirstLastPara="1" wrap="square" lIns="0" tIns="0" rIns="0" bIns="0" anchor="t" anchorCtr="0">
            <a:noAutofit/>
          </a:bodyPr>
          <a:lstStyle>
            <a:lvl1pPr marL="457223" lvl="0" indent="-355618" algn="l">
              <a:lnSpc>
                <a:spcPct val="90000"/>
              </a:lnSpc>
              <a:spcBef>
                <a:spcPts val="0"/>
              </a:spcBef>
              <a:spcAft>
                <a:spcPts val="0"/>
              </a:spcAft>
              <a:buSzPts val="2000"/>
              <a:buChar char="•"/>
              <a:defRPr/>
            </a:lvl1pPr>
            <a:lvl2pPr marL="914446" lvl="1" indent="-342917" algn="l">
              <a:lnSpc>
                <a:spcPct val="90000"/>
              </a:lnSpc>
              <a:spcBef>
                <a:spcPts val="600"/>
              </a:spcBef>
              <a:spcAft>
                <a:spcPts val="0"/>
              </a:spcAft>
              <a:buSzPts val="1800"/>
              <a:buChar char="•"/>
              <a:defRPr/>
            </a:lvl2pPr>
            <a:lvl3pPr marL="1371669" lvl="2" indent="-342917" algn="l">
              <a:lnSpc>
                <a:spcPct val="90000"/>
              </a:lnSpc>
              <a:spcBef>
                <a:spcPts val="600"/>
              </a:spcBef>
              <a:spcAft>
                <a:spcPts val="0"/>
              </a:spcAft>
              <a:buSzPts val="1800"/>
              <a:buChar char="•"/>
              <a:defRPr/>
            </a:lvl3pPr>
            <a:lvl4pPr marL="1828891" lvl="3" indent="-342917" algn="l">
              <a:lnSpc>
                <a:spcPct val="90000"/>
              </a:lnSpc>
              <a:spcBef>
                <a:spcPts val="600"/>
              </a:spcBef>
              <a:spcAft>
                <a:spcPts val="0"/>
              </a:spcAft>
              <a:buClr>
                <a:schemeClr val="dk1"/>
              </a:buClr>
              <a:buSzPts val="1800"/>
              <a:buChar char="​"/>
              <a:defRPr/>
            </a:lvl4pPr>
            <a:lvl5pPr marL="2286114" lvl="4" indent="-381019" algn="l">
              <a:lnSpc>
                <a:spcPct val="90000"/>
              </a:lnSpc>
              <a:spcBef>
                <a:spcPts val="1200"/>
              </a:spcBef>
              <a:spcAft>
                <a:spcPts val="0"/>
              </a:spcAft>
              <a:buClr>
                <a:schemeClr val="accent1"/>
              </a:buClr>
              <a:buSzPts val="2400"/>
              <a:buChar char="​"/>
              <a:defRPr/>
            </a:lvl5pPr>
            <a:lvl6pPr marL="2743337" lvl="5" indent="-342917" algn="l">
              <a:lnSpc>
                <a:spcPct val="90000"/>
              </a:lnSpc>
              <a:spcBef>
                <a:spcPts val="600"/>
              </a:spcBef>
              <a:spcAft>
                <a:spcPts val="0"/>
              </a:spcAft>
              <a:buClr>
                <a:schemeClr val="dk1"/>
              </a:buClr>
              <a:buSzPts val="1800"/>
              <a:buChar char="​"/>
              <a:defRPr/>
            </a:lvl6pPr>
            <a:lvl7pPr marL="3200560" lvl="6" indent="-342917" algn="l">
              <a:lnSpc>
                <a:spcPct val="80000"/>
              </a:lnSpc>
              <a:spcBef>
                <a:spcPts val="900"/>
              </a:spcBef>
              <a:spcAft>
                <a:spcPts val="0"/>
              </a:spcAft>
              <a:buClr>
                <a:schemeClr val="accent5"/>
              </a:buClr>
              <a:buSzPts val="1800"/>
              <a:buChar char="​"/>
              <a:defRPr/>
            </a:lvl7pPr>
            <a:lvl8pPr marL="3657783" lvl="7" indent="-342917" algn="l">
              <a:lnSpc>
                <a:spcPct val="80000"/>
              </a:lnSpc>
              <a:spcBef>
                <a:spcPts val="600"/>
              </a:spcBef>
              <a:spcAft>
                <a:spcPts val="0"/>
              </a:spcAft>
              <a:buClr>
                <a:schemeClr val="dk1"/>
              </a:buClr>
              <a:buSzPts val="1800"/>
              <a:buChar char="​"/>
              <a:defRPr/>
            </a:lvl8pPr>
            <a:lvl9pPr marL="4115006" lvl="8" indent="-342917" algn="l">
              <a:lnSpc>
                <a:spcPct val="80000"/>
              </a:lnSpc>
              <a:spcBef>
                <a:spcPts val="600"/>
              </a:spcBef>
              <a:spcAft>
                <a:spcPts val="0"/>
              </a:spcAft>
              <a:buClr>
                <a:schemeClr val="dk1"/>
              </a:buClr>
              <a:buSzPts val="1800"/>
              <a:buChar char="​"/>
              <a:defRPr/>
            </a:lvl9pPr>
          </a:lstStyle>
          <a:p>
            <a:endParaRPr/>
          </a:p>
        </p:txBody>
      </p:sp>
      <p:sp>
        <p:nvSpPr>
          <p:cNvPr id="1196" name="Google Shape;1196;p126"/>
          <p:cNvSpPr txBox="1">
            <a:spLocks noGrp="1"/>
          </p:cNvSpPr>
          <p:nvPr>
            <p:ph type="subTitle" idx="2"/>
          </p:nvPr>
        </p:nvSpPr>
        <p:spPr>
          <a:xfrm>
            <a:off x="456000" y="6217200"/>
            <a:ext cx="11278800" cy="183600"/>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SzPts val="800"/>
              <a:buFont typeface="Calibri"/>
              <a:buChar char="​"/>
              <a:defRPr sz="800" i="0">
                <a:solidFill>
                  <a:schemeClr val="dk1"/>
                </a:solidFill>
                <a:latin typeface="Calibri"/>
                <a:ea typeface="Calibri"/>
                <a:cs typeface="Calibri"/>
                <a:sym typeface="Calibri"/>
              </a:defRPr>
            </a:lvl1pPr>
            <a:lvl2pPr lvl="1" algn="ctr">
              <a:lnSpc>
                <a:spcPct val="90000"/>
              </a:lnSpc>
              <a:spcBef>
                <a:spcPts val="600"/>
              </a:spcBef>
              <a:spcAft>
                <a:spcPts val="0"/>
              </a:spcAft>
              <a:buSzPts val="3200"/>
              <a:buFont typeface="Calibri"/>
              <a:buNone/>
              <a:defRPr sz="3200" i="1">
                <a:solidFill>
                  <a:schemeClr val="lt1"/>
                </a:solidFill>
                <a:latin typeface="Cambria"/>
                <a:ea typeface="Cambria"/>
                <a:cs typeface="Cambria"/>
                <a:sym typeface="Cambria"/>
              </a:defRPr>
            </a:lvl2pPr>
            <a:lvl3pPr lvl="2" algn="ctr">
              <a:lnSpc>
                <a:spcPct val="90000"/>
              </a:lnSpc>
              <a:spcBef>
                <a:spcPts val="600"/>
              </a:spcBef>
              <a:spcAft>
                <a:spcPts val="0"/>
              </a:spcAft>
              <a:buSzPts val="3200"/>
              <a:buFont typeface="Calibri"/>
              <a:buChar char="​"/>
              <a:defRPr sz="3200" i="1">
                <a:solidFill>
                  <a:schemeClr val="lt1"/>
                </a:solidFill>
                <a:latin typeface="Cambria"/>
                <a:ea typeface="Cambria"/>
                <a:cs typeface="Cambria"/>
                <a:sym typeface="Cambria"/>
              </a:defRPr>
            </a:lvl3pPr>
            <a:lvl4pPr lvl="3"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4pPr>
            <a:lvl5pPr lvl="4" algn="ctr">
              <a:lnSpc>
                <a:spcPct val="90000"/>
              </a:lnSpc>
              <a:spcBef>
                <a:spcPts val="12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5pPr>
            <a:lvl6pPr lvl="5"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6pPr>
            <a:lvl7pPr lvl="6" algn="ctr">
              <a:lnSpc>
                <a:spcPct val="90000"/>
              </a:lnSpc>
              <a:spcBef>
                <a:spcPts val="9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7pPr>
            <a:lvl8pPr lvl="7"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8pPr>
            <a:lvl9pPr lvl="8"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9pPr>
          </a:lstStyle>
          <a:p>
            <a:endParaRPr/>
          </a:p>
        </p:txBody>
      </p:sp>
      <p:sp>
        <p:nvSpPr>
          <p:cNvPr id="1197" name="Google Shape;1197;p126"/>
          <p:cNvSpPr>
            <a:spLocks noGrp="1"/>
          </p:cNvSpPr>
          <p:nvPr>
            <p:ph type="pic" idx="3"/>
          </p:nvPr>
        </p:nvSpPr>
        <p:spPr>
          <a:xfrm>
            <a:off x="6325200" y="1828800"/>
            <a:ext cx="5410800" cy="4388400"/>
          </a:xfrm>
          <a:prstGeom prst="rect">
            <a:avLst/>
          </a:prstGeom>
          <a:noFill/>
          <a:ln>
            <a:noFill/>
          </a:ln>
        </p:spPr>
      </p:sp>
      <p:sp>
        <p:nvSpPr>
          <p:cNvPr id="1198" name="Google Shape;1198;p126"/>
          <p:cNvSpPr txBox="1">
            <a:spLocks noGrp="1"/>
          </p:cNvSpPr>
          <p:nvPr>
            <p:ph type="dt" idx="10"/>
          </p:nvPr>
        </p:nvSpPr>
        <p:spPr>
          <a:xfrm>
            <a:off x="10111200" y="6498000"/>
            <a:ext cx="979200" cy="360000"/>
          </a:xfrm>
          <a:prstGeom prst="rect">
            <a:avLst/>
          </a:prstGeom>
          <a:noFill/>
          <a:ln>
            <a:noFill/>
          </a:ln>
        </p:spPr>
        <p:txBody>
          <a:bodyPr spcFirstLastPara="1" wrap="square" lIns="0" tIns="0" rIns="0" bIns="0" anchor="t" anchorCtr="0">
            <a:noAutofit/>
          </a:bodyPr>
          <a:lstStyle>
            <a:lvl1pPr marR="0" lvl="0" algn="r"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199" name="Google Shape;1199;p126"/>
          <p:cNvSpPr txBox="1">
            <a:spLocks noGrp="1"/>
          </p:cNvSpPr>
          <p:nvPr>
            <p:ph type="ftr" idx="11"/>
          </p:nvPr>
        </p:nvSpPr>
        <p:spPr>
          <a:xfrm>
            <a:off x="2597850" y="6498000"/>
            <a:ext cx="6996300" cy="360000"/>
          </a:xfrm>
          <a:prstGeom prst="rect">
            <a:avLst/>
          </a:prstGeom>
          <a:noFill/>
          <a:ln>
            <a:noFill/>
          </a:ln>
        </p:spPr>
        <p:txBody>
          <a:bodyPr spcFirstLastPara="1" wrap="square" lIns="0" tIns="0" rIns="0" bIns="0" anchor="t" anchorCtr="0">
            <a:noAutofit/>
          </a:bodyPr>
          <a:lstStyle>
            <a:lvl1pPr lvl="0" algn="l">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200" name="Google Shape;1200;p126"/>
          <p:cNvSpPr txBox="1">
            <a:spLocks noGrp="1"/>
          </p:cNvSpPr>
          <p:nvPr>
            <p:ph type="sldNum" idx="12"/>
          </p:nvPr>
        </p:nvSpPr>
        <p:spPr>
          <a:xfrm>
            <a:off x="11212800" y="6498000"/>
            <a:ext cx="522000" cy="360000"/>
          </a:xfrm>
          <a:prstGeom prst="rect">
            <a:avLst/>
          </a:prstGeom>
          <a:noFill/>
          <a:ln>
            <a:noFill/>
          </a:ln>
        </p:spPr>
        <p:txBody>
          <a:bodyPr spcFirstLastPara="1" wrap="square" lIns="0" tIns="0" rIns="0" bIns="0" anchor="t" anchorCtr="0">
            <a:noAutofit/>
          </a:bodyPr>
          <a:lstStyle>
            <a:lvl1pPr marL="0" marR="0" lvl="0"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1pPr>
            <a:lvl2pPr marL="0" marR="0" lvl="1"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2pPr>
            <a:lvl3pPr marL="0" marR="0" lvl="2"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3pPr>
            <a:lvl4pPr marL="0" marR="0" lvl="3"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4pPr>
            <a:lvl5pPr marL="0" marR="0" lvl="4"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5pPr>
            <a:lvl6pPr marL="0" marR="0" lvl="5"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6pPr>
            <a:lvl7pPr marL="0" marR="0" lvl="6"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7pPr>
            <a:lvl8pPr marL="0" marR="0" lvl="7"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8pPr>
            <a:lvl9pPr marL="0" marR="0" lvl="8"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201" name="Google Shape;1201;p126"/>
          <p:cNvSpPr txBox="1">
            <a:spLocks noGrp="1"/>
          </p:cNvSpPr>
          <p:nvPr>
            <p:ph type="title"/>
          </p:nvPr>
        </p:nvSpPr>
        <p:spPr>
          <a:xfrm>
            <a:off x="457200" y="457200"/>
            <a:ext cx="11278800" cy="1202100"/>
          </a:xfrm>
          <a:prstGeom prst="rect">
            <a:avLst/>
          </a:prstGeom>
          <a:noFill/>
          <a:ln>
            <a:noFill/>
          </a:ln>
        </p:spPr>
        <p:txBody>
          <a:bodyPr spcFirstLastPara="1" wrap="square" lIns="0" tIns="0" rIns="0" bIns="0" anchor="b" anchorCtr="0">
            <a:noAutofit/>
          </a:bodyPr>
          <a:lstStyle>
            <a:lvl1pPr lvl="0" algn="l">
              <a:lnSpc>
                <a:spcPct val="85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939179838"/>
      </p:ext>
    </p:extLst>
  </p:cSld>
  <p:clrMapOvr>
    <a:masterClrMapping/>
  </p:clrMapOvr>
</p:sldLayout>
</file>

<file path=ppt/slideLayouts/slideLayout1465.xml><?xml version="1.0" encoding="utf-8"?>
<p:sldLayout xmlns:a="http://schemas.openxmlformats.org/drawingml/2006/main" xmlns:r="http://schemas.openxmlformats.org/officeDocument/2006/relationships" xmlns:p="http://schemas.openxmlformats.org/presentationml/2006/main" matchingName="Title and Content: Green">
  <p:cSld name="Title and Content: Green">
    <p:spTree>
      <p:nvGrpSpPr>
        <p:cNvPr id="1" name="Shape 1202"/>
        <p:cNvGrpSpPr/>
        <p:nvPr/>
      </p:nvGrpSpPr>
      <p:grpSpPr>
        <a:xfrm>
          <a:off x="0" y="0"/>
          <a:ext cx="0" cy="0"/>
          <a:chOff x="0" y="0"/>
          <a:chExt cx="0" cy="0"/>
        </a:xfrm>
      </p:grpSpPr>
      <p:pic>
        <p:nvPicPr>
          <p:cNvPr id="1203" name="Google Shape;1203;p127"/>
          <p:cNvPicPr preferRelativeResize="0"/>
          <p:nvPr/>
        </p:nvPicPr>
        <p:blipFill rotWithShape="1">
          <a:blip r:embed="rId2">
            <a:alphaModFix/>
          </a:blip>
          <a:srcRect/>
          <a:stretch/>
        </p:blipFill>
        <p:spPr>
          <a:xfrm>
            <a:off x="0" y="5295901"/>
            <a:ext cx="12192000" cy="1562099"/>
          </a:xfrm>
          <a:prstGeom prst="rect">
            <a:avLst/>
          </a:prstGeom>
          <a:noFill/>
          <a:ln>
            <a:noFill/>
          </a:ln>
        </p:spPr>
      </p:pic>
      <p:sp>
        <p:nvSpPr>
          <p:cNvPr id="1204" name="Google Shape;1204;p127"/>
          <p:cNvSpPr txBox="1">
            <a:spLocks noGrp="1"/>
          </p:cNvSpPr>
          <p:nvPr>
            <p:ph type="body" idx="1"/>
          </p:nvPr>
        </p:nvSpPr>
        <p:spPr>
          <a:xfrm>
            <a:off x="457200" y="1828800"/>
            <a:ext cx="11278800" cy="3369900"/>
          </a:xfrm>
          <a:prstGeom prst="rect">
            <a:avLst/>
          </a:prstGeom>
          <a:noFill/>
          <a:ln>
            <a:noFill/>
          </a:ln>
        </p:spPr>
        <p:txBody>
          <a:bodyPr spcFirstLastPara="1" wrap="square" lIns="0" tIns="0" rIns="0" bIns="0" anchor="t" anchorCtr="0">
            <a:noAutofit/>
          </a:bodyPr>
          <a:lstStyle>
            <a:lvl1pPr marL="457223" lvl="0" indent="-355618" algn="l">
              <a:lnSpc>
                <a:spcPct val="90000"/>
              </a:lnSpc>
              <a:spcBef>
                <a:spcPts val="0"/>
              </a:spcBef>
              <a:spcAft>
                <a:spcPts val="0"/>
              </a:spcAft>
              <a:buSzPts val="2000"/>
              <a:buChar char="•"/>
              <a:defRPr/>
            </a:lvl1pPr>
            <a:lvl2pPr marL="914446" lvl="1" indent="-342917" algn="l">
              <a:lnSpc>
                <a:spcPct val="90000"/>
              </a:lnSpc>
              <a:spcBef>
                <a:spcPts val="600"/>
              </a:spcBef>
              <a:spcAft>
                <a:spcPts val="0"/>
              </a:spcAft>
              <a:buSzPts val="1800"/>
              <a:buChar char="•"/>
              <a:defRPr/>
            </a:lvl2pPr>
            <a:lvl3pPr marL="1371669" lvl="2" indent="-342917" algn="l">
              <a:lnSpc>
                <a:spcPct val="90000"/>
              </a:lnSpc>
              <a:spcBef>
                <a:spcPts val="600"/>
              </a:spcBef>
              <a:spcAft>
                <a:spcPts val="0"/>
              </a:spcAft>
              <a:buSzPts val="1800"/>
              <a:buChar char="•"/>
              <a:defRPr/>
            </a:lvl3pPr>
            <a:lvl4pPr marL="1828891" lvl="3" indent="-342917" algn="l">
              <a:lnSpc>
                <a:spcPct val="90000"/>
              </a:lnSpc>
              <a:spcBef>
                <a:spcPts val="600"/>
              </a:spcBef>
              <a:spcAft>
                <a:spcPts val="0"/>
              </a:spcAft>
              <a:buClr>
                <a:schemeClr val="dk1"/>
              </a:buClr>
              <a:buSzPts val="1800"/>
              <a:buChar char="​"/>
              <a:defRPr/>
            </a:lvl4pPr>
            <a:lvl5pPr marL="2286114" lvl="4" indent="-381019" algn="l">
              <a:lnSpc>
                <a:spcPct val="90000"/>
              </a:lnSpc>
              <a:spcBef>
                <a:spcPts val="1200"/>
              </a:spcBef>
              <a:spcAft>
                <a:spcPts val="0"/>
              </a:spcAft>
              <a:buClr>
                <a:schemeClr val="accent1"/>
              </a:buClr>
              <a:buSzPts val="2400"/>
              <a:buChar char="​"/>
              <a:defRPr/>
            </a:lvl5pPr>
            <a:lvl6pPr marL="2743337" lvl="5" indent="-342917" algn="l">
              <a:lnSpc>
                <a:spcPct val="90000"/>
              </a:lnSpc>
              <a:spcBef>
                <a:spcPts val="600"/>
              </a:spcBef>
              <a:spcAft>
                <a:spcPts val="0"/>
              </a:spcAft>
              <a:buClr>
                <a:schemeClr val="dk1"/>
              </a:buClr>
              <a:buSzPts val="1800"/>
              <a:buChar char="​"/>
              <a:defRPr/>
            </a:lvl6pPr>
            <a:lvl7pPr marL="3200560" lvl="6" indent="-342917" algn="l">
              <a:lnSpc>
                <a:spcPct val="80000"/>
              </a:lnSpc>
              <a:spcBef>
                <a:spcPts val="900"/>
              </a:spcBef>
              <a:spcAft>
                <a:spcPts val="0"/>
              </a:spcAft>
              <a:buClr>
                <a:schemeClr val="accent5"/>
              </a:buClr>
              <a:buSzPts val="1800"/>
              <a:buChar char="​"/>
              <a:defRPr/>
            </a:lvl7pPr>
            <a:lvl8pPr marL="3657783" lvl="7" indent="-342917" algn="l">
              <a:lnSpc>
                <a:spcPct val="80000"/>
              </a:lnSpc>
              <a:spcBef>
                <a:spcPts val="600"/>
              </a:spcBef>
              <a:spcAft>
                <a:spcPts val="0"/>
              </a:spcAft>
              <a:buClr>
                <a:schemeClr val="dk1"/>
              </a:buClr>
              <a:buSzPts val="1800"/>
              <a:buChar char="​"/>
              <a:defRPr/>
            </a:lvl8pPr>
            <a:lvl9pPr marL="4115006" lvl="8" indent="-342917" algn="l">
              <a:lnSpc>
                <a:spcPct val="80000"/>
              </a:lnSpc>
              <a:spcBef>
                <a:spcPts val="600"/>
              </a:spcBef>
              <a:spcAft>
                <a:spcPts val="0"/>
              </a:spcAft>
              <a:buClr>
                <a:schemeClr val="dk1"/>
              </a:buClr>
              <a:buSzPts val="1800"/>
              <a:buChar char="​"/>
              <a:defRPr/>
            </a:lvl9pPr>
          </a:lstStyle>
          <a:p>
            <a:endParaRPr/>
          </a:p>
        </p:txBody>
      </p:sp>
      <p:sp>
        <p:nvSpPr>
          <p:cNvPr id="1205" name="Google Shape;1205;p127"/>
          <p:cNvSpPr txBox="1">
            <a:spLocks noGrp="1"/>
          </p:cNvSpPr>
          <p:nvPr>
            <p:ph type="subTitle" idx="2"/>
          </p:nvPr>
        </p:nvSpPr>
        <p:spPr>
          <a:xfrm>
            <a:off x="456000" y="5204099"/>
            <a:ext cx="11278800" cy="183600"/>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SzPts val="800"/>
              <a:buFont typeface="Calibri"/>
              <a:buChar char="​"/>
              <a:defRPr sz="800" i="0">
                <a:solidFill>
                  <a:schemeClr val="dk1"/>
                </a:solidFill>
                <a:latin typeface="Calibri"/>
                <a:ea typeface="Calibri"/>
                <a:cs typeface="Calibri"/>
                <a:sym typeface="Calibri"/>
              </a:defRPr>
            </a:lvl1pPr>
            <a:lvl2pPr lvl="1" algn="ctr">
              <a:lnSpc>
                <a:spcPct val="90000"/>
              </a:lnSpc>
              <a:spcBef>
                <a:spcPts val="600"/>
              </a:spcBef>
              <a:spcAft>
                <a:spcPts val="0"/>
              </a:spcAft>
              <a:buSzPts val="3200"/>
              <a:buFont typeface="Calibri"/>
              <a:buNone/>
              <a:defRPr sz="3200" i="1">
                <a:solidFill>
                  <a:schemeClr val="lt1"/>
                </a:solidFill>
                <a:latin typeface="Cambria"/>
                <a:ea typeface="Cambria"/>
                <a:cs typeface="Cambria"/>
                <a:sym typeface="Cambria"/>
              </a:defRPr>
            </a:lvl2pPr>
            <a:lvl3pPr lvl="2" algn="ctr">
              <a:lnSpc>
                <a:spcPct val="90000"/>
              </a:lnSpc>
              <a:spcBef>
                <a:spcPts val="600"/>
              </a:spcBef>
              <a:spcAft>
                <a:spcPts val="0"/>
              </a:spcAft>
              <a:buSzPts val="3200"/>
              <a:buFont typeface="Calibri"/>
              <a:buChar char="​"/>
              <a:defRPr sz="3200" i="1">
                <a:solidFill>
                  <a:schemeClr val="lt1"/>
                </a:solidFill>
                <a:latin typeface="Cambria"/>
                <a:ea typeface="Cambria"/>
                <a:cs typeface="Cambria"/>
                <a:sym typeface="Cambria"/>
              </a:defRPr>
            </a:lvl3pPr>
            <a:lvl4pPr lvl="3"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4pPr>
            <a:lvl5pPr lvl="4" algn="ctr">
              <a:lnSpc>
                <a:spcPct val="90000"/>
              </a:lnSpc>
              <a:spcBef>
                <a:spcPts val="12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5pPr>
            <a:lvl6pPr lvl="5"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6pPr>
            <a:lvl7pPr lvl="6" algn="ctr">
              <a:lnSpc>
                <a:spcPct val="90000"/>
              </a:lnSpc>
              <a:spcBef>
                <a:spcPts val="9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7pPr>
            <a:lvl8pPr lvl="7"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8pPr>
            <a:lvl9pPr lvl="8"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9pPr>
          </a:lstStyle>
          <a:p>
            <a:endParaRPr/>
          </a:p>
        </p:txBody>
      </p:sp>
      <p:sp>
        <p:nvSpPr>
          <p:cNvPr id="1206" name="Google Shape;1206;p127"/>
          <p:cNvSpPr txBox="1">
            <a:spLocks noGrp="1"/>
          </p:cNvSpPr>
          <p:nvPr>
            <p:ph type="dt" idx="10"/>
          </p:nvPr>
        </p:nvSpPr>
        <p:spPr>
          <a:xfrm>
            <a:off x="10111200" y="6498000"/>
            <a:ext cx="979200" cy="360000"/>
          </a:xfrm>
          <a:prstGeom prst="rect">
            <a:avLst/>
          </a:prstGeom>
          <a:noFill/>
          <a:ln>
            <a:noFill/>
          </a:ln>
        </p:spPr>
        <p:txBody>
          <a:bodyPr spcFirstLastPara="1" wrap="square" lIns="0" tIns="0" rIns="0" bIns="0" anchor="t" anchorCtr="0">
            <a:noAutofit/>
          </a:bodyPr>
          <a:lstStyle>
            <a:lvl1pPr marR="0" lvl="0" algn="r" rtl="0">
              <a:spcBef>
                <a:spcPts val="0"/>
              </a:spcBef>
              <a:spcAft>
                <a:spcPts val="0"/>
              </a:spcAft>
              <a:buClr>
                <a:schemeClr val="lt1"/>
              </a:buClr>
              <a:buSzPts val="1400"/>
              <a:buFont typeface="Calibri"/>
              <a:buNone/>
              <a:defRPr sz="1800">
                <a:solidFill>
                  <a:schemeClr val="lt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207" name="Google Shape;1207;p127"/>
          <p:cNvSpPr txBox="1">
            <a:spLocks noGrp="1"/>
          </p:cNvSpPr>
          <p:nvPr>
            <p:ph type="ftr" idx="11"/>
          </p:nvPr>
        </p:nvSpPr>
        <p:spPr>
          <a:xfrm>
            <a:off x="2597850" y="6498000"/>
            <a:ext cx="6996300" cy="360000"/>
          </a:xfrm>
          <a:prstGeom prst="rect">
            <a:avLst/>
          </a:prstGeom>
          <a:noFill/>
          <a:ln>
            <a:noFill/>
          </a:ln>
        </p:spPr>
        <p:txBody>
          <a:bodyPr spcFirstLastPara="1" wrap="square" lIns="0" tIns="0" rIns="0" bIns="0" anchor="t" anchorCtr="0">
            <a:noAutofit/>
          </a:bodyPr>
          <a:lstStyle>
            <a:lvl1pPr lvl="0" algn="l">
              <a:spcBef>
                <a:spcPts val="0"/>
              </a:spcBef>
              <a:spcAft>
                <a:spcPts val="0"/>
              </a:spcAft>
              <a:buClr>
                <a:schemeClr val="lt1"/>
              </a:buClr>
              <a:buSzPts val="1400"/>
              <a:buFont typeface="Calibri"/>
              <a:buNone/>
              <a:defRPr>
                <a:solidFill>
                  <a:schemeClr val="lt1"/>
                </a:solidFill>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208" name="Google Shape;1208;p127"/>
          <p:cNvSpPr txBox="1">
            <a:spLocks noGrp="1"/>
          </p:cNvSpPr>
          <p:nvPr>
            <p:ph type="sldNum" idx="12"/>
          </p:nvPr>
        </p:nvSpPr>
        <p:spPr>
          <a:xfrm>
            <a:off x="11212800" y="6498000"/>
            <a:ext cx="522000" cy="360000"/>
          </a:xfrm>
          <a:prstGeom prst="rect">
            <a:avLst/>
          </a:prstGeom>
          <a:noFill/>
          <a:ln>
            <a:noFill/>
          </a:ln>
        </p:spPr>
        <p:txBody>
          <a:bodyPr spcFirstLastPara="1" wrap="square" lIns="0" tIns="0" rIns="0" bIns="0" anchor="t" anchorCtr="0">
            <a:noAutofit/>
          </a:bodyPr>
          <a:lstStyle>
            <a:lvl1pPr marL="0" marR="0" lvl="0"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1pPr>
            <a:lvl2pPr marL="0" marR="0" lvl="1"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2pPr>
            <a:lvl3pPr marL="0" marR="0" lvl="2"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3pPr>
            <a:lvl4pPr marL="0" marR="0" lvl="3"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4pPr>
            <a:lvl5pPr marL="0" marR="0" lvl="4"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5pPr>
            <a:lvl6pPr marL="0" marR="0" lvl="5"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6pPr>
            <a:lvl7pPr marL="0" marR="0" lvl="6"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7pPr>
            <a:lvl8pPr marL="0" marR="0" lvl="7"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8pPr>
            <a:lvl9pPr marL="0" marR="0" lvl="8"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9pPr>
          </a:lstStyle>
          <a:p>
            <a:fld id="{00000000-1234-1234-1234-123412341234}" type="slidenum">
              <a:rPr lang="en-US" smtClean="0"/>
              <a:pPr/>
              <a:t>‹#›</a:t>
            </a:fld>
            <a:endParaRPr lang="en-US"/>
          </a:p>
        </p:txBody>
      </p:sp>
      <p:sp>
        <p:nvSpPr>
          <p:cNvPr id="1209" name="Google Shape;1209;p127"/>
          <p:cNvSpPr txBox="1"/>
          <p:nvPr/>
        </p:nvSpPr>
        <p:spPr>
          <a:xfrm>
            <a:off x="464043" y="6498000"/>
            <a:ext cx="2252557" cy="3600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lt1"/>
              </a:buClr>
              <a:buSzPts val="1400"/>
              <a:buFont typeface="Calibri"/>
              <a:buNone/>
            </a:pPr>
            <a:r>
              <a:rPr lang="en-US" sz="1400" b="0" i="0" u="none" strike="noStrike" cap="none">
                <a:solidFill>
                  <a:schemeClr val="lt1"/>
                </a:solidFill>
                <a:latin typeface="Calibri"/>
                <a:ea typeface="Calibri"/>
                <a:cs typeface="Calibri"/>
                <a:sym typeface="Calibri"/>
              </a:rPr>
              <a:t>OSF HealthCare</a:t>
            </a:r>
            <a:endParaRPr sz="1800">
              <a:solidFill>
                <a:schemeClr val="dk1"/>
              </a:solidFill>
              <a:latin typeface="Calibri"/>
              <a:ea typeface="Calibri"/>
              <a:cs typeface="Calibri"/>
              <a:sym typeface="Calibri"/>
            </a:endParaRPr>
          </a:p>
        </p:txBody>
      </p:sp>
      <p:sp>
        <p:nvSpPr>
          <p:cNvPr id="1210" name="Google Shape;1210;p127"/>
          <p:cNvSpPr txBox="1">
            <a:spLocks noGrp="1"/>
          </p:cNvSpPr>
          <p:nvPr>
            <p:ph type="title"/>
          </p:nvPr>
        </p:nvSpPr>
        <p:spPr>
          <a:xfrm>
            <a:off x="457200" y="457200"/>
            <a:ext cx="11278800" cy="1202100"/>
          </a:xfrm>
          <a:prstGeom prst="rect">
            <a:avLst/>
          </a:prstGeom>
          <a:noFill/>
          <a:ln>
            <a:noFill/>
          </a:ln>
        </p:spPr>
        <p:txBody>
          <a:bodyPr spcFirstLastPara="1" wrap="square" lIns="0" tIns="0" rIns="0" bIns="0" anchor="b" anchorCtr="0">
            <a:noAutofit/>
          </a:bodyPr>
          <a:lstStyle>
            <a:lvl1pPr lvl="0" algn="l">
              <a:lnSpc>
                <a:spcPct val="85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3273838412"/>
      </p:ext>
    </p:extLst>
  </p:cSld>
  <p:clrMapOvr>
    <a:masterClrMapping/>
  </p:clrMapOvr>
</p:sldLayout>
</file>

<file path=ppt/slideLayouts/slideLayout1466.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54"/>
        <p:cNvGrpSpPr/>
        <p:nvPr/>
      </p:nvGrpSpPr>
      <p:grpSpPr>
        <a:xfrm>
          <a:off x="0" y="0"/>
          <a:ext cx="0" cy="0"/>
          <a:chOff x="0" y="0"/>
          <a:chExt cx="0" cy="0"/>
        </a:xfrm>
      </p:grpSpPr>
      <p:grpSp>
        <p:nvGrpSpPr>
          <p:cNvPr id="55" name="Google Shape;55;p6"/>
          <p:cNvGrpSpPr/>
          <p:nvPr/>
        </p:nvGrpSpPr>
        <p:grpSpPr>
          <a:xfrm>
            <a:off x="7191543" y="1"/>
            <a:ext cx="5000459" cy="1425992"/>
            <a:chOff x="7191542" y="1"/>
            <a:chExt cx="5000459" cy="1425992"/>
          </a:xfrm>
        </p:grpSpPr>
        <p:pic>
          <p:nvPicPr>
            <p:cNvPr id="56" name="Google Shape;56;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 name="Google Shape;57;p6"/>
            <p:cNvGrpSpPr/>
            <p:nvPr/>
          </p:nvGrpSpPr>
          <p:grpSpPr>
            <a:xfrm>
              <a:off x="7191542" y="1"/>
              <a:ext cx="5000459" cy="1425992"/>
              <a:chOff x="7186272" y="0"/>
              <a:chExt cx="5005729" cy="1427495"/>
            </a:xfrm>
          </p:grpSpPr>
          <p:sp>
            <p:nvSpPr>
              <p:cNvPr id="58" name="Google Shape;58;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 name="Google Shape;59;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0" name="Google Shape;60;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 name="Google Shape;61;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2" name="Google Shape;62;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3" name="Google Shape;63;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 name="Google Shape;64;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44787541"/>
      </p:ext>
    </p:extLst>
  </p:cSld>
  <p:clrMapOvr>
    <a:masterClrMapping/>
  </p:clrMapOvr>
</p:sldLayout>
</file>

<file path=ppt/slideLayouts/slideLayout1467.xml><?xml version="1.0" encoding="utf-8"?>
<p:sldLayout xmlns:a="http://schemas.openxmlformats.org/drawingml/2006/main" xmlns:r="http://schemas.openxmlformats.org/officeDocument/2006/relationships" xmlns:p="http://schemas.openxmlformats.org/presentationml/2006/main" matchingName="agenda">
  <p:cSld name="1_agenda">
    <p:bg>
      <p:bgPr>
        <a:solidFill>
          <a:schemeClr val="lt1"/>
        </a:solidFill>
        <a:effectLst/>
      </p:bgPr>
    </p:bg>
    <p:spTree>
      <p:nvGrpSpPr>
        <p:cNvPr id="1" name="Shape 1112"/>
        <p:cNvGrpSpPr/>
        <p:nvPr/>
      </p:nvGrpSpPr>
      <p:grpSpPr>
        <a:xfrm>
          <a:off x="0" y="0"/>
          <a:ext cx="0" cy="0"/>
          <a:chOff x="0" y="0"/>
          <a:chExt cx="0" cy="0"/>
        </a:xfrm>
      </p:grpSpPr>
      <p:pic>
        <p:nvPicPr>
          <p:cNvPr id="1113" name="Google Shape;1113;p113"/>
          <p:cNvPicPr preferRelativeResize="0"/>
          <p:nvPr/>
        </p:nvPicPr>
        <p:blipFill rotWithShape="1">
          <a:blip r:embed="rId2">
            <a:alphaModFix/>
          </a:blip>
          <a:srcRect/>
          <a:stretch/>
        </p:blipFill>
        <p:spPr>
          <a:xfrm>
            <a:off x="2" y="3572"/>
            <a:ext cx="12191999" cy="6858000"/>
          </a:xfrm>
          <a:prstGeom prst="rect">
            <a:avLst/>
          </a:prstGeom>
          <a:noFill/>
          <a:ln>
            <a:noFill/>
          </a:ln>
        </p:spPr>
      </p:pic>
      <p:sp>
        <p:nvSpPr>
          <p:cNvPr id="1114" name="Google Shape;1114;p113"/>
          <p:cNvSpPr txBox="1">
            <a:spLocks noGrp="1"/>
          </p:cNvSpPr>
          <p:nvPr>
            <p:ph type="dt" idx="10"/>
          </p:nvPr>
        </p:nvSpPr>
        <p:spPr>
          <a:xfrm>
            <a:off x="6210300" y="6362701"/>
            <a:ext cx="1695450" cy="231921"/>
          </a:xfrm>
          <a:prstGeom prst="rect">
            <a:avLst/>
          </a:prstGeom>
          <a:noFill/>
          <a:ln>
            <a:noFill/>
          </a:ln>
        </p:spPr>
        <p:txBody>
          <a:bodyPr spcFirstLastPara="1" wrap="square" lIns="0" tIns="0" rIns="0" bIns="0" anchor="b" anchorCtr="0">
            <a:noAutofit/>
          </a:bodyPr>
          <a:lstStyle>
            <a:lvl1pPr marR="0" lvl="0" algn="l"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115" name="Google Shape;1115;p113"/>
          <p:cNvSpPr txBox="1">
            <a:spLocks noGrp="1"/>
          </p:cNvSpPr>
          <p:nvPr>
            <p:ph type="ftr" idx="11"/>
          </p:nvPr>
        </p:nvSpPr>
        <p:spPr>
          <a:xfrm>
            <a:off x="773048" y="6364784"/>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116" name="Google Shape;1116;p113"/>
          <p:cNvSpPr txBox="1">
            <a:spLocks noGrp="1"/>
          </p:cNvSpPr>
          <p:nvPr>
            <p:ph type="sldNum" idx="12"/>
          </p:nvPr>
        </p:nvSpPr>
        <p:spPr>
          <a:xfrm>
            <a:off x="457199" y="6362702"/>
            <a:ext cx="315849" cy="231921"/>
          </a:xfrm>
          <a:prstGeom prst="rect">
            <a:avLst/>
          </a:prstGeom>
          <a:noFill/>
          <a:ln>
            <a:noFill/>
          </a:ln>
        </p:spPr>
        <p:txBody>
          <a:bodyPr spcFirstLastPara="1" wrap="square" lIns="0" tIns="0" rIns="0" bIns="0" anchor="b" anchorCtr="0">
            <a:noAutofit/>
          </a:bodyPr>
          <a:lstStyle>
            <a:lvl1pPr marL="0" marR="0" lvl="0"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1pPr>
            <a:lvl2pPr marL="0" marR="0" lvl="1"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2pPr>
            <a:lvl3pPr marL="0" marR="0" lvl="2"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3pPr>
            <a:lvl4pPr marL="0" marR="0" lvl="3"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4pPr>
            <a:lvl5pPr marL="0" marR="0" lvl="4"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5pPr>
            <a:lvl6pPr marL="0" marR="0" lvl="5"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6pPr>
            <a:lvl7pPr marL="0" marR="0" lvl="6"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7pPr>
            <a:lvl8pPr marL="0" marR="0" lvl="7"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8pPr>
            <a:lvl9pPr marL="0" marR="0" lvl="8"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117" name="Google Shape;1117;p113"/>
          <p:cNvSpPr txBox="1">
            <a:spLocks noGrp="1"/>
          </p:cNvSpPr>
          <p:nvPr>
            <p:ph type="body" idx="1"/>
          </p:nvPr>
        </p:nvSpPr>
        <p:spPr>
          <a:xfrm>
            <a:off x="4305301" y="1781175"/>
            <a:ext cx="6156325" cy="4165600"/>
          </a:xfrm>
          <a:prstGeom prst="rect">
            <a:avLst/>
          </a:prstGeom>
          <a:noFill/>
          <a:ln>
            <a:noFill/>
          </a:ln>
        </p:spPr>
        <p:txBody>
          <a:bodyPr spcFirstLastPara="1" wrap="square" lIns="0" tIns="685800" rIns="0" bIns="0" anchor="t" anchorCtr="0">
            <a:noAutofit/>
          </a:bodyPr>
          <a:lstStyle>
            <a:lvl1pPr marL="457223" lvl="0" indent="-355618" algn="l">
              <a:lnSpc>
                <a:spcPct val="104999"/>
              </a:lnSpc>
              <a:spcBef>
                <a:spcPts val="0"/>
              </a:spcBef>
              <a:spcAft>
                <a:spcPts val="0"/>
              </a:spcAft>
              <a:buClr>
                <a:schemeClr val="accent1"/>
              </a:buClr>
              <a:buSzPts val="2000"/>
              <a:buFont typeface="Calibri"/>
              <a:buAutoNum type="arabicPeriod"/>
              <a:defRPr sz="2000" b="0">
                <a:solidFill>
                  <a:schemeClr val="accent1"/>
                </a:solidFill>
              </a:defRPr>
            </a:lvl1pPr>
            <a:lvl2pPr marL="914446" lvl="1" indent="-355618" algn="l">
              <a:lnSpc>
                <a:spcPct val="104999"/>
              </a:lnSpc>
              <a:spcBef>
                <a:spcPts val="1600"/>
              </a:spcBef>
              <a:spcAft>
                <a:spcPts val="0"/>
              </a:spcAft>
              <a:buClr>
                <a:schemeClr val="accent1"/>
              </a:buClr>
              <a:buSzPts val="2000"/>
              <a:buFont typeface="Calibri"/>
              <a:buAutoNum type="arabicPeriod"/>
              <a:defRPr sz="2000" b="0">
                <a:solidFill>
                  <a:schemeClr val="accent1"/>
                </a:solidFill>
              </a:defRPr>
            </a:lvl2pPr>
            <a:lvl3pPr marL="1371669" lvl="2" indent="-342917" algn="l">
              <a:lnSpc>
                <a:spcPct val="116666"/>
              </a:lnSpc>
              <a:spcBef>
                <a:spcPts val="1600"/>
              </a:spcBef>
              <a:spcAft>
                <a:spcPts val="0"/>
              </a:spcAft>
              <a:buClr>
                <a:schemeClr val="accent1"/>
              </a:buClr>
              <a:buSzPts val="1800"/>
              <a:buFont typeface="Calibri"/>
              <a:buAutoNum type="arabicPeriod"/>
              <a:defRPr sz="1800" b="0">
                <a:solidFill>
                  <a:schemeClr val="accent1"/>
                </a:solidFill>
              </a:defRPr>
            </a:lvl3pPr>
            <a:lvl4pPr marL="1828891" lvl="3" indent="-342917" algn="l">
              <a:lnSpc>
                <a:spcPct val="116666"/>
              </a:lnSpc>
              <a:spcBef>
                <a:spcPts val="1600"/>
              </a:spcBef>
              <a:spcAft>
                <a:spcPts val="0"/>
              </a:spcAft>
              <a:buClr>
                <a:schemeClr val="accent1"/>
              </a:buClr>
              <a:buSzPts val="1800"/>
              <a:buFont typeface="Calibri"/>
              <a:buAutoNum type="arabicPeriod"/>
              <a:defRPr sz="1800" b="0">
                <a:solidFill>
                  <a:schemeClr val="accent1"/>
                </a:solidFill>
              </a:defRPr>
            </a:lvl4pPr>
            <a:lvl5pPr marL="2286114" lvl="4" indent="-342917" algn="l">
              <a:lnSpc>
                <a:spcPct val="116666"/>
              </a:lnSpc>
              <a:spcBef>
                <a:spcPts val="1600"/>
              </a:spcBef>
              <a:spcAft>
                <a:spcPts val="0"/>
              </a:spcAft>
              <a:buClr>
                <a:schemeClr val="accent1"/>
              </a:buClr>
              <a:buSzPts val="1800"/>
              <a:buFont typeface="Calibri"/>
              <a:buAutoNum type="arabicPeriod"/>
              <a:defRPr sz="1800" b="0">
                <a:solidFill>
                  <a:schemeClr val="accent1"/>
                </a:solidFill>
              </a:defRPr>
            </a:lvl5pPr>
            <a:lvl6pPr marL="2743337" lvl="5" indent="-342917" algn="l">
              <a:lnSpc>
                <a:spcPct val="116666"/>
              </a:lnSpc>
              <a:spcBef>
                <a:spcPts val="1600"/>
              </a:spcBef>
              <a:spcAft>
                <a:spcPts val="0"/>
              </a:spcAft>
              <a:buClr>
                <a:schemeClr val="accent1"/>
              </a:buClr>
              <a:buSzPts val="1800"/>
              <a:buFont typeface="Calibri"/>
              <a:buAutoNum type="arabicPeriod"/>
              <a:defRPr sz="1800" b="0">
                <a:solidFill>
                  <a:schemeClr val="accent1"/>
                </a:solidFill>
              </a:defRPr>
            </a:lvl6pPr>
            <a:lvl7pPr marL="3200560" lvl="6" indent="-342917" algn="l">
              <a:lnSpc>
                <a:spcPct val="116666"/>
              </a:lnSpc>
              <a:spcBef>
                <a:spcPts val="1600"/>
              </a:spcBef>
              <a:spcAft>
                <a:spcPts val="0"/>
              </a:spcAft>
              <a:buClr>
                <a:schemeClr val="accent1"/>
              </a:buClr>
              <a:buSzPts val="1800"/>
              <a:buFont typeface="Calibri"/>
              <a:buAutoNum type="arabicPeriod"/>
              <a:defRPr sz="1800" b="0">
                <a:solidFill>
                  <a:schemeClr val="accent1"/>
                </a:solidFill>
              </a:defRPr>
            </a:lvl7pPr>
            <a:lvl8pPr marL="3657783" lvl="7" indent="-342917" algn="l">
              <a:lnSpc>
                <a:spcPct val="116666"/>
              </a:lnSpc>
              <a:spcBef>
                <a:spcPts val="1600"/>
              </a:spcBef>
              <a:spcAft>
                <a:spcPts val="0"/>
              </a:spcAft>
              <a:buClr>
                <a:schemeClr val="accent1"/>
              </a:buClr>
              <a:buSzPts val="1800"/>
              <a:buFont typeface="Calibri"/>
              <a:buAutoNum type="arabicPeriod"/>
              <a:defRPr sz="1800" b="0">
                <a:solidFill>
                  <a:schemeClr val="accent1"/>
                </a:solidFill>
              </a:defRPr>
            </a:lvl8pPr>
            <a:lvl9pPr marL="4115006" lvl="8" indent="-342917" algn="l">
              <a:lnSpc>
                <a:spcPct val="116666"/>
              </a:lnSpc>
              <a:spcBef>
                <a:spcPts val="1600"/>
              </a:spcBef>
              <a:spcAft>
                <a:spcPts val="1600"/>
              </a:spcAft>
              <a:buClr>
                <a:schemeClr val="accent1"/>
              </a:buClr>
              <a:buSzPts val="1800"/>
              <a:buFont typeface="Calibri"/>
              <a:buAutoNum type="arabicPeriod"/>
              <a:defRPr sz="1800" b="0">
                <a:solidFill>
                  <a:schemeClr val="accent1"/>
                </a:solidFill>
              </a:defRPr>
            </a:lvl9pPr>
          </a:lstStyle>
          <a:p>
            <a:endParaRPr/>
          </a:p>
        </p:txBody>
      </p:sp>
      <p:sp>
        <p:nvSpPr>
          <p:cNvPr id="1118" name="Google Shape;1118;p113"/>
          <p:cNvSpPr txBox="1"/>
          <p:nvPr/>
        </p:nvSpPr>
        <p:spPr>
          <a:xfrm>
            <a:off x="1736725" y="-1782"/>
            <a:ext cx="2336800" cy="1781173"/>
          </a:xfrm>
          <a:prstGeom prst="rect">
            <a:avLst/>
          </a:prstGeom>
          <a:noFill/>
          <a:ln>
            <a:noFill/>
          </a:ln>
        </p:spPr>
        <p:txBody>
          <a:bodyPr spcFirstLastPara="1" wrap="square" lIns="0" tIns="0" rIns="0" bIns="128000" anchor="b" anchorCtr="0">
            <a:noAutofit/>
          </a:bodyPr>
          <a:lstStyle/>
          <a:p>
            <a:pPr marL="0" marR="0" lvl="0" indent="0" algn="l" rtl="0">
              <a:lnSpc>
                <a:spcPct val="77272"/>
              </a:lnSpc>
              <a:spcBef>
                <a:spcPts val="0"/>
              </a:spcBef>
              <a:spcAft>
                <a:spcPts val="0"/>
              </a:spcAft>
              <a:buClr>
                <a:schemeClr val="lt1"/>
              </a:buClr>
              <a:buSzPts val="4400"/>
              <a:buFont typeface="Calibri"/>
              <a:buNone/>
            </a:pPr>
            <a:r>
              <a:rPr lang="en-US" sz="4400" b="1" i="0" u="none" strike="noStrike" cap="none">
                <a:solidFill>
                  <a:schemeClr val="lt1"/>
                </a:solidFill>
                <a:latin typeface="Calibri"/>
                <a:ea typeface="Calibri"/>
                <a:cs typeface="Calibri"/>
                <a:sym typeface="Calibri"/>
              </a:rPr>
              <a:t>Agenda</a:t>
            </a:r>
            <a:endParaRPr sz="1800">
              <a:solidFill>
                <a:schemeClr val="dk1"/>
              </a:solidFill>
              <a:latin typeface="Calibri"/>
              <a:ea typeface="Calibri"/>
              <a:cs typeface="Calibri"/>
              <a:sym typeface="Calibri"/>
            </a:endParaRPr>
          </a:p>
        </p:txBody>
      </p:sp>
      <p:pic>
        <p:nvPicPr>
          <p:cNvPr id="1119" name="Google Shape;1119;p113"/>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810446" y="6358648"/>
            <a:ext cx="2016517" cy="235975"/>
          </a:xfrm>
          <a:prstGeom prst="rect">
            <a:avLst/>
          </a:prstGeom>
          <a:noFill/>
          <a:ln>
            <a:noFill/>
          </a:ln>
        </p:spPr>
      </p:pic>
    </p:spTree>
    <p:extLst>
      <p:ext uri="{BB962C8B-B14F-4D97-AF65-F5344CB8AC3E}">
        <p14:creationId xmlns:p14="http://schemas.microsoft.com/office/powerpoint/2010/main" val="2039968486"/>
      </p:ext>
    </p:extLst>
  </p:cSld>
  <p:clrMapOvr>
    <a:masterClrMapping/>
  </p:clrMapOvr>
</p:sldLayout>
</file>

<file path=ppt/slideLayouts/slideLayout1468.xml><?xml version="1.0" encoding="utf-8"?>
<p:sldLayout xmlns:a="http://schemas.openxmlformats.org/drawingml/2006/main" xmlns:r="http://schemas.openxmlformats.org/officeDocument/2006/relationships" xmlns:p="http://schemas.openxmlformats.org/presentationml/2006/main" matchingName="content_1_column">
  <p:cSld name="1_content_1_column">
    <p:bg>
      <p:bgPr>
        <a:solidFill>
          <a:schemeClr val="lt1"/>
        </a:solidFill>
        <a:effectLst/>
      </p:bgPr>
    </p:bg>
    <p:spTree>
      <p:nvGrpSpPr>
        <p:cNvPr id="1" name="Shape 1127"/>
        <p:cNvGrpSpPr/>
        <p:nvPr/>
      </p:nvGrpSpPr>
      <p:grpSpPr>
        <a:xfrm>
          <a:off x="0" y="0"/>
          <a:ext cx="0" cy="0"/>
          <a:chOff x="0" y="0"/>
          <a:chExt cx="0" cy="0"/>
        </a:xfrm>
      </p:grpSpPr>
      <p:pic>
        <p:nvPicPr>
          <p:cNvPr id="1128" name="Google Shape;1128;p115"/>
          <p:cNvPicPr preferRelativeResize="0"/>
          <p:nvPr/>
        </p:nvPicPr>
        <p:blipFill rotWithShape="1">
          <a:blip r:embed="rId2">
            <a:alphaModFix/>
          </a:blip>
          <a:srcRect/>
          <a:stretch/>
        </p:blipFill>
        <p:spPr>
          <a:xfrm>
            <a:off x="0" y="1"/>
            <a:ext cx="12192000" cy="6850855"/>
          </a:xfrm>
          <a:prstGeom prst="rect">
            <a:avLst/>
          </a:prstGeom>
          <a:noFill/>
          <a:ln>
            <a:noFill/>
          </a:ln>
        </p:spPr>
      </p:pic>
      <p:sp>
        <p:nvSpPr>
          <p:cNvPr id="1129" name="Google Shape;1129;p115"/>
          <p:cNvSpPr txBox="1">
            <a:spLocks noGrp="1"/>
          </p:cNvSpPr>
          <p:nvPr>
            <p:ph type="dt" idx="10"/>
          </p:nvPr>
        </p:nvSpPr>
        <p:spPr>
          <a:xfrm>
            <a:off x="6210300" y="6362701"/>
            <a:ext cx="1695450" cy="231921"/>
          </a:xfrm>
          <a:prstGeom prst="rect">
            <a:avLst/>
          </a:prstGeom>
          <a:noFill/>
          <a:ln>
            <a:noFill/>
          </a:ln>
        </p:spPr>
        <p:txBody>
          <a:bodyPr spcFirstLastPara="1" wrap="square" lIns="0" tIns="0" rIns="0" bIns="0" anchor="b" anchorCtr="0">
            <a:noAutofit/>
          </a:bodyPr>
          <a:lstStyle>
            <a:lvl1pPr marR="0" lvl="0" algn="l"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130" name="Google Shape;1130;p115"/>
          <p:cNvSpPr txBox="1">
            <a:spLocks noGrp="1"/>
          </p:cNvSpPr>
          <p:nvPr>
            <p:ph type="ftr" idx="11"/>
          </p:nvPr>
        </p:nvSpPr>
        <p:spPr>
          <a:xfrm>
            <a:off x="773048" y="6364784"/>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131" name="Google Shape;1131;p115"/>
          <p:cNvSpPr txBox="1">
            <a:spLocks noGrp="1"/>
          </p:cNvSpPr>
          <p:nvPr>
            <p:ph type="sldNum" idx="12"/>
          </p:nvPr>
        </p:nvSpPr>
        <p:spPr>
          <a:xfrm>
            <a:off x="457199" y="6362702"/>
            <a:ext cx="315849" cy="231921"/>
          </a:xfrm>
          <a:prstGeom prst="rect">
            <a:avLst/>
          </a:prstGeom>
          <a:noFill/>
          <a:ln>
            <a:noFill/>
          </a:ln>
        </p:spPr>
        <p:txBody>
          <a:bodyPr spcFirstLastPara="1" wrap="square" lIns="0" tIns="0" rIns="0" bIns="0" anchor="b" anchorCtr="0">
            <a:noAutofit/>
          </a:bodyPr>
          <a:lstStyle>
            <a:lvl1pPr marL="0" marR="0" lvl="0"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1pPr>
            <a:lvl2pPr marL="0" marR="0" lvl="1"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2pPr>
            <a:lvl3pPr marL="0" marR="0" lvl="2"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3pPr>
            <a:lvl4pPr marL="0" marR="0" lvl="3"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4pPr>
            <a:lvl5pPr marL="0" marR="0" lvl="4"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5pPr>
            <a:lvl6pPr marL="0" marR="0" lvl="5"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6pPr>
            <a:lvl7pPr marL="0" marR="0" lvl="6"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7pPr>
            <a:lvl8pPr marL="0" marR="0" lvl="7"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8pPr>
            <a:lvl9pPr marL="0" marR="0" lvl="8"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132" name="Google Shape;1132;p115"/>
          <p:cNvSpPr txBox="1">
            <a:spLocks noGrp="1"/>
          </p:cNvSpPr>
          <p:nvPr>
            <p:ph type="title"/>
          </p:nvPr>
        </p:nvSpPr>
        <p:spPr>
          <a:xfrm>
            <a:off x="457201" y="460375"/>
            <a:ext cx="10004425" cy="1063625"/>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accent1"/>
              </a:buClr>
              <a:buSzPts val="4000"/>
              <a:buFont typeface="Calibri"/>
              <a:buNone/>
              <a:defRPr sz="4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33" name="Google Shape;1133;p115"/>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810446" y="6358648"/>
            <a:ext cx="2016517" cy="235975"/>
          </a:xfrm>
          <a:prstGeom prst="rect">
            <a:avLst/>
          </a:prstGeom>
          <a:noFill/>
          <a:ln>
            <a:noFill/>
          </a:ln>
        </p:spPr>
      </p:pic>
      <p:sp>
        <p:nvSpPr>
          <p:cNvPr id="1134" name="Google Shape;1134;p115"/>
          <p:cNvSpPr txBox="1">
            <a:spLocks noGrp="1"/>
          </p:cNvSpPr>
          <p:nvPr>
            <p:ph type="body" idx="1"/>
          </p:nvPr>
        </p:nvSpPr>
        <p:spPr>
          <a:xfrm>
            <a:off x="457199" y="1781175"/>
            <a:ext cx="10004427" cy="4165600"/>
          </a:xfrm>
          <a:prstGeom prst="rect">
            <a:avLst/>
          </a:prstGeom>
          <a:noFill/>
          <a:ln>
            <a:noFill/>
          </a:ln>
        </p:spPr>
        <p:txBody>
          <a:bodyPr spcFirstLastPara="1" wrap="square" lIns="0" tIns="0" rIns="0" bIns="0" anchor="t" anchorCtr="0">
            <a:normAutofit/>
          </a:bodyPr>
          <a:lstStyle>
            <a:lvl1pPr marL="457223" lvl="0" indent="-228611" algn="l">
              <a:lnSpc>
                <a:spcPct val="100000"/>
              </a:lnSpc>
              <a:spcBef>
                <a:spcPts val="0"/>
              </a:spcBef>
              <a:spcAft>
                <a:spcPts val="0"/>
              </a:spcAft>
              <a:buClr>
                <a:schemeClr val="dk2"/>
              </a:buClr>
              <a:buSzPts val="1800"/>
              <a:buNone/>
              <a:defRPr/>
            </a:lvl1pPr>
            <a:lvl2pPr marL="914446" lvl="1" indent="-228611" algn="l">
              <a:lnSpc>
                <a:spcPct val="100000"/>
              </a:lnSpc>
              <a:spcBef>
                <a:spcPts val="1200"/>
              </a:spcBef>
              <a:spcAft>
                <a:spcPts val="0"/>
              </a:spcAft>
              <a:buSzPts val="1800"/>
              <a:buNone/>
              <a:defRPr/>
            </a:lvl2pPr>
            <a:lvl3pPr marL="1371669" lvl="2" indent="-355618" algn="l">
              <a:lnSpc>
                <a:spcPct val="100000"/>
              </a:lnSpc>
              <a:spcBef>
                <a:spcPts val="1200"/>
              </a:spcBef>
              <a:spcAft>
                <a:spcPts val="0"/>
              </a:spcAft>
              <a:buSzPts val="2000"/>
              <a:buChar char="•"/>
              <a:defRPr/>
            </a:lvl3pPr>
            <a:lvl4pPr marL="1828891" lvl="3" indent="-342917" algn="l">
              <a:lnSpc>
                <a:spcPct val="100000"/>
              </a:lnSpc>
              <a:spcBef>
                <a:spcPts val="600"/>
              </a:spcBef>
              <a:spcAft>
                <a:spcPts val="0"/>
              </a:spcAft>
              <a:buSzPts val="1800"/>
              <a:buChar char="•"/>
              <a:defRPr/>
            </a:lvl4pPr>
            <a:lvl5pPr marL="2286114" lvl="4" indent="-342917" algn="l">
              <a:lnSpc>
                <a:spcPct val="100000"/>
              </a:lnSpc>
              <a:spcBef>
                <a:spcPts val="600"/>
              </a:spcBef>
              <a:spcAft>
                <a:spcPts val="0"/>
              </a:spcAft>
              <a:buSzPts val="1800"/>
              <a:buChar char="•"/>
              <a:defRPr/>
            </a:lvl5pPr>
            <a:lvl6pPr marL="2743337" lvl="5" indent="-342917" algn="l">
              <a:lnSpc>
                <a:spcPct val="116666"/>
              </a:lnSpc>
              <a:spcBef>
                <a:spcPts val="600"/>
              </a:spcBef>
              <a:spcAft>
                <a:spcPts val="0"/>
              </a:spcAft>
              <a:buClr>
                <a:schemeClr val="dk1"/>
              </a:buClr>
              <a:buSzPts val="1800"/>
              <a:buChar char="•"/>
              <a:defRPr/>
            </a:lvl6pPr>
            <a:lvl7pPr marL="3200560" lvl="6" indent="-342917" algn="l">
              <a:lnSpc>
                <a:spcPct val="116666"/>
              </a:lnSpc>
              <a:spcBef>
                <a:spcPts val="1200"/>
              </a:spcBef>
              <a:spcAft>
                <a:spcPts val="0"/>
              </a:spcAft>
              <a:buClr>
                <a:schemeClr val="dk1"/>
              </a:buClr>
              <a:buSzPts val="1800"/>
              <a:buChar char="•"/>
              <a:defRPr/>
            </a:lvl7pPr>
            <a:lvl8pPr marL="3657783" lvl="7" indent="-342917" algn="l">
              <a:lnSpc>
                <a:spcPct val="116666"/>
              </a:lnSpc>
              <a:spcBef>
                <a:spcPts val="1200"/>
              </a:spcBef>
              <a:spcAft>
                <a:spcPts val="0"/>
              </a:spcAft>
              <a:buClr>
                <a:schemeClr val="dk1"/>
              </a:buClr>
              <a:buSzPts val="1800"/>
              <a:buChar char="•"/>
              <a:defRPr/>
            </a:lvl8pPr>
            <a:lvl9pPr marL="4115006" lvl="8" indent="-342917" algn="l">
              <a:lnSpc>
                <a:spcPct val="116666"/>
              </a:lnSpc>
              <a:spcBef>
                <a:spcPts val="1200"/>
              </a:spcBef>
              <a:spcAft>
                <a:spcPts val="1200"/>
              </a:spcAft>
              <a:buClr>
                <a:schemeClr val="dk1"/>
              </a:buClr>
              <a:buSzPts val="1800"/>
              <a:buChar char="•"/>
              <a:defRPr/>
            </a:lvl9pPr>
          </a:lstStyle>
          <a:p>
            <a:endParaRPr/>
          </a:p>
        </p:txBody>
      </p:sp>
    </p:spTree>
    <p:extLst>
      <p:ext uri="{BB962C8B-B14F-4D97-AF65-F5344CB8AC3E}">
        <p14:creationId xmlns:p14="http://schemas.microsoft.com/office/powerpoint/2010/main" val="3104680972"/>
      </p:ext>
    </p:extLst>
  </p:cSld>
  <p:clrMapOvr>
    <a:masterClrMapping/>
  </p:clrMapOvr>
</p:sldLayout>
</file>

<file path=ppt/slideLayouts/slideLayout1469.xml><?xml version="1.0" encoding="utf-8"?>
<p:sldLayout xmlns:a="http://schemas.openxmlformats.org/drawingml/2006/main" xmlns:r="http://schemas.openxmlformats.org/officeDocument/2006/relationships" xmlns:p="http://schemas.openxmlformats.org/presentationml/2006/main" matchingName="callout_graphic">
  <p:cSld name="1_callout_graphic">
    <p:bg>
      <p:bgPr>
        <a:solidFill>
          <a:schemeClr val="lt1"/>
        </a:solidFill>
        <a:effectLst/>
      </p:bgPr>
    </p:bg>
    <p:spTree>
      <p:nvGrpSpPr>
        <p:cNvPr id="1" name="Shape 1135"/>
        <p:cNvGrpSpPr/>
        <p:nvPr/>
      </p:nvGrpSpPr>
      <p:grpSpPr>
        <a:xfrm>
          <a:off x="0" y="0"/>
          <a:ext cx="0" cy="0"/>
          <a:chOff x="0" y="0"/>
          <a:chExt cx="0" cy="0"/>
        </a:xfrm>
      </p:grpSpPr>
      <p:pic>
        <p:nvPicPr>
          <p:cNvPr id="1136" name="Google Shape;1136;p116"/>
          <p:cNvPicPr preferRelativeResize="0"/>
          <p:nvPr/>
        </p:nvPicPr>
        <p:blipFill rotWithShape="1">
          <a:blip r:embed="rId2">
            <a:alphaModFix/>
          </a:blip>
          <a:srcRect/>
          <a:stretch/>
        </p:blipFill>
        <p:spPr>
          <a:xfrm>
            <a:off x="12695" y="1"/>
            <a:ext cx="12166611" cy="6850855"/>
          </a:xfrm>
          <a:prstGeom prst="rect">
            <a:avLst/>
          </a:prstGeom>
          <a:noFill/>
          <a:ln>
            <a:noFill/>
          </a:ln>
        </p:spPr>
      </p:pic>
      <p:sp>
        <p:nvSpPr>
          <p:cNvPr id="1137" name="Google Shape;1137;p116"/>
          <p:cNvSpPr txBox="1">
            <a:spLocks noGrp="1"/>
          </p:cNvSpPr>
          <p:nvPr>
            <p:ph type="dt" idx="10"/>
          </p:nvPr>
        </p:nvSpPr>
        <p:spPr>
          <a:xfrm>
            <a:off x="6210300" y="6362701"/>
            <a:ext cx="1695450" cy="231921"/>
          </a:xfrm>
          <a:prstGeom prst="rect">
            <a:avLst/>
          </a:prstGeom>
          <a:noFill/>
          <a:ln>
            <a:noFill/>
          </a:ln>
        </p:spPr>
        <p:txBody>
          <a:bodyPr spcFirstLastPara="1" wrap="square" lIns="0" tIns="0" rIns="0" bIns="0" anchor="b" anchorCtr="0">
            <a:noAutofit/>
          </a:bodyPr>
          <a:lstStyle>
            <a:lvl1pPr marR="0" lvl="0" algn="l"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138" name="Google Shape;1138;p116"/>
          <p:cNvSpPr txBox="1">
            <a:spLocks noGrp="1"/>
          </p:cNvSpPr>
          <p:nvPr>
            <p:ph type="ftr" idx="11"/>
          </p:nvPr>
        </p:nvSpPr>
        <p:spPr>
          <a:xfrm>
            <a:off x="773048" y="6364784"/>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139" name="Google Shape;1139;p116"/>
          <p:cNvSpPr txBox="1">
            <a:spLocks noGrp="1"/>
          </p:cNvSpPr>
          <p:nvPr>
            <p:ph type="sldNum" idx="12"/>
          </p:nvPr>
        </p:nvSpPr>
        <p:spPr>
          <a:xfrm>
            <a:off x="457199" y="6362702"/>
            <a:ext cx="315849" cy="231921"/>
          </a:xfrm>
          <a:prstGeom prst="rect">
            <a:avLst/>
          </a:prstGeom>
          <a:noFill/>
          <a:ln>
            <a:noFill/>
          </a:ln>
        </p:spPr>
        <p:txBody>
          <a:bodyPr spcFirstLastPara="1" wrap="square" lIns="0" tIns="0" rIns="0" bIns="0" anchor="b" anchorCtr="0">
            <a:noAutofit/>
          </a:bodyPr>
          <a:lstStyle>
            <a:lvl1pPr marL="0" marR="0" lvl="0"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1pPr>
            <a:lvl2pPr marL="0" marR="0" lvl="1"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2pPr>
            <a:lvl3pPr marL="0" marR="0" lvl="2"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3pPr>
            <a:lvl4pPr marL="0" marR="0" lvl="3"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4pPr>
            <a:lvl5pPr marL="0" marR="0" lvl="4"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5pPr>
            <a:lvl6pPr marL="0" marR="0" lvl="5"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6pPr>
            <a:lvl7pPr marL="0" marR="0" lvl="6"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7pPr>
            <a:lvl8pPr marL="0" marR="0" lvl="7"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8pPr>
            <a:lvl9pPr marL="0" marR="0" lvl="8"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140" name="Google Shape;1140;p116"/>
          <p:cNvSpPr txBox="1">
            <a:spLocks noGrp="1"/>
          </p:cNvSpPr>
          <p:nvPr>
            <p:ph type="title"/>
          </p:nvPr>
        </p:nvSpPr>
        <p:spPr>
          <a:xfrm>
            <a:off x="457201" y="460376"/>
            <a:ext cx="6388100" cy="5486399"/>
          </a:xfrm>
          <a:prstGeom prst="rect">
            <a:avLst/>
          </a:prstGeom>
          <a:noFill/>
          <a:ln>
            <a:noFill/>
          </a:ln>
        </p:spPr>
        <p:txBody>
          <a:bodyPr spcFirstLastPara="1" wrap="square" lIns="0" tIns="274300" rIns="0" bIns="0" anchor="ctr" anchorCtr="0">
            <a:noAutofit/>
          </a:bodyPr>
          <a:lstStyle>
            <a:lvl1pPr lvl="0" algn="l">
              <a:lnSpc>
                <a:spcPct val="100000"/>
              </a:lnSpc>
              <a:spcBef>
                <a:spcPts val="0"/>
              </a:spcBef>
              <a:spcAft>
                <a:spcPts val="0"/>
              </a:spcAft>
              <a:buClr>
                <a:schemeClr val="accent6"/>
              </a:buClr>
              <a:buSzPts val="4000"/>
              <a:buFont typeface="Calibri"/>
              <a:buNone/>
              <a:defRPr sz="4000">
                <a:solidFill>
                  <a:schemeClr val="accent6"/>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41" name="Google Shape;1141;p116"/>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810446" y="6358648"/>
            <a:ext cx="2016517" cy="235975"/>
          </a:xfrm>
          <a:prstGeom prst="rect">
            <a:avLst/>
          </a:prstGeom>
          <a:noFill/>
          <a:ln>
            <a:noFill/>
          </a:ln>
        </p:spPr>
      </p:pic>
    </p:spTree>
    <p:extLst>
      <p:ext uri="{BB962C8B-B14F-4D97-AF65-F5344CB8AC3E}">
        <p14:creationId xmlns:p14="http://schemas.microsoft.com/office/powerpoint/2010/main" val="219455286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matchingName="Title Only">
  <p:cSld name="Title Only 7">
    <p:spTree>
      <p:nvGrpSpPr>
        <p:cNvPr id="1" name="Shape 10488"/>
        <p:cNvGrpSpPr/>
        <p:nvPr/>
      </p:nvGrpSpPr>
      <p:grpSpPr>
        <a:xfrm>
          <a:off x="0" y="0"/>
          <a:ext cx="0" cy="0"/>
          <a:chOff x="0" y="0"/>
          <a:chExt cx="0" cy="0"/>
        </a:xfrm>
      </p:grpSpPr>
      <p:grpSp>
        <p:nvGrpSpPr>
          <p:cNvPr id="10489" name="Google Shape;10489;p1451"/>
          <p:cNvGrpSpPr/>
          <p:nvPr/>
        </p:nvGrpSpPr>
        <p:grpSpPr>
          <a:xfrm>
            <a:off x="7191542" y="1"/>
            <a:ext cx="5000459" cy="1425992"/>
            <a:chOff x="7191542" y="1"/>
            <a:chExt cx="5000459" cy="1425992"/>
          </a:xfrm>
        </p:grpSpPr>
        <p:pic>
          <p:nvPicPr>
            <p:cNvPr id="10490" name="Google Shape;10490;p14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91" name="Google Shape;10491;p1451"/>
            <p:cNvGrpSpPr/>
            <p:nvPr/>
          </p:nvGrpSpPr>
          <p:grpSpPr>
            <a:xfrm>
              <a:off x="7191542" y="1"/>
              <a:ext cx="5000459" cy="1425992"/>
              <a:chOff x="7186272" y="0"/>
              <a:chExt cx="5005729" cy="1427495"/>
            </a:xfrm>
          </p:grpSpPr>
          <p:sp>
            <p:nvSpPr>
              <p:cNvPr id="10492" name="Google Shape;10492;p14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493" name="Google Shape;10493;p14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494" name="Google Shape;10494;p14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495" name="Google Shape;10495;p14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496" name="Google Shape;10496;p14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97" name="Google Shape;10497;p14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470.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2910"/>
        <p:cNvGrpSpPr/>
        <p:nvPr/>
      </p:nvGrpSpPr>
      <p:grpSpPr>
        <a:xfrm>
          <a:off x="0" y="0"/>
          <a:ext cx="0" cy="0"/>
          <a:chOff x="0" y="0"/>
          <a:chExt cx="0" cy="0"/>
        </a:xfrm>
      </p:grpSpPr>
      <p:grpSp>
        <p:nvGrpSpPr>
          <p:cNvPr id="2911" name="Google Shape;2911;p39"/>
          <p:cNvGrpSpPr/>
          <p:nvPr/>
        </p:nvGrpSpPr>
        <p:grpSpPr>
          <a:xfrm>
            <a:off x="0" y="5020349"/>
            <a:ext cx="12192000" cy="1837653"/>
            <a:chOff x="0" y="5020347"/>
            <a:chExt cx="12192000" cy="1837653"/>
          </a:xfrm>
        </p:grpSpPr>
        <p:sp>
          <p:nvSpPr>
            <p:cNvPr id="2912" name="Google Shape;2912;p3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2913" name="Google Shape;2913;p3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2914" name="Google Shape;2914;p3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2915" name="Google Shape;2915;p3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916" name="Google Shape;2916;p39"/>
          <p:cNvSpPr txBox="1">
            <a:spLocks noGrp="1"/>
          </p:cNvSpPr>
          <p:nvPr>
            <p:ph type="title"/>
          </p:nvPr>
        </p:nvSpPr>
        <p:spPr>
          <a:xfrm>
            <a:off x="1413310"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17" name="Google Shape;2917;p39"/>
          <p:cNvSpPr txBox="1">
            <a:spLocks noGrp="1"/>
          </p:cNvSpPr>
          <p:nvPr>
            <p:ph type="subTitle" idx="1"/>
          </p:nvPr>
        </p:nvSpPr>
        <p:spPr>
          <a:xfrm>
            <a:off x="1413310"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Tree>
    <p:extLst>
      <p:ext uri="{BB962C8B-B14F-4D97-AF65-F5344CB8AC3E}">
        <p14:creationId xmlns:p14="http://schemas.microsoft.com/office/powerpoint/2010/main" val="817300419"/>
      </p:ext>
    </p:extLst>
  </p:cSld>
  <p:clrMapOvr>
    <a:masterClrMapping/>
  </p:clrMapOvr>
</p:sldLayout>
</file>

<file path=ppt/slideLayouts/slideLayout1471.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918"/>
        <p:cNvGrpSpPr/>
        <p:nvPr/>
      </p:nvGrpSpPr>
      <p:grpSpPr>
        <a:xfrm>
          <a:off x="0" y="0"/>
          <a:ext cx="0" cy="0"/>
          <a:chOff x="0" y="0"/>
          <a:chExt cx="0" cy="0"/>
        </a:xfrm>
      </p:grpSpPr>
      <p:grpSp>
        <p:nvGrpSpPr>
          <p:cNvPr id="2919" name="Google Shape;2919;p40"/>
          <p:cNvGrpSpPr/>
          <p:nvPr/>
        </p:nvGrpSpPr>
        <p:grpSpPr>
          <a:xfrm>
            <a:off x="7191544" y="1"/>
            <a:ext cx="5000459" cy="1425992"/>
            <a:chOff x="7191542" y="1"/>
            <a:chExt cx="5000459" cy="1425992"/>
          </a:xfrm>
        </p:grpSpPr>
        <p:pic>
          <p:nvPicPr>
            <p:cNvPr id="2920" name="Google Shape;2920;p4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921" name="Google Shape;2921;p40"/>
            <p:cNvGrpSpPr/>
            <p:nvPr/>
          </p:nvGrpSpPr>
          <p:grpSpPr>
            <a:xfrm>
              <a:off x="7191542" y="1"/>
              <a:ext cx="5000459" cy="1425992"/>
              <a:chOff x="7186272" y="0"/>
              <a:chExt cx="5005729" cy="1427495"/>
            </a:xfrm>
          </p:grpSpPr>
          <p:sp>
            <p:nvSpPr>
              <p:cNvPr id="2922" name="Google Shape;2922;p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2923" name="Google Shape;2923;p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2924" name="Google Shape;2924;p4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25" name="Google Shape;2925;p40"/>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2926" name="Google Shape;2926;p40"/>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2927" name="Google Shape;2927;p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28" name="Google Shape;2928;p4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534604134"/>
      </p:ext>
    </p:extLst>
  </p:cSld>
  <p:clrMapOvr>
    <a:masterClrMapping/>
  </p:clrMapOvr>
</p:sldLayout>
</file>

<file path=ppt/slideLayouts/slideLayout1472.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2929"/>
        <p:cNvGrpSpPr/>
        <p:nvPr/>
      </p:nvGrpSpPr>
      <p:grpSpPr>
        <a:xfrm>
          <a:off x="0" y="0"/>
          <a:ext cx="0" cy="0"/>
          <a:chOff x="0" y="0"/>
          <a:chExt cx="0" cy="0"/>
        </a:xfrm>
      </p:grpSpPr>
      <p:grpSp>
        <p:nvGrpSpPr>
          <p:cNvPr id="2930" name="Google Shape;2930;p41"/>
          <p:cNvGrpSpPr/>
          <p:nvPr/>
        </p:nvGrpSpPr>
        <p:grpSpPr>
          <a:xfrm>
            <a:off x="7191544" y="1"/>
            <a:ext cx="5000459" cy="1425992"/>
            <a:chOff x="7191542" y="1"/>
            <a:chExt cx="5000459" cy="1425992"/>
          </a:xfrm>
        </p:grpSpPr>
        <p:pic>
          <p:nvPicPr>
            <p:cNvPr id="2931" name="Google Shape;2931;p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932" name="Google Shape;2932;p41"/>
            <p:cNvGrpSpPr/>
            <p:nvPr/>
          </p:nvGrpSpPr>
          <p:grpSpPr>
            <a:xfrm>
              <a:off x="7191542" y="1"/>
              <a:ext cx="5000459" cy="1425992"/>
              <a:chOff x="7186272" y="0"/>
              <a:chExt cx="5005729" cy="1427495"/>
            </a:xfrm>
          </p:grpSpPr>
          <p:sp>
            <p:nvSpPr>
              <p:cNvPr id="2933" name="Google Shape;2933;p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2934" name="Google Shape;2934;p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2935" name="Google Shape;2935;p41"/>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36" name="Google Shape;2936;p41"/>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2937" name="Google Shape;2937;p41"/>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SzPts val="1800"/>
              <a:buNone/>
              <a:defRPr sz="1200" b="0" i="0" u="none" strike="noStrike" cap="none">
                <a:solidFill>
                  <a:srgbClr val="AEB3B7"/>
                </a:solidFill>
                <a:latin typeface="Calibri"/>
                <a:ea typeface="Calibri"/>
                <a:cs typeface="Calibri"/>
                <a:sym typeface="Calibri"/>
              </a:defRPr>
            </a:lvl1pPr>
            <a:lvl2pPr marL="0" lvl="1" indent="0" algn="r">
              <a:lnSpc>
                <a:spcPct val="100000"/>
              </a:lnSpc>
              <a:spcBef>
                <a:spcPts val="0"/>
              </a:spcBef>
              <a:spcAft>
                <a:spcPts val="0"/>
              </a:spcAft>
              <a:buSzPts val="1800"/>
              <a:buNone/>
              <a:defRPr sz="1200" b="0" i="0" u="none" strike="noStrike" cap="none">
                <a:solidFill>
                  <a:srgbClr val="AEB3B7"/>
                </a:solidFill>
                <a:latin typeface="Calibri"/>
                <a:ea typeface="Calibri"/>
                <a:cs typeface="Calibri"/>
                <a:sym typeface="Calibri"/>
              </a:defRPr>
            </a:lvl2pPr>
            <a:lvl3pPr marL="0" lvl="2" indent="0" algn="r">
              <a:lnSpc>
                <a:spcPct val="100000"/>
              </a:lnSpc>
              <a:spcBef>
                <a:spcPts val="0"/>
              </a:spcBef>
              <a:spcAft>
                <a:spcPts val="0"/>
              </a:spcAft>
              <a:buSzPts val="1800"/>
              <a:buNone/>
              <a:defRPr sz="1200" b="0" i="0" u="none" strike="noStrike" cap="none">
                <a:solidFill>
                  <a:srgbClr val="AEB3B7"/>
                </a:solidFill>
                <a:latin typeface="Calibri"/>
                <a:ea typeface="Calibri"/>
                <a:cs typeface="Calibri"/>
                <a:sym typeface="Calibri"/>
              </a:defRPr>
            </a:lvl3pPr>
            <a:lvl4pPr marL="0" lvl="3" indent="0" algn="r">
              <a:lnSpc>
                <a:spcPct val="100000"/>
              </a:lnSpc>
              <a:spcBef>
                <a:spcPts val="0"/>
              </a:spcBef>
              <a:spcAft>
                <a:spcPts val="0"/>
              </a:spcAft>
              <a:buSzPts val="1800"/>
              <a:buNone/>
              <a:defRPr sz="1200" b="0" i="0" u="none" strike="noStrike" cap="none">
                <a:solidFill>
                  <a:srgbClr val="AEB3B7"/>
                </a:solidFill>
                <a:latin typeface="Calibri"/>
                <a:ea typeface="Calibri"/>
                <a:cs typeface="Calibri"/>
                <a:sym typeface="Calibri"/>
              </a:defRPr>
            </a:lvl4pPr>
            <a:lvl5pPr marL="0" lvl="4" indent="0" algn="r">
              <a:lnSpc>
                <a:spcPct val="100000"/>
              </a:lnSpc>
              <a:spcBef>
                <a:spcPts val="0"/>
              </a:spcBef>
              <a:spcAft>
                <a:spcPts val="0"/>
              </a:spcAft>
              <a:buSzPts val="1800"/>
              <a:buNone/>
              <a:defRPr sz="1200" b="0" i="0" u="none" strike="noStrike" cap="none">
                <a:solidFill>
                  <a:srgbClr val="AEB3B7"/>
                </a:solidFill>
                <a:latin typeface="Calibri"/>
                <a:ea typeface="Calibri"/>
                <a:cs typeface="Calibri"/>
                <a:sym typeface="Calibri"/>
              </a:defRPr>
            </a:lvl5pPr>
            <a:lvl6pPr marL="0" lvl="5" indent="0" algn="r">
              <a:lnSpc>
                <a:spcPct val="100000"/>
              </a:lnSpc>
              <a:spcBef>
                <a:spcPts val="0"/>
              </a:spcBef>
              <a:spcAft>
                <a:spcPts val="0"/>
              </a:spcAft>
              <a:buSzPts val="1800"/>
              <a:buNone/>
              <a:defRPr sz="1200" b="0" i="0" u="none" strike="noStrike" cap="none">
                <a:solidFill>
                  <a:srgbClr val="AEB3B7"/>
                </a:solidFill>
                <a:latin typeface="Calibri"/>
                <a:ea typeface="Calibri"/>
                <a:cs typeface="Calibri"/>
                <a:sym typeface="Calibri"/>
              </a:defRPr>
            </a:lvl6pPr>
            <a:lvl7pPr marL="0" lvl="6" indent="0" algn="r">
              <a:lnSpc>
                <a:spcPct val="100000"/>
              </a:lnSpc>
              <a:spcBef>
                <a:spcPts val="0"/>
              </a:spcBef>
              <a:spcAft>
                <a:spcPts val="0"/>
              </a:spcAft>
              <a:buSzPts val="1800"/>
              <a:buNone/>
              <a:defRPr sz="1200" b="0" i="0" u="none" strike="noStrike" cap="none">
                <a:solidFill>
                  <a:srgbClr val="AEB3B7"/>
                </a:solidFill>
                <a:latin typeface="Calibri"/>
                <a:ea typeface="Calibri"/>
                <a:cs typeface="Calibri"/>
                <a:sym typeface="Calibri"/>
              </a:defRPr>
            </a:lvl7pPr>
            <a:lvl8pPr marL="0" lvl="7" indent="0" algn="r">
              <a:lnSpc>
                <a:spcPct val="100000"/>
              </a:lnSpc>
              <a:spcBef>
                <a:spcPts val="0"/>
              </a:spcBef>
              <a:spcAft>
                <a:spcPts val="0"/>
              </a:spcAft>
              <a:buSzPts val="1800"/>
              <a:buNone/>
              <a:defRPr sz="1200" b="0" i="0" u="none" strike="noStrike" cap="none">
                <a:solidFill>
                  <a:srgbClr val="AEB3B7"/>
                </a:solidFill>
                <a:latin typeface="Calibri"/>
                <a:ea typeface="Calibri"/>
                <a:cs typeface="Calibri"/>
                <a:sym typeface="Calibri"/>
              </a:defRPr>
            </a:lvl8pPr>
            <a:lvl9pPr marL="0" lvl="8" indent="0" algn="r">
              <a:lnSpc>
                <a:spcPct val="100000"/>
              </a:lnSpc>
              <a:spcBef>
                <a:spcPts val="0"/>
              </a:spcBef>
              <a:spcAft>
                <a:spcPts val="0"/>
              </a:spcAft>
              <a:buSzPts val="1800"/>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2938" name="Google Shape;2938;p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39" name="Google Shape;2939;p41"/>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614996163"/>
      </p:ext>
    </p:extLst>
  </p:cSld>
  <p:clrMapOvr>
    <a:masterClrMapping/>
  </p:clrMapOvr>
</p:sldLayout>
</file>

<file path=ppt/slideLayouts/slideLayout1473.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2940"/>
        <p:cNvGrpSpPr/>
        <p:nvPr/>
      </p:nvGrpSpPr>
      <p:grpSpPr>
        <a:xfrm>
          <a:off x="0" y="0"/>
          <a:ext cx="0" cy="0"/>
          <a:chOff x="0" y="0"/>
          <a:chExt cx="0" cy="0"/>
        </a:xfrm>
      </p:grpSpPr>
      <p:sp>
        <p:nvSpPr>
          <p:cNvPr id="2941" name="Google Shape;2941;p5302"/>
          <p:cNvSpPr/>
          <p:nvPr/>
        </p:nvSpPr>
        <p:spPr>
          <a:xfrm>
            <a:off x="902368" y="1294415"/>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2942" name="Google Shape;2942;p5302"/>
          <p:cNvSpPr txBox="1">
            <a:spLocks noGrp="1"/>
          </p:cNvSpPr>
          <p:nvPr>
            <p:ph type="ctrTitle"/>
          </p:nvPr>
        </p:nvSpPr>
        <p:spPr>
          <a:xfrm>
            <a:off x="1413312"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43" name="Google Shape;2943;p5302"/>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
        <p:nvSpPr>
          <p:cNvPr id="2944" name="Google Shape;2944;p5302"/>
          <p:cNvSpPr>
            <a:spLocks noGrp="1"/>
          </p:cNvSpPr>
          <p:nvPr>
            <p:ph type="pic" idx="2"/>
          </p:nvPr>
        </p:nvSpPr>
        <p:spPr>
          <a:xfrm>
            <a:off x="7118684" y="233915"/>
            <a:ext cx="5073316" cy="5943600"/>
          </a:xfrm>
          <a:prstGeom prst="rect">
            <a:avLst/>
          </a:prstGeom>
          <a:noFill/>
          <a:ln>
            <a:noFill/>
          </a:ln>
        </p:spPr>
      </p:sp>
      <p:grpSp>
        <p:nvGrpSpPr>
          <p:cNvPr id="2945" name="Google Shape;2945;p5302"/>
          <p:cNvGrpSpPr/>
          <p:nvPr/>
        </p:nvGrpSpPr>
        <p:grpSpPr>
          <a:xfrm>
            <a:off x="0" y="5020350"/>
            <a:ext cx="12192000" cy="1837653"/>
            <a:chOff x="0" y="5020348"/>
            <a:chExt cx="12192000" cy="1837653"/>
          </a:xfrm>
        </p:grpSpPr>
        <p:sp>
          <p:nvSpPr>
            <p:cNvPr id="2946" name="Google Shape;2946;p530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2947" name="Google Shape;2947;p530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2948" name="Google Shape;2948;p530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764447276"/>
      </p:ext>
    </p:extLst>
  </p:cSld>
  <p:clrMapOvr>
    <a:masterClrMapping/>
  </p:clrMapOvr>
</p:sldLayout>
</file>

<file path=ppt/slideLayouts/slideLayout1474.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2949"/>
        <p:cNvGrpSpPr/>
        <p:nvPr/>
      </p:nvGrpSpPr>
      <p:grpSpPr>
        <a:xfrm>
          <a:off x="0" y="0"/>
          <a:ext cx="0" cy="0"/>
          <a:chOff x="0" y="0"/>
          <a:chExt cx="0" cy="0"/>
        </a:xfrm>
      </p:grpSpPr>
      <p:sp>
        <p:nvSpPr>
          <p:cNvPr id="2950" name="Google Shape;2950;p5303"/>
          <p:cNvSpPr/>
          <p:nvPr/>
        </p:nvSpPr>
        <p:spPr>
          <a:xfrm>
            <a:off x="1427358"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2951" name="Google Shape;2951;p5303"/>
          <p:cNvSpPr txBox="1">
            <a:spLocks noGrp="1"/>
          </p:cNvSpPr>
          <p:nvPr>
            <p:ph type="title"/>
          </p:nvPr>
        </p:nvSpPr>
        <p:spPr>
          <a:xfrm>
            <a:off x="1427358"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52" name="Google Shape;2952;p530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2953" name="Google Shape;2953;p5303"/>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2954" name="Google Shape;2954;p53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55" name="Google Shape;2955;p530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956" name="Google Shape;2956;p5303"/>
          <p:cNvGrpSpPr/>
          <p:nvPr/>
        </p:nvGrpSpPr>
        <p:grpSpPr>
          <a:xfrm>
            <a:off x="7191544" y="1"/>
            <a:ext cx="5000459" cy="1425992"/>
            <a:chOff x="7191542" y="1"/>
            <a:chExt cx="5000459" cy="1425992"/>
          </a:xfrm>
        </p:grpSpPr>
        <p:pic>
          <p:nvPicPr>
            <p:cNvPr id="2957" name="Google Shape;2957;p53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958" name="Google Shape;2958;p5303"/>
            <p:cNvGrpSpPr/>
            <p:nvPr/>
          </p:nvGrpSpPr>
          <p:grpSpPr>
            <a:xfrm>
              <a:off x="7191542" y="1"/>
              <a:ext cx="5000459" cy="1425992"/>
              <a:chOff x="7186272" y="0"/>
              <a:chExt cx="5005729" cy="1427495"/>
            </a:xfrm>
          </p:grpSpPr>
          <p:sp>
            <p:nvSpPr>
              <p:cNvPr id="2959" name="Google Shape;2959;p53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2960" name="Google Shape;2960;p53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2961" name="Google Shape;2961;p5303"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106246501"/>
      </p:ext>
    </p:extLst>
  </p:cSld>
  <p:clrMapOvr>
    <a:masterClrMapping/>
  </p:clrMapOvr>
</p:sldLayout>
</file>

<file path=ppt/slideLayouts/slideLayout1475.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2962"/>
        <p:cNvGrpSpPr/>
        <p:nvPr/>
      </p:nvGrpSpPr>
      <p:grpSpPr>
        <a:xfrm>
          <a:off x="0" y="0"/>
          <a:ext cx="0" cy="0"/>
          <a:chOff x="0" y="0"/>
          <a:chExt cx="0" cy="0"/>
        </a:xfrm>
      </p:grpSpPr>
      <p:sp>
        <p:nvSpPr>
          <p:cNvPr id="2963" name="Google Shape;2963;p530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64" name="Google Shape;2964;p5304"/>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2965" name="Google Shape;2965;p5304"/>
          <p:cNvGrpSpPr/>
          <p:nvPr/>
        </p:nvGrpSpPr>
        <p:grpSpPr>
          <a:xfrm>
            <a:off x="7191544" y="1"/>
            <a:ext cx="5000459" cy="1425992"/>
            <a:chOff x="7191542" y="1"/>
            <a:chExt cx="5000459" cy="1425992"/>
          </a:xfrm>
        </p:grpSpPr>
        <p:pic>
          <p:nvPicPr>
            <p:cNvPr id="2966" name="Google Shape;2966;p53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967" name="Google Shape;2967;p5304"/>
            <p:cNvGrpSpPr/>
            <p:nvPr/>
          </p:nvGrpSpPr>
          <p:grpSpPr>
            <a:xfrm>
              <a:off x="7191542" y="1"/>
              <a:ext cx="5000459" cy="1425992"/>
              <a:chOff x="7186272" y="0"/>
              <a:chExt cx="5005729" cy="1427495"/>
            </a:xfrm>
          </p:grpSpPr>
          <p:sp>
            <p:nvSpPr>
              <p:cNvPr id="2968" name="Google Shape;2968;p53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2969" name="Google Shape;2969;p53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2970" name="Google Shape;2970;p5304"/>
          <p:cNvSpPr txBox="1">
            <a:spLocks noGrp="1"/>
          </p:cNvSpPr>
          <p:nvPr>
            <p:ph type="body" idx="2"/>
          </p:nvPr>
        </p:nvSpPr>
        <p:spPr>
          <a:xfrm>
            <a:off x="6172201"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2971" name="Google Shape;2971;p5304"/>
          <p:cNvSpPr txBox="1">
            <a:spLocks noGrp="1"/>
          </p:cNvSpPr>
          <p:nvPr>
            <p:ph type="sldNum" idx="12"/>
          </p:nvPr>
        </p:nvSpPr>
        <p:spPr>
          <a:xfrm>
            <a:off x="8839198"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2972" name="Google Shape;2972;p53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73" name="Google Shape;2973;p530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422616497"/>
      </p:ext>
    </p:extLst>
  </p:cSld>
  <p:clrMapOvr>
    <a:masterClrMapping/>
  </p:clrMapOvr>
</p:sldLayout>
</file>

<file path=ppt/slideLayouts/slideLayout1476.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2974"/>
        <p:cNvGrpSpPr/>
        <p:nvPr/>
      </p:nvGrpSpPr>
      <p:grpSpPr>
        <a:xfrm>
          <a:off x="0" y="0"/>
          <a:ext cx="0" cy="0"/>
          <a:chOff x="0" y="0"/>
          <a:chExt cx="0" cy="0"/>
        </a:xfrm>
      </p:grpSpPr>
      <p:sp>
        <p:nvSpPr>
          <p:cNvPr id="2975" name="Google Shape;2975;p5305"/>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2976" name="Google Shape;2976;p530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977" name="Google Shape;2977;p5305"/>
          <p:cNvGrpSpPr/>
          <p:nvPr/>
        </p:nvGrpSpPr>
        <p:grpSpPr>
          <a:xfrm>
            <a:off x="0" y="5379428"/>
            <a:ext cx="2807368" cy="753891"/>
            <a:chOff x="0" y="5379426"/>
            <a:chExt cx="2807368" cy="753891"/>
          </a:xfrm>
        </p:grpSpPr>
        <p:sp>
          <p:nvSpPr>
            <p:cNvPr id="2978" name="Google Shape;2978;p530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2979" name="Google Shape;2979;p530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2980" name="Google Shape;2980;p5305"/>
          <p:cNvSpPr>
            <a:spLocks noGrp="1"/>
          </p:cNvSpPr>
          <p:nvPr>
            <p:ph type="pic" idx="2"/>
          </p:nvPr>
        </p:nvSpPr>
        <p:spPr>
          <a:xfrm>
            <a:off x="2807368" y="457202"/>
            <a:ext cx="8915400" cy="5943598"/>
          </a:xfrm>
          <a:prstGeom prst="rect">
            <a:avLst/>
          </a:prstGeom>
          <a:noFill/>
          <a:ln>
            <a:noFill/>
          </a:ln>
        </p:spPr>
      </p:sp>
      <p:pic>
        <p:nvPicPr>
          <p:cNvPr id="2981" name="Google Shape;2981;p5305"/>
          <p:cNvPicPr preferRelativeResize="0"/>
          <p:nvPr/>
        </p:nvPicPr>
        <p:blipFill rotWithShape="1">
          <a:blip r:embed="rId2">
            <a:alphaModFix/>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2352117695"/>
      </p:ext>
    </p:extLst>
  </p:cSld>
  <p:clrMapOvr>
    <a:masterClrMapping/>
  </p:clrMapOvr>
</p:sldLayout>
</file>

<file path=ppt/slideLayouts/slideLayout1477.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2982"/>
        <p:cNvGrpSpPr/>
        <p:nvPr/>
      </p:nvGrpSpPr>
      <p:grpSpPr>
        <a:xfrm>
          <a:off x="0" y="0"/>
          <a:ext cx="0" cy="0"/>
          <a:chOff x="0" y="0"/>
          <a:chExt cx="0" cy="0"/>
        </a:xfrm>
      </p:grpSpPr>
      <p:grpSp>
        <p:nvGrpSpPr>
          <p:cNvPr id="2983" name="Google Shape;2983;p5306"/>
          <p:cNvGrpSpPr/>
          <p:nvPr/>
        </p:nvGrpSpPr>
        <p:grpSpPr>
          <a:xfrm>
            <a:off x="7191544" y="1"/>
            <a:ext cx="5000459" cy="1425992"/>
            <a:chOff x="7191542" y="1"/>
            <a:chExt cx="5000459" cy="1425992"/>
          </a:xfrm>
        </p:grpSpPr>
        <p:pic>
          <p:nvPicPr>
            <p:cNvPr id="2984" name="Google Shape;2984;p53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985" name="Google Shape;2985;p5306"/>
            <p:cNvGrpSpPr/>
            <p:nvPr/>
          </p:nvGrpSpPr>
          <p:grpSpPr>
            <a:xfrm>
              <a:off x="7191542" y="1"/>
              <a:ext cx="5000459" cy="1425992"/>
              <a:chOff x="7186272" y="0"/>
              <a:chExt cx="5005729" cy="1427495"/>
            </a:xfrm>
          </p:grpSpPr>
          <p:sp>
            <p:nvSpPr>
              <p:cNvPr id="2986" name="Google Shape;2986;p53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2987" name="Google Shape;2987;p53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2988" name="Google Shape;2988;p5306"/>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89" name="Google Shape;2989;p5306"/>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2990" name="Google Shape;2990;p5306"/>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2991" name="Google Shape;2991;p530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2992" name="Google Shape;2992;p530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2993" name="Google Shape;2993;p530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2994" name="Google Shape;2994;p53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95" name="Google Shape;2995;p530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589783555"/>
      </p:ext>
    </p:extLst>
  </p:cSld>
  <p:clrMapOvr>
    <a:masterClrMapping/>
  </p:clrMapOvr>
</p:sldLayout>
</file>

<file path=ppt/slideLayouts/slideLayout1478.xml><?xml version="1.0" encoding="utf-8"?>
<p:sldLayout xmlns:a="http://schemas.openxmlformats.org/drawingml/2006/main" xmlns:r="http://schemas.openxmlformats.org/officeDocument/2006/relationships" xmlns:p="http://schemas.openxmlformats.org/presentationml/2006/main" matchingName="1_Cover">
  <p:cSld name="1_Cover">
    <p:spTree>
      <p:nvGrpSpPr>
        <p:cNvPr id="1" name="Shape 2996"/>
        <p:cNvGrpSpPr/>
        <p:nvPr/>
      </p:nvGrpSpPr>
      <p:grpSpPr>
        <a:xfrm>
          <a:off x="0" y="0"/>
          <a:ext cx="0" cy="0"/>
          <a:chOff x="0" y="0"/>
          <a:chExt cx="0" cy="0"/>
        </a:xfrm>
      </p:grpSpPr>
      <p:sp>
        <p:nvSpPr>
          <p:cNvPr id="2997" name="Google Shape;2997;p5307"/>
          <p:cNvSpPr/>
          <p:nvPr/>
        </p:nvSpPr>
        <p:spPr>
          <a:xfrm>
            <a:off x="902368" y="1294415"/>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2998" name="Google Shape;2998;p5307"/>
          <p:cNvSpPr txBox="1">
            <a:spLocks noGrp="1"/>
          </p:cNvSpPr>
          <p:nvPr>
            <p:ph type="ctrTitle"/>
          </p:nvPr>
        </p:nvSpPr>
        <p:spPr>
          <a:xfrm>
            <a:off x="1413312"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99" name="Google Shape;2999;p5307"/>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
        <p:nvSpPr>
          <p:cNvPr id="3000" name="Google Shape;3000;p5307"/>
          <p:cNvSpPr>
            <a:spLocks noGrp="1"/>
          </p:cNvSpPr>
          <p:nvPr>
            <p:ph type="pic" idx="2"/>
          </p:nvPr>
        </p:nvSpPr>
        <p:spPr>
          <a:xfrm>
            <a:off x="7118684" y="233915"/>
            <a:ext cx="5073316" cy="5943600"/>
          </a:xfrm>
          <a:prstGeom prst="rect">
            <a:avLst/>
          </a:prstGeom>
          <a:noFill/>
          <a:ln>
            <a:noFill/>
          </a:ln>
        </p:spPr>
      </p:sp>
      <p:grpSp>
        <p:nvGrpSpPr>
          <p:cNvPr id="3001" name="Google Shape;3001;p5307"/>
          <p:cNvGrpSpPr/>
          <p:nvPr/>
        </p:nvGrpSpPr>
        <p:grpSpPr>
          <a:xfrm>
            <a:off x="0" y="5020350"/>
            <a:ext cx="12192000" cy="1837653"/>
            <a:chOff x="0" y="5020348"/>
            <a:chExt cx="12192000" cy="1837653"/>
          </a:xfrm>
        </p:grpSpPr>
        <p:sp>
          <p:nvSpPr>
            <p:cNvPr id="3002" name="Google Shape;3002;p530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003" name="Google Shape;3003;p530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3004" name="Google Shape;3004;p530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580712830"/>
      </p:ext>
    </p:extLst>
  </p:cSld>
  <p:clrMapOvr>
    <a:masterClrMapping/>
  </p:clrMapOvr>
</p:sldLayout>
</file>

<file path=ppt/slideLayouts/slideLayout1479.xml><?xml version="1.0" encoding="utf-8"?>
<p:sldLayout xmlns:a="http://schemas.openxmlformats.org/drawingml/2006/main" xmlns:r="http://schemas.openxmlformats.org/officeDocument/2006/relationships" xmlns:p="http://schemas.openxmlformats.org/presentationml/2006/main" matchingName="2_Cover">
  <p:cSld name="2_Cover">
    <p:spTree>
      <p:nvGrpSpPr>
        <p:cNvPr id="1" name="Shape 3005"/>
        <p:cNvGrpSpPr/>
        <p:nvPr/>
      </p:nvGrpSpPr>
      <p:grpSpPr>
        <a:xfrm>
          <a:off x="0" y="0"/>
          <a:ext cx="0" cy="0"/>
          <a:chOff x="0" y="0"/>
          <a:chExt cx="0" cy="0"/>
        </a:xfrm>
      </p:grpSpPr>
      <p:sp>
        <p:nvSpPr>
          <p:cNvPr id="3006" name="Google Shape;3006;p5308"/>
          <p:cNvSpPr/>
          <p:nvPr/>
        </p:nvSpPr>
        <p:spPr>
          <a:xfrm>
            <a:off x="902368" y="1294415"/>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007" name="Google Shape;3007;p5308"/>
          <p:cNvSpPr txBox="1">
            <a:spLocks noGrp="1"/>
          </p:cNvSpPr>
          <p:nvPr>
            <p:ph type="ctrTitle"/>
          </p:nvPr>
        </p:nvSpPr>
        <p:spPr>
          <a:xfrm>
            <a:off x="1413312"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08" name="Google Shape;3008;p5308"/>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
        <p:nvSpPr>
          <p:cNvPr id="3009" name="Google Shape;3009;p5308"/>
          <p:cNvSpPr>
            <a:spLocks noGrp="1"/>
          </p:cNvSpPr>
          <p:nvPr>
            <p:ph type="pic" idx="2"/>
          </p:nvPr>
        </p:nvSpPr>
        <p:spPr>
          <a:xfrm>
            <a:off x="7118684" y="233915"/>
            <a:ext cx="5073316" cy="5943600"/>
          </a:xfrm>
          <a:prstGeom prst="rect">
            <a:avLst/>
          </a:prstGeom>
          <a:noFill/>
          <a:ln>
            <a:noFill/>
          </a:ln>
        </p:spPr>
      </p:sp>
      <p:grpSp>
        <p:nvGrpSpPr>
          <p:cNvPr id="3010" name="Google Shape;3010;p5308"/>
          <p:cNvGrpSpPr/>
          <p:nvPr/>
        </p:nvGrpSpPr>
        <p:grpSpPr>
          <a:xfrm>
            <a:off x="0" y="5020350"/>
            <a:ext cx="12192000" cy="1837653"/>
            <a:chOff x="0" y="5020348"/>
            <a:chExt cx="12192000" cy="1837653"/>
          </a:xfrm>
        </p:grpSpPr>
        <p:sp>
          <p:nvSpPr>
            <p:cNvPr id="3011" name="Google Shape;3011;p530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012" name="Google Shape;3012;p530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3013" name="Google Shape;3013;p530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82431500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matchingName="End">
  <p:cSld name="End 8">
    <p:spTree>
      <p:nvGrpSpPr>
        <p:cNvPr id="1" name="Shape 10498"/>
        <p:cNvGrpSpPr/>
        <p:nvPr/>
      </p:nvGrpSpPr>
      <p:grpSpPr>
        <a:xfrm>
          <a:off x="0" y="0"/>
          <a:ext cx="0" cy="0"/>
          <a:chOff x="0" y="0"/>
          <a:chExt cx="0" cy="0"/>
        </a:xfrm>
      </p:grpSpPr>
      <p:grpSp>
        <p:nvGrpSpPr>
          <p:cNvPr id="10499" name="Google Shape;10499;p1452"/>
          <p:cNvGrpSpPr/>
          <p:nvPr/>
        </p:nvGrpSpPr>
        <p:grpSpPr>
          <a:xfrm>
            <a:off x="0" y="0"/>
            <a:ext cx="12192000" cy="2148830"/>
            <a:chOff x="0" y="0"/>
            <a:chExt cx="12192000" cy="2148830"/>
          </a:xfrm>
        </p:grpSpPr>
        <p:sp>
          <p:nvSpPr>
            <p:cNvPr id="10500" name="Google Shape;10500;p145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501" name="Google Shape;10501;p145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0502" name="Google Shape;10502;p145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503" name="Google Shape;10503;p145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04" name="Google Shape;10504;p145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0505" name="Google Shape;10505;p145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506" name="Google Shape;10506;p145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480.xml><?xml version="1.0" encoding="utf-8"?>
<p:sldLayout xmlns:a="http://schemas.openxmlformats.org/drawingml/2006/main" xmlns:r="http://schemas.openxmlformats.org/officeDocument/2006/relationships" xmlns:p="http://schemas.openxmlformats.org/presentationml/2006/main" matchingName="1_Divider">
  <p:cSld name="1_Divider">
    <p:bg>
      <p:bgPr>
        <a:solidFill>
          <a:schemeClr val="lt2"/>
        </a:solidFill>
        <a:effectLst/>
      </p:bgPr>
    </p:bg>
    <p:spTree>
      <p:nvGrpSpPr>
        <p:cNvPr id="1" name="Shape 3014"/>
        <p:cNvGrpSpPr/>
        <p:nvPr/>
      </p:nvGrpSpPr>
      <p:grpSpPr>
        <a:xfrm>
          <a:off x="0" y="0"/>
          <a:ext cx="0" cy="0"/>
          <a:chOff x="0" y="0"/>
          <a:chExt cx="0" cy="0"/>
        </a:xfrm>
      </p:grpSpPr>
      <p:grpSp>
        <p:nvGrpSpPr>
          <p:cNvPr id="3015" name="Google Shape;3015;p5309"/>
          <p:cNvGrpSpPr/>
          <p:nvPr/>
        </p:nvGrpSpPr>
        <p:grpSpPr>
          <a:xfrm>
            <a:off x="0" y="5020349"/>
            <a:ext cx="12192000" cy="1837653"/>
            <a:chOff x="0" y="5020347"/>
            <a:chExt cx="12192000" cy="1837653"/>
          </a:xfrm>
        </p:grpSpPr>
        <p:sp>
          <p:nvSpPr>
            <p:cNvPr id="3016" name="Google Shape;3016;p530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017" name="Google Shape;3017;p530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018" name="Google Shape;3018;p530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3019" name="Google Shape;3019;p530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020" name="Google Shape;3020;p5309"/>
          <p:cNvSpPr txBox="1">
            <a:spLocks noGrp="1"/>
          </p:cNvSpPr>
          <p:nvPr>
            <p:ph type="title"/>
          </p:nvPr>
        </p:nvSpPr>
        <p:spPr>
          <a:xfrm>
            <a:off x="1413310"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21" name="Google Shape;3021;p5309"/>
          <p:cNvSpPr txBox="1">
            <a:spLocks noGrp="1"/>
          </p:cNvSpPr>
          <p:nvPr>
            <p:ph type="subTitle" idx="1"/>
          </p:nvPr>
        </p:nvSpPr>
        <p:spPr>
          <a:xfrm>
            <a:off x="1413310"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Tree>
    <p:extLst>
      <p:ext uri="{BB962C8B-B14F-4D97-AF65-F5344CB8AC3E}">
        <p14:creationId xmlns:p14="http://schemas.microsoft.com/office/powerpoint/2010/main" val="2174680537"/>
      </p:ext>
    </p:extLst>
  </p:cSld>
  <p:clrMapOvr>
    <a:masterClrMapping/>
  </p:clrMapOvr>
</p:sldLayout>
</file>

<file path=ppt/slideLayouts/slideLayout1481.xml><?xml version="1.0" encoding="utf-8"?>
<p:sldLayout xmlns:a="http://schemas.openxmlformats.org/drawingml/2006/main" xmlns:r="http://schemas.openxmlformats.org/officeDocument/2006/relationships" xmlns:p="http://schemas.openxmlformats.org/presentationml/2006/main" matchingName="1_Photo Slide">
  <p:cSld name="1_Photo Slide">
    <p:spTree>
      <p:nvGrpSpPr>
        <p:cNvPr id="1" name="Shape 3022"/>
        <p:cNvGrpSpPr/>
        <p:nvPr/>
      </p:nvGrpSpPr>
      <p:grpSpPr>
        <a:xfrm>
          <a:off x="0" y="0"/>
          <a:ext cx="0" cy="0"/>
          <a:chOff x="0" y="0"/>
          <a:chExt cx="0" cy="0"/>
        </a:xfrm>
      </p:grpSpPr>
      <p:sp>
        <p:nvSpPr>
          <p:cNvPr id="3023" name="Google Shape;3023;p5310"/>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3024" name="Google Shape;3024;p531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025" name="Google Shape;3025;p5310"/>
          <p:cNvGrpSpPr/>
          <p:nvPr/>
        </p:nvGrpSpPr>
        <p:grpSpPr>
          <a:xfrm>
            <a:off x="0" y="5379428"/>
            <a:ext cx="2807368" cy="753891"/>
            <a:chOff x="0" y="5379426"/>
            <a:chExt cx="2807368" cy="753891"/>
          </a:xfrm>
        </p:grpSpPr>
        <p:sp>
          <p:nvSpPr>
            <p:cNvPr id="3026" name="Google Shape;3026;p531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027" name="Google Shape;3027;p531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3028" name="Google Shape;3028;p5310"/>
          <p:cNvSpPr>
            <a:spLocks noGrp="1"/>
          </p:cNvSpPr>
          <p:nvPr>
            <p:ph type="pic" idx="2"/>
          </p:nvPr>
        </p:nvSpPr>
        <p:spPr>
          <a:xfrm>
            <a:off x="2807368" y="457202"/>
            <a:ext cx="8915400" cy="5943598"/>
          </a:xfrm>
          <a:prstGeom prst="rect">
            <a:avLst/>
          </a:prstGeom>
          <a:noFill/>
          <a:ln>
            <a:noFill/>
          </a:ln>
        </p:spPr>
      </p:sp>
      <p:pic>
        <p:nvPicPr>
          <p:cNvPr id="3029" name="Google Shape;3029;p5310"/>
          <p:cNvPicPr preferRelativeResize="0"/>
          <p:nvPr/>
        </p:nvPicPr>
        <p:blipFill rotWithShape="1">
          <a:blip r:embed="rId2">
            <a:alphaModFix/>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2877987408"/>
      </p:ext>
    </p:extLst>
  </p:cSld>
  <p:clrMapOvr>
    <a:masterClrMapping/>
  </p:clrMapOvr>
</p:sldLayout>
</file>

<file path=ppt/slideLayouts/slideLayout1482.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3030"/>
        <p:cNvGrpSpPr/>
        <p:nvPr/>
      </p:nvGrpSpPr>
      <p:grpSpPr>
        <a:xfrm>
          <a:off x="0" y="0"/>
          <a:ext cx="0" cy="0"/>
          <a:chOff x="0" y="0"/>
          <a:chExt cx="0" cy="0"/>
        </a:xfrm>
      </p:grpSpPr>
      <p:sp>
        <p:nvSpPr>
          <p:cNvPr id="3031" name="Google Shape;3031;p5311"/>
          <p:cNvSpPr/>
          <p:nvPr/>
        </p:nvSpPr>
        <p:spPr>
          <a:xfrm>
            <a:off x="1427358"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032" name="Google Shape;3032;p5311"/>
          <p:cNvSpPr txBox="1">
            <a:spLocks noGrp="1"/>
          </p:cNvSpPr>
          <p:nvPr>
            <p:ph type="title"/>
          </p:nvPr>
        </p:nvSpPr>
        <p:spPr>
          <a:xfrm>
            <a:off x="1427358"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33" name="Google Shape;3033;p531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034" name="Google Shape;3034;p5311"/>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035" name="Google Shape;3035;p53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36" name="Google Shape;3036;p531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037" name="Google Shape;3037;p5311"/>
          <p:cNvGrpSpPr/>
          <p:nvPr/>
        </p:nvGrpSpPr>
        <p:grpSpPr>
          <a:xfrm>
            <a:off x="7191544" y="1"/>
            <a:ext cx="5000459" cy="1425992"/>
            <a:chOff x="7191542" y="1"/>
            <a:chExt cx="5000459" cy="1425992"/>
          </a:xfrm>
        </p:grpSpPr>
        <p:pic>
          <p:nvPicPr>
            <p:cNvPr id="3038" name="Google Shape;3038;p53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39" name="Google Shape;3039;p5311"/>
            <p:cNvGrpSpPr/>
            <p:nvPr/>
          </p:nvGrpSpPr>
          <p:grpSpPr>
            <a:xfrm>
              <a:off x="7191542" y="1"/>
              <a:ext cx="5000459" cy="1425992"/>
              <a:chOff x="7186272" y="0"/>
              <a:chExt cx="5005729" cy="1427495"/>
            </a:xfrm>
          </p:grpSpPr>
          <p:sp>
            <p:nvSpPr>
              <p:cNvPr id="3040" name="Google Shape;3040;p53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041" name="Google Shape;3041;p53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042" name="Google Shape;3042;p5311"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1161820983"/>
      </p:ext>
    </p:extLst>
  </p:cSld>
  <p:clrMapOvr>
    <a:masterClrMapping/>
  </p:clrMapOvr>
</p:sldLayout>
</file>

<file path=ppt/slideLayouts/slideLayout1483.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3043"/>
        <p:cNvGrpSpPr/>
        <p:nvPr/>
      </p:nvGrpSpPr>
      <p:grpSpPr>
        <a:xfrm>
          <a:off x="0" y="0"/>
          <a:ext cx="0" cy="0"/>
          <a:chOff x="0" y="0"/>
          <a:chExt cx="0" cy="0"/>
        </a:xfrm>
      </p:grpSpPr>
      <p:grpSp>
        <p:nvGrpSpPr>
          <p:cNvPr id="3044" name="Google Shape;3044;p5312"/>
          <p:cNvGrpSpPr/>
          <p:nvPr/>
        </p:nvGrpSpPr>
        <p:grpSpPr>
          <a:xfrm>
            <a:off x="7191544" y="1"/>
            <a:ext cx="5000459" cy="1425992"/>
            <a:chOff x="7191542" y="1"/>
            <a:chExt cx="5000459" cy="1425992"/>
          </a:xfrm>
        </p:grpSpPr>
        <p:pic>
          <p:nvPicPr>
            <p:cNvPr id="3045" name="Google Shape;3045;p53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46" name="Google Shape;3046;p5312"/>
            <p:cNvGrpSpPr/>
            <p:nvPr/>
          </p:nvGrpSpPr>
          <p:grpSpPr>
            <a:xfrm>
              <a:off x="7191542" y="1"/>
              <a:ext cx="5000459" cy="1425992"/>
              <a:chOff x="7186272" y="0"/>
              <a:chExt cx="5005729" cy="1427495"/>
            </a:xfrm>
          </p:grpSpPr>
          <p:sp>
            <p:nvSpPr>
              <p:cNvPr id="3047" name="Google Shape;3047;p53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048" name="Google Shape;3048;p53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049" name="Google Shape;3049;p5312"/>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50" name="Google Shape;3050;p5312"/>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051" name="Google Shape;3051;p531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052" name="Google Shape;3052;p53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53" name="Google Shape;3053;p531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731143629"/>
      </p:ext>
    </p:extLst>
  </p:cSld>
  <p:clrMapOvr>
    <a:masterClrMapping/>
  </p:clrMapOvr>
</p:sldLayout>
</file>

<file path=ppt/slideLayouts/slideLayout1484.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3054"/>
        <p:cNvGrpSpPr/>
        <p:nvPr/>
      </p:nvGrpSpPr>
      <p:grpSpPr>
        <a:xfrm>
          <a:off x="0" y="0"/>
          <a:ext cx="0" cy="0"/>
          <a:chOff x="0" y="0"/>
          <a:chExt cx="0" cy="0"/>
        </a:xfrm>
      </p:grpSpPr>
      <p:sp>
        <p:nvSpPr>
          <p:cNvPr id="3055" name="Google Shape;3055;p5313"/>
          <p:cNvSpPr/>
          <p:nvPr/>
        </p:nvSpPr>
        <p:spPr>
          <a:xfrm>
            <a:off x="1427358"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056" name="Google Shape;3056;p5313"/>
          <p:cNvSpPr txBox="1">
            <a:spLocks noGrp="1"/>
          </p:cNvSpPr>
          <p:nvPr>
            <p:ph type="title"/>
          </p:nvPr>
        </p:nvSpPr>
        <p:spPr>
          <a:xfrm>
            <a:off x="1427358"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57" name="Google Shape;3057;p531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058" name="Google Shape;3058;p5313"/>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059" name="Google Shape;3059;p53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60" name="Google Shape;3060;p531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061" name="Google Shape;3061;p5313"/>
          <p:cNvGrpSpPr/>
          <p:nvPr/>
        </p:nvGrpSpPr>
        <p:grpSpPr>
          <a:xfrm>
            <a:off x="7191544" y="1"/>
            <a:ext cx="5000459" cy="1425992"/>
            <a:chOff x="7191542" y="1"/>
            <a:chExt cx="5000459" cy="1425992"/>
          </a:xfrm>
        </p:grpSpPr>
        <p:pic>
          <p:nvPicPr>
            <p:cNvPr id="3062" name="Google Shape;3062;p53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63" name="Google Shape;3063;p5313"/>
            <p:cNvGrpSpPr/>
            <p:nvPr/>
          </p:nvGrpSpPr>
          <p:grpSpPr>
            <a:xfrm>
              <a:off x="7191542" y="1"/>
              <a:ext cx="5000459" cy="1425992"/>
              <a:chOff x="7186272" y="0"/>
              <a:chExt cx="5005729" cy="1427495"/>
            </a:xfrm>
          </p:grpSpPr>
          <p:sp>
            <p:nvSpPr>
              <p:cNvPr id="3064" name="Google Shape;3064;p53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065" name="Google Shape;3065;p53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066" name="Google Shape;3066;p5313"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199442881"/>
      </p:ext>
    </p:extLst>
  </p:cSld>
  <p:clrMapOvr>
    <a:masterClrMapping/>
  </p:clrMapOvr>
</p:sldLayout>
</file>

<file path=ppt/slideLayouts/slideLayout1485.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3067"/>
        <p:cNvGrpSpPr/>
        <p:nvPr/>
      </p:nvGrpSpPr>
      <p:grpSpPr>
        <a:xfrm>
          <a:off x="0" y="0"/>
          <a:ext cx="0" cy="0"/>
          <a:chOff x="0" y="0"/>
          <a:chExt cx="0" cy="0"/>
        </a:xfrm>
      </p:grpSpPr>
      <p:sp>
        <p:nvSpPr>
          <p:cNvPr id="3068" name="Google Shape;3068;p5314"/>
          <p:cNvSpPr txBox="1">
            <a:spLocks noGrp="1"/>
          </p:cNvSpPr>
          <p:nvPr>
            <p:ph type="ctrTitle"/>
          </p:nvPr>
        </p:nvSpPr>
        <p:spPr>
          <a:xfrm>
            <a:off x="513350"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69" name="Google Shape;3069;p5314"/>
          <p:cNvSpPr txBox="1">
            <a:spLocks noGrp="1"/>
          </p:cNvSpPr>
          <p:nvPr>
            <p:ph type="subTitle" idx="1"/>
          </p:nvPr>
        </p:nvSpPr>
        <p:spPr>
          <a:xfrm>
            <a:off x="513350" y="5400327"/>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grpSp>
        <p:nvGrpSpPr>
          <p:cNvPr id="3070" name="Google Shape;3070;p5314"/>
          <p:cNvGrpSpPr/>
          <p:nvPr/>
        </p:nvGrpSpPr>
        <p:grpSpPr>
          <a:xfrm flipH="1">
            <a:off x="-1" y="2"/>
            <a:ext cx="6418725" cy="1509822"/>
            <a:chOff x="7522541" y="1"/>
            <a:chExt cx="4669459" cy="1098357"/>
          </a:xfrm>
        </p:grpSpPr>
        <p:sp>
          <p:nvSpPr>
            <p:cNvPr id="3071" name="Google Shape;3071;p5314"/>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072" name="Google Shape;3072;p5314"/>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pic>
        <p:nvPicPr>
          <p:cNvPr id="3073" name="Google Shape;3073;p5314"/>
          <p:cNvPicPr preferRelativeResize="0"/>
          <p:nvPr/>
        </p:nvPicPr>
        <p:blipFill rotWithShape="1">
          <a:blip r:embed="rId2">
            <a:alphaModFix/>
          </a:blip>
          <a:srcRect/>
          <a:stretch/>
        </p:blipFill>
        <p:spPr>
          <a:xfrm>
            <a:off x="513348" y="136526"/>
            <a:ext cx="1945206" cy="879974"/>
          </a:xfrm>
          <a:prstGeom prst="rect">
            <a:avLst/>
          </a:prstGeom>
          <a:noFill/>
          <a:ln>
            <a:noFill/>
          </a:ln>
        </p:spPr>
      </p:pic>
    </p:spTree>
    <p:extLst>
      <p:ext uri="{BB962C8B-B14F-4D97-AF65-F5344CB8AC3E}">
        <p14:creationId xmlns:p14="http://schemas.microsoft.com/office/powerpoint/2010/main" val="730597859"/>
      </p:ext>
    </p:extLst>
  </p:cSld>
  <p:clrMapOvr>
    <a:masterClrMapping/>
  </p:clrMapOvr>
</p:sldLayout>
</file>

<file path=ppt/slideLayouts/slideLayout1486.xml><?xml version="1.0" encoding="utf-8"?>
<p:sldLayout xmlns:a="http://schemas.openxmlformats.org/drawingml/2006/main" xmlns:r="http://schemas.openxmlformats.org/officeDocument/2006/relationships" xmlns:p="http://schemas.openxmlformats.org/presentationml/2006/main" matchingName="3_Cover">
  <p:cSld name="3_Cover">
    <p:spTree>
      <p:nvGrpSpPr>
        <p:cNvPr id="1" name="Shape 3074"/>
        <p:cNvGrpSpPr/>
        <p:nvPr/>
      </p:nvGrpSpPr>
      <p:grpSpPr>
        <a:xfrm>
          <a:off x="0" y="0"/>
          <a:ext cx="0" cy="0"/>
          <a:chOff x="0" y="0"/>
          <a:chExt cx="0" cy="0"/>
        </a:xfrm>
      </p:grpSpPr>
      <p:sp>
        <p:nvSpPr>
          <p:cNvPr id="3075" name="Google Shape;3075;p5315"/>
          <p:cNvSpPr/>
          <p:nvPr/>
        </p:nvSpPr>
        <p:spPr>
          <a:xfrm>
            <a:off x="902368" y="1294415"/>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076" name="Google Shape;3076;p5315"/>
          <p:cNvSpPr txBox="1">
            <a:spLocks noGrp="1"/>
          </p:cNvSpPr>
          <p:nvPr>
            <p:ph type="ctrTitle"/>
          </p:nvPr>
        </p:nvSpPr>
        <p:spPr>
          <a:xfrm>
            <a:off x="1413312"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77" name="Google Shape;3077;p5315"/>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
        <p:nvSpPr>
          <p:cNvPr id="3078" name="Google Shape;3078;p5315"/>
          <p:cNvSpPr>
            <a:spLocks noGrp="1"/>
          </p:cNvSpPr>
          <p:nvPr>
            <p:ph type="pic" idx="2"/>
          </p:nvPr>
        </p:nvSpPr>
        <p:spPr>
          <a:xfrm>
            <a:off x="7118684" y="233915"/>
            <a:ext cx="5073316" cy="5943600"/>
          </a:xfrm>
          <a:prstGeom prst="rect">
            <a:avLst/>
          </a:prstGeom>
          <a:noFill/>
          <a:ln>
            <a:noFill/>
          </a:ln>
        </p:spPr>
      </p:sp>
      <p:grpSp>
        <p:nvGrpSpPr>
          <p:cNvPr id="3079" name="Google Shape;3079;p5315"/>
          <p:cNvGrpSpPr/>
          <p:nvPr/>
        </p:nvGrpSpPr>
        <p:grpSpPr>
          <a:xfrm>
            <a:off x="0" y="5020350"/>
            <a:ext cx="12192000" cy="1837653"/>
            <a:chOff x="0" y="5020348"/>
            <a:chExt cx="12192000" cy="1837653"/>
          </a:xfrm>
        </p:grpSpPr>
        <p:sp>
          <p:nvSpPr>
            <p:cNvPr id="3080" name="Google Shape;3080;p531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081" name="Google Shape;3081;p531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3082" name="Google Shape;3082;p531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481469633"/>
      </p:ext>
    </p:extLst>
  </p:cSld>
  <p:clrMapOvr>
    <a:masterClrMapping/>
  </p:clrMapOvr>
</p:sldLayout>
</file>

<file path=ppt/slideLayouts/slideLayout1487.xml><?xml version="1.0" encoding="utf-8"?>
<p:sldLayout xmlns:a="http://schemas.openxmlformats.org/drawingml/2006/main" xmlns:r="http://schemas.openxmlformats.org/officeDocument/2006/relationships" xmlns:p="http://schemas.openxmlformats.org/presentationml/2006/main" matchingName="2_Divider">
  <p:cSld name="2_Divider">
    <p:bg>
      <p:bgPr>
        <a:solidFill>
          <a:schemeClr val="lt2"/>
        </a:solidFill>
        <a:effectLst/>
      </p:bgPr>
    </p:bg>
    <p:spTree>
      <p:nvGrpSpPr>
        <p:cNvPr id="1" name="Shape 3083"/>
        <p:cNvGrpSpPr/>
        <p:nvPr/>
      </p:nvGrpSpPr>
      <p:grpSpPr>
        <a:xfrm>
          <a:off x="0" y="0"/>
          <a:ext cx="0" cy="0"/>
          <a:chOff x="0" y="0"/>
          <a:chExt cx="0" cy="0"/>
        </a:xfrm>
      </p:grpSpPr>
      <p:grpSp>
        <p:nvGrpSpPr>
          <p:cNvPr id="3084" name="Google Shape;3084;p5316"/>
          <p:cNvGrpSpPr/>
          <p:nvPr/>
        </p:nvGrpSpPr>
        <p:grpSpPr>
          <a:xfrm>
            <a:off x="0" y="5020349"/>
            <a:ext cx="12192000" cy="1837653"/>
            <a:chOff x="0" y="5020347"/>
            <a:chExt cx="12192000" cy="1837653"/>
          </a:xfrm>
        </p:grpSpPr>
        <p:sp>
          <p:nvSpPr>
            <p:cNvPr id="3085" name="Google Shape;3085;p531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086" name="Google Shape;3086;p531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087" name="Google Shape;3087;p531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3088" name="Google Shape;3088;p531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089" name="Google Shape;3089;p5316"/>
          <p:cNvSpPr txBox="1">
            <a:spLocks noGrp="1"/>
          </p:cNvSpPr>
          <p:nvPr>
            <p:ph type="title"/>
          </p:nvPr>
        </p:nvSpPr>
        <p:spPr>
          <a:xfrm>
            <a:off x="1413310"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90" name="Google Shape;3090;p5316"/>
          <p:cNvSpPr txBox="1">
            <a:spLocks noGrp="1"/>
          </p:cNvSpPr>
          <p:nvPr>
            <p:ph type="subTitle" idx="1"/>
          </p:nvPr>
        </p:nvSpPr>
        <p:spPr>
          <a:xfrm>
            <a:off x="1413310"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Tree>
    <p:extLst>
      <p:ext uri="{BB962C8B-B14F-4D97-AF65-F5344CB8AC3E}">
        <p14:creationId xmlns:p14="http://schemas.microsoft.com/office/powerpoint/2010/main" val="1263605015"/>
      </p:ext>
    </p:extLst>
  </p:cSld>
  <p:clrMapOvr>
    <a:masterClrMapping/>
  </p:clrMapOvr>
</p:sldLayout>
</file>

<file path=ppt/slideLayouts/slideLayout1488.xml><?xml version="1.0" encoding="utf-8"?>
<p:sldLayout xmlns:a="http://schemas.openxmlformats.org/drawingml/2006/main" xmlns:r="http://schemas.openxmlformats.org/officeDocument/2006/relationships" xmlns:p="http://schemas.openxmlformats.org/presentationml/2006/main" matchingName="2_Photo Slide">
  <p:cSld name="2_Photo Slide">
    <p:spTree>
      <p:nvGrpSpPr>
        <p:cNvPr id="1" name="Shape 3091"/>
        <p:cNvGrpSpPr/>
        <p:nvPr/>
      </p:nvGrpSpPr>
      <p:grpSpPr>
        <a:xfrm>
          <a:off x="0" y="0"/>
          <a:ext cx="0" cy="0"/>
          <a:chOff x="0" y="0"/>
          <a:chExt cx="0" cy="0"/>
        </a:xfrm>
      </p:grpSpPr>
      <p:sp>
        <p:nvSpPr>
          <p:cNvPr id="3092" name="Google Shape;3092;p5317"/>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3093" name="Google Shape;3093;p531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094" name="Google Shape;3094;p5317"/>
          <p:cNvGrpSpPr/>
          <p:nvPr/>
        </p:nvGrpSpPr>
        <p:grpSpPr>
          <a:xfrm>
            <a:off x="0" y="5379428"/>
            <a:ext cx="2807368" cy="753891"/>
            <a:chOff x="0" y="5379426"/>
            <a:chExt cx="2807368" cy="753891"/>
          </a:xfrm>
        </p:grpSpPr>
        <p:sp>
          <p:nvSpPr>
            <p:cNvPr id="3095" name="Google Shape;3095;p531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096" name="Google Shape;3096;p531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3097" name="Google Shape;3097;p5317"/>
          <p:cNvSpPr>
            <a:spLocks noGrp="1"/>
          </p:cNvSpPr>
          <p:nvPr>
            <p:ph type="pic" idx="2"/>
          </p:nvPr>
        </p:nvSpPr>
        <p:spPr>
          <a:xfrm>
            <a:off x="2807368" y="457202"/>
            <a:ext cx="8915400" cy="5943598"/>
          </a:xfrm>
          <a:prstGeom prst="rect">
            <a:avLst/>
          </a:prstGeom>
          <a:noFill/>
          <a:ln>
            <a:noFill/>
          </a:ln>
        </p:spPr>
      </p:sp>
      <p:pic>
        <p:nvPicPr>
          <p:cNvPr id="3098" name="Google Shape;3098;p5317"/>
          <p:cNvPicPr preferRelativeResize="0"/>
          <p:nvPr/>
        </p:nvPicPr>
        <p:blipFill rotWithShape="1">
          <a:blip r:embed="rId2">
            <a:alphaModFix/>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3011890762"/>
      </p:ext>
    </p:extLst>
  </p:cSld>
  <p:clrMapOvr>
    <a:masterClrMapping/>
  </p:clrMapOvr>
</p:sldLayout>
</file>

<file path=ppt/slideLayouts/slideLayout1489.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3099"/>
        <p:cNvGrpSpPr/>
        <p:nvPr/>
      </p:nvGrpSpPr>
      <p:grpSpPr>
        <a:xfrm>
          <a:off x="0" y="0"/>
          <a:ext cx="0" cy="0"/>
          <a:chOff x="0" y="0"/>
          <a:chExt cx="0" cy="0"/>
        </a:xfrm>
      </p:grpSpPr>
      <p:sp>
        <p:nvSpPr>
          <p:cNvPr id="3100" name="Google Shape;3100;p5318"/>
          <p:cNvSpPr/>
          <p:nvPr/>
        </p:nvSpPr>
        <p:spPr>
          <a:xfrm>
            <a:off x="1427358"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101" name="Google Shape;3101;p5318"/>
          <p:cNvSpPr txBox="1">
            <a:spLocks noGrp="1"/>
          </p:cNvSpPr>
          <p:nvPr>
            <p:ph type="title"/>
          </p:nvPr>
        </p:nvSpPr>
        <p:spPr>
          <a:xfrm>
            <a:off x="1427358"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02" name="Google Shape;3102;p531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103" name="Google Shape;3103;p5318"/>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104" name="Google Shape;3104;p53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05" name="Google Shape;3105;p531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106" name="Google Shape;3106;p5318"/>
          <p:cNvGrpSpPr/>
          <p:nvPr/>
        </p:nvGrpSpPr>
        <p:grpSpPr>
          <a:xfrm>
            <a:off x="7191544" y="1"/>
            <a:ext cx="5000459" cy="1425992"/>
            <a:chOff x="7191542" y="1"/>
            <a:chExt cx="5000459" cy="1425992"/>
          </a:xfrm>
        </p:grpSpPr>
        <p:pic>
          <p:nvPicPr>
            <p:cNvPr id="3107" name="Google Shape;3107;p53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08" name="Google Shape;3108;p5318"/>
            <p:cNvGrpSpPr/>
            <p:nvPr/>
          </p:nvGrpSpPr>
          <p:grpSpPr>
            <a:xfrm>
              <a:off x="7191542" y="1"/>
              <a:ext cx="5000459" cy="1425992"/>
              <a:chOff x="7186272" y="0"/>
              <a:chExt cx="5005729" cy="1427495"/>
            </a:xfrm>
          </p:grpSpPr>
          <p:sp>
            <p:nvSpPr>
              <p:cNvPr id="3109" name="Google Shape;3109;p53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110" name="Google Shape;3110;p53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111" name="Google Shape;3111;p5318"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74889158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matchingName="Blank">
  <p:cSld name="Blank 6">
    <p:spTree>
      <p:nvGrpSpPr>
        <p:cNvPr id="1" name="Shape 10507"/>
        <p:cNvGrpSpPr/>
        <p:nvPr/>
      </p:nvGrpSpPr>
      <p:grpSpPr>
        <a:xfrm>
          <a:off x="0" y="0"/>
          <a:ext cx="0" cy="0"/>
          <a:chOff x="0" y="0"/>
          <a:chExt cx="0" cy="0"/>
        </a:xfrm>
      </p:grpSpPr>
      <p:sp>
        <p:nvSpPr>
          <p:cNvPr id="10508" name="Google Shape;10508;p14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509" name="Google Shape;10509;p14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10" name="Google Shape;10510;p14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511" name="Google Shape;10511;p1453"/>
          <p:cNvGrpSpPr/>
          <p:nvPr/>
        </p:nvGrpSpPr>
        <p:grpSpPr>
          <a:xfrm>
            <a:off x="7191542" y="1"/>
            <a:ext cx="5000459" cy="1425992"/>
            <a:chOff x="7191542" y="1"/>
            <a:chExt cx="5000459" cy="1425992"/>
          </a:xfrm>
        </p:grpSpPr>
        <p:pic>
          <p:nvPicPr>
            <p:cNvPr id="10512" name="Google Shape;10512;p14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513" name="Google Shape;10513;p1453"/>
            <p:cNvGrpSpPr/>
            <p:nvPr/>
          </p:nvGrpSpPr>
          <p:grpSpPr>
            <a:xfrm>
              <a:off x="7191542" y="1"/>
              <a:ext cx="5000459" cy="1425992"/>
              <a:chOff x="7186272" y="0"/>
              <a:chExt cx="5005729" cy="1427495"/>
            </a:xfrm>
          </p:grpSpPr>
          <p:sp>
            <p:nvSpPr>
              <p:cNvPr id="10514" name="Google Shape;10514;p14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515" name="Google Shape;10515;p14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490.xml><?xml version="1.0" encoding="utf-8"?>
<p:sldLayout xmlns:a="http://schemas.openxmlformats.org/drawingml/2006/main" xmlns:r="http://schemas.openxmlformats.org/officeDocument/2006/relationships" xmlns:p="http://schemas.openxmlformats.org/presentationml/2006/main" matchingName="5_Quotation">
  <p:cSld name="5_Quotation">
    <p:spTree>
      <p:nvGrpSpPr>
        <p:cNvPr id="1" name="Shape 3112"/>
        <p:cNvGrpSpPr/>
        <p:nvPr/>
      </p:nvGrpSpPr>
      <p:grpSpPr>
        <a:xfrm>
          <a:off x="0" y="0"/>
          <a:ext cx="0" cy="0"/>
          <a:chOff x="0" y="0"/>
          <a:chExt cx="0" cy="0"/>
        </a:xfrm>
      </p:grpSpPr>
      <p:sp>
        <p:nvSpPr>
          <p:cNvPr id="3113" name="Google Shape;3113;p5319"/>
          <p:cNvSpPr/>
          <p:nvPr/>
        </p:nvSpPr>
        <p:spPr>
          <a:xfrm>
            <a:off x="1427358"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114" name="Google Shape;3114;p5319"/>
          <p:cNvSpPr txBox="1">
            <a:spLocks noGrp="1"/>
          </p:cNvSpPr>
          <p:nvPr>
            <p:ph type="title"/>
          </p:nvPr>
        </p:nvSpPr>
        <p:spPr>
          <a:xfrm>
            <a:off x="1427358"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15" name="Google Shape;3115;p531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116" name="Google Shape;3116;p5319"/>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117" name="Google Shape;3117;p53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18" name="Google Shape;3118;p531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119" name="Google Shape;3119;p5319"/>
          <p:cNvGrpSpPr/>
          <p:nvPr/>
        </p:nvGrpSpPr>
        <p:grpSpPr>
          <a:xfrm>
            <a:off x="7191544" y="1"/>
            <a:ext cx="5000459" cy="1425992"/>
            <a:chOff x="7191542" y="1"/>
            <a:chExt cx="5000459" cy="1425992"/>
          </a:xfrm>
        </p:grpSpPr>
        <p:pic>
          <p:nvPicPr>
            <p:cNvPr id="3120" name="Google Shape;3120;p53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21" name="Google Shape;3121;p5319"/>
            <p:cNvGrpSpPr/>
            <p:nvPr/>
          </p:nvGrpSpPr>
          <p:grpSpPr>
            <a:xfrm>
              <a:off x="7191542" y="1"/>
              <a:ext cx="5000459" cy="1425992"/>
              <a:chOff x="7186272" y="0"/>
              <a:chExt cx="5005729" cy="1427495"/>
            </a:xfrm>
          </p:grpSpPr>
          <p:sp>
            <p:nvSpPr>
              <p:cNvPr id="3122" name="Google Shape;3122;p53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123" name="Google Shape;3123;p53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124" name="Google Shape;3124;p5319"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3274022290"/>
      </p:ext>
    </p:extLst>
  </p:cSld>
  <p:clrMapOvr>
    <a:masterClrMapping/>
  </p:clrMapOvr>
</p:sldLayout>
</file>

<file path=ppt/slideLayouts/slideLayout1491.xml><?xml version="1.0" encoding="utf-8"?>
<p:sldLayout xmlns:a="http://schemas.openxmlformats.org/drawingml/2006/main" xmlns:r="http://schemas.openxmlformats.org/officeDocument/2006/relationships" xmlns:p="http://schemas.openxmlformats.org/presentationml/2006/main" matchingName="2_Title and Content">
  <p:cSld name="2_Title and Content">
    <p:spTree>
      <p:nvGrpSpPr>
        <p:cNvPr id="1" name="Shape 3125"/>
        <p:cNvGrpSpPr/>
        <p:nvPr/>
      </p:nvGrpSpPr>
      <p:grpSpPr>
        <a:xfrm>
          <a:off x="0" y="0"/>
          <a:ext cx="0" cy="0"/>
          <a:chOff x="0" y="0"/>
          <a:chExt cx="0" cy="0"/>
        </a:xfrm>
      </p:grpSpPr>
      <p:grpSp>
        <p:nvGrpSpPr>
          <p:cNvPr id="3126" name="Google Shape;3126;p5320"/>
          <p:cNvGrpSpPr/>
          <p:nvPr/>
        </p:nvGrpSpPr>
        <p:grpSpPr>
          <a:xfrm>
            <a:off x="7191544" y="1"/>
            <a:ext cx="5000459" cy="1425992"/>
            <a:chOff x="7191542" y="1"/>
            <a:chExt cx="5000459" cy="1425992"/>
          </a:xfrm>
        </p:grpSpPr>
        <p:pic>
          <p:nvPicPr>
            <p:cNvPr id="3127" name="Google Shape;3127;p53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28" name="Google Shape;3128;p5320"/>
            <p:cNvGrpSpPr/>
            <p:nvPr/>
          </p:nvGrpSpPr>
          <p:grpSpPr>
            <a:xfrm>
              <a:off x="7191542" y="1"/>
              <a:ext cx="5000459" cy="1425992"/>
              <a:chOff x="7186272" y="0"/>
              <a:chExt cx="5005729" cy="1427495"/>
            </a:xfrm>
          </p:grpSpPr>
          <p:sp>
            <p:nvSpPr>
              <p:cNvPr id="3129" name="Google Shape;3129;p53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130" name="Google Shape;3130;p53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131" name="Google Shape;3131;p532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32" name="Google Shape;3132;p5320"/>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133" name="Google Shape;3133;p5320"/>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134" name="Google Shape;3134;p53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35" name="Google Shape;3135;p532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030787097"/>
      </p:ext>
    </p:extLst>
  </p:cSld>
  <p:clrMapOvr>
    <a:masterClrMapping/>
  </p:clrMapOvr>
</p:sldLayout>
</file>

<file path=ppt/slideLayouts/slideLayout1492.xml><?xml version="1.0" encoding="utf-8"?>
<p:sldLayout xmlns:a="http://schemas.openxmlformats.org/drawingml/2006/main" xmlns:r="http://schemas.openxmlformats.org/officeDocument/2006/relationships" xmlns:p="http://schemas.openxmlformats.org/presentationml/2006/main" matchingName="1_Two Content">
  <p:cSld name="1_Two Content">
    <p:spTree>
      <p:nvGrpSpPr>
        <p:cNvPr id="1" name="Shape 3136"/>
        <p:cNvGrpSpPr/>
        <p:nvPr/>
      </p:nvGrpSpPr>
      <p:grpSpPr>
        <a:xfrm>
          <a:off x="0" y="0"/>
          <a:ext cx="0" cy="0"/>
          <a:chOff x="0" y="0"/>
          <a:chExt cx="0" cy="0"/>
        </a:xfrm>
      </p:grpSpPr>
      <p:sp>
        <p:nvSpPr>
          <p:cNvPr id="3137" name="Google Shape;3137;p5321"/>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38" name="Google Shape;3138;p5321"/>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3139" name="Google Shape;3139;p5321"/>
          <p:cNvGrpSpPr/>
          <p:nvPr/>
        </p:nvGrpSpPr>
        <p:grpSpPr>
          <a:xfrm>
            <a:off x="7191544" y="1"/>
            <a:ext cx="5000459" cy="1425992"/>
            <a:chOff x="7191542" y="1"/>
            <a:chExt cx="5000459" cy="1425992"/>
          </a:xfrm>
        </p:grpSpPr>
        <p:pic>
          <p:nvPicPr>
            <p:cNvPr id="3140" name="Google Shape;3140;p53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41" name="Google Shape;3141;p5321"/>
            <p:cNvGrpSpPr/>
            <p:nvPr/>
          </p:nvGrpSpPr>
          <p:grpSpPr>
            <a:xfrm>
              <a:off x="7191542" y="1"/>
              <a:ext cx="5000459" cy="1425992"/>
              <a:chOff x="7186272" y="0"/>
              <a:chExt cx="5005729" cy="1427495"/>
            </a:xfrm>
          </p:grpSpPr>
          <p:sp>
            <p:nvSpPr>
              <p:cNvPr id="3142" name="Google Shape;3142;p53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143" name="Google Shape;3143;p53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144" name="Google Shape;3144;p5321"/>
          <p:cNvSpPr txBox="1">
            <a:spLocks noGrp="1"/>
          </p:cNvSpPr>
          <p:nvPr>
            <p:ph type="body" idx="2"/>
          </p:nvPr>
        </p:nvSpPr>
        <p:spPr>
          <a:xfrm>
            <a:off x="6172201"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145" name="Google Shape;3145;p5321"/>
          <p:cNvSpPr txBox="1">
            <a:spLocks noGrp="1"/>
          </p:cNvSpPr>
          <p:nvPr>
            <p:ph type="sldNum" idx="12"/>
          </p:nvPr>
        </p:nvSpPr>
        <p:spPr>
          <a:xfrm>
            <a:off x="8839198"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146" name="Google Shape;3146;p53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47" name="Google Shape;3147;p532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508139045"/>
      </p:ext>
    </p:extLst>
  </p:cSld>
  <p:clrMapOvr>
    <a:masterClrMapping/>
  </p:clrMapOvr>
</p:sldLayout>
</file>

<file path=ppt/slideLayouts/slideLayout1493.xml><?xml version="1.0" encoding="utf-8"?>
<p:sldLayout xmlns:a="http://schemas.openxmlformats.org/drawingml/2006/main" xmlns:r="http://schemas.openxmlformats.org/officeDocument/2006/relationships" xmlns:p="http://schemas.openxmlformats.org/presentationml/2006/main" matchingName="1_Comparison">
  <p:cSld name="1_Comparison">
    <p:spTree>
      <p:nvGrpSpPr>
        <p:cNvPr id="1" name="Shape 3148"/>
        <p:cNvGrpSpPr/>
        <p:nvPr/>
      </p:nvGrpSpPr>
      <p:grpSpPr>
        <a:xfrm>
          <a:off x="0" y="0"/>
          <a:ext cx="0" cy="0"/>
          <a:chOff x="0" y="0"/>
          <a:chExt cx="0" cy="0"/>
        </a:xfrm>
      </p:grpSpPr>
      <p:grpSp>
        <p:nvGrpSpPr>
          <p:cNvPr id="3149" name="Google Shape;3149;p5322"/>
          <p:cNvGrpSpPr/>
          <p:nvPr/>
        </p:nvGrpSpPr>
        <p:grpSpPr>
          <a:xfrm>
            <a:off x="7191544" y="1"/>
            <a:ext cx="5000459" cy="1425992"/>
            <a:chOff x="7191542" y="1"/>
            <a:chExt cx="5000459" cy="1425992"/>
          </a:xfrm>
        </p:grpSpPr>
        <p:pic>
          <p:nvPicPr>
            <p:cNvPr id="3150" name="Google Shape;3150;p53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51" name="Google Shape;3151;p5322"/>
            <p:cNvGrpSpPr/>
            <p:nvPr/>
          </p:nvGrpSpPr>
          <p:grpSpPr>
            <a:xfrm>
              <a:off x="7191542" y="1"/>
              <a:ext cx="5000459" cy="1425992"/>
              <a:chOff x="7186272" y="0"/>
              <a:chExt cx="5005729" cy="1427495"/>
            </a:xfrm>
          </p:grpSpPr>
          <p:sp>
            <p:nvSpPr>
              <p:cNvPr id="3152" name="Google Shape;3152;p53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153" name="Google Shape;3153;p53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154" name="Google Shape;3154;p5322"/>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55" name="Google Shape;3155;p532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3156" name="Google Shape;3156;p532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157" name="Google Shape;3157;p532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3158" name="Google Shape;3158;p532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159" name="Google Shape;3159;p532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160" name="Google Shape;3160;p53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61" name="Google Shape;3161;p532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590942413"/>
      </p:ext>
    </p:extLst>
  </p:cSld>
  <p:clrMapOvr>
    <a:masterClrMapping/>
  </p:clrMapOvr>
</p:sldLayout>
</file>

<file path=ppt/slideLayouts/slideLayout1494.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3162"/>
        <p:cNvGrpSpPr/>
        <p:nvPr/>
      </p:nvGrpSpPr>
      <p:grpSpPr>
        <a:xfrm>
          <a:off x="0" y="0"/>
          <a:ext cx="0" cy="0"/>
          <a:chOff x="0" y="0"/>
          <a:chExt cx="0" cy="0"/>
        </a:xfrm>
      </p:grpSpPr>
      <p:grpSp>
        <p:nvGrpSpPr>
          <p:cNvPr id="3163" name="Google Shape;3163;p5323"/>
          <p:cNvGrpSpPr/>
          <p:nvPr/>
        </p:nvGrpSpPr>
        <p:grpSpPr>
          <a:xfrm>
            <a:off x="7191544" y="1"/>
            <a:ext cx="5000459" cy="1425992"/>
            <a:chOff x="7191542" y="1"/>
            <a:chExt cx="5000459" cy="1425992"/>
          </a:xfrm>
        </p:grpSpPr>
        <p:pic>
          <p:nvPicPr>
            <p:cNvPr id="3164" name="Google Shape;3164;p53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65" name="Google Shape;3165;p5323"/>
            <p:cNvGrpSpPr/>
            <p:nvPr/>
          </p:nvGrpSpPr>
          <p:grpSpPr>
            <a:xfrm>
              <a:off x="7191542" y="1"/>
              <a:ext cx="5000459" cy="1425992"/>
              <a:chOff x="7186272" y="0"/>
              <a:chExt cx="5005729" cy="1427495"/>
            </a:xfrm>
          </p:grpSpPr>
          <p:sp>
            <p:nvSpPr>
              <p:cNvPr id="3166" name="Google Shape;3166;p53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167" name="Google Shape;3167;p53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168" name="Google Shape;3168;p5323"/>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69" name="Google Shape;3169;p5323"/>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170" name="Google Shape;3170;p53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71" name="Google Shape;3171;p532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846848559"/>
      </p:ext>
    </p:extLst>
  </p:cSld>
  <p:clrMapOvr>
    <a:masterClrMapping/>
  </p:clrMapOvr>
</p:sldLayout>
</file>

<file path=ppt/slideLayouts/slideLayout1495.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3172"/>
        <p:cNvGrpSpPr/>
        <p:nvPr/>
      </p:nvGrpSpPr>
      <p:grpSpPr>
        <a:xfrm>
          <a:off x="0" y="0"/>
          <a:ext cx="0" cy="0"/>
          <a:chOff x="0" y="0"/>
          <a:chExt cx="0" cy="0"/>
        </a:xfrm>
      </p:grpSpPr>
      <p:grpSp>
        <p:nvGrpSpPr>
          <p:cNvPr id="3173" name="Google Shape;3173;p5324"/>
          <p:cNvGrpSpPr/>
          <p:nvPr/>
        </p:nvGrpSpPr>
        <p:grpSpPr>
          <a:xfrm>
            <a:off x="0" y="0"/>
            <a:ext cx="12192000" cy="2148830"/>
            <a:chOff x="0" y="0"/>
            <a:chExt cx="12192000" cy="2148830"/>
          </a:xfrm>
        </p:grpSpPr>
        <p:sp>
          <p:nvSpPr>
            <p:cNvPr id="3174" name="Google Shape;3174;p532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175" name="Google Shape;3175;p532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3176" name="Google Shape;3176;p5324"/>
          <p:cNvSpPr/>
          <p:nvPr/>
        </p:nvSpPr>
        <p:spPr>
          <a:xfrm>
            <a:off x="902368" y="1517699"/>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177" name="Google Shape;3177;p5324"/>
          <p:cNvSpPr txBox="1">
            <a:spLocks noGrp="1"/>
          </p:cNvSpPr>
          <p:nvPr>
            <p:ph type="body" idx="1"/>
          </p:nvPr>
        </p:nvSpPr>
        <p:spPr>
          <a:xfrm>
            <a:off x="1219201" y="3429002"/>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178" name="Google Shape;3178;p532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9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179" name="Google Shape;3179;p5324"/>
          <p:cNvPicPr preferRelativeResize="0"/>
          <p:nvPr/>
        </p:nvPicPr>
        <p:blipFill rotWithShape="1">
          <a:blip r:embed="rId2">
            <a:alphaModFix/>
          </a:blip>
          <a:srcRect/>
          <a:stretch/>
        </p:blipFill>
        <p:spPr>
          <a:xfrm>
            <a:off x="902370" y="228371"/>
            <a:ext cx="2025315" cy="911940"/>
          </a:xfrm>
          <a:prstGeom prst="rect">
            <a:avLst/>
          </a:prstGeom>
          <a:noFill/>
          <a:ln>
            <a:noFill/>
          </a:ln>
        </p:spPr>
      </p:pic>
      <p:sp>
        <p:nvSpPr>
          <p:cNvPr id="3180" name="Google Shape;3180;p5324"/>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674889008"/>
      </p:ext>
    </p:extLst>
  </p:cSld>
  <p:clrMapOvr>
    <a:masterClrMapping/>
  </p:clrMapOvr>
</p:sldLayout>
</file>

<file path=ppt/slideLayouts/slideLayout1496.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3181"/>
        <p:cNvGrpSpPr/>
        <p:nvPr/>
      </p:nvGrpSpPr>
      <p:grpSpPr>
        <a:xfrm>
          <a:off x="0" y="0"/>
          <a:ext cx="0" cy="0"/>
          <a:chOff x="0" y="0"/>
          <a:chExt cx="0" cy="0"/>
        </a:xfrm>
      </p:grpSpPr>
      <p:sp>
        <p:nvSpPr>
          <p:cNvPr id="3182" name="Google Shape;3182;p532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183" name="Google Shape;3183;p53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84" name="Google Shape;3184;p532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185" name="Google Shape;3185;p5325"/>
          <p:cNvGrpSpPr/>
          <p:nvPr/>
        </p:nvGrpSpPr>
        <p:grpSpPr>
          <a:xfrm>
            <a:off x="7191544" y="1"/>
            <a:ext cx="5000459" cy="1425992"/>
            <a:chOff x="7191542" y="1"/>
            <a:chExt cx="5000459" cy="1425992"/>
          </a:xfrm>
        </p:grpSpPr>
        <p:pic>
          <p:nvPicPr>
            <p:cNvPr id="3186" name="Google Shape;3186;p53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87" name="Google Shape;3187;p5325"/>
            <p:cNvGrpSpPr/>
            <p:nvPr/>
          </p:nvGrpSpPr>
          <p:grpSpPr>
            <a:xfrm>
              <a:off x="7191542" y="1"/>
              <a:ext cx="5000459" cy="1425992"/>
              <a:chOff x="7186272" y="0"/>
              <a:chExt cx="5005729" cy="1427495"/>
            </a:xfrm>
          </p:grpSpPr>
          <p:sp>
            <p:nvSpPr>
              <p:cNvPr id="3188" name="Google Shape;3188;p53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189" name="Google Shape;3189;p53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extLst>
      <p:ext uri="{BB962C8B-B14F-4D97-AF65-F5344CB8AC3E}">
        <p14:creationId xmlns:p14="http://schemas.microsoft.com/office/powerpoint/2010/main" val="975785796"/>
      </p:ext>
    </p:extLst>
  </p:cSld>
  <p:clrMapOvr>
    <a:masterClrMapping/>
  </p:clrMapOvr>
</p:sldLayout>
</file>

<file path=ppt/slideLayouts/slideLayout1497.xml><?xml version="1.0" encoding="utf-8"?>
<p:sldLayout xmlns:a="http://schemas.openxmlformats.org/drawingml/2006/main" xmlns:r="http://schemas.openxmlformats.org/officeDocument/2006/relationships" xmlns:p="http://schemas.openxmlformats.org/presentationml/2006/main" matchingName="4_Cover">
  <p:cSld name="4_Cover">
    <p:spTree>
      <p:nvGrpSpPr>
        <p:cNvPr id="1" name="Shape 3190"/>
        <p:cNvGrpSpPr/>
        <p:nvPr/>
      </p:nvGrpSpPr>
      <p:grpSpPr>
        <a:xfrm>
          <a:off x="0" y="0"/>
          <a:ext cx="0" cy="0"/>
          <a:chOff x="0" y="0"/>
          <a:chExt cx="0" cy="0"/>
        </a:xfrm>
      </p:grpSpPr>
      <p:sp>
        <p:nvSpPr>
          <p:cNvPr id="3191" name="Google Shape;3191;p5326"/>
          <p:cNvSpPr/>
          <p:nvPr/>
        </p:nvSpPr>
        <p:spPr>
          <a:xfrm>
            <a:off x="902368" y="1294415"/>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192" name="Google Shape;3192;p5326"/>
          <p:cNvSpPr txBox="1">
            <a:spLocks noGrp="1"/>
          </p:cNvSpPr>
          <p:nvPr>
            <p:ph type="ctrTitle"/>
          </p:nvPr>
        </p:nvSpPr>
        <p:spPr>
          <a:xfrm>
            <a:off x="1413312"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93" name="Google Shape;3193;p5326"/>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
        <p:nvSpPr>
          <p:cNvPr id="3194" name="Google Shape;3194;p5326"/>
          <p:cNvSpPr>
            <a:spLocks noGrp="1"/>
          </p:cNvSpPr>
          <p:nvPr>
            <p:ph type="pic" idx="2"/>
          </p:nvPr>
        </p:nvSpPr>
        <p:spPr>
          <a:xfrm>
            <a:off x="7118684" y="233915"/>
            <a:ext cx="5073316" cy="5943600"/>
          </a:xfrm>
          <a:prstGeom prst="rect">
            <a:avLst/>
          </a:prstGeom>
          <a:noFill/>
          <a:ln>
            <a:noFill/>
          </a:ln>
        </p:spPr>
      </p:sp>
      <p:grpSp>
        <p:nvGrpSpPr>
          <p:cNvPr id="3195" name="Google Shape;3195;p5326"/>
          <p:cNvGrpSpPr/>
          <p:nvPr/>
        </p:nvGrpSpPr>
        <p:grpSpPr>
          <a:xfrm>
            <a:off x="0" y="5020350"/>
            <a:ext cx="12192000" cy="1837653"/>
            <a:chOff x="0" y="5020348"/>
            <a:chExt cx="12192000" cy="1837653"/>
          </a:xfrm>
        </p:grpSpPr>
        <p:sp>
          <p:nvSpPr>
            <p:cNvPr id="3196" name="Google Shape;3196;p532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197" name="Google Shape;3197;p532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3198" name="Google Shape;3198;p532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801171559"/>
      </p:ext>
    </p:extLst>
  </p:cSld>
  <p:clrMapOvr>
    <a:masterClrMapping/>
  </p:clrMapOvr>
</p:sldLayout>
</file>

<file path=ppt/slideLayouts/slideLayout1498.xml><?xml version="1.0" encoding="utf-8"?>
<p:sldLayout xmlns:a="http://schemas.openxmlformats.org/drawingml/2006/main" xmlns:r="http://schemas.openxmlformats.org/officeDocument/2006/relationships" xmlns:p="http://schemas.openxmlformats.org/presentationml/2006/main" matchingName="3_Divider">
  <p:cSld name="3_Divider">
    <p:bg>
      <p:bgPr>
        <a:solidFill>
          <a:schemeClr val="lt2"/>
        </a:solidFill>
        <a:effectLst/>
      </p:bgPr>
    </p:bg>
    <p:spTree>
      <p:nvGrpSpPr>
        <p:cNvPr id="1" name="Shape 3199"/>
        <p:cNvGrpSpPr/>
        <p:nvPr/>
      </p:nvGrpSpPr>
      <p:grpSpPr>
        <a:xfrm>
          <a:off x="0" y="0"/>
          <a:ext cx="0" cy="0"/>
          <a:chOff x="0" y="0"/>
          <a:chExt cx="0" cy="0"/>
        </a:xfrm>
      </p:grpSpPr>
      <p:grpSp>
        <p:nvGrpSpPr>
          <p:cNvPr id="3200" name="Google Shape;3200;p5327"/>
          <p:cNvGrpSpPr/>
          <p:nvPr/>
        </p:nvGrpSpPr>
        <p:grpSpPr>
          <a:xfrm>
            <a:off x="0" y="5020349"/>
            <a:ext cx="12192000" cy="1837653"/>
            <a:chOff x="0" y="5020347"/>
            <a:chExt cx="12192000" cy="1837653"/>
          </a:xfrm>
        </p:grpSpPr>
        <p:sp>
          <p:nvSpPr>
            <p:cNvPr id="3201" name="Google Shape;3201;p532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202" name="Google Shape;3202;p532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203" name="Google Shape;3203;p532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3204" name="Google Shape;3204;p532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205" name="Google Shape;3205;p5327"/>
          <p:cNvSpPr txBox="1">
            <a:spLocks noGrp="1"/>
          </p:cNvSpPr>
          <p:nvPr>
            <p:ph type="title"/>
          </p:nvPr>
        </p:nvSpPr>
        <p:spPr>
          <a:xfrm>
            <a:off x="1413310"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06" name="Google Shape;3206;p5327"/>
          <p:cNvSpPr txBox="1">
            <a:spLocks noGrp="1"/>
          </p:cNvSpPr>
          <p:nvPr>
            <p:ph type="subTitle" idx="1"/>
          </p:nvPr>
        </p:nvSpPr>
        <p:spPr>
          <a:xfrm>
            <a:off x="1413310"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Tree>
    <p:extLst>
      <p:ext uri="{BB962C8B-B14F-4D97-AF65-F5344CB8AC3E}">
        <p14:creationId xmlns:p14="http://schemas.microsoft.com/office/powerpoint/2010/main" val="1371269272"/>
      </p:ext>
    </p:extLst>
  </p:cSld>
  <p:clrMapOvr>
    <a:masterClrMapping/>
  </p:clrMapOvr>
</p:sldLayout>
</file>

<file path=ppt/slideLayouts/slideLayout1499.xml><?xml version="1.0" encoding="utf-8"?>
<p:sldLayout xmlns:a="http://schemas.openxmlformats.org/drawingml/2006/main" xmlns:r="http://schemas.openxmlformats.org/officeDocument/2006/relationships" xmlns:p="http://schemas.openxmlformats.org/presentationml/2006/main" matchingName="3_Photo Slide">
  <p:cSld name="3_Photo Slide">
    <p:spTree>
      <p:nvGrpSpPr>
        <p:cNvPr id="1" name="Shape 3207"/>
        <p:cNvGrpSpPr/>
        <p:nvPr/>
      </p:nvGrpSpPr>
      <p:grpSpPr>
        <a:xfrm>
          <a:off x="0" y="0"/>
          <a:ext cx="0" cy="0"/>
          <a:chOff x="0" y="0"/>
          <a:chExt cx="0" cy="0"/>
        </a:xfrm>
      </p:grpSpPr>
      <p:sp>
        <p:nvSpPr>
          <p:cNvPr id="3208" name="Google Shape;3208;p5328"/>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3209" name="Google Shape;3209;p532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210" name="Google Shape;3210;p5328"/>
          <p:cNvGrpSpPr/>
          <p:nvPr/>
        </p:nvGrpSpPr>
        <p:grpSpPr>
          <a:xfrm>
            <a:off x="0" y="5379428"/>
            <a:ext cx="2807368" cy="753891"/>
            <a:chOff x="0" y="5379426"/>
            <a:chExt cx="2807368" cy="753891"/>
          </a:xfrm>
        </p:grpSpPr>
        <p:sp>
          <p:nvSpPr>
            <p:cNvPr id="3211" name="Google Shape;3211;p532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212" name="Google Shape;3212;p532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3213" name="Google Shape;3213;p5328"/>
          <p:cNvSpPr>
            <a:spLocks noGrp="1"/>
          </p:cNvSpPr>
          <p:nvPr>
            <p:ph type="pic" idx="2"/>
          </p:nvPr>
        </p:nvSpPr>
        <p:spPr>
          <a:xfrm>
            <a:off x="2807368" y="457202"/>
            <a:ext cx="8915400" cy="5943598"/>
          </a:xfrm>
          <a:prstGeom prst="rect">
            <a:avLst/>
          </a:prstGeom>
          <a:noFill/>
          <a:ln>
            <a:noFill/>
          </a:ln>
        </p:spPr>
      </p:sp>
      <p:pic>
        <p:nvPicPr>
          <p:cNvPr id="3214" name="Google Shape;3214;p5328"/>
          <p:cNvPicPr preferRelativeResize="0"/>
          <p:nvPr/>
        </p:nvPicPr>
        <p:blipFill rotWithShape="1">
          <a:blip r:embed="rId2">
            <a:alphaModFix/>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20844110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9063"/>
        <p:cNvGrpSpPr/>
        <p:nvPr/>
      </p:nvGrpSpPr>
      <p:grpSpPr>
        <a:xfrm>
          <a:off x="0" y="0"/>
          <a:ext cx="0" cy="0"/>
          <a:chOff x="0" y="0"/>
          <a:chExt cx="0" cy="0"/>
        </a:xfrm>
      </p:grpSpPr>
      <p:sp>
        <p:nvSpPr>
          <p:cNvPr id="9064" name="Google Shape;9064;p29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065" name="Google Shape;9065;p29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066" name="Google Shape;9066;p29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067" name="Google Shape;9067;p298"/>
          <p:cNvSpPr>
            <a:spLocks noGrp="1"/>
          </p:cNvSpPr>
          <p:nvPr>
            <p:ph type="pic" idx="2"/>
          </p:nvPr>
        </p:nvSpPr>
        <p:spPr>
          <a:xfrm>
            <a:off x="7118684" y="233915"/>
            <a:ext cx="5073316" cy="5943600"/>
          </a:xfrm>
          <a:prstGeom prst="rect">
            <a:avLst/>
          </a:prstGeom>
          <a:noFill/>
          <a:ln>
            <a:noFill/>
          </a:ln>
        </p:spPr>
      </p:sp>
      <p:grpSp>
        <p:nvGrpSpPr>
          <p:cNvPr id="9068" name="Google Shape;9068;p298"/>
          <p:cNvGrpSpPr/>
          <p:nvPr/>
        </p:nvGrpSpPr>
        <p:grpSpPr>
          <a:xfrm>
            <a:off x="0" y="5020348"/>
            <a:ext cx="12192000" cy="1837653"/>
            <a:chOff x="0" y="5020348"/>
            <a:chExt cx="12192000" cy="1837653"/>
          </a:xfrm>
        </p:grpSpPr>
        <p:sp>
          <p:nvSpPr>
            <p:cNvPr id="9069" name="Google Shape;9069;p29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070" name="Google Shape;9070;p29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071" name="Google Shape;9071;p29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matchingName="Cover">
  <p:cSld name="Cover 10">
    <p:spTree>
      <p:nvGrpSpPr>
        <p:cNvPr id="1" name="Shape 10516"/>
        <p:cNvGrpSpPr/>
        <p:nvPr/>
      </p:nvGrpSpPr>
      <p:grpSpPr>
        <a:xfrm>
          <a:off x="0" y="0"/>
          <a:ext cx="0" cy="0"/>
          <a:chOff x="0" y="0"/>
          <a:chExt cx="0" cy="0"/>
        </a:xfrm>
      </p:grpSpPr>
      <p:sp>
        <p:nvSpPr>
          <p:cNvPr id="10517" name="Google Shape;10517;p145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518" name="Google Shape;10518;p145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519" name="Google Shape;10519;p145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520" name="Google Shape;10520;p1454"/>
          <p:cNvSpPr>
            <a:spLocks noGrp="1"/>
          </p:cNvSpPr>
          <p:nvPr>
            <p:ph type="pic" idx="2"/>
          </p:nvPr>
        </p:nvSpPr>
        <p:spPr>
          <a:xfrm>
            <a:off x="7118684" y="233915"/>
            <a:ext cx="5073316" cy="5943600"/>
          </a:xfrm>
          <a:prstGeom prst="rect">
            <a:avLst/>
          </a:prstGeom>
          <a:noFill/>
          <a:ln>
            <a:noFill/>
          </a:ln>
        </p:spPr>
      </p:sp>
      <p:grpSp>
        <p:nvGrpSpPr>
          <p:cNvPr id="10521" name="Google Shape;10521;p1454"/>
          <p:cNvGrpSpPr/>
          <p:nvPr/>
        </p:nvGrpSpPr>
        <p:grpSpPr>
          <a:xfrm>
            <a:off x="0" y="5020348"/>
            <a:ext cx="12192000" cy="1837653"/>
            <a:chOff x="0" y="5020348"/>
            <a:chExt cx="12192000" cy="1837653"/>
          </a:xfrm>
        </p:grpSpPr>
        <p:sp>
          <p:nvSpPr>
            <p:cNvPr id="10522" name="Google Shape;10522;p145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523" name="Google Shape;10523;p145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524" name="Google Shape;10524;p145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500.xml><?xml version="1.0" encoding="utf-8"?>
<p:sldLayout xmlns:a="http://schemas.openxmlformats.org/drawingml/2006/main" xmlns:r="http://schemas.openxmlformats.org/officeDocument/2006/relationships" xmlns:p="http://schemas.openxmlformats.org/presentationml/2006/main" matchingName="6_Quotation">
  <p:cSld name="6_Quotation">
    <p:spTree>
      <p:nvGrpSpPr>
        <p:cNvPr id="1" name="Shape 3215"/>
        <p:cNvGrpSpPr/>
        <p:nvPr/>
      </p:nvGrpSpPr>
      <p:grpSpPr>
        <a:xfrm>
          <a:off x="0" y="0"/>
          <a:ext cx="0" cy="0"/>
          <a:chOff x="0" y="0"/>
          <a:chExt cx="0" cy="0"/>
        </a:xfrm>
      </p:grpSpPr>
      <p:sp>
        <p:nvSpPr>
          <p:cNvPr id="3216" name="Google Shape;3216;p5329"/>
          <p:cNvSpPr/>
          <p:nvPr/>
        </p:nvSpPr>
        <p:spPr>
          <a:xfrm>
            <a:off x="1427358"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217" name="Google Shape;3217;p5329"/>
          <p:cNvSpPr txBox="1">
            <a:spLocks noGrp="1"/>
          </p:cNvSpPr>
          <p:nvPr>
            <p:ph type="title"/>
          </p:nvPr>
        </p:nvSpPr>
        <p:spPr>
          <a:xfrm>
            <a:off x="1427358"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18" name="Google Shape;3218;p532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219" name="Google Shape;3219;p5329"/>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220" name="Google Shape;3220;p53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21" name="Google Shape;3221;p532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222" name="Google Shape;3222;p5329"/>
          <p:cNvGrpSpPr/>
          <p:nvPr/>
        </p:nvGrpSpPr>
        <p:grpSpPr>
          <a:xfrm>
            <a:off x="7191544" y="1"/>
            <a:ext cx="5000459" cy="1425992"/>
            <a:chOff x="7191542" y="1"/>
            <a:chExt cx="5000459" cy="1425992"/>
          </a:xfrm>
        </p:grpSpPr>
        <p:pic>
          <p:nvPicPr>
            <p:cNvPr id="3223" name="Google Shape;3223;p53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24" name="Google Shape;3224;p5329"/>
            <p:cNvGrpSpPr/>
            <p:nvPr/>
          </p:nvGrpSpPr>
          <p:grpSpPr>
            <a:xfrm>
              <a:off x="7191542" y="1"/>
              <a:ext cx="5000459" cy="1425992"/>
              <a:chOff x="7186272" y="0"/>
              <a:chExt cx="5005729" cy="1427495"/>
            </a:xfrm>
          </p:grpSpPr>
          <p:sp>
            <p:nvSpPr>
              <p:cNvPr id="3225" name="Google Shape;3225;p53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226" name="Google Shape;3226;p53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227" name="Google Shape;3227;p5329"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3073573108"/>
      </p:ext>
    </p:extLst>
  </p:cSld>
  <p:clrMapOvr>
    <a:masterClrMapping/>
  </p:clrMapOvr>
</p:sldLayout>
</file>

<file path=ppt/slideLayouts/slideLayout1501.xml><?xml version="1.0" encoding="utf-8"?>
<p:sldLayout xmlns:a="http://schemas.openxmlformats.org/drawingml/2006/main" xmlns:r="http://schemas.openxmlformats.org/officeDocument/2006/relationships" xmlns:p="http://schemas.openxmlformats.org/presentationml/2006/main" matchingName="3_Title and Content">
  <p:cSld name="3_Title and Content">
    <p:spTree>
      <p:nvGrpSpPr>
        <p:cNvPr id="1" name="Shape 3228"/>
        <p:cNvGrpSpPr/>
        <p:nvPr/>
      </p:nvGrpSpPr>
      <p:grpSpPr>
        <a:xfrm>
          <a:off x="0" y="0"/>
          <a:ext cx="0" cy="0"/>
          <a:chOff x="0" y="0"/>
          <a:chExt cx="0" cy="0"/>
        </a:xfrm>
      </p:grpSpPr>
      <p:grpSp>
        <p:nvGrpSpPr>
          <p:cNvPr id="3229" name="Google Shape;3229;p5330"/>
          <p:cNvGrpSpPr/>
          <p:nvPr/>
        </p:nvGrpSpPr>
        <p:grpSpPr>
          <a:xfrm>
            <a:off x="7191544" y="1"/>
            <a:ext cx="5000459" cy="1425992"/>
            <a:chOff x="7191542" y="1"/>
            <a:chExt cx="5000459" cy="1425992"/>
          </a:xfrm>
        </p:grpSpPr>
        <p:pic>
          <p:nvPicPr>
            <p:cNvPr id="3230" name="Google Shape;3230;p53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31" name="Google Shape;3231;p5330"/>
            <p:cNvGrpSpPr/>
            <p:nvPr/>
          </p:nvGrpSpPr>
          <p:grpSpPr>
            <a:xfrm>
              <a:off x="7191542" y="1"/>
              <a:ext cx="5000459" cy="1425992"/>
              <a:chOff x="7186272" y="0"/>
              <a:chExt cx="5005729" cy="1427495"/>
            </a:xfrm>
          </p:grpSpPr>
          <p:sp>
            <p:nvSpPr>
              <p:cNvPr id="3232" name="Google Shape;3232;p53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233" name="Google Shape;3233;p53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234" name="Google Shape;3234;p533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35" name="Google Shape;3235;p5330"/>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236" name="Google Shape;3236;p5330"/>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237" name="Google Shape;3237;p53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38" name="Google Shape;3238;p533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101587674"/>
      </p:ext>
    </p:extLst>
  </p:cSld>
  <p:clrMapOvr>
    <a:masterClrMapping/>
  </p:clrMapOvr>
</p:sldLayout>
</file>

<file path=ppt/slideLayouts/slideLayout1502.xml><?xml version="1.0" encoding="utf-8"?>
<p:sldLayout xmlns:a="http://schemas.openxmlformats.org/drawingml/2006/main" xmlns:r="http://schemas.openxmlformats.org/officeDocument/2006/relationships" xmlns:p="http://schemas.openxmlformats.org/presentationml/2006/main" matchingName="2_Two Content">
  <p:cSld name="2_Two Content">
    <p:spTree>
      <p:nvGrpSpPr>
        <p:cNvPr id="1" name="Shape 3239"/>
        <p:cNvGrpSpPr/>
        <p:nvPr/>
      </p:nvGrpSpPr>
      <p:grpSpPr>
        <a:xfrm>
          <a:off x="0" y="0"/>
          <a:ext cx="0" cy="0"/>
          <a:chOff x="0" y="0"/>
          <a:chExt cx="0" cy="0"/>
        </a:xfrm>
      </p:grpSpPr>
      <p:sp>
        <p:nvSpPr>
          <p:cNvPr id="3240" name="Google Shape;3240;p5331"/>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41" name="Google Shape;3241;p5331"/>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3242" name="Google Shape;3242;p5331"/>
          <p:cNvGrpSpPr/>
          <p:nvPr/>
        </p:nvGrpSpPr>
        <p:grpSpPr>
          <a:xfrm>
            <a:off x="7191544" y="1"/>
            <a:ext cx="5000459" cy="1425992"/>
            <a:chOff x="7191542" y="1"/>
            <a:chExt cx="5000459" cy="1425992"/>
          </a:xfrm>
        </p:grpSpPr>
        <p:pic>
          <p:nvPicPr>
            <p:cNvPr id="3243" name="Google Shape;3243;p53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44" name="Google Shape;3244;p5331"/>
            <p:cNvGrpSpPr/>
            <p:nvPr/>
          </p:nvGrpSpPr>
          <p:grpSpPr>
            <a:xfrm>
              <a:off x="7191542" y="1"/>
              <a:ext cx="5000459" cy="1425992"/>
              <a:chOff x="7186272" y="0"/>
              <a:chExt cx="5005729" cy="1427495"/>
            </a:xfrm>
          </p:grpSpPr>
          <p:sp>
            <p:nvSpPr>
              <p:cNvPr id="3245" name="Google Shape;3245;p53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246" name="Google Shape;3246;p53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247" name="Google Shape;3247;p5331"/>
          <p:cNvSpPr txBox="1">
            <a:spLocks noGrp="1"/>
          </p:cNvSpPr>
          <p:nvPr>
            <p:ph type="body" idx="2"/>
          </p:nvPr>
        </p:nvSpPr>
        <p:spPr>
          <a:xfrm>
            <a:off x="6172201"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248" name="Google Shape;3248;p5331"/>
          <p:cNvSpPr txBox="1">
            <a:spLocks noGrp="1"/>
          </p:cNvSpPr>
          <p:nvPr>
            <p:ph type="sldNum" idx="12"/>
          </p:nvPr>
        </p:nvSpPr>
        <p:spPr>
          <a:xfrm>
            <a:off x="8839198"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249" name="Google Shape;3249;p53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50" name="Google Shape;3250;p533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743432426"/>
      </p:ext>
    </p:extLst>
  </p:cSld>
  <p:clrMapOvr>
    <a:masterClrMapping/>
  </p:clrMapOvr>
</p:sldLayout>
</file>

<file path=ppt/slideLayouts/slideLayout1503.xml><?xml version="1.0" encoding="utf-8"?>
<p:sldLayout xmlns:a="http://schemas.openxmlformats.org/drawingml/2006/main" xmlns:r="http://schemas.openxmlformats.org/officeDocument/2006/relationships" xmlns:p="http://schemas.openxmlformats.org/presentationml/2006/main" matchingName="2_Comparison">
  <p:cSld name="2_Comparison">
    <p:spTree>
      <p:nvGrpSpPr>
        <p:cNvPr id="1" name="Shape 3251"/>
        <p:cNvGrpSpPr/>
        <p:nvPr/>
      </p:nvGrpSpPr>
      <p:grpSpPr>
        <a:xfrm>
          <a:off x="0" y="0"/>
          <a:ext cx="0" cy="0"/>
          <a:chOff x="0" y="0"/>
          <a:chExt cx="0" cy="0"/>
        </a:xfrm>
      </p:grpSpPr>
      <p:grpSp>
        <p:nvGrpSpPr>
          <p:cNvPr id="3252" name="Google Shape;3252;p5332"/>
          <p:cNvGrpSpPr/>
          <p:nvPr/>
        </p:nvGrpSpPr>
        <p:grpSpPr>
          <a:xfrm>
            <a:off x="7191544" y="1"/>
            <a:ext cx="5000459" cy="1425992"/>
            <a:chOff x="7191542" y="1"/>
            <a:chExt cx="5000459" cy="1425992"/>
          </a:xfrm>
        </p:grpSpPr>
        <p:pic>
          <p:nvPicPr>
            <p:cNvPr id="3253" name="Google Shape;3253;p53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54" name="Google Shape;3254;p5332"/>
            <p:cNvGrpSpPr/>
            <p:nvPr/>
          </p:nvGrpSpPr>
          <p:grpSpPr>
            <a:xfrm>
              <a:off x="7191542" y="1"/>
              <a:ext cx="5000459" cy="1425992"/>
              <a:chOff x="7186272" y="0"/>
              <a:chExt cx="5005729" cy="1427495"/>
            </a:xfrm>
          </p:grpSpPr>
          <p:sp>
            <p:nvSpPr>
              <p:cNvPr id="3255" name="Google Shape;3255;p53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256" name="Google Shape;3256;p53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257" name="Google Shape;3257;p5332"/>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58" name="Google Shape;3258;p533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3259" name="Google Shape;3259;p533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260" name="Google Shape;3260;p533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3261" name="Google Shape;3261;p533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262" name="Google Shape;3262;p533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263" name="Google Shape;3263;p53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64" name="Google Shape;3264;p533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341262030"/>
      </p:ext>
    </p:extLst>
  </p:cSld>
  <p:clrMapOvr>
    <a:masterClrMapping/>
  </p:clrMapOvr>
</p:sldLayout>
</file>

<file path=ppt/slideLayouts/slideLayout1504.xml><?xml version="1.0" encoding="utf-8"?>
<p:sldLayout xmlns:a="http://schemas.openxmlformats.org/drawingml/2006/main" xmlns:r="http://schemas.openxmlformats.org/officeDocument/2006/relationships" xmlns:p="http://schemas.openxmlformats.org/presentationml/2006/main" matchingName="1_Title Only">
  <p:cSld name="1_Title Only">
    <p:spTree>
      <p:nvGrpSpPr>
        <p:cNvPr id="1" name="Shape 3265"/>
        <p:cNvGrpSpPr/>
        <p:nvPr/>
      </p:nvGrpSpPr>
      <p:grpSpPr>
        <a:xfrm>
          <a:off x="0" y="0"/>
          <a:ext cx="0" cy="0"/>
          <a:chOff x="0" y="0"/>
          <a:chExt cx="0" cy="0"/>
        </a:xfrm>
      </p:grpSpPr>
      <p:grpSp>
        <p:nvGrpSpPr>
          <p:cNvPr id="3266" name="Google Shape;3266;p5333"/>
          <p:cNvGrpSpPr/>
          <p:nvPr/>
        </p:nvGrpSpPr>
        <p:grpSpPr>
          <a:xfrm>
            <a:off x="7191544" y="1"/>
            <a:ext cx="5000459" cy="1425992"/>
            <a:chOff x="7191542" y="1"/>
            <a:chExt cx="5000459" cy="1425992"/>
          </a:xfrm>
        </p:grpSpPr>
        <p:pic>
          <p:nvPicPr>
            <p:cNvPr id="3267" name="Google Shape;3267;p533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68" name="Google Shape;3268;p5333"/>
            <p:cNvGrpSpPr/>
            <p:nvPr/>
          </p:nvGrpSpPr>
          <p:grpSpPr>
            <a:xfrm>
              <a:off x="7191542" y="1"/>
              <a:ext cx="5000459" cy="1425992"/>
              <a:chOff x="7186272" y="0"/>
              <a:chExt cx="5005729" cy="1427495"/>
            </a:xfrm>
          </p:grpSpPr>
          <p:sp>
            <p:nvSpPr>
              <p:cNvPr id="3269" name="Google Shape;3269;p53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270" name="Google Shape;3270;p53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271" name="Google Shape;3271;p5333"/>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72" name="Google Shape;3272;p5333"/>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273" name="Google Shape;3273;p53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74" name="Google Shape;3274;p533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217975219"/>
      </p:ext>
    </p:extLst>
  </p:cSld>
  <p:clrMapOvr>
    <a:masterClrMapping/>
  </p:clrMapOvr>
</p:sldLayout>
</file>

<file path=ppt/slideLayouts/slideLayout1505.xml><?xml version="1.0" encoding="utf-8"?>
<p:sldLayout xmlns:a="http://schemas.openxmlformats.org/drawingml/2006/main" xmlns:r="http://schemas.openxmlformats.org/officeDocument/2006/relationships" xmlns:p="http://schemas.openxmlformats.org/presentationml/2006/main" matchingName="1_End">
  <p:cSld name="1_End">
    <p:spTree>
      <p:nvGrpSpPr>
        <p:cNvPr id="1" name="Shape 3275"/>
        <p:cNvGrpSpPr/>
        <p:nvPr/>
      </p:nvGrpSpPr>
      <p:grpSpPr>
        <a:xfrm>
          <a:off x="0" y="0"/>
          <a:ext cx="0" cy="0"/>
          <a:chOff x="0" y="0"/>
          <a:chExt cx="0" cy="0"/>
        </a:xfrm>
      </p:grpSpPr>
      <p:grpSp>
        <p:nvGrpSpPr>
          <p:cNvPr id="3276" name="Google Shape;3276;p5334"/>
          <p:cNvGrpSpPr/>
          <p:nvPr/>
        </p:nvGrpSpPr>
        <p:grpSpPr>
          <a:xfrm>
            <a:off x="0" y="0"/>
            <a:ext cx="12192000" cy="2148830"/>
            <a:chOff x="0" y="0"/>
            <a:chExt cx="12192000" cy="2148830"/>
          </a:xfrm>
        </p:grpSpPr>
        <p:sp>
          <p:nvSpPr>
            <p:cNvPr id="3277" name="Google Shape;3277;p533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278" name="Google Shape;3278;p533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3279" name="Google Shape;3279;p5334"/>
          <p:cNvSpPr/>
          <p:nvPr/>
        </p:nvSpPr>
        <p:spPr>
          <a:xfrm>
            <a:off x="902368" y="1517699"/>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280" name="Google Shape;3280;p5334"/>
          <p:cNvSpPr txBox="1">
            <a:spLocks noGrp="1"/>
          </p:cNvSpPr>
          <p:nvPr>
            <p:ph type="body" idx="1"/>
          </p:nvPr>
        </p:nvSpPr>
        <p:spPr>
          <a:xfrm>
            <a:off x="1219201" y="3429002"/>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281" name="Google Shape;3281;p533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9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282" name="Google Shape;3282;p5334"/>
          <p:cNvPicPr preferRelativeResize="0"/>
          <p:nvPr/>
        </p:nvPicPr>
        <p:blipFill rotWithShape="1">
          <a:blip r:embed="rId2">
            <a:alphaModFix/>
          </a:blip>
          <a:srcRect/>
          <a:stretch/>
        </p:blipFill>
        <p:spPr>
          <a:xfrm>
            <a:off x="902370" y="228371"/>
            <a:ext cx="2025315" cy="911940"/>
          </a:xfrm>
          <a:prstGeom prst="rect">
            <a:avLst/>
          </a:prstGeom>
          <a:noFill/>
          <a:ln>
            <a:noFill/>
          </a:ln>
        </p:spPr>
      </p:pic>
      <p:sp>
        <p:nvSpPr>
          <p:cNvPr id="3283" name="Google Shape;3283;p5334"/>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788667453"/>
      </p:ext>
    </p:extLst>
  </p:cSld>
  <p:clrMapOvr>
    <a:masterClrMapping/>
  </p:clrMapOvr>
</p:sldLayout>
</file>

<file path=ppt/slideLayouts/slideLayout1506.xml><?xml version="1.0" encoding="utf-8"?>
<p:sldLayout xmlns:a="http://schemas.openxmlformats.org/drawingml/2006/main" xmlns:r="http://schemas.openxmlformats.org/officeDocument/2006/relationships" xmlns:p="http://schemas.openxmlformats.org/presentationml/2006/main" matchingName="1_Blank">
  <p:cSld name="1_Blank">
    <p:spTree>
      <p:nvGrpSpPr>
        <p:cNvPr id="1" name="Shape 3284"/>
        <p:cNvGrpSpPr/>
        <p:nvPr/>
      </p:nvGrpSpPr>
      <p:grpSpPr>
        <a:xfrm>
          <a:off x="0" y="0"/>
          <a:ext cx="0" cy="0"/>
          <a:chOff x="0" y="0"/>
          <a:chExt cx="0" cy="0"/>
        </a:xfrm>
      </p:grpSpPr>
      <p:sp>
        <p:nvSpPr>
          <p:cNvPr id="3285" name="Google Shape;3285;p533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286" name="Google Shape;3286;p53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87" name="Google Shape;3287;p533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288" name="Google Shape;3288;p5335"/>
          <p:cNvGrpSpPr/>
          <p:nvPr/>
        </p:nvGrpSpPr>
        <p:grpSpPr>
          <a:xfrm>
            <a:off x="7191544" y="1"/>
            <a:ext cx="5000459" cy="1425992"/>
            <a:chOff x="7191542" y="1"/>
            <a:chExt cx="5000459" cy="1425992"/>
          </a:xfrm>
        </p:grpSpPr>
        <p:pic>
          <p:nvPicPr>
            <p:cNvPr id="3289" name="Google Shape;3289;p53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90" name="Google Shape;3290;p5335"/>
            <p:cNvGrpSpPr/>
            <p:nvPr/>
          </p:nvGrpSpPr>
          <p:grpSpPr>
            <a:xfrm>
              <a:off x="7191542" y="1"/>
              <a:ext cx="5000459" cy="1425992"/>
              <a:chOff x="7186272" y="0"/>
              <a:chExt cx="5005729" cy="1427495"/>
            </a:xfrm>
          </p:grpSpPr>
          <p:sp>
            <p:nvSpPr>
              <p:cNvPr id="3291" name="Google Shape;3291;p53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292" name="Google Shape;3292;p53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extLst>
      <p:ext uri="{BB962C8B-B14F-4D97-AF65-F5344CB8AC3E}">
        <p14:creationId xmlns:p14="http://schemas.microsoft.com/office/powerpoint/2010/main" val="173794609"/>
      </p:ext>
    </p:extLst>
  </p:cSld>
  <p:clrMapOvr>
    <a:masterClrMapping/>
  </p:clrMapOvr>
</p:sldLayout>
</file>

<file path=ppt/slideLayouts/slideLayout1507.xml><?xml version="1.0" encoding="utf-8"?>
<p:sldLayout xmlns:a="http://schemas.openxmlformats.org/drawingml/2006/main" xmlns:r="http://schemas.openxmlformats.org/officeDocument/2006/relationships" xmlns:p="http://schemas.openxmlformats.org/presentationml/2006/main" matchingName="7_Quotation">
  <p:cSld name="7_Quotation">
    <p:spTree>
      <p:nvGrpSpPr>
        <p:cNvPr id="1" name="Shape 3293"/>
        <p:cNvGrpSpPr/>
        <p:nvPr/>
      </p:nvGrpSpPr>
      <p:grpSpPr>
        <a:xfrm>
          <a:off x="0" y="0"/>
          <a:ext cx="0" cy="0"/>
          <a:chOff x="0" y="0"/>
          <a:chExt cx="0" cy="0"/>
        </a:xfrm>
      </p:grpSpPr>
      <p:sp>
        <p:nvSpPr>
          <p:cNvPr id="3294" name="Google Shape;3294;p5336"/>
          <p:cNvSpPr/>
          <p:nvPr/>
        </p:nvSpPr>
        <p:spPr>
          <a:xfrm>
            <a:off x="1427358"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295" name="Google Shape;3295;p5336"/>
          <p:cNvSpPr txBox="1">
            <a:spLocks noGrp="1"/>
          </p:cNvSpPr>
          <p:nvPr>
            <p:ph type="title"/>
          </p:nvPr>
        </p:nvSpPr>
        <p:spPr>
          <a:xfrm>
            <a:off x="1427358"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96" name="Google Shape;3296;p533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297" name="Google Shape;3297;p533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298" name="Google Shape;3298;p53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99" name="Google Shape;3299;p533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300" name="Google Shape;3300;p5336"/>
          <p:cNvGrpSpPr/>
          <p:nvPr/>
        </p:nvGrpSpPr>
        <p:grpSpPr>
          <a:xfrm>
            <a:off x="7191544" y="1"/>
            <a:ext cx="5000459" cy="1425992"/>
            <a:chOff x="7191542" y="1"/>
            <a:chExt cx="5000459" cy="1425992"/>
          </a:xfrm>
        </p:grpSpPr>
        <p:pic>
          <p:nvPicPr>
            <p:cNvPr id="3301" name="Google Shape;3301;p53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02" name="Google Shape;3302;p5336"/>
            <p:cNvGrpSpPr/>
            <p:nvPr/>
          </p:nvGrpSpPr>
          <p:grpSpPr>
            <a:xfrm>
              <a:off x="7191542" y="1"/>
              <a:ext cx="5000459" cy="1425992"/>
              <a:chOff x="7186272" y="0"/>
              <a:chExt cx="5005729" cy="1427495"/>
            </a:xfrm>
          </p:grpSpPr>
          <p:sp>
            <p:nvSpPr>
              <p:cNvPr id="3303" name="Google Shape;3303;p53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304" name="Google Shape;3304;p53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305" name="Google Shape;3305;p5336"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3243351474"/>
      </p:ext>
    </p:extLst>
  </p:cSld>
  <p:clrMapOvr>
    <a:masterClrMapping/>
  </p:clrMapOvr>
</p:sldLayout>
</file>

<file path=ppt/slideLayouts/slideLayout1508.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3306"/>
        <p:cNvGrpSpPr/>
        <p:nvPr/>
      </p:nvGrpSpPr>
      <p:grpSpPr>
        <a:xfrm>
          <a:off x="0" y="0"/>
          <a:ext cx="0" cy="0"/>
          <a:chOff x="0" y="0"/>
          <a:chExt cx="0" cy="0"/>
        </a:xfrm>
      </p:grpSpPr>
      <p:sp>
        <p:nvSpPr>
          <p:cNvPr id="3307" name="Google Shape;3307;p5337"/>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308" name="Google Shape;3308;p5337"/>
          <p:cNvSpPr/>
          <p:nvPr/>
        </p:nvSpPr>
        <p:spPr>
          <a:xfrm>
            <a:off x="4"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pic>
        <p:nvPicPr>
          <p:cNvPr id="3309" name="Google Shape;3309;p5337"/>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3310" name="Google Shape;3310;p5337"/>
          <p:cNvSpPr/>
          <p:nvPr/>
        </p:nvSpPr>
        <p:spPr>
          <a:xfrm>
            <a:off x="1" y="5020057"/>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pic>
        <p:nvPicPr>
          <p:cNvPr id="3311" name="Google Shape;3311;p5337"/>
          <p:cNvPicPr preferRelativeResize="0"/>
          <p:nvPr/>
        </p:nvPicPr>
        <p:blipFill rotWithShape="1">
          <a:blip r:embed="rId3">
            <a:alphaModFix/>
          </a:blip>
          <a:srcRect/>
          <a:stretch/>
        </p:blipFill>
        <p:spPr>
          <a:xfrm>
            <a:off x="313958" y="5564125"/>
            <a:ext cx="2025383" cy="911351"/>
          </a:xfrm>
          <a:prstGeom prst="rect">
            <a:avLst/>
          </a:prstGeom>
          <a:noFill/>
          <a:ln>
            <a:noFill/>
          </a:ln>
        </p:spPr>
      </p:pic>
      <p:sp>
        <p:nvSpPr>
          <p:cNvPr id="3312" name="Google Shape;3312;p5337"/>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313" name="Google Shape;3313;p5337"/>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54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14" name="Google Shape;3314;p5337"/>
          <p:cNvSpPr txBox="1">
            <a:spLocks noGrp="1"/>
          </p:cNvSpPr>
          <p:nvPr>
            <p:ph type="subTitle" idx="1"/>
          </p:nvPr>
        </p:nvSpPr>
        <p:spPr>
          <a:xfrm>
            <a:off x="1828800" y="3840480"/>
            <a:ext cx="8534400" cy="369332"/>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36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3315" name="Google Shape;3315;p5337"/>
          <p:cNvSpPr txBox="1">
            <a:spLocks noGrp="1"/>
          </p:cNvSpPr>
          <p:nvPr>
            <p:ph type="ftr" idx="11"/>
          </p:nvPr>
        </p:nvSpPr>
        <p:spPr>
          <a:xfrm>
            <a:off x="609600" y="6356351"/>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16" name="Google Shape;3316;p5337"/>
          <p:cNvSpPr txBox="1">
            <a:spLocks noGrp="1"/>
          </p:cNvSpPr>
          <p:nvPr>
            <p:ph type="dt" idx="10"/>
          </p:nvPr>
        </p:nvSpPr>
        <p:spPr>
          <a:xfrm>
            <a:off x="0" y="0"/>
            <a:ext cx="2000000" cy="2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SzPts val="1400"/>
              <a:buNone/>
              <a:defRPr sz="933" b="0" i="0" u="none" strike="noStrike" cap="none">
                <a:solidFill>
                  <a:srgbClr val="919497"/>
                </a:solidFill>
                <a:latin typeface="Arial"/>
                <a:ea typeface="Arial"/>
                <a:cs typeface="Arial"/>
                <a:sym typeface="Arial"/>
              </a:defRPr>
            </a:lvl1pPr>
            <a:lvl2pPr marR="0" lvl="1"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9pPr>
          </a:lstStyle>
          <a:p>
            <a:endParaRPr/>
          </a:p>
        </p:txBody>
      </p:sp>
      <p:sp>
        <p:nvSpPr>
          <p:cNvPr id="3317" name="Google Shape;3317;p5337"/>
          <p:cNvSpPr txBox="1">
            <a:spLocks noGrp="1"/>
          </p:cNvSpPr>
          <p:nvPr>
            <p:ph type="sldNum" idx="12"/>
          </p:nvPr>
        </p:nvSpPr>
        <p:spPr>
          <a:xfrm>
            <a:off x="8839200" y="6356351"/>
            <a:ext cx="2743200" cy="365125"/>
          </a:xfrm>
          <a:prstGeom prst="rect">
            <a:avLst/>
          </a:prstGeom>
          <a:noFill/>
          <a:ln>
            <a:noFill/>
          </a:ln>
        </p:spPr>
        <p:txBody>
          <a:bodyPr spcFirstLastPara="1" wrap="square" lIns="0" tIns="0" rIns="0" bIns="0" anchor="ctr" anchorCtr="0">
            <a:noAutofit/>
          </a:bodyPr>
          <a:lstStyle>
            <a:lvl1pPr marL="38104" marR="0" lvl="0" indent="0" algn="r">
              <a:lnSpc>
                <a:spcPct val="118777"/>
              </a:lnSpc>
              <a:spcBef>
                <a:spcPts val="0"/>
              </a:spcBef>
              <a:spcAft>
                <a:spcPts val="0"/>
              </a:spcAft>
              <a:buNone/>
              <a:defRPr sz="1200" b="0" i="0" u="none" strike="noStrike" cap="none">
                <a:solidFill>
                  <a:srgbClr val="929599"/>
                </a:solidFill>
                <a:latin typeface="Arial"/>
                <a:ea typeface="Arial"/>
                <a:cs typeface="Arial"/>
                <a:sym typeface="Arial"/>
              </a:defRPr>
            </a:lvl1pPr>
            <a:lvl2pPr marL="38104" marR="0" lvl="1" indent="0" algn="r">
              <a:lnSpc>
                <a:spcPct val="118777"/>
              </a:lnSpc>
              <a:spcBef>
                <a:spcPts val="0"/>
              </a:spcBef>
              <a:spcAft>
                <a:spcPts val="0"/>
              </a:spcAft>
              <a:buNone/>
              <a:defRPr sz="1200" b="0" i="0" u="none" strike="noStrike" cap="none">
                <a:solidFill>
                  <a:srgbClr val="929599"/>
                </a:solidFill>
                <a:latin typeface="Arial"/>
                <a:ea typeface="Arial"/>
                <a:cs typeface="Arial"/>
                <a:sym typeface="Arial"/>
              </a:defRPr>
            </a:lvl2pPr>
            <a:lvl3pPr marL="38104" marR="0" lvl="2" indent="0" algn="r">
              <a:lnSpc>
                <a:spcPct val="118777"/>
              </a:lnSpc>
              <a:spcBef>
                <a:spcPts val="0"/>
              </a:spcBef>
              <a:spcAft>
                <a:spcPts val="0"/>
              </a:spcAft>
              <a:buNone/>
              <a:defRPr sz="1200" b="0" i="0" u="none" strike="noStrike" cap="none">
                <a:solidFill>
                  <a:srgbClr val="929599"/>
                </a:solidFill>
                <a:latin typeface="Arial"/>
                <a:ea typeface="Arial"/>
                <a:cs typeface="Arial"/>
                <a:sym typeface="Arial"/>
              </a:defRPr>
            </a:lvl3pPr>
            <a:lvl4pPr marL="38104" marR="0" lvl="3" indent="0" algn="r">
              <a:lnSpc>
                <a:spcPct val="118777"/>
              </a:lnSpc>
              <a:spcBef>
                <a:spcPts val="0"/>
              </a:spcBef>
              <a:spcAft>
                <a:spcPts val="0"/>
              </a:spcAft>
              <a:buNone/>
              <a:defRPr sz="1200" b="0" i="0" u="none" strike="noStrike" cap="none">
                <a:solidFill>
                  <a:srgbClr val="929599"/>
                </a:solidFill>
                <a:latin typeface="Arial"/>
                <a:ea typeface="Arial"/>
                <a:cs typeface="Arial"/>
                <a:sym typeface="Arial"/>
              </a:defRPr>
            </a:lvl4pPr>
            <a:lvl5pPr marL="38104" marR="0" lvl="4" indent="0" algn="r">
              <a:lnSpc>
                <a:spcPct val="118777"/>
              </a:lnSpc>
              <a:spcBef>
                <a:spcPts val="0"/>
              </a:spcBef>
              <a:spcAft>
                <a:spcPts val="0"/>
              </a:spcAft>
              <a:buNone/>
              <a:defRPr sz="1200" b="0" i="0" u="none" strike="noStrike" cap="none">
                <a:solidFill>
                  <a:srgbClr val="929599"/>
                </a:solidFill>
                <a:latin typeface="Arial"/>
                <a:ea typeface="Arial"/>
                <a:cs typeface="Arial"/>
                <a:sym typeface="Arial"/>
              </a:defRPr>
            </a:lvl5pPr>
            <a:lvl6pPr marL="38104" marR="0" lvl="5" indent="0" algn="r">
              <a:lnSpc>
                <a:spcPct val="118777"/>
              </a:lnSpc>
              <a:spcBef>
                <a:spcPts val="0"/>
              </a:spcBef>
              <a:spcAft>
                <a:spcPts val="0"/>
              </a:spcAft>
              <a:buNone/>
              <a:defRPr sz="1200" b="0" i="0" u="none" strike="noStrike" cap="none">
                <a:solidFill>
                  <a:srgbClr val="929599"/>
                </a:solidFill>
                <a:latin typeface="Arial"/>
                <a:ea typeface="Arial"/>
                <a:cs typeface="Arial"/>
                <a:sym typeface="Arial"/>
              </a:defRPr>
            </a:lvl6pPr>
            <a:lvl7pPr marL="38104" marR="0" lvl="6" indent="0" algn="r">
              <a:lnSpc>
                <a:spcPct val="118777"/>
              </a:lnSpc>
              <a:spcBef>
                <a:spcPts val="0"/>
              </a:spcBef>
              <a:spcAft>
                <a:spcPts val="0"/>
              </a:spcAft>
              <a:buNone/>
              <a:defRPr sz="1200" b="0" i="0" u="none" strike="noStrike" cap="none">
                <a:solidFill>
                  <a:srgbClr val="929599"/>
                </a:solidFill>
                <a:latin typeface="Arial"/>
                <a:ea typeface="Arial"/>
                <a:cs typeface="Arial"/>
                <a:sym typeface="Arial"/>
              </a:defRPr>
            </a:lvl7pPr>
            <a:lvl8pPr marL="38104" marR="0" lvl="7" indent="0" algn="r">
              <a:lnSpc>
                <a:spcPct val="118777"/>
              </a:lnSpc>
              <a:spcBef>
                <a:spcPts val="0"/>
              </a:spcBef>
              <a:spcAft>
                <a:spcPts val="0"/>
              </a:spcAft>
              <a:buNone/>
              <a:defRPr sz="1200" b="0" i="0" u="none" strike="noStrike" cap="none">
                <a:solidFill>
                  <a:srgbClr val="929599"/>
                </a:solidFill>
                <a:latin typeface="Arial"/>
                <a:ea typeface="Arial"/>
                <a:cs typeface="Arial"/>
                <a:sym typeface="Arial"/>
              </a:defRPr>
            </a:lvl8pPr>
            <a:lvl9pPr marL="38104" marR="0" lvl="8" indent="0" algn="r">
              <a:lnSpc>
                <a:spcPct val="118777"/>
              </a:lnSpc>
              <a:spcBef>
                <a:spcPts val="0"/>
              </a:spcBef>
              <a:spcAft>
                <a:spcPts val="0"/>
              </a:spcAft>
              <a:buNone/>
              <a:defRPr sz="1200" b="0" i="0" u="none" strike="noStrike" cap="none">
                <a:solidFill>
                  <a:srgbClr val="929599"/>
                </a:solidFill>
                <a:latin typeface="Arial"/>
                <a:ea typeface="Arial"/>
                <a:cs typeface="Arial"/>
                <a:sym typeface="Arial"/>
              </a:defRPr>
            </a:lvl9pPr>
          </a:lstStyle>
          <a:p>
            <a:pPr marL="38104" lvl="0" indent="0" algn="r" rtl="0">
              <a:spcBef>
                <a:spcPts val="0"/>
              </a:spcBef>
              <a:spcAft>
                <a:spcPts val="0"/>
              </a:spcAft>
              <a:buNone/>
            </a:pPr>
            <a:fld id="{00000000-1234-1234-1234-123412341234}" type="slidenum">
              <a:rPr lang="en-US"/>
              <a:pPr marL="38104" lvl="0" indent="0" algn="r" rtl="0">
                <a:spcBef>
                  <a:spcPts val="0"/>
                </a:spcBef>
                <a:spcAft>
                  <a:spcPts val="0"/>
                </a:spcAft>
                <a:buNone/>
              </a:pPr>
              <a:t>‹#›</a:t>
            </a:fld>
            <a:endParaRPr/>
          </a:p>
        </p:txBody>
      </p:sp>
    </p:spTree>
    <p:extLst>
      <p:ext uri="{BB962C8B-B14F-4D97-AF65-F5344CB8AC3E}">
        <p14:creationId xmlns:p14="http://schemas.microsoft.com/office/powerpoint/2010/main" val="2556337924"/>
      </p:ext>
    </p:extLst>
  </p:cSld>
  <p:clrMapOvr>
    <a:masterClrMapping/>
  </p:clrMapOvr>
</p:sldLayout>
</file>

<file path=ppt/slideLayouts/slideLayout1509.xml><?xml version="1.0" encoding="utf-8"?>
<p:sldLayout xmlns:a="http://schemas.openxmlformats.org/drawingml/2006/main" xmlns:r="http://schemas.openxmlformats.org/officeDocument/2006/relationships" xmlns:p="http://schemas.openxmlformats.org/presentationml/2006/main" matchingName="8_Quotation">
  <p:cSld name="8_Quotation">
    <p:spTree>
      <p:nvGrpSpPr>
        <p:cNvPr id="1" name="Shape 3318"/>
        <p:cNvGrpSpPr/>
        <p:nvPr/>
      </p:nvGrpSpPr>
      <p:grpSpPr>
        <a:xfrm>
          <a:off x="0" y="0"/>
          <a:ext cx="0" cy="0"/>
          <a:chOff x="0" y="0"/>
          <a:chExt cx="0" cy="0"/>
        </a:xfrm>
      </p:grpSpPr>
      <p:sp>
        <p:nvSpPr>
          <p:cNvPr id="3319" name="Google Shape;3319;p5338"/>
          <p:cNvSpPr/>
          <p:nvPr/>
        </p:nvSpPr>
        <p:spPr>
          <a:xfrm>
            <a:off x="1427358"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320" name="Google Shape;3320;p5338"/>
          <p:cNvSpPr txBox="1">
            <a:spLocks noGrp="1"/>
          </p:cNvSpPr>
          <p:nvPr>
            <p:ph type="title"/>
          </p:nvPr>
        </p:nvSpPr>
        <p:spPr>
          <a:xfrm>
            <a:off x="1427358"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21" name="Google Shape;3321;p533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322" name="Google Shape;3322;p5338"/>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323" name="Google Shape;3323;p53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24" name="Google Shape;3324;p533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325" name="Google Shape;3325;p5338"/>
          <p:cNvGrpSpPr/>
          <p:nvPr/>
        </p:nvGrpSpPr>
        <p:grpSpPr>
          <a:xfrm>
            <a:off x="7191544" y="1"/>
            <a:ext cx="5000459" cy="1425992"/>
            <a:chOff x="7191542" y="1"/>
            <a:chExt cx="5000459" cy="1425992"/>
          </a:xfrm>
        </p:grpSpPr>
        <p:pic>
          <p:nvPicPr>
            <p:cNvPr id="3326" name="Google Shape;3326;p53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27" name="Google Shape;3327;p5338"/>
            <p:cNvGrpSpPr/>
            <p:nvPr/>
          </p:nvGrpSpPr>
          <p:grpSpPr>
            <a:xfrm>
              <a:off x="7191542" y="1"/>
              <a:ext cx="5000459" cy="1425992"/>
              <a:chOff x="7186272" y="0"/>
              <a:chExt cx="5005729" cy="1427495"/>
            </a:xfrm>
          </p:grpSpPr>
          <p:sp>
            <p:nvSpPr>
              <p:cNvPr id="3328" name="Google Shape;3328;p53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329" name="Google Shape;3329;p53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330" name="Google Shape;3330;p5338"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123193542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matchingName="Divider">
  <p:cSld name="Divider 11">
    <p:spTree>
      <p:nvGrpSpPr>
        <p:cNvPr id="1" name="Shape 10525"/>
        <p:cNvGrpSpPr/>
        <p:nvPr/>
      </p:nvGrpSpPr>
      <p:grpSpPr>
        <a:xfrm>
          <a:off x="0" y="0"/>
          <a:ext cx="0" cy="0"/>
          <a:chOff x="0" y="0"/>
          <a:chExt cx="0" cy="0"/>
        </a:xfrm>
      </p:grpSpPr>
      <p:grpSp>
        <p:nvGrpSpPr>
          <p:cNvPr id="10526" name="Google Shape;10526;p1455"/>
          <p:cNvGrpSpPr/>
          <p:nvPr/>
        </p:nvGrpSpPr>
        <p:grpSpPr>
          <a:xfrm>
            <a:off x="0" y="5020347"/>
            <a:ext cx="12192000" cy="1837653"/>
            <a:chOff x="0" y="5020347"/>
            <a:chExt cx="12192000" cy="1837653"/>
          </a:xfrm>
        </p:grpSpPr>
        <p:sp>
          <p:nvSpPr>
            <p:cNvPr id="10527" name="Google Shape;10527;p145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528" name="Google Shape;10528;p145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529" name="Google Shape;10529;p145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530" name="Google Shape;10530;p145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531" name="Google Shape;10531;p145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532" name="Google Shape;10532;p145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510.xml><?xml version="1.0" encoding="utf-8"?>
<p:sldLayout xmlns:a="http://schemas.openxmlformats.org/drawingml/2006/main" xmlns:r="http://schemas.openxmlformats.org/officeDocument/2006/relationships" xmlns:p="http://schemas.openxmlformats.org/presentationml/2006/main" matchingName="9_Quotation">
  <p:cSld name="9_Quotation">
    <p:spTree>
      <p:nvGrpSpPr>
        <p:cNvPr id="1" name="Shape 3331"/>
        <p:cNvGrpSpPr/>
        <p:nvPr/>
      </p:nvGrpSpPr>
      <p:grpSpPr>
        <a:xfrm>
          <a:off x="0" y="0"/>
          <a:ext cx="0" cy="0"/>
          <a:chOff x="0" y="0"/>
          <a:chExt cx="0" cy="0"/>
        </a:xfrm>
      </p:grpSpPr>
      <p:sp>
        <p:nvSpPr>
          <p:cNvPr id="3332" name="Google Shape;3332;p5339"/>
          <p:cNvSpPr/>
          <p:nvPr/>
        </p:nvSpPr>
        <p:spPr>
          <a:xfrm>
            <a:off x="1427358"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333" name="Google Shape;3333;p5339"/>
          <p:cNvSpPr txBox="1">
            <a:spLocks noGrp="1"/>
          </p:cNvSpPr>
          <p:nvPr>
            <p:ph type="title"/>
          </p:nvPr>
        </p:nvSpPr>
        <p:spPr>
          <a:xfrm>
            <a:off x="1427358"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34" name="Google Shape;3334;p533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335" name="Google Shape;3335;p5339"/>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336" name="Google Shape;3336;p53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37" name="Google Shape;3337;p533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338" name="Google Shape;3338;p5339"/>
          <p:cNvGrpSpPr/>
          <p:nvPr/>
        </p:nvGrpSpPr>
        <p:grpSpPr>
          <a:xfrm>
            <a:off x="7191544" y="1"/>
            <a:ext cx="5000459" cy="1425992"/>
            <a:chOff x="7191542" y="1"/>
            <a:chExt cx="5000459" cy="1425992"/>
          </a:xfrm>
        </p:grpSpPr>
        <p:pic>
          <p:nvPicPr>
            <p:cNvPr id="3339" name="Google Shape;3339;p53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40" name="Google Shape;3340;p5339"/>
            <p:cNvGrpSpPr/>
            <p:nvPr/>
          </p:nvGrpSpPr>
          <p:grpSpPr>
            <a:xfrm>
              <a:off x="7191542" y="1"/>
              <a:ext cx="5000459" cy="1425992"/>
              <a:chOff x="7186272" y="0"/>
              <a:chExt cx="5005729" cy="1427495"/>
            </a:xfrm>
          </p:grpSpPr>
          <p:sp>
            <p:nvSpPr>
              <p:cNvPr id="3341" name="Google Shape;3341;p53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342" name="Google Shape;3342;p53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343" name="Google Shape;3343;p5339"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2901713159"/>
      </p:ext>
    </p:extLst>
  </p:cSld>
  <p:clrMapOvr>
    <a:masterClrMapping/>
  </p:clrMapOvr>
</p:sldLayout>
</file>

<file path=ppt/slideLayouts/slideLayout1511.xml><?xml version="1.0" encoding="utf-8"?>
<p:sldLayout xmlns:a="http://schemas.openxmlformats.org/drawingml/2006/main" xmlns:r="http://schemas.openxmlformats.org/officeDocument/2006/relationships" xmlns:p="http://schemas.openxmlformats.org/presentationml/2006/main" matchingName="4_Divider">
  <p:cSld name="4_Divider">
    <p:bg>
      <p:bgPr>
        <a:solidFill>
          <a:schemeClr val="lt2"/>
        </a:solidFill>
        <a:effectLst/>
      </p:bgPr>
    </p:bg>
    <p:spTree>
      <p:nvGrpSpPr>
        <p:cNvPr id="1" name="Shape 3344"/>
        <p:cNvGrpSpPr/>
        <p:nvPr/>
      </p:nvGrpSpPr>
      <p:grpSpPr>
        <a:xfrm>
          <a:off x="0" y="0"/>
          <a:ext cx="0" cy="0"/>
          <a:chOff x="0" y="0"/>
          <a:chExt cx="0" cy="0"/>
        </a:xfrm>
      </p:grpSpPr>
      <p:grpSp>
        <p:nvGrpSpPr>
          <p:cNvPr id="3345" name="Google Shape;3345;p5340"/>
          <p:cNvGrpSpPr/>
          <p:nvPr/>
        </p:nvGrpSpPr>
        <p:grpSpPr>
          <a:xfrm>
            <a:off x="0" y="5020349"/>
            <a:ext cx="12192000" cy="1837653"/>
            <a:chOff x="0" y="5020347"/>
            <a:chExt cx="12192000" cy="1837653"/>
          </a:xfrm>
        </p:grpSpPr>
        <p:sp>
          <p:nvSpPr>
            <p:cNvPr id="3346" name="Google Shape;3346;p534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347" name="Google Shape;3347;p534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348" name="Google Shape;3348;p534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3349" name="Google Shape;3349;p534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350" name="Google Shape;3350;p5340"/>
          <p:cNvSpPr txBox="1">
            <a:spLocks noGrp="1"/>
          </p:cNvSpPr>
          <p:nvPr>
            <p:ph type="title"/>
          </p:nvPr>
        </p:nvSpPr>
        <p:spPr>
          <a:xfrm>
            <a:off x="1413310"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51" name="Google Shape;3351;p5340"/>
          <p:cNvSpPr txBox="1">
            <a:spLocks noGrp="1"/>
          </p:cNvSpPr>
          <p:nvPr>
            <p:ph type="subTitle" idx="1"/>
          </p:nvPr>
        </p:nvSpPr>
        <p:spPr>
          <a:xfrm>
            <a:off x="1413310"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Tree>
    <p:extLst>
      <p:ext uri="{BB962C8B-B14F-4D97-AF65-F5344CB8AC3E}">
        <p14:creationId xmlns:p14="http://schemas.microsoft.com/office/powerpoint/2010/main" val="3824135863"/>
      </p:ext>
    </p:extLst>
  </p:cSld>
  <p:clrMapOvr>
    <a:masterClrMapping/>
  </p:clrMapOvr>
</p:sldLayout>
</file>

<file path=ppt/slideLayouts/slideLayout1512.xml><?xml version="1.0" encoding="utf-8"?>
<p:sldLayout xmlns:a="http://schemas.openxmlformats.org/drawingml/2006/main" xmlns:r="http://schemas.openxmlformats.org/officeDocument/2006/relationships" xmlns:p="http://schemas.openxmlformats.org/presentationml/2006/main" matchingName="3_Two Content">
  <p:cSld name="3_Two Content">
    <p:spTree>
      <p:nvGrpSpPr>
        <p:cNvPr id="1" name="Shape 3352"/>
        <p:cNvGrpSpPr/>
        <p:nvPr/>
      </p:nvGrpSpPr>
      <p:grpSpPr>
        <a:xfrm>
          <a:off x="0" y="0"/>
          <a:ext cx="0" cy="0"/>
          <a:chOff x="0" y="0"/>
          <a:chExt cx="0" cy="0"/>
        </a:xfrm>
      </p:grpSpPr>
      <p:sp>
        <p:nvSpPr>
          <p:cNvPr id="3353" name="Google Shape;3353;p5341"/>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54" name="Google Shape;3354;p5341"/>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3355" name="Google Shape;3355;p5341"/>
          <p:cNvGrpSpPr/>
          <p:nvPr/>
        </p:nvGrpSpPr>
        <p:grpSpPr>
          <a:xfrm>
            <a:off x="7191544" y="1"/>
            <a:ext cx="5000459" cy="1425992"/>
            <a:chOff x="7191542" y="1"/>
            <a:chExt cx="5000459" cy="1425992"/>
          </a:xfrm>
        </p:grpSpPr>
        <p:pic>
          <p:nvPicPr>
            <p:cNvPr id="3356" name="Google Shape;3356;p53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57" name="Google Shape;3357;p5341"/>
            <p:cNvGrpSpPr/>
            <p:nvPr/>
          </p:nvGrpSpPr>
          <p:grpSpPr>
            <a:xfrm>
              <a:off x="7191542" y="1"/>
              <a:ext cx="5000459" cy="1425992"/>
              <a:chOff x="7186272" y="0"/>
              <a:chExt cx="5005729" cy="1427495"/>
            </a:xfrm>
          </p:grpSpPr>
          <p:sp>
            <p:nvSpPr>
              <p:cNvPr id="3358" name="Google Shape;3358;p53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359" name="Google Shape;3359;p53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360" name="Google Shape;3360;p5341"/>
          <p:cNvSpPr txBox="1">
            <a:spLocks noGrp="1"/>
          </p:cNvSpPr>
          <p:nvPr>
            <p:ph type="body" idx="2"/>
          </p:nvPr>
        </p:nvSpPr>
        <p:spPr>
          <a:xfrm>
            <a:off x="6172201"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361" name="Google Shape;3361;p5341"/>
          <p:cNvSpPr txBox="1">
            <a:spLocks noGrp="1"/>
          </p:cNvSpPr>
          <p:nvPr>
            <p:ph type="sldNum" idx="12"/>
          </p:nvPr>
        </p:nvSpPr>
        <p:spPr>
          <a:xfrm>
            <a:off x="8839198"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362" name="Google Shape;3362;p53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63" name="Google Shape;3363;p534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678925592"/>
      </p:ext>
    </p:extLst>
  </p:cSld>
  <p:clrMapOvr>
    <a:masterClrMapping/>
  </p:clrMapOvr>
</p:sldLayout>
</file>

<file path=ppt/slideLayouts/slideLayout1513.xml><?xml version="1.0" encoding="utf-8"?>
<p:sldLayout xmlns:a="http://schemas.openxmlformats.org/drawingml/2006/main" xmlns:r="http://schemas.openxmlformats.org/officeDocument/2006/relationships" xmlns:p="http://schemas.openxmlformats.org/presentationml/2006/main" matchingName="3_Comparison">
  <p:cSld name="3_Comparison">
    <p:spTree>
      <p:nvGrpSpPr>
        <p:cNvPr id="1" name="Shape 3364"/>
        <p:cNvGrpSpPr/>
        <p:nvPr/>
      </p:nvGrpSpPr>
      <p:grpSpPr>
        <a:xfrm>
          <a:off x="0" y="0"/>
          <a:ext cx="0" cy="0"/>
          <a:chOff x="0" y="0"/>
          <a:chExt cx="0" cy="0"/>
        </a:xfrm>
      </p:grpSpPr>
      <p:grpSp>
        <p:nvGrpSpPr>
          <p:cNvPr id="3365" name="Google Shape;3365;p5342"/>
          <p:cNvGrpSpPr/>
          <p:nvPr/>
        </p:nvGrpSpPr>
        <p:grpSpPr>
          <a:xfrm>
            <a:off x="7191544" y="1"/>
            <a:ext cx="5000459" cy="1425992"/>
            <a:chOff x="7191542" y="1"/>
            <a:chExt cx="5000459" cy="1425992"/>
          </a:xfrm>
        </p:grpSpPr>
        <p:pic>
          <p:nvPicPr>
            <p:cNvPr id="3366" name="Google Shape;3366;p53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67" name="Google Shape;3367;p5342"/>
            <p:cNvGrpSpPr/>
            <p:nvPr/>
          </p:nvGrpSpPr>
          <p:grpSpPr>
            <a:xfrm>
              <a:off x="7191542" y="1"/>
              <a:ext cx="5000459" cy="1425992"/>
              <a:chOff x="7186272" y="0"/>
              <a:chExt cx="5005729" cy="1427495"/>
            </a:xfrm>
          </p:grpSpPr>
          <p:sp>
            <p:nvSpPr>
              <p:cNvPr id="3368" name="Google Shape;3368;p53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369" name="Google Shape;3369;p53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370" name="Google Shape;3370;p5342"/>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71" name="Google Shape;3371;p534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3372" name="Google Shape;3372;p534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373" name="Google Shape;3373;p534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3374" name="Google Shape;3374;p534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375" name="Google Shape;3375;p534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376" name="Google Shape;3376;p53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77" name="Google Shape;3377;p534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43217847"/>
      </p:ext>
    </p:extLst>
  </p:cSld>
  <p:clrMapOvr>
    <a:masterClrMapping/>
  </p:clrMapOvr>
</p:sldLayout>
</file>

<file path=ppt/slideLayouts/slideLayout1514.xml><?xml version="1.0" encoding="utf-8"?>
<p:sldLayout xmlns:a="http://schemas.openxmlformats.org/drawingml/2006/main" xmlns:r="http://schemas.openxmlformats.org/officeDocument/2006/relationships" xmlns:p="http://schemas.openxmlformats.org/presentationml/2006/main" matchingName="2_Title Only">
  <p:cSld name="2_Title Only">
    <p:spTree>
      <p:nvGrpSpPr>
        <p:cNvPr id="1" name="Shape 3378"/>
        <p:cNvGrpSpPr/>
        <p:nvPr/>
      </p:nvGrpSpPr>
      <p:grpSpPr>
        <a:xfrm>
          <a:off x="0" y="0"/>
          <a:ext cx="0" cy="0"/>
          <a:chOff x="0" y="0"/>
          <a:chExt cx="0" cy="0"/>
        </a:xfrm>
      </p:grpSpPr>
      <p:grpSp>
        <p:nvGrpSpPr>
          <p:cNvPr id="3379" name="Google Shape;3379;p5343"/>
          <p:cNvGrpSpPr/>
          <p:nvPr/>
        </p:nvGrpSpPr>
        <p:grpSpPr>
          <a:xfrm>
            <a:off x="7191544" y="1"/>
            <a:ext cx="5000459" cy="1425992"/>
            <a:chOff x="7191542" y="1"/>
            <a:chExt cx="5000459" cy="1425992"/>
          </a:xfrm>
        </p:grpSpPr>
        <p:pic>
          <p:nvPicPr>
            <p:cNvPr id="3380" name="Google Shape;3380;p53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81" name="Google Shape;3381;p5343"/>
            <p:cNvGrpSpPr/>
            <p:nvPr/>
          </p:nvGrpSpPr>
          <p:grpSpPr>
            <a:xfrm>
              <a:off x="7191542" y="1"/>
              <a:ext cx="5000459" cy="1425992"/>
              <a:chOff x="7186272" y="0"/>
              <a:chExt cx="5005729" cy="1427495"/>
            </a:xfrm>
          </p:grpSpPr>
          <p:sp>
            <p:nvSpPr>
              <p:cNvPr id="3382" name="Google Shape;3382;p53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383" name="Google Shape;3383;p53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384" name="Google Shape;3384;p5343"/>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85" name="Google Shape;3385;p5343"/>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386" name="Google Shape;3386;p53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87" name="Google Shape;3387;p534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463284771"/>
      </p:ext>
    </p:extLst>
  </p:cSld>
  <p:clrMapOvr>
    <a:masterClrMapping/>
  </p:clrMapOvr>
</p:sldLayout>
</file>

<file path=ppt/slideLayouts/slideLayout1515.xml><?xml version="1.0" encoding="utf-8"?>
<p:sldLayout xmlns:a="http://schemas.openxmlformats.org/drawingml/2006/main" xmlns:r="http://schemas.openxmlformats.org/officeDocument/2006/relationships" xmlns:p="http://schemas.openxmlformats.org/presentationml/2006/main" matchingName="2_End">
  <p:cSld name="2_End">
    <p:spTree>
      <p:nvGrpSpPr>
        <p:cNvPr id="1" name="Shape 3388"/>
        <p:cNvGrpSpPr/>
        <p:nvPr/>
      </p:nvGrpSpPr>
      <p:grpSpPr>
        <a:xfrm>
          <a:off x="0" y="0"/>
          <a:ext cx="0" cy="0"/>
          <a:chOff x="0" y="0"/>
          <a:chExt cx="0" cy="0"/>
        </a:xfrm>
      </p:grpSpPr>
      <p:grpSp>
        <p:nvGrpSpPr>
          <p:cNvPr id="3389" name="Google Shape;3389;p5344"/>
          <p:cNvGrpSpPr/>
          <p:nvPr/>
        </p:nvGrpSpPr>
        <p:grpSpPr>
          <a:xfrm>
            <a:off x="0" y="0"/>
            <a:ext cx="12192000" cy="2148830"/>
            <a:chOff x="0" y="0"/>
            <a:chExt cx="12192000" cy="2148830"/>
          </a:xfrm>
        </p:grpSpPr>
        <p:sp>
          <p:nvSpPr>
            <p:cNvPr id="3390" name="Google Shape;3390;p534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391" name="Google Shape;3391;p534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3392" name="Google Shape;3392;p5344"/>
          <p:cNvSpPr/>
          <p:nvPr/>
        </p:nvSpPr>
        <p:spPr>
          <a:xfrm>
            <a:off x="902368" y="1517699"/>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393" name="Google Shape;3393;p5344"/>
          <p:cNvSpPr txBox="1">
            <a:spLocks noGrp="1"/>
          </p:cNvSpPr>
          <p:nvPr>
            <p:ph type="body" idx="1"/>
          </p:nvPr>
        </p:nvSpPr>
        <p:spPr>
          <a:xfrm>
            <a:off x="1219201" y="3429002"/>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394" name="Google Shape;3394;p534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9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395" name="Google Shape;3395;p5344"/>
          <p:cNvPicPr preferRelativeResize="0"/>
          <p:nvPr/>
        </p:nvPicPr>
        <p:blipFill rotWithShape="1">
          <a:blip r:embed="rId2">
            <a:alphaModFix/>
          </a:blip>
          <a:srcRect/>
          <a:stretch/>
        </p:blipFill>
        <p:spPr>
          <a:xfrm>
            <a:off x="902370" y="228371"/>
            <a:ext cx="2025315" cy="911940"/>
          </a:xfrm>
          <a:prstGeom prst="rect">
            <a:avLst/>
          </a:prstGeom>
          <a:noFill/>
          <a:ln>
            <a:noFill/>
          </a:ln>
        </p:spPr>
      </p:pic>
      <p:sp>
        <p:nvSpPr>
          <p:cNvPr id="3396" name="Google Shape;3396;p5344"/>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776452580"/>
      </p:ext>
    </p:extLst>
  </p:cSld>
  <p:clrMapOvr>
    <a:masterClrMapping/>
  </p:clrMapOvr>
</p:sldLayout>
</file>

<file path=ppt/slideLayouts/slideLayout1516.xml><?xml version="1.0" encoding="utf-8"?>
<p:sldLayout xmlns:a="http://schemas.openxmlformats.org/drawingml/2006/main" xmlns:r="http://schemas.openxmlformats.org/officeDocument/2006/relationships" xmlns:p="http://schemas.openxmlformats.org/presentationml/2006/main" matchingName="2_Blank">
  <p:cSld name="2_Blank">
    <p:spTree>
      <p:nvGrpSpPr>
        <p:cNvPr id="1" name="Shape 3397"/>
        <p:cNvGrpSpPr/>
        <p:nvPr/>
      </p:nvGrpSpPr>
      <p:grpSpPr>
        <a:xfrm>
          <a:off x="0" y="0"/>
          <a:ext cx="0" cy="0"/>
          <a:chOff x="0" y="0"/>
          <a:chExt cx="0" cy="0"/>
        </a:xfrm>
      </p:grpSpPr>
      <p:sp>
        <p:nvSpPr>
          <p:cNvPr id="3398" name="Google Shape;3398;p534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399" name="Google Shape;3399;p53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00" name="Google Shape;3400;p534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401" name="Google Shape;3401;p5345"/>
          <p:cNvGrpSpPr/>
          <p:nvPr/>
        </p:nvGrpSpPr>
        <p:grpSpPr>
          <a:xfrm>
            <a:off x="7191544" y="1"/>
            <a:ext cx="5000459" cy="1425992"/>
            <a:chOff x="7191542" y="1"/>
            <a:chExt cx="5000459" cy="1425992"/>
          </a:xfrm>
        </p:grpSpPr>
        <p:pic>
          <p:nvPicPr>
            <p:cNvPr id="3402" name="Google Shape;3402;p53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03" name="Google Shape;3403;p5345"/>
            <p:cNvGrpSpPr/>
            <p:nvPr/>
          </p:nvGrpSpPr>
          <p:grpSpPr>
            <a:xfrm>
              <a:off x="7191542" y="1"/>
              <a:ext cx="5000459" cy="1425992"/>
              <a:chOff x="7186272" y="0"/>
              <a:chExt cx="5005729" cy="1427495"/>
            </a:xfrm>
          </p:grpSpPr>
          <p:sp>
            <p:nvSpPr>
              <p:cNvPr id="3404" name="Google Shape;3404;p53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405" name="Google Shape;3405;p53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extLst>
      <p:ext uri="{BB962C8B-B14F-4D97-AF65-F5344CB8AC3E}">
        <p14:creationId xmlns:p14="http://schemas.microsoft.com/office/powerpoint/2010/main" val="3901159219"/>
      </p:ext>
    </p:extLst>
  </p:cSld>
  <p:clrMapOvr>
    <a:masterClrMapping/>
  </p:clrMapOvr>
</p:sldLayout>
</file>

<file path=ppt/slideLayouts/slideLayout1517.xml><?xml version="1.0" encoding="utf-8"?>
<p:sldLayout xmlns:a="http://schemas.openxmlformats.org/drawingml/2006/main" xmlns:r="http://schemas.openxmlformats.org/officeDocument/2006/relationships" xmlns:p="http://schemas.openxmlformats.org/presentationml/2006/main" matchingName="5_Cover">
  <p:cSld name="5_Cover">
    <p:spTree>
      <p:nvGrpSpPr>
        <p:cNvPr id="1" name="Shape 3406"/>
        <p:cNvGrpSpPr/>
        <p:nvPr/>
      </p:nvGrpSpPr>
      <p:grpSpPr>
        <a:xfrm>
          <a:off x="0" y="0"/>
          <a:ext cx="0" cy="0"/>
          <a:chOff x="0" y="0"/>
          <a:chExt cx="0" cy="0"/>
        </a:xfrm>
      </p:grpSpPr>
      <p:sp>
        <p:nvSpPr>
          <p:cNvPr id="3407" name="Google Shape;3407;p5346"/>
          <p:cNvSpPr/>
          <p:nvPr/>
        </p:nvSpPr>
        <p:spPr>
          <a:xfrm>
            <a:off x="902368" y="1294415"/>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408" name="Google Shape;3408;p5346"/>
          <p:cNvSpPr txBox="1">
            <a:spLocks noGrp="1"/>
          </p:cNvSpPr>
          <p:nvPr>
            <p:ph type="ctrTitle"/>
          </p:nvPr>
        </p:nvSpPr>
        <p:spPr>
          <a:xfrm>
            <a:off x="1413312"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09" name="Google Shape;3409;p5346"/>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
        <p:nvSpPr>
          <p:cNvPr id="3410" name="Google Shape;3410;p5346"/>
          <p:cNvSpPr>
            <a:spLocks noGrp="1"/>
          </p:cNvSpPr>
          <p:nvPr>
            <p:ph type="pic" idx="2"/>
          </p:nvPr>
        </p:nvSpPr>
        <p:spPr>
          <a:xfrm>
            <a:off x="7118684" y="233915"/>
            <a:ext cx="5073316" cy="5943600"/>
          </a:xfrm>
          <a:prstGeom prst="rect">
            <a:avLst/>
          </a:prstGeom>
          <a:noFill/>
          <a:ln>
            <a:noFill/>
          </a:ln>
        </p:spPr>
      </p:sp>
      <p:grpSp>
        <p:nvGrpSpPr>
          <p:cNvPr id="3411" name="Google Shape;3411;p5346"/>
          <p:cNvGrpSpPr/>
          <p:nvPr/>
        </p:nvGrpSpPr>
        <p:grpSpPr>
          <a:xfrm>
            <a:off x="0" y="5020350"/>
            <a:ext cx="12192000" cy="1837653"/>
            <a:chOff x="0" y="5020348"/>
            <a:chExt cx="12192000" cy="1837653"/>
          </a:xfrm>
        </p:grpSpPr>
        <p:sp>
          <p:nvSpPr>
            <p:cNvPr id="3412" name="Google Shape;3412;p534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413" name="Google Shape;3413;p534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3414" name="Google Shape;3414;p534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894494887"/>
      </p:ext>
    </p:extLst>
  </p:cSld>
  <p:clrMapOvr>
    <a:masterClrMapping/>
  </p:clrMapOvr>
</p:sldLayout>
</file>

<file path=ppt/slideLayouts/slideLayout1518.xml><?xml version="1.0" encoding="utf-8"?>
<p:sldLayout xmlns:a="http://schemas.openxmlformats.org/drawingml/2006/main" xmlns:r="http://schemas.openxmlformats.org/officeDocument/2006/relationships" xmlns:p="http://schemas.openxmlformats.org/presentationml/2006/main" matchingName="5_Divider">
  <p:cSld name="5_Divider">
    <p:bg>
      <p:bgPr>
        <a:solidFill>
          <a:schemeClr val="lt2"/>
        </a:solidFill>
        <a:effectLst/>
      </p:bgPr>
    </p:bg>
    <p:spTree>
      <p:nvGrpSpPr>
        <p:cNvPr id="1" name="Shape 3415"/>
        <p:cNvGrpSpPr/>
        <p:nvPr/>
      </p:nvGrpSpPr>
      <p:grpSpPr>
        <a:xfrm>
          <a:off x="0" y="0"/>
          <a:ext cx="0" cy="0"/>
          <a:chOff x="0" y="0"/>
          <a:chExt cx="0" cy="0"/>
        </a:xfrm>
      </p:grpSpPr>
      <p:grpSp>
        <p:nvGrpSpPr>
          <p:cNvPr id="3416" name="Google Shape;3416;p5347"/>
          <p:cNvGrpSpPr/>
          <p:nvPr/>
        </p:nvGrpSpPr>
        <p:grpSpPr>
          <a:xfrm>
            <a:off x="0" y="5020349"/>
            <a:ext cx="12192000" cy="1837653"/>
            <a:chOff x="0" y="5020347"/>
            <a:chExt cx="12192000" cy="1837653"/>
          </a:xfrm>
        </p:grpSpPr>
        <p:sp>
          <p:nvSpPr>
            <p:cNvPr id="3417" name="Google Shape;3417;p534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418" name="Google Shape;3418;p534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419" name="Google Shape;3419;p534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3420" name="Google Shape;3420;p534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421" name="Google Shape;3421;p5347"/>
          <p:cNvSpPr txBox="1">
            <a:spLocks noGrp="1"/>
          </p:cNvSpPr>
          <p:nvPr>
            <p:ph type="title"/>
          </p:nvPr>
        </p:nvSpPr>
        <p:spPr>
          <a:xfrm>
            <a:off x="1413310"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22" name="Google Shape;3422;p5347"/>
          <p:cNvSpPr txBox="1">
            <a:spLocks noGrp="1"/>
          </p:cNvSpPr>
          <p:nvPr>
            <p:ph type="subTitle" idx="1"/>
          </p:nvPr>
        </p:nvSpPr>
        <p:spPr>
          <a:xfrm>
            <a:off x="1413310"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Tree>
    <p:extLst>
      <p:ext uri="{BB962C8B-B14F-4D97-AF65-F5344CB8AC3E}">
        <p14:creationId xmlns:p14="http://schemas.microsoft.com/office/powerpoint/2010/main" val="3460520829"/>
      </p:ext>
    </p:extLst>
  </p:cSld>
  <p:clrMapOvr>
    <a:masterClrMapping/>
  </p:clrMapOvr>
</p:sldLayout>
</file>

<file path=ppt/slideLayouts/slideLayout1519.xml><?xml version="1.0" encoding="utf-8"?>
<p:sldLayout xmlns:a="http://schemas.openxmlformats.org/drawingml/2006/main" xmlns:r="http://schemas.openxmlformats.org/officeDocument/2006/relationships" xmlns:p="http://schemas.openxmlformats.org/presentationml/2006/main" matchingName="6_Cover">
  <p:cSld name="6_Cover">
    <p:spTree>
      <p:nvGrpSpPr>
        <p:cNvPr id="1" name="Shape 3423"/>
        <p:cNvGrpSpPr/>
        <p:nvPr/>
      </p:nvGrpSpPr>
      <p:grpSpPr>
        <a:xfrm>
          <a:off x="0" y="0"/>
          <a:ext cx="0" cy="0"/>
          <a:chOff x="0" y="0"/>
          <a:chExt cx="0" cy="0"/>
        </a:xfrm>
      </p:grpSpPr>
      <p:sp>
        <p:nvSpPr>
          <p:cNvPr id="3424" name="Google Shape;3424;p5348"/>
          <p:cNvSpPr/>
          <p:nvPr/>
        </p:nvSpPr>
        <p:spPr>
          <a:xfrm>
            <a:off x="902368" y="1294415"/>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425" name="Google Shape;3425;p5348"/>
          <p:cNvSpPr txBox="1">
            <a:spLocks noGrp="1"/>
          </p:cNvSpPr>
          <p:nvPr>
            <p:ph type="ctrTitle"/>
          </p:nvPr>
        </p:nvSpPr>
        <p:spPr>
          <a:xfrm>
            <a:off x="1413312"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26" name="Google Shape;3426;p5348"/>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
        <p:nvSpPr>
          <p:cNvPr id="3427" name="Google Shape;3427;p5348"/>
          <p:cNvSpPr>
            <a:spLocks noGrp="1"/>
          </p:cNvSpPr>
          <p:nvPr>
            <p:ph type="pic" idx="2"/>
          </p:nvPr>
        </p:nvSpPr>
        <p:spPr>
          <a:xfrm>
            <a:off x="7118684" y="233915"/>
            <a:ext cx="5073316" cy="5943600"/>
          </a:xfrm>
          <a:prstGeom prst="rect">
            <a:avLst/>
          </a:prstGeom>
          <a:noFill/>
          <a:ln>
            <a:noFill/>
          </a:ln>
        </p:spPr>
      </p:sp>
      <p:grpSp>
        <p:nvGrpSpPr>
          <p:cNvPr id="3428" name="Google Shape;3428;p5348"/>
          <p:cNvGrpSpPr/>
          <p:nvPr/>
        </p:nvGrpSpPr>
        <p:grpSpPr>
          <a:xfrm>
            <a:off x="0" y="5020350"/>
            <a:ext cx="12192000" cy="1837653"/>
            <a:chOff x="0" y="5020348"/>
            <a:chExt cx="12192000" cy="1837653"/>
          </a:xfrm>
        </p:grpSpPr>
        <p:sp>
          <p:nvSpPr>
            <p:cNvPr id="3429" name="Google Shape;3429;p534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430" name="Google Shape;3430;p534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3431" name="Google Shape;3431;p534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16212309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matchingName="Photo Slide">
  <p:cSld name="Photo Slide 10">
    <p:spTree>
      <p:nvGrpSpPr>
        <p:cNvPr id="1" name="Shape 10533"/>
        <p:cNvGrpSpPr/>
        <p:nvPr/>
      </p:nvGrpSpPr>
      <p:grpSpPr>
        <a:xfrm>
          <a:off x="0" y="0"/>
          <a:ext cx="0" cy="0"/>
          <a:chOff x="0" y="0"/>
          <a:chExt cx="0" cy="0"/>
        </a:xfrm>
      </p:grpSpPr>
      <p:sp>
        <p:nvSpPr>
          <p:cNvPr id="10534" name="Google Shape;10534;p145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535" name="Google Shape;10535;p145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536" name="Google Shape;10536;p1456"/>
          <p:cNvGrpSpPr/>
          <p:nvPr/>
        </p:nvGrpSpPr>
        <p:grpSpPr>
          <a:xfrm>
            <a:off x="0" y="5379426"/>
            <a:ext cx="2807368" cy="753891"/>
            <a:chOff x="0" y="5379426"/>
            <a:chExt cx="2807368" cy="753891"/>
          </a:xfrm>
        </p:grpSpPr>
        <p:sp>
          <p:nvSpPr>
            <p:cNvPr id="10537" name="Google Shape;10537;p145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538" name="Google Shape;10538;p145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0539" name="Google Shape;10539;p1456"/>
          <p:cNvSpPr>
            <a:spLocks noGrp="1"/>
          </p:cNvSpPr>
          <p:nvPr>
            <p:ph type="pic" idx="2"/>
          </p:nvPr>
        </p:nvSpPr>
        <p:spPr>
          <a:xfrm>
            <a:off x="2807368" y="457202"/>
            <a:ext cx="8915400" cy="5943598"/>
          </a:xfrm>
          <a:prstGeom prst="rect">
            <a:avLst/>
          </a:prstGeom>
          <a:noFill/>
          <a:ln>
            <a:noFill/>
          </a:ln>
        </p:spPr>
      </p:sp>
      <p:pic>
        <p:nvPicPr>
          <p:cNvPr id="10540" name="Google Shape;10540;p145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520.xml><?xml version="1.0" encoding="utf-8"?>
<p:sldLayout xmlns:a="http://schemas.openxmlformats.org/drawingml/2006/main" xmlns:r="http://schemas.openxmlformats.org/officeDocument/2006/relationships" xmlns:p="http://schemas.openxmlformats.org/presentationml/2006/main" matchingName="3_Title Only">
  <p:cSld name="3_Title Only">
    <p:spTree>
      <p:nvGrpSpPr>
        <p:cNvPr id="1" name="Shape 3432"/>
        <p:cNvGrpSpPr/>
        <p:nvPr/>
      </p:nvGrpSpPr>
      <p:grpSpPr>
        <a:xfrm>
          <a:off x="0" y="0"/>
          <a:ext cx="0" cy="0"/>
          <a:chOff x="0" y="0"/>
          <a:chExt cx="0" cy="0"/>
        </a:xfrm>
      </p:grpSpPr>
      <p:grpSp>
        <p:nvGrpSpPr>
          <p:cNvPr id="3433" name="Google Shape;3433;p5349"/>
          <p:cNvGrpSpPr/>
          <p:nvPr/>
        </p:nvGrpSpPr>
        <p:grpSpPr>
          <a:xfrm>
            <a:off x="7191544" y="1"/>
            <a:ext cx="5000459" cy="1425992"/>
            <a:chOff x="7191542" y="1"/>
            <a:chExt cx="5000459" cy="1425992"/>
          </a:xfrm>
        </p:grpSpPr>
        <p:pic>
          <p:nvPicPr>
            <p:cNvPr id="3434" name="Google Shape;3434;p53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35" name="Google Shape;3435;p5349"/>
            <p:cNvGrpSpPr/>
            <p:nvPr/>
          </p:nvGrpSpPr>
          <p:grpSpPr>
            <a:xfrm>
              <a:off x="7191542" y="1"/>
              <a:ext cx="5000459" cy="1425992"/>
              <a:chOff x="7186272" y="0"/>
              <a:chExt cx="5005729" cy="1427495"/>
            </a:xfrm>
          </p:grpSpPr>
          <p:sp>
            <p:nvSpPr>
              <p:cNvPr id="3436" name="Google Shape;3436;p53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437" name="Google Shape;3437;p53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438" name="Google Shape;3438;p5349"/>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39" name="Google Shape;3439;p5349"/>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440" name="Google Shape;3440;p53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41" name="Google Shape;3441;p534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152774364"/>
      </p:ext>
    </p:extLst>
  </p:cSld>
  <p:clrMapOvr>
    <a:masterClrMapping/>
  </p:clrMapOvr>
</p:sldLayout>
</file>

<file path=ppt/slideLayouts/slideLayout1521.xml><?xml version="1.0" encoding="utf-8"?>
<p:sldLayout xmlns:a="http://schemas.openxmlformats.org/drawingml/2006/main" xmlns:r="http://schemas.openxmlformats.org/officeDocument/2006/relationships" xmlns:p="http://schemas.openxmlformats.org/presentationml/2006/main" matchingName="4_Title and Content">
  <p:cSld name="4_Title and Content">
    <p:spTree>
      <p:nvGrpSpPr>
        <p:cNvPr id="1" name="Shape 3442"/>
        <p:cNvGrpSpPr/>
        <p:nvPr/>
      </p:nvGrpSpPr>
      <p:grpSpPr>
        <a:xfrm>
          <a:off x="0" y="0"/>
          <a:ext cx="0" cy="0"/>
          <a:chOff x="0" y="0"/>
          <a:chExt cx="0" cy="0"/>
        </a:xfrm>
      </p:grpSpPr>
      <p:grpSp>
        <p:nvGrpSpPr>
          <p:cNvPr id="3443" name="Google Shape;3443;p5350"/>
          <p:cNvGrpSpPr/>
          <p:nvPr/>
        </p:nvGrpSpPr>
        <p:grpSpPr>
          <a:xfrm>
            <a:off x="7191544" y="1"/>
            <a:ext cx="5000459" cy="1425992"/>
            <a:chOff x="7191542" y="1"/>
            <a:chExt cx="5000459" cy="1425992"/>
          </a:xfrm>
        </p:grpSpPr>
        <p:pic>
          <p:nvPicPr>
            <p:cNvPr id="3444" name="Google Shape;3444;p53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45" name="Google Shape;3445;p5350"/>
            <p:cNvGrpSpPr/>
            <p:nvPr/>
          </p:nvGrpSpPr>
          <p:grpSpPr>
            <a:xfrm>
              <a:off x="7191542" y="1"/>
              <a:ext cx="5000459" cy="1425992"/>
              <a:chOff x="7186272" y="0"/>
              <a:chExt cx="5005729" cy="1427495"/>
            </a:xfrm>
          </p:grpSpPr>
          <p:sp>
            <p:nvSpPr>
              <p:cNvPr id="3446" name="Google Shape;3446;p53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447" name="Google Shape;3447;p53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448" name="Google Shape;3448;p535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49" name="Google Shape;3449;p5350"/>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450" name="Google Shape;3450;p5350"/>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451" name="Google Shape;3451;p53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52" name="Google Shape;3452;p535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949647631"/>
      </p:ext>
    </p:extLst>
  </p:cSld>
  <p:clrMapOvr>
    <a:masterClrMapping/>
  </p:clrMapOvr>
</p:sldLayout>
</file>

<file path=ppt/slideLayouts/slideLayout1522.xml><?xml version="1.0" encoding="utf-8"?>
<p:sldLayout xmlns:a="http://schemas.openxmlformats.org/drawingml/2006/main" xmlns:r="http://schemas.openxmlformats.org/officeDocument/2006/relationships" xmlns:p="http://schemas.openxmlformats.org/presentationml/2006/main" matchingName="4_Two Content">
  <p:cSld name="4_Two Content">
    <p:spTree>
      <p:nvGrpSpPr>
        <p:cNvPr id="1" name="Shape 3453"/>
        <p:cNvGrpSpPr/>
        <p:nvPr/>
      </p:nvGrpSpPr>
      <p:grpSpPr>
        <a:xfrm>
          <a:off x="0" y="0"/>
          <a:ext cx="0" cy="0"/>
          <a:chOff x="0" y="0"/>
          <a:chExt cx="0" cy="0"/>
        </a:xfrm>
      </p:grpSpPr>
      <p:sp>
        <p:nvSpPr>
          <p:cNvPr id="3454" name="Google Shape;3454;p5351"/>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55" name="Google Shape;3455;p5351"/>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3456" name="Google Shape;3456;p5351"/>
          <p:cNvGrpSpPr/>
          <p:nvPr/>
        </p:nvGrpSpPr>
        <p:grpSpPr>
          <a:xfrm>
            <a:off x="7191544" y="1"/>
            <a:ext cx="5000459" cy="1425992"/>
            <a:chOff x="7191542" y="1"/>
            <a:chExt cx="5000459" cy="1425992"/>
          </a:xfrm>
        </p:grpSpPr>
        <p:pic>
          <p:nvPicPr>
            <p:cNvPr id="3457" name="Google Shape;3457;p53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58" name="Google Shape;3458;p5351"/>
            <p:cNvGrpSpPr/>
            <p:nvPr/>
          </p:nvGrpSpPr>
          <p:grpSpPr>
            <a:xfrm>
              <a:off x="7191542" y="1"/>
              <a:ext cx="5000459" cy="1425992"/>
              <a:chOff x="7186272" y="0"/>
              <a:chExt cx="5005729" cy="1427495"/>
            </a:xfrm>
          </p:grpSpPr>
          <p:sp>
            <p:nvSpPr>
              <p:cNvPr id="3459" name="Google Shape;3459;p53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460" name="Google Shape;3460;p53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461" name="Google Shape;3461;p5351"/>
          <p:cNvSpPr txBox="1">
            <a:spLocks noGrp="1"/>
          </p:cNvSpPr>
          <p:nvPr>
            <p:ph type="body" idx="2"/>
          </p:nvPr>
        </p:nvSpPr>
        <p:spPr>
          <a:xfrm>
            <a:off x="6172201"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462" name="Google Shape;3462;p5351"/>
          <p:cNvSpPr txBox="1">
            <a:spLocks noGrp="1"/>
          </p:cNvSpPr>
          <p:nvPr>
            <p:ph type="sldNum" idx="12"/>
          </p:nvPr>
        </p:nvSpPr>
        <p:spPr>
          <a:xfrm>
            <a:off x="8839198"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463" name="Google Shape;3463;p53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64" name="Google Shape;3464;p535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149036817"/>
      </p:ext>
    </p:extLst>
  </p:cSld>
  <p:clrMapOvr>
    <a:masterClrMapping/>
  </p:clrMapOvr>
</p:sldLayout>
</file>

<file path=ppt/slideLayouts/slideLayout1523.xml><?xml version="1.0" encoding="utf-8"?>
<p:sldLayout xmlns:a="http://schemas.openxmlformats.org/drawingml/2006/main" xmlns:r="http://schemas.openxmlformats.org/officeDocument/2006/relationships" xmlns:p="http://schemas.openxmlformats.org/presentationml/2006/main" matchingName="4_Comparison">
  <p:cSld name="4_Comparison">
    <p:spTree>
      <p:nvGrpSpPr>
        <p:cNvPr id="1" name="Shape 3465"/>
        <p:cNvGrpSpPr/>
        <p:nvPr/>
      </p:nvGrpSpPr>
      <p:grpSpPr>
        <a:xfrm>
          <a:off x="0" y="0"/>
          <a:ext cx="0" cy="0"/>
          <a:chOff x="0" y="0"/>
          <a:chExt cx="0" cy="0"/>
        </a:xfrm>
      </p:grpSpPr>
      <p:grpSp>
        <p:nvGrpSpPr>
          <p:cNvPr id="3466" name="Google Shape;3466;p5352"/>
          <p:cNvGrpSpPr/>
          <p:nvPr/>
        </p:nvGrpSpPr>
        <p:grpSpPr>
          <a:xfrm>
            <a:off x="7191544" y="1"/>
            <a:ext cx="5000459" cy="1425992"/>
            <a:chOff x="7191542" y="1"/>
            <a:chExt cx="5000459" cy="1425992"/>
          </a:xfrm>
        </p:grpSpPr>
        <p:pic>
          <p:nvPicPr>
            <p:cNvPr id="3467" name="Google Shape;3467;p53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68" name="Google Shape;3468;p5352"/>
            <p:cNvGrpSpPr/>
            <p:nvPr/>
          </p:nvGrpSpPr>
          <p:grpSpPr>
            <a:xfrm>
              <a:off x="7191542" y="1"/>
              <a:ext cx="5000459" cy="1425992"/>
              <a:chOff x="7186272" y="0"/>
              <a:chExt cx="5005729" cy="1427495"/>
            </a:xfrm>
          </p:grpSpPr>
          <p:sp>
            <p:nvSpPr>
              <p:cNvPr id="3469" name="Google Shape;3469;p53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470" name="Google Shape;3470;p53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471" name="Google Shape;3471;p5352"/>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72" name="Google Shape;3472;p535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3473" name="Google Shape;3473;p535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474" name="Google Shape;3474;p535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3475" name="Google Shape;3475;p535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476" name="Google Shape;3476;p535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477" name="Google Shape;3477;p53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78" name="Google Shape;3478;p535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600885557"/>
      </p:ext>
    </p:extLst>
  </p:cSld>
  <p:clrMapOvr>
    <a:masterClrMapping/>
  </p:clrMapOvr>
</p:sldLayout>
</file>

<file path=ppt/slideLayouts/slideLayout1524.xml><?xml version="1.0" encoding="utf-8"?>
<p:sldLayout xmlns:a="http://schemas.openxmlformats.org/drawingml/2006/main" xmlns:r="http://schemas.openxmlformats.org/officeDocument/2006/relationships" xmlns:p="http://schemas.openxmlformats.org/presentationml/2006/main" matchingName="4_Title Only">
  <p:cSld name="4_Title Only">
    <p:spTree>
      <p:nvGrpSpPr>
        <p:cNvPr id="1" name="Shape 3479"/>
        <p:cNvGrpSpPr/>
        <p:nvPr/>
      </p:nvGrpSpPr>
      <p:grpSpPr>
        <a:xfrm>
          <a:off x="0" y="0"/>
          <a:ext cx="0" cy="0"/>
          <a:chOff x="0" y="0"/>
          <a:chExt cx="0" cy="0"/>
        </a:xfrm>
      </p:grpSpPr>
      <p:grpSp>
        <p:nvGrpSpPr>
          <p:cNvPr id="3480" name="Google Shape;3480;p5353"/>
          <p:cNvGrpSpPr/>
          <p:nvPr/>
        </p:nvGrpSpPr>
        <p:grpSpPr>
          <a:xfrm>
            <a:off x="7191544" y="1"/>
            <a:ext cx="5000459" cy="1425992"/>
            <a:chOff x="7191542" y="1"/>
            <a:chExt cx="5000459" cy="1425992"/>
          </a:xfrm>
        </p:grpSpPr>
        <p:pic>
          <p:nvPicPr>
            <p:cNvPr id="3481" name="Google Shape;3481;p53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82" name="Google Shape;3482;p5353"/>
            <p:cNvGrpSpPr/>
            <p:nvPr/>
          </p:nvGrpSpPr>
          <p:grpSpPr>
            <a:xfrm>
              <a:off x="7191542" y="1"/>
              <a:ext cx="5000459" cy="1425992"/>
              <a:chOff x="7186272" y="0"/>
              <a:chExt cx="5005729" cy="1427495"/>
            </a:xfrm>
          </p:grpSpPr>
          <p:sp>
            <p:nvSpPr>
              <p:cNvPr id="3483" name="Google Shape;3483;p53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484" name="Google Shape;3484;p53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485" name="Google Shape;3485;p5353"/>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86" name="Google Shape;3486;p5353"/>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487" name="Google Shape;3487;p53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88" name="Google Shape;3488;p535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750395963"/>
      </p:ext>
    </p:extLst>
  </p:cSld>
  <p:clrMapOvr>
    <a:masterClrMapping/>
  </p:clrMapOvr>
</p:sldLayout>
</file>

<file path=ppt/slideLayouts/slideLayout1525.xml><?xml version="1.0" encoding="utf-8"?>
<p:sldLayout xmlns:a="http://schemas.openxmlformats.org/drawingml/2006/main" xmlns:r="http://schemas.openxmlformats.org/officeDocument/2006/relationships" xmlns:p="http://schemas.openxmlformats.org/presentationml/2006/main" matchingName="10_Quotation">
  <p:cSld name="10_Quotation">
    <p:spTree>
      <p:nvGrpSpPr>
        <p:cNvPr id="1" name="Shape 3489"/>
        <p:cNvGrpSpPr/>
        <p:nvPr/>
      </p:nvGrpSpPr>
      <p:grpSpPr>
        <a:xfrm>
          <a:off x="0" y="0"/>
          <a:ext cx="0" cy="0"/>
          <a:chOff x="0" y="0"/>
          <a:chExt cx="0" cy="0"/>
        </a:xfrm>
      </p:grpSpPr>
      <p:sp>
        <p:nvSpPr>
          <p:cNvPr id="3490" name="Google Shape;3490;p5354"/>
          <p:cNvSpPr/>
          <p:nvPr/>
        </p:nvSpPr>
        <p:spPr>
          <a:xfrm>
            <a:off x="1427358"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491" name="Google Shape;3491;p5354"/>
          <p:cNvSpPr txBox="1">
            <a:spLocks noGrp="1"/>
          </p:cNvSpPr>
          <p:nvPr>
            <p:ph type="title"/>
          </p:nvPr>
        </p:nvSpPr>
        <p:spPr>
          <a:xfrm>
            <a:off x="1427358"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92" name="Google Shape;3492;p535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493" name="Google Shape;3493;p535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494" name="Google Shape;3494;p53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95" name="Google Shape;3495;p535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496" name="Google Shape;3496;p5354"/>
          <p:cNvGrpSpPr/>
          <p:nvPr/>
        </p:nvGrpSpPr>
        <p:grpSpPr>
          <a:xfrm>
            <a:off x="7191544" y="1"/>
            <a:ext cx="5000459" cy="1425992"/>
            <a:chOff x="7191542" y="1"/>
            <a:chExt cx="5000459" cy="1425992"/>
          </a:xfrm>
        </p:grpSpPr>
        <p:pic>
          <p:nvPicPr>
            <p:cNvPr id="3497" name="Google Shape;3497;p53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98" name="Google Shape;3498;p5354"/>
            <p:cNvGrpSpPr/>
            <p:nvPr/>
          </p:nvGrpSpPr>
          <p:grpSpPr>
            <a:xfrm>
              <a:off x="7191542" y="1"/>
              <a:ext cx="5000459" cy="1425992"/>
              <a:chOff x="7186272" y="0"/>
              <a:chExt cx="5005729" cy="1427495"/>
            </a:xfrm>
          </p:grpSpPr>
          <p:sp>
            <p:nvSpPr>
              <p:cNvPr id="3499" name="Google Shape;3499;p53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500" name="Google Shape;3500;p53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501" name="Google Shape;3501;p5354"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3108519414"/>
      </p:ext>
    </p:extLst>
  </p:cSld>
  <p:clrMapOvr>
    <a:masterClrMapping/>
  </p:clrMapOvr>
</p:sldLayout>
</file>

<file path=ppt/slideLayouts/slideLayout1526.xml><?xml version="1.0" encoding="utf-8"?>
<p:sldLayout xmlns:a="http://schemas.openxmlformats.org/drawingml/2006/main" xmlns:r="http://schemas.openxmlformats.org/officeDocument/2006/relationships" xmlns:p="http://schemas.openxmlformats.org/presentationml/2006/main" matchingName="3_End">
  <p:cSld name="3_End">
    <p:spTree>
      <p:nvGrpSpPr>
        <p:cNvPr id="1" name="Shape 3502"/>
        <p:cNvGrpSpPr/>
        <p:nvPr/>
      </p:nvGrpSpPr>
      <p:grpSpPr>
        <a:xfrm>
          <a:off x="0" y="0"/>
          <a:ext cx="0" cy="0"/>
          <a:chOff x="0" y="0"/>
          <a:chExt cx="0" cy="0"/>
        </a:xfrm>
      </p:grpSpPr>
      <p:grpSp>
        <p:nvGrpSpPr>
          <p:cNvPr id="3503" name="Google Shape;3503;p5355"/>
          <p:cNvGrpSpPr/>
          <p:nvPr/>
        </p:nvGrpSpPr>
        <p:grpSpPr>
          <a:xfrm>
            <a:off x="0" y="0"/>
            <a:ext cx="12192000" cy="2148830"/>
            <a:chOff x="0" y="0"/>
            <a:chExt cx="12192000" cy="2148830"/>
          </a:xfrm>
        </p:grpSpPr>
        <p:sp>
          <p:nvSpPr>
            <p:cNvPr id="3504" name="Google Shape;3504;p535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505" name="Google Shape;3505;p535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3506" name="Google Shape;3506;p5355"/>
          <p:cNvSpPr/>
          <p:nvPr/>
        </p:nvSpPr>
        <p:spPr>
          <a:xfrm>
            <a:off x="902368" y="1517699"/>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507" name="Google Shape;3507;p5355"/>
          <p:cNvSpPr txBox="1">
            <a:spLocks noGrp="1"/>
          </p:cNvSpPr>
          <p:nvPr>
            <p:ph type="body" idx="1"/>
          </p:nvPr>
        </p:nvSpPr>
        <p:spPr>
          <a:xfrm>
            <a:off x="1219201" y="3429002"/>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508" name="Google Shape;3508;p535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9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509" name="Google Shape;3509;p5355"/>
          <p:cNvPicPr preferRelativeResize="0"/>
          <p:nvPr/>
        </p:nvPicPr>
        <p:blipFill rotWithShape="1">
          <a:blip r:embed="rId2">
            <a:alphaModFix/>
          </a:blip>
          <a:srcRect/>
          <a:stretch/>
        </p:blipFill>
        <p:spPr>
          <a:xfrm>
            <a:off x="902370" y="228371"/>
            <a:ext cx="2025315" cy="911940"/>
          </a:xfrm>
          <a:prstGeom prst="rect">
            <a:avLst/>
          </a:prstGeom>
          <a:noFill/>
          <a:ln>
            <a:noFill/>
          </a:ln>
        </p:spPr>
      </p:pic>
      <p:sp>
        <p:nvSpPr>
          <p:cNvPr id="3510" name="Google Shape;3510;p535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113571670"/>
      </p:ext>
    </p:extLst>
  </p:cSld>
  <p:clrMapOvr>
    <a:masterClrMapping/>
  </p:clrMapOvr>
</p:sldLayout>
</file>

<file path=ppt/slideLayouts/slideLayout1527.xml><?xml version="1.0" encoding="utf-8"?>
<p:sldLayout xmlns:a="http://schemas.openxmlformats.org/drawingml/2006/main" xmlns:r="http://schemas.openxmlformats.org/officeDocument/2006/relationships" xmlns:p="http://schemas.openxmlformats.org/presentationml/2006/main" matchingName="6_Divider">
  <p:cSld name="6_Divider">
    <p:bg>
      <p:bgPr>
        <a:solidFill>
          <a:schemeClr val="lt2"/>
        </a:solidFill>
        <a:effectLst/>
      </p:bgPr>
    </p:bg>
    <p:spTree>
      <p:nvGrpSpPr>
        <p:cNvPr id="1" name="Shape 3511"/>
        <p:cNvGrpSpPr/>
        <p:nvPr/>
      </p:nvGrpSpPr>
      <p:grpSpPr>
        <a:xfrm>
          <a:off x="0" y="0"/>
          <a:ext cx="0" cy="0"/>
          <a:chOff x="0" y="0"/>
          <a:chExt cx="0" cy="0"/>
        </a:xfrm>
      </p:grpSpPr>
      <p:grpSp>
        <p:nvGrpSpPr>
          <p:cNvPr id="3512" name="Google Shape;3512;p5356"/>
          <p:cNvGrpSpPr/>
          <p:nvPr/>
        </p:nvGrpSpPr>
        <p:grpSpPr>
          <a:xfrm>
            <a:off x="0" y="5020349"/>
            <a:ext cx="12192000" cy="1837653"/>
            <a:chOff x="0" y="5020347"/>
            <a:chExt cx="12192000" cy="1837653"/>
          </a:xfrm>
        </p:grpSpPr>
        <p:sp>
          <p:nvSpPr>
            <p:cNvPr id="3513" name="Google Shape;3513;p535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514" name="Google Shape;3514;p535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515" name="Google Shape;3515;p535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3516" name="Google Shape;3516;p535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517" name="Google Shape;3517;p5356"/>
          <p:cNvSpPr txBox="1">
            <a:spLocks noGrp="1"/>
          </p:cNvSpPr>
          <p:nvPr>
            <p:ph type="title"/>
          </p:nvPr>
        </p:nvSpPr>
        <p:spPr>
          <a:xfrm>
            <a:off x="1413310"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18" name="Google Shape;3518;p5356"/>
          <p:cNvSpPr txBox="1">
            <a:spLocks noGrp="1"/>
          </p:cNvSpPr>
          <p:nvPr>
            <p:ph type="subTitle" idx="1"/>
          </p:nvPr>
        </p:nvSpPr>
        <p:spPr>
          <a:xfrm>
            <a:off x="1413310"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Tree>
    <p:extLst>
      <p:ext uri="{BB962C8B-B14F-4D97-AF65-F5344CB8AC3E}">
        <p14:creationId xmlns:p14="http://schemas.microsoft.com/office/powerpoint/2010/main" val="1071515845"/>
      </p:ext>
    </p:extLst>
  </p:cSld>
  <p:clrMapOvr>
    <a:masterClrMapping/>
  </p:clrMapOvr>
</p:sldLayout>
</file>

<file path=ppt/slideLayouts/slideLayout1528.xml><?xml version="1.0" encoding="utf-8"?>
<p:sldLayout xmlns:a="http://schemas.openxmlformats.org/drawingml/2006/main" xmlns:r="http://schemas.openxmlformats.org/officeDocument/2006/relationships" xmlns:p="http://schemas.openxmlformats.org/presentationml/2006/main" matchingName="5_Photo Slide">
  <p:cSld name="5_Photo Slide">
    <p:spTree>
      <p:nvGrpSpPr>
        <p:cNvPr id="1" name="Shape 3519"/>
        <p:cNvGrpSpPr/>
        <p:nvPr/>
      </p:nvGrpSpPr>
      <p:grpSpPr>
        <a:xfrm>
          <a:off x="0" y="0"/>
          <a:ext cx="0" cy="0"/>
          <a:chOff x="0" y="0"/>
          <a:chExt cx="0" cy="0"/>
        </a:xfrm>
      </p:grpSpPr>
      <p:sp>
        <p:nvSpPr>
          <p:cNvPr id="3520" name="Google Shape;3520;p5357"/>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3521" name="Google Shape;3521;p535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522" name="Google Shape;3522;p5357"/>
          <p:cNvGrpSpPr/>
          <p:nvPr/>
        </p:nvGrpSpPr>
        <p:grpSpPr>
          <a:xfrm>
            <a:off x="0" y="5379428"/>
            <a:ext cx="2807368" cy="753891"/>
            <a:chOff x="0" y="5379426"/>
            <a:chExt cx="2807368" cy="753891"/>
          </a:xfrm>
        </p:grpSpPr>
        <p:sp>
          <p:nvSpPr>
            <p:cNvPr id="3523" name="Google Shape;3523;p535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524" name="Google Shape;3524;p535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3525" name="Google Shape;3525;p5357"/>
          <p:cNvSpPr>
            <a:spLocks noGrp="1"/>
          </p:cNvSpPr>
          <p:nvPr>
            <p:ph type="pic" idx="2"/>
          </p:nvPr>
        </p:nvSpPr>
        <p:spPr>
          <a:xfrm>
            <a:off x="2807368" y="457202"/>
            <a:ext cx="8915400" cy="5943598"/>
          </a:xfrm>
          <a:prstGeom prst="rect">
            <a:avLst/>
          </a:prstGeom>
          <a:noFill/>
          <a:ln>
            <a:noFill/>
          </a:ln>
        </p:spPr>
      </p:sp>
      <p:pic>
        <p:nvPicPr>
          <p:cNvPr id="3526" name="Google Shape;3526;p5357"/>
          <p:cNvPicPr preferRelativeResize="0"/>
          <p:nvPr/>
        </p:nvPicPr>
        <p:blipFill rotWithShape="1">
          <a:blip r:embed="rId2">
            <a:alphaModFix/>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2615293510"/>
      </p:ext>
    </p:extLst>
  </p:cSld>
  <p:clrMapOvr>
    <a:masterClrMapping/>
  </p:clrMapOvr>
</p:sldLayout>
</file>

<file path=ppt/slideLayouts/slideLayout1529.xml><?xml version="1.0" encoding="utf-8"?>
<p:sldLayout xmlns:a="http://schemas.openxmlformats.org/drawingml/2006/main" xmlns:r="http://schemas.openxmlformats.org/officeDocument/2006/relationships" xmlns:p="http://schemas.openxmlformats.org/presentationml/2006/main" matchingName="11_Quotation">
  <p:cSld name="11_Quotation">
    <p:spTree>
      <p:nvGrpSpPr>
        <p:cNvPr id="1" name="Shape 3527"/>
        <p:cNvGrpSpPr/>
        <p:nvPr/>
      </p:nvGrpSpPr>
      <p:grpSpPr>
        <a:xfrm>
          <a:off x="0" y="0"/>
          <a:ext cx="0" cy="0"/>
          <a:chOff x="0" y="0"/>
          <a:chExt cx="0" cy="0"/>
        </a:xfrm>
      </p:grpSpPr>
      <p:sp>
        <p:nvSpPr>
          <p:cNvPr id="3528" name="Google Shape;3528;p5358"/>
          <p:cNvSpPr/>
          <p:nvPr/>
        </p:nvSpPr>
        <p:spPr>
          <a:xfrm>
            <a:off x="1427358"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529" name="Google Shape;3529;p5358"/>
          <p:cNvSpPr txBox="1">
            <a:spLocks noGrp="1"/>
          </p:cNvSpPr>
          <p:nvPr>
            <p:ph type="title"/>
          </p:nvPr>
        </p:nvSpPr>
        <p:spPr>
          <a:xfrm>
            <a:off x="1427358"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30" name="Google Shape;3530;p535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531" name="Google Shape;3531;p5358"/>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532" name="Google Shape;3532;p53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33" name="Google Shape;3533;p535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534" name="Google Shape;3534;p5358"/>
          <p:cNvGrpSpPr/>
          <p:nvPr/>
        </p:nvGrpSpPr>
        <p:grpSpPr>
          <a:xfrm>
            <a:off x="7191544" y="1"/>
            <a:ext cx="5000459" cy="1425992"/>
            <a:chOff x="7191542" y="1"/>
            <a:chExt cx="5000459" cy="1425992"/>
          </a:xfrm>
        </p:grpSpPr>
        <p:pic>
          <p:nvPicPr>
            <p:cNvPr id="3535" name="Google Shape;3535;p53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36" name="Google Shape;3536;p5358"/>
            <p:cNvGrpSpPr/>
            <p:nvPr/>
          </p:nvGrpSpPr>
          <p:grpSpPr>
            <a:xfrm>
              <a:off x="7191542" y="1"/>
              <a:ext cx="5000459" cy="1425992"/>
              <a:chOff x="7186272" y="0"/>
              <a:chExt cx="5005729" cy="1427495"/>
            </a:xfrm>
          </p:grpSpPr>
          <p:sp>
            <p:nvSpPr>
              <p:cNvPr id="3537" name="Google Shape;3537;p53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538" name="Google Shape;3538;p53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539" name="Google Shape;3539;p5358"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117412697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matchingName="Quotation">
  <p:cSld name="Quotation 15">
    <p:spTree>
      <p:nvGrpSpPr>
        <p:cNvPr id="1" name="Shape 10541"/>
        <p:cNvGrpSpPr/>
        <p:nvPr/>
      </p:nvGrpSpPr>
      <p:grpSpPr>
        <a:xfrm>
          <a:off x="0" y="0"/>
          <a:ext cx="0" cy="0"/>
          <a:chOff x="0" y="0"/>
          <a:chExt cx="0" cy="0"/>
        </a:xfrm>
      </p:grpSpPr>
      <p:sp>
        <p:nvSpPr>
          <p:cNvPr id="10542" name="Google Shape;10542;p145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543" name="Google Shape;10543;p145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544" name="Google Shape;10544;p145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45" name="Google Shape;10545;p14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546" name="Google Shape;10546;p14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47" name="Google Shape;10547;p14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548" name="Google Shape;10548;p1457"/>
          <p:cNvGrpSpPr/>
          <p:nvPr/>
        </p:nvGrpSpPr>
        <p:grpSpPr>
          <a:xfrm>
            <a:off x="7191542" y="1"/>
            <a:ext cx="5000459" cy="1425992"/>
            <a:chOff x="7191542" y="1"/>
            <a:chExt cx="5000459" cy="1425992"/>
          </a:xfrm>
        </p:grpSpPr>
        <p:pic>
          <p:nvPicPr>
            <p:cNvPr id="10549" name="Google Shape;10549;p14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550" name="Google Shape;10550;p1457"/>
            <p:cNvGrpSpPr/>
            <p:nvPr/>
          </p:nvGrpSpPr>
          <p:grpSpPr>
            <a:xfrm>
              <a:off x="7191542" y="1"/>
              <a:ext cx="5000459" cy="1425992"/>
              <a:chOff x="7186272" y="0"/>
              <a:chExt cx="5005729" cy="1427495"/>
            </a:xfrm>
          </p:grpSpPr>
          <p:sp>
            <p:nvSpPr>
              <p:cNvPr id="10551" name="Google Shape;10551;p14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552" name="Google Shape;10552;p14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553" name="Google Shape;10553;p145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530.xml><?xml version="1.0" encoding="utf-8"?>
<p:sldLayout xmlns:a="http://schemas.openxmlformats.org/drawingml/2006/main" xmlns:r="http://schemas.openxmlformats.org/officeDocument/2006/relationships" xmlns:p="http://schemas.openxmlformats.org/presentationml/2006/main" matchingName="12_Quotation">
  <p:cSld name="12_Quotation">
    <p:spTree>
      <p:nvGrpSpPr>
        <p:cNvPr id="1" name="Shape 3540"/>
        <p:cNvGrpSpPr/>
        <p:nvPr/>
      </p:nvGrpSpPr>
      <p:grpSpPr>
        <a:xfrm>
          <a:off x="0" y="0"/>
          <a:ext cx="0" cy="0"/>
          <a:chOff x="0" y="0"/>
          <a:chExt cx="0" cy="0"/>
        </a:xfrm>
      </p:grpSpPr>
      <p:sp>
        <p:nvSpPr>
          <p:cNvPr id="3541" name="Google Shape;3541;p5359"/>
          <p:cNvSpPr/>
          <p:nvPr/>
        </p:nvSpPr>
        <p:spPr>
          <a:xfrm>
            <a:off x="1427358"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542" name="Google Shape;3542;p5359"/>
          <p:cNvSpPr txBox="1">
            <a:spLocks noGrp="1"/>
          </p:cNvSpPr>
          <p:nvPr>
            <p:ph type="title"/>
          </p:nvPr>
        </p:nvSpPr>
        <p:spPr>
          <a:xfrm>
            <a:off x="1427358"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43" name="Google Shape;3543;p535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544" name="Google Shape;3544;p5359"/>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545" name="Google Shape;3545;p53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46" name="Google Shape;3546;p535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547" name="Google Shape;3547;p5359"/>
          <p:cNvGrpSpPr/>
          <p:nvPr/>
        </p:nvGrpSpPr>
        <p:grpSpPr>
          <a:xfrm>
            <a:off x="7191544" y="1"/>
            <a:ext cx="5000459" cy="1425992"/>
            <a:chOff x="7191542" y="1"/>
            <a:chExt cx="5000459" cy="1425992"/>
          </a:xfrm>
        </p:grpSpPr>
        <p:pic>
          <p:nvPicPr>
            <p:cNvPr id="3548" name="Google Shape;3548;p53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49" name="Google Shape;3549;p5359"/>
            <p:cNvGrpSpPr/>
            <p:nvPr/>
          </p:nvGrpSpPr>
          <p:grpSpPr>
            <a:xfrm>
              <a:off x="7191542" y="1"/>
              <a:ext cx="5000459" cy="1425992"/>
              <a:chOff x="7186272" y="0"/>
              <a:chExt cx="5005729" cy="1427495"/>
            </a:xfrm>
          </p:grpSpPr>
          <p:sp>
            <p:nvSpPr>
              <p:cNvPr id="3550" name="Google Shape;3550;p53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551" name="Google Shape;3551;p53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552" name="Google Shape;3552;p5359"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2434871143"/>
      </p:ext>
    </p:extLst>
  </p:cSld>
  <p:clrMapOvr>
    <a:masterClrMapping/>
  </p:clrMapOvr>
</p:sldLayout>
</file>

<file path=ppt/slideLayouts/slideLayout1531.xml><?xml version="1.0" encoding="utf-8"?>
<p:sldLayout xmlns:a="http://schemas.openxmlformats.org/drawingml/2006/main" xmlns:r="http://schemas.openxmlformats.org/officeDocument/2006/relationships" xmlns:p="http://schemas.openxmlformats.org/presentationml/2006/main" matchingName="5_Title and Content">
  <p:cSld name="5_Title and Content">
    <p:spTree>
      <p:nvGrpSpPr>
        <p:cNvPr id="1" name="Shape 3553"/>
        <p:cNvGrpSpPr/>
        <p:nvPr/>
      </p:nvGrpSpPr>
      <p:grpSpPr>
        <a:xfrm>
          <a:off x="0" y="0"/>
          <a:ext cx="0" cy="0"/>
          <a:chOff x="0" y="0"/>
          <a:chExt cx="0" cy="0"/>
        </a:xfrm>
      </p:grpSpPr>
      <p:grpSp>
        <p:nvGrpSpPr>
          <p:cNvPr id="3554" name="Google Shape;3554;p5360"/>
          <p:cNvGrpSpPr/>
          <p:nvPr/>
        </p:nvGrpSpPr>
        <p:grpSpPr>
          <a:xfrm>
            <a:off x="7191544" y="1"/>
            <a:ext cx="5000459" cy="1425992"/>
            <a:chOff x="7191542" y="1"/>
            <a:chExt cx="5000459" cy="1425992"/>
          </a:xfrm>
        </p:grpSpPr>
        <p:pic>
          <p:nvPicPr>
            <p:cNvPr id="3555" name="Google Shape;3555;p53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56" name="Google Shape;3556;p5360"/>
            <p:cNvGrpSpPr/>
            <p:nvPr/>
          </p:nvGrpSpPr>
          <p:grpSpPr>
            <a:xfrm>
              <a:off x="7191542" y="1"/>
              <a:ext cx="5000459" cy="1425992"/>
              <a:chOff x="7186272" y="0"/>
              <a:chExt cx="5005729" cy="1427495"/>
            </a:xfrm>
          </p:grpSpPr>
          <p:sp>
            <p:nvSpPr>
              <p:cNvPr id="3557" name="Google Shape;3557;p53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558" name="Google Shape;3558;p53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559" name="Google Shape;3559;p536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60" name="Google Shape;3560;p5360"/>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561" name="Google Shape;3561;p5360"/>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562" name="Google Shape;3562;p53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63" name="Google Shape;3563;p536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759359491"/>
      </p:ext>
    </p:extLst>
  </p:cSld>
  <p:clrMapOvr>
    <a:masterClrMapping/>
  </p:clrMapOvr>
</p:sldLayout>
</file>

<file path=ppt/slideLayouts/slideLayout1532.xml><?xml version="1.0" encoding="utf-8"?>
<p:sldLayout xmlns:a="http://schemas.openxmlformats.org/drawingml/2006/main" xmlns:r="http://schemas.openxmlformats.org/officeDocument/2006/relationships" xmlns:p="http://schemas.openxmlformats.org/presentationml/2006/main" matchingName="5_Two Content">
  <p:cSld name="5_Two Content">
    <p:spTree>
      <p:nvGrpSpPr>
        <p:cNvPr id="1" name="Shape 3564"/>
        <p:cNvGrpSpPr/>
        <p:nvPr/>
      </p:nvGrpSpPr>
      <p:grpSpPr>
        <a:xfrm>
          <a:off x="0" y="0"/>
          <a:ext cx="0" cy="0"/>
          <a:chOff x="0" y="0"/>
          <a:chExt cx="0" cy="0"/>
        </a:xfrm>
      </p:grpSpPr>
      <p:sp>
        <p:nvSpPr>
          <p:cNvPr id="3565" name="Google Shape;3565;p5361"/>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66" name="Google Shape;3566;p5361"/>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3567" name="Google Shape;3567;p5361"/>
          <p:cNvGrpSpPr/>
          <p:nvPr/>
        </p:nvGrpSpPr>
        <p:grpSpPr>
          <a:xfrm>
            <a:off x="7191544" y="1"/>
            <a:ext cx="5000459" cy="1425992"/>
            <a:chOff x="7191542" y="1"/>
            <a:chExt cx="5000459" cy="1425992"/>
          </a:xfrm>
        </p:grpSpPr>
        <p:pic>
          <p:nvPicPr>
            <p:cNvPr id="3568" name="Google Shape;3568;p53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69" name="Google Shape;3569;p5361"/>
            <p:cNvGrpSpPr/>
            <p:nvPr/>
          </p:nvGrpSpPr>
          <p:grpSpPr>
            <a:xfrm>
              <a:off x="7191542" y="1"/>
              <a:ext cx="5000459" cy="1425992"/>
              <a:chOff x="7186272" y="0"/>
              <a:chExt cx="5005729" cy="1427495"/>
            </a:xfrm>
          </p:grpSpPr>
          <p:sp>
            <p:nvSpPr>
              <p:cNvPr id="3570" name="Google Shape;3570;p53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571" name="Google Shape;3571;p53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572" name="Google Shape;3572;p5361"/>
          <p:cNvSpPr txBox="1">
            <a:spLocks noGrp="1"/>
          </p:cNvSpPr>
          <p:nvPr>
            <p:ph type="body" idx="2"/>
          </p:nvPr>
        </p:nvSpPr>
        <p:spPr>
          <a:xfrm>
            <a:off x="6172201"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573" name="Google Shape;3573;p5361"/>
          <p:cNvSpPr txBox="1">
            <a:spLocks noGrp="1"/>
          </p:cNvSpPr>
          <p:nvPr>
            <p:ph type="sldNum" idx="12"/>
          </p:nvPr>
        </p:nvSpPr>
        <p:spPr>
          <a:xfrm>
            <a:off x="8839198"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574" name="Google Shape;3574;p53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75" name="Google Shape;3575;p536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927086426"/>
      </p:ext>
    </p:extLst>
  </p:cSld>
  <p:clrMapOvr>
    <a:masterClrMapping/>
  </p:clrMapOvr>
</p:sldLayout>
</file>

<file path=ppt/slideLayouts/slideLayout1533.xml><?xml version="1.0" encoding="utf-8"?>
<p:sldLayout xmlns:a="http://schemas.openxmlformats.org/drawingml/2006/main" xmlns:r="http://schemas.openxmlformats.org/officeDocument/2006/relationships" xmlns:p="http://schemas.openxmlformats.org/presentationml/2006/main" matchingName="5_Comparison">
  <p:cSld name="5_Comparison">
    <p:spTree>
      <p:nvGrpSpPr>
        <p:cNvPr id="1" name="Shape 3576"/>
        <p:cNvGrpSpPr/>
        <p:nvPr/>
      </p:nvGrpSpPr>
      <p:grpSpPr>
        <a:xfrm>
          <a:off x="0" y="0"/>
          <a:ext cx="0" cy="0"/>
          <a:chOff x="0" y="0"/>
          <a:chExt cx="0" cy="0"/>
        </a:xfrm>
      </p:grpSpPr>
      <p:grpSp>
        <p:nvGrpSpPr>
          <p:cNvPr id="3577" name="Google Shape;3577;p5362"/>
          <p:cNvGrpSpPr/>
          <p:nvPr/>
        </p:nvGrpSpPr>
        <p:grpSpPr>
          <a:xfrm>
            <a:off x="7191544" y="1"/>
            <a:ext cx="5000459" cy="1425992"/>
            <a:chOff x="7191542" y="1"/>
            <a:chExt cx="5000459" cy="1425992"/>
          </a:xfrm>
        </p:grpSpPr>
        <p:pic>
          <p:nvPicPr>
            <p:cNvPr id="3578" name="Google Shape;3578;p53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79" name="Google Shape;3579;p5362"/>
            <p:cNvGrpSpPr/>
            <p:nvPr/>
          </p:nvGrpSpPr>
          <p:grpSpPr>
            <a:xfrm>
              <a:off x="7191542" y="1"/>
              <a:ext cx="5000459" cy="1425992"/>
              <a:chOff x="7186272" y="0"/>
              <a:chExt cx="5005729" cy="1427495"/>
            </a:xfrm>
          </p:grpSpPr>
          <p:sp>
            <p:nvSpPr>
              <p:cNvPr id="3580" name="Google Shape;3580;p53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581" name="Google Shape;3581;p53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582" name="Google Shape;3582;p5362"/>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83" name="Google Shape;3583;p536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3584" name="Google Shape;3584;p536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585" name="Google Shape;3585;p536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3586" name="Google Shape;3586;p536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587" name="Google Shape;3587;p536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588" name="Google Shape;3588;p53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89" name="Google Shape;3589;p536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589835902"/>
      </p:ext>
    </p:extLst>
  </p:cSld>
  <p:clrMapOvr>
    <a:masterClrMapping/>
  </p:clrMapOvr>
</p:sldLayout>
</file>

<file path=ppt/slideLayouts/slideLayout1534.xml><?xml version="1.0" encoding="utf-8"?>
<p:sldLayout xmlns:a="http://schemas.openxmlformats.org/drawingml/2006/main" xmlns:r="http://schemas.openxmlformats.org/officeDocument/2006/relationships" xmlns:p="http://schemas.openxmlformats.org/presentationml/2006/main" matchingName="5_Title Only">
  <p:cSld name="5_Title Only">
    <p:spTree>
      <p:nvGrpSpPr>
        <p:cNvPr id="1" name="Shape 3590"/>
        <p:cNvGrpSpPr/>
        <p:nvPr/>
      </p:nvGrpSpPr>
      <p:grpSpPr>
        <a:xfrm>
          <a:off x="0" y="0"/>
          <a:ext cx="0" cy="0"/>
          <a:chOff x="0" y="0"/>
          <a:chExt cx="0" cy="0"/>
        </a:xfrm>
      </p:grpSpPr>
      <p:grpSp>
        <p:nvGrpSpPr>
          <p:cNvPr id="3591" name="Google Shape;3591;p5363"/>
          <p:cNvGrpSpPr/>
          <p:nvPr/>
        </p:nvGrpSpPr>
        <p:grpSpPr>
          <a:xfrm>
            <a:off x="7191544" y="1"/>
            <a:ext cx="5000459" cy="1425992"/>
            <a:chOff x="7191542" y="1"/>
            <a:chExt cx="5000459" cy="1425992"/>
          </a:xfrm>
        </p:grpSpPr>
        <p:pic>
          <p:nvPicPr>
            <p:cNvPr id="3592" name="Google Shape;3592;p53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93" name="Google Shape;3593;p5363"/>
            <p:cNvGrpSpPr/>
            <p:nvPr/>
          </p:nvGrpSpPr>
          <p:grpSpPr>
            <a:xfrm>
              <a:off x="7191542" y="1"/>
              <a:ext cx="5000459" cy="1425992"/>
              <a:chOff x="7186272" y="0"/>
              <a:chExt cx="5005729" cy="1427495"/>
            </a:xfrm>
          </p:grpSpPr>
          <p:sp>
            <p:nvSpPr>
              <p:cNvPr id="3594" name="Google Shape;3594;p53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595" name="Google Shape;3595;p53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596" name="Google Shape;3596;p5363"/>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97" name="Google Shape;3597;p5363"/>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598" name="Google Shape;3598;p53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99" name="Google Shape;3599;p536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203911547"/>
      </p:ext>
    </p:extLst>
  </p:cSld>
  <p:clrMapOvr>
    <a:masterClrMapping/>
  </p:clrMapOvr>
</p:sldLayout>
</file>

<file path=ppt/slideLayouts/slideLayout1535.xml><?xml version="1.0" encoding="utf-8"?>
<p:sldLayout xmlns:a="http://schemas.openxmlformats.org/drawingml/2006/main" xmlns:r="http://schemas.openxmlformats.org/officeDocument/2006/relationships" xmlns:p="http://schemas.openxmlformats.org/presentationml/2006/main" matchingName="4_End">
  <p:cSld name="4_End">
    <p:spTree>
      <p:nvGrpSpPr>
        <p:cNvPr id="1" name="Shape 3600"/>
        <p:cNvGrpSpPr/>
        <p:nvPr/>
      </p:nvGrpSpPr>
      <p:grpSpPr>
        <a:xfrm>
          <a:off x="0" y="0"/>
          <a:ext cx="0" cy="0"/>
          <a:chOff x="0" y="0"/>
          <a:chExt cx="0" cy="0"/>
        </a:xfrm>
      </p:grpSpPr>
      <p:grpSp>
        <p:nvGrpSpPr>
          <p:cNvPr id="3601" name="Google Shape;3601;p5364"/>
          <p:cNvGrpSpPr/>
          <p:nvPr/>
        </p:nvGrpSpPr>
        <p:grpSpPr>
          <a:xfrm>
            <a:off x="0" y="0"/>
            <a:ext cx="12192000" cy="2148830"/>
            <a:chOff x="0" y="0"/>
            <a:chExt cx="12192000" cy="2148830"/>
          </a:xfrm>
        </p:grpSpPr>
        <p:sp>
          <p:nvSpPr>
            <p:cNvPr id="3602" name="Google Shape;3602;p536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603" name="Google Shape;3603;p536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3604" name="Google Shape;3604;p5364"/>
          <p:cNvSpPr/>
          <p:nvPr/>
        </p:nvSpPr>
        <p:spPr>
          <a:xfrm>
            <a:off x="902368" y="1517699"/>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605" name="Google Shape;3605;p5364"/>
          <p:cNvSpPr txBox="1">
            <a:spLocks noGrp="1"/>
          </p:cNvSpPr>
          <p:nvPr>
            <p:ph type="body" idx="1"/>
          </p:nvPr>
        </p:nvSpPr>
        <p:spPr>
          <a:xfrm>
            <a:off x="1219201" y="3429002"/>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606" name="Google Shape;3606;p536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9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607" name="Google Shape;3607;p5364"/>
          <p:cNvPicPr preferRelativeResize="0"/>
          <p:nvPr/>
        </p:nvPicPr>
        <p:blipFill rotWithShape="1">
          <a:blip r:embed="rId2">
            <a:alphaModFix/>
          </a:blip>
          <a:srcRect/>
          <a:stretch/>
        </p:blipFill>
        <p:spPr>
          <a:xfrm>
            <a:off x="902370" y="228371"/>
            <a:ext cx="2025315" cy="911940"/>
          </a:xfrm>
          <a:prstGeom prst="rect">
            <a:avLst/>
          </a:prstGeom>
          <a:noFill/>
          <a:ln>
            <a:noFill/>
          </a:ln>
        </p:spPr>
      </p:pic>
      <p:sp>
        <p:nvSpPr>
          <p:cNvPr id="3608" name="Google Shape;3608;p5364"/>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073613578"/>
      </p:ext>
    </p:extLst>
  </p:cSld>
  <p:clrMapOvr>
    <a:masterClrMapping/>
  </p:clrMapOvr>
</p:sldLayout>
</file>

<file path=ppt/slideLayouts/slideLayout1536.xml><?xml version="1.0" encoding="utf-8"?>
<p:sldLayout xmlns:a="http://schemas.openxmlformats.org/drawingml/2006/main" xmlns:r="http://schemas.openxmlformats.org/officeDocument/2006/relationships" xmlns:p="http://schemas.openxmlformats.org/presentationml/2006/main" matchingName="3_Blank">
  <p:cSld name="3_Blank">
    <p:spTree>
      <p:nvGrpSpPr>
        <p:cNvPr id="1" name="Shape 3609"/>
        <p:cNvGrpSpPr/>
        <p:nvPr/>
      </p:nvGrpSpPr>
      <p:grpSpPr>
        <a:xfrm>
          <a:off x="0" y="0"/>
          <a:ext cx="0" cy="0"/>
          <a:chOff x="0" y="0"/>
          <a:chExt cx="0" cy="0"/>
        </a:xfrm>
      </p:grpSpPr>
      <p:sp>
        <p:nvSpPr>
          <p:cNvPr id="3610" name="Google Shape;3610;p536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611" name="Google Shape;3611;p53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12" name="Google Shape;3612;p536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613" name="Google Shape;3613;p5365"/>
          <p:cNvGrpSpPr/>
          <p:nvPr/>
        </p:nvGrpSpPr>
        <p:grpSpPr>
          <a:xfrm>
            <a:off x="7191544" y="1"/>
            <a:ext cx="5000459" cy="1425992"/>
            <a:chOff x="7191542" y="1"/>
            <a:chExt cx="5000459" cy="1425992"/>
          </a:xfrm>
        </p:grpSpPr>
        <p:pic>
          <p:nvPicPr>
            <p:cNvPr id="3614" name="Google Shape;3614;p53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15" name="Google Shape;3615;p5365"/>
            <p:cNvGrpSpPr/>
            <p:nvPr/>
          </p:nvGrpSpPr>
          <p:grpSpPr>
            <a:xfrm>
              <a:off x="7191542" y="1"/>
              <a:ext cx="5000459" cy="1425992"/>
              <a:chOff x="7186272" y="0"/>
              <a:chExt cx="5005729" cy="1427495"/>
            </a:xfrm>
          </p:grpSpPr>
          <p:sp>
            <p:nvSpPr>
              <p:cNvPr id="3616" name="Google Shape;3616;p53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617" name="Google Shape;3617;p53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extLst>
      <p:ext uri="{BB962C8B-B14F-4D97-AF65-F5344CB8AC3E}">
        <p14:creationId xmlns:p14="http://schemas.microsoft.com/office/powerpoint/2010/main" val="971230326"/>
      </p:ext>
    </p:extLst>
  </p:cSld>
  <p:clrMapOvr>
    <a:masterClrMapping/>
  </p:clrMapOvr>
</p:sldLayout>
</file>

<file path=ppt/slideLayouts/slideLayout1537.xml><?xml version="1.0" encoding="utf-8"?>
<p:sldLayout xmlns:a="http://schemas.openxmlformats.org/drawingml/2006/main" xmlns:r="http://schemas.openxmlformats.org/officeDocument/2006/relationships" xmlns:p="http://schemas.openxmlformats.org/presentationml/2006/main" matchingName="7_Cover">
  <p:cSld name="7_Cover">
    <p:spTree>
      <p:nvGrpSpPr>
        <p:cNvPr id="1" name="Shape 3618"/>
        <p:cNvGrpSpPr/>
        <p:nvPr/>
      </p:nvGrpSpPr>
      <p:grpSpPr>
        <a:xfrm>
          <a:off x="0" y="0"/>
          <a:ext cx="0" cy="0"/>
          <a:chOff x="0" y="0"/>
          <a:chExt cx="0" cy="0"/>
        </a:xfrm>
      </p:grpSpPr>
      <p:sp>
        <p:nvSpPr>
          <p:cNvPr id="3619" name="Google Shape;3619;p5366"/>
          <p:cNvSpPr/>
          <p:nvPr/>
        </p:nvSpPr>
        <p:spPr>
          <a:xfrm>
            <a:off x="902368" y="1294415"/>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620" name="Google Shape;3620;p5366"/>
          <p:cNvSpPr txBox="1">
            <a:spLocks noGrp="1"/>
          </p:cNvSpPr>
          <p:nvPr>
            <p:ph type="ctrTitle"/>
          </p:nvPr>
        </p:nvSpPr>
        <p:spPr>
          <a:xfrm>
            <a:off x="1413312"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21" name="Google Shape;3621;p5366"/>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
        <p:nvSpPr>
          <p:cNvPr id="3622" name="Google Shape;3622;p5366"/>
          <p:cNvSpPr>
            <a:spLocks noGrp="1"/>
          </p:cNvSpPr>
          <p:nvPr>
            <p:ph type="pic" idx="2"/>
          </p:nvPr>
        </p:nvSpPr>
        <p:spPr>
          <a:xfrm>
            <a:off x="7118684" y="233915"/>
            <a:ext cx="5073316" cy="5943600"/>
          </a:xfrm>
          <a:prstGeom prst="rect">
            <a:avLst/>
          </a:prstGeom>
          <a:noFill/>
          <a:ln>
            <a:noFill/>
          </a:ln>
        </p:spPr>
      </p:sp>
      <p:grpSp>
        <p:nvGrpSpPr>
          <p:cNvPr id="3623" name="Google Shape;3623;p5366"/>
          <p:cNvGrpSpPr/>
          <p:nvPr/>
        </p:nvGrpSpPr>
        <p:grpSpPr>
          <a:xfrm>
            <a:off x="0" y="5020350"/>
            <a:ext cx="12192000" cy="1837653"/>
            <a:chOff x="0" y="5020348"/>
            <a:chExt cx="12192000" cy="1837653"/>
          </a:xfrm>
        </p:grpSpPr>
        <p:sp>
          <p:nvSpPr>
            <p:cNvPr id="3624" name="Google Shape;3624;p536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625" name="Google Shape;3625;p536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3626" name="Google Shape;3626;p536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449689717"/>
      </p:ext>
    </p:extLst>
  </p:cSld>
  <p:clrMapOvr>
    <a:masterClrMapping/>
  </p:clrMapOvr>
</p:sldLayout>
</file>

<file path=ppt/slideLayouts/slideLayout1538.xml><?xml version="1.0" encoding="utf-8"?>
<p:sldLayout xmlns:a="http://schemas.openxmlformats.org/drawingml/2006/main" xmlns:r="http://schemas.openxmlformats.org/officeDocument/2006/relationships" xmlns:p="http://schemas.openxmlformats.org/presentationml/2006/main" matchingName="7_Divider">
  <p:cSld name="7_Divider">
    <p:bg>
      <p:bgPr>
        <a:solidFill>
          <a:schemeClr val="lt2"/>
        </a:solidFill>
        <a:effectLst/>
      </p:bgPr>
    </p:bg>
    <p:spTree>
      <p:nvGrpSpPr>
        <p:cNvPr id="1" name="Shape 3627"/>
        <p:cNvGrpSpPr/>
        <p:nvPr/>
      </p:nvGrpSpPr>
      <p:grpSpPr>
        <a:xfrm>
          <a:off x="0" y="0"/>
          <a:ext cx="0" cy="0"/>
          <a:chOff x="0" y="0"/>
          <a:chExt cx="0" cy="0"/>
        </a:xfrm>
      </p:grpSpPr>
      <p:grpSp>
        <p:nvGrpSpPr>
          <p:cNvPr id="3628" name="Google Shape;3628;p5367"/>
          <p:cNvGrpSpPr/>
          <p:nvPr/>
        </p:nvGrpSpPr>
        <p:grpSpPr>
          <a:xfrm>
            <a:off x="0" y="5020349"/>
            <a:ext cx="12192000" cy="1837653"/>
            <a:chOff x="0" y="5020347"/>
            <a:chExt cx="12192000" cy="1837653"/>
          </a:xfrm>
        </p:grpSpPr>
        <p:sp>
          <p:nvSpPr>
            <p:cNvPr id="3629" name="Google Shape;3629;p536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630" name="Google Shape;3630;p536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631" name="Google Shape;3631;p536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3632" name="Google Shape;3632;p536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633" name="Google Shape;3633;p5367"/>
          <p:cNvSpPr txBox="1">
            <a:spLocks noGrp="1"/>
          </p:cNvSpPr>
          <p:nvPr>
            <p:ph type="title"/>
          </p:nvPr>
        </p:nvSpPr>
        <p:spPr>
          <a:xfrm>
            <a:off x="1413310"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34" name="Google Shape;3634;p5367"/>
          <p:cNvSpPr txBox="1">
            <a:spLocks noGrp="1"/>
          </p:cNvSpPr>
          <p:nvPr>
            <p:ph type="subTitle" idx="1"/>
          </p:nvPr>
        </p:nvSpPr>
        <p:spPr>
          <a:xfrm>
            <a:off x="1413310"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Tree>
    <p:extLst>
      <p:ext uri="{BB962C8B-B14F-4D97-AF65-F5344CB8AC3E}">
        <p14:creationId xmlns:p14="http://schemas.microsoft.com/office/powerpoint/2010/main" val="2101466982"/>
      </p:ext>
    </p:extLst>
  </p:cSld>
  <p:clrMapOvr>
    <a:masterClrMapping/>
  </p:clrMapOvr>
</p:sldLayout>
</file>

<file path=ppt/slideLayouts/slideLayout1539.xml><?xml version="1.0" encoding="utf-8"?>
<p:sldLayout xmlns:a="http://schemas.openxmlformats.org/drawingml/2006/main" xmlns:r="http://schemas.openxmlformats.org/officeDocument/2006/relationships" xmlns:p="http://schemas.openxmlformats.org/presentationml/2006/main" matchingName="13_Quotation">
  <p:cSld name="13_Quotation">
    <p:spTree>
      <p:nvGrpSpPr>
        <p:cNvPr id="1" name="Shape 3635"/>
        <p:cNvGrpSpPr/>
        <p:nvPr/>
      </p:nvGrpSpPr>
      <p:grpSpPr>
        <a:xfrm>
          <a:off x="0" y="0"/>
          <a:ext cx="0" cy="0"/>
          <a:chOff x="0" y="0"/>
          <a:chExt cx="0" cy="0"/>
        </a:xfrm>
      </p:grpSpPr>
      <p:sp>
        <p:nvSpPr>
          <p:cNvPr id="3636" name="Google Shape;3636;p5368"/>
          <p:cNvSpPr/>
          <p:nvPr/>
        </p:nvSpPr>
        <p:spPr>
          <a:xfrm>
            <a:off x="1427358"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637" name="Google Shape;3637;p5368"/>
          <p:cNvSpPr txBox="1">
            <a:spLocks noGrp="1"/>
          </p:cNvSpPr>
          <p:nvPr>
            <p:ph type="title"/>
          </p:nvPr>
        </p:nvSpPr>
        <p:spPr>
          <a:xfrm>
            <a:off x="1427358"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38" name="Google Shape;3638;p536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639" name="Google Shape;3639;p5368"/>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640" name="Google Shape;3640;p53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41" name="Google Shape;3641;p536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642" name="Google Shape;3642;p5368"/>
          <p:cNvGrpSpPr/>
          <p:nvPr/>
        </p:nvGrpSpPr>
        <p:grpSpPr>
          <a:xfrm>
            <a:off x="7191544" y="1"/>
            <a:ext cx="5000459" cy="1425992"/>
            <a:chOff x="7191542" y="1"/>
            <a:chExt cx="5000459" cy="1425992"/>
          </a:xfrm>
        </p:grpSpPr>
        <p:pic>
          <p:nvPicPr>
            <p:cNvPr id="3643" name="Google Shape;3643;p53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44" name="Google Shape;3644;p5368"/>
            <p:cNvGrpSpPr/>
            <p:nvPr/>
          </p:nvGrpSpPr>
          <p:grpSpPr>
            <a:xfrm>
              <a:off x="7191542" y="1"/>
              <a:ext cx="5000459" cy="1425992"/>
              <a:chOff x="7186272" y="0"/>
              <a:chExt cx="5005729" cy="1427495"/>
            </a:xfrm>
          </p:grpSpPr>
          <p:sp>
            <p:nvSpPr>
              <p:cNvPr id="3645" name="Google Shape;3645;p53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646" name="Google Shape;3646;p53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647" name="Google Shape;3647;p5368"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119268349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matchingName="Title and Content">
  <p:cSld name="Title and Content 13">
    <p:spTree>
      <p:nvGrpSpPr>
        <p:cNvPr id="1" name="Shape 10554"/>
        <p:cNvGrpSpPr/>
        <p:nvPr/>
      </p:nvGrpSpPr>
      <p:grpSpPr>
        <a:xfrm>
          <a:off x="0" y="0"/>
          <a:ext cx="0" cy="0"/>
          <a:chOff x="0" y="0"/>
          <a:chExt cx="0" cy="0"/>
        </a:xfrm>
      </p:grpSpPr>
      <p:grpSp>
        <p:nvGrpSpPr>
          <p:cNvPr id="10555" name="Google Shape;10555;p1458"/>
          <p:cNvGrpSpPr/>
          <p:nvPr/>
        </p:nvGrpSpPr>
        <p:grpSpPr>
          <a:xfrm>
            <a:off x="7191542" y="1"/>
            <a:ext cx="5000459" cy="1425992"/>
            <a:chOff x="7191542" y="1"/>
            <a:chExt cx="5000459" cy="1425992"/>
          </a:xfrm>
        </p:grpSpPr>
        <p:pic>
          <p:nvPicPr>
            <p:cNvPr id="10556" name="Google Shape;10556;p14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557" name="Google Shape;10557;p1458"/>
            <p:cNvGrpSpPr/>
            <p:nvPr/>
          </p:nvGrpSpPr>
          <p:grpSpPr>
            <a:xfrm>
              <a:off x="7191542" y="1"/>
              <a:ext cx="5000459" cy="1425992"/>
              <a:chOff x="7186272" y="0"/>
              <a:chExt cx="5005729" cy="1427495"/>
            </a:xfrm>
          </p:grpSpPr>
          <p:sp>
            <p:nvSpPr>
              <p:cNvPr id="10558" name="Google Shape;10558;p14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559" name="Google Shape;10559;p14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560" name="Google Shape;10560;p14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561" name="Google Shape;10561;p145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62" name="Google Shape;10562;p14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563" name="Google Shape;10563;p14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64" name="Google Shape;10564;p14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540.xml><?xml version="1.0" encoding="utf-8"?>
<p:sldLayout xmlns:a="http://schemas.openxmlformats.org/drawingml/2006/main" xmlns:r="http://schemas.openxmlformats.org/officeDocument/2006/relationships" xmlns:p="http://schemas.openxmlformats.org/presentationml/2006/main" matchingName="6_Title and Content">
  <p:cSld name="6_Title and Content">
    <p:spTree>
      <p:nvGrpSpPr>
        <p:cNvPr id="1" name="Shape 3648"/>
        <p:cNvGrpSpPr/>
        <p:nvPr/>
      </p:nvGrpSpPr>
      <p:grpSpPr>
        <a:xfrm>
          <a:off x="0" y="0"/>
          <a:ext cx="0" cy="0"/>
          <a:chOff x="0" y="0"/>
          <a:chExt cx="0" cy="0"/>
        </a:xfrm>
      </p:grpSpPr>
      <p:grpSp>
        <p:nvGrpSpPr>
          <p:cNvPr id="3649" name="Google Shape;3649;p5369"/>
          <p:cNvGrpSpPr/>
          <p:nvPr/>
        </p:nvGrpSpPr>
        <p:grpSpPr>
          <a:xfrm>
            <a:off x="7191544" y="1"/>
            <a:ext cx="5000459" cy="1425992"/>
            <a:chOff x="7191542" y="1"/>
            <a:chExt cx="5000459" cy="1425992"/>
          </a:xfrm>
        </p:grpSpPr>
        <p:pic>
          <p:nvPicPr>
            <p:cNvPr id="3650" name="Google Shape;3650;p53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51" name="Google Shape;3651;p5369"/>
            <p:cNvGrpSpPr/>
            <p:nvPr/>
          </p:nvGrpSpPr>
          <p:grpSpPr>
            <a:xfrm>
              <a:off x="7191542" y="1"/>
              <a:ext cx="5000459" cy="1425992"/>
              <a:chOff x="7186272" y="0"/>
              <a:chExt cx="5005729" cy="1427495"/>
            </a:xfrm>
          </p:grpSpPr>
          <p:sp>
            <p:nvSpPr>
              <p:cNvPr id="3652" name="Google Shape;3652;p53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653" name="Google Shape;3653;p53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654" name="Google Shape;3654;p5369"/>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55" name="Google Shape;3655;p5369"/>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656" name="Google Shape;3656;p5369"/>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657" name="Google Shape;3657;p53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58" name="Google Shape;3658;p536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354229423"/>
      </p:ext>
    </p:extLst>
  </p:cSld>
  <p:clrMapOvr>
    <a:masterClrMapping/>
  </p:clrMapOvr>
</p:sldLayout>
</file>

<file path=ppt/slideLayouts/slideLayout1541.xml><?xml version="1.0" encoding="utf-8"?>
<p:sldLayout xmlns:a="http://schemas.openxmlformats.org/drawingml/2006/main" xmlns:r="http://schemas.openxmlformats.org/officeDocument/2006/relationships" xmlns:p="http://schemas.openxmlformats.org/presentationml/2006/main" matchingName="6_Two Content">
  <p:cSld name="6_Two Content">
    <p:spTree>
      <p:nvGrpSpPr>
        <p:cNvPr id="1" name="Shape 3659"/>
        <p:cNvGrpSpPr/>
        <p:nvPr/>
      </p:nvGrpSpPr>
      <p:grpSpPr>
        <a:xfrm>
          <a:off x="0" y="0"/>
          <a:ext cx="0" cy="0"/>
          <a:chOff x="0" y="0"/>
          <a:chExt cx="0" cy="0"/>
        </a:xfrm>
      </p:grpSpPr>
      <p:sp>
        <p:nvSpPr>
          <p:cNvPr id="3660" name="Google Shape;3660;p537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61" name="Google Shape;3661;p5370"/>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3662" name="Google Shape;3662;p5370"/>
          <p:cNvGrpSpPr/>
          <p:nvPr/>
        </p:nvGrpSpPr>
        <p:grpSpPr>
          <a:xfrm>
            <a:off x="7191544" y="1"/>
            <a:ext cx="5000459" cy="1425992"/>
            <a:chOff x="7191542" y="1"/>
            <a:chExt cx="5000459" cy="1425992"/>
          </a:xfrm>
        </p:grpSpPr>
        <p:pic>
          <p:nvPicPr>
            <p:cNvPr id="3663" name="Google Shape;3663;p53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64" name="Google Shape;3664;p5370"/>
            <p:cNvGrpSpPr/>
            <p:nvPr/>
          </p:nvGrpSpPr>
          <p:grpSpPr>
            <a:xfrm>
              <a:off x="7191542" y="1"/>
              <a:ext cx="5000459" cy="1425992"/>
              <a:chOff x="7186272" y="0"/>
              <a:chExt cx="5005729" cy="1427495"/>
            </a:xfrm>
          </p:grpSpPr>
          <p:sp>
            <p:nvSpPr>
              <p:cNvPr id="3665" name="Google Shape;3665;p53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666" name="Google Shape;3666;p53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667" name="Google Shape;3667;p5370"/>
          <p:cNvSpPr txBox="1">
            <a:spLocks noGrp="1"/>
          </p:cNvSpPr>
          <p:nvPr>
            <p:ph type="body" idx="2"/>
          </p:nvPr>
        </p:nvSpPr>
        <p:spPr>
          <a:xfrm>
            <a:off x="6172201"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668" name="Google Shape;3668;p5370"/>
          <p:cNvSpPr txBox="1">
            <a:spLocks noGrp="1"/>
          </p:cNvSpPr>
          <p:nvPr>
            <p:ph type="sldNum" idx="12"/>
          </p:nvPr>
        </p:nvSpPr>
        <p:spPr>
          <a:xfrm>
            <a:off x="8839198"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669" name="Google Shape;3669;p53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70" name="Google Shape;3670;p537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118613891"/>
      </p:ext>
    </p:extLst>
  </p:cSld>
  <p:clrMapOvr>
    <a:masterClrMapping/>
  </p:clrMapOvr>
</p:sldLayout>
</file>

<file path=ppt/slideLayouts/slideLayout1542.xml><?xml version="1.0" encoding="utf-8"?>
<p:sldLayout xmlns:a="http://schemas.openxmlformats.org/drawingml/2006/main" xmlns:r="http://schemas.openxmlformats.org/officeDocument/2006/relationships" xmlns:p="http://schemas.openxmlformats.org/presentationml/2006/main" matchingName="6_Comparison">
  <p:cSld name="6_Comparison">
    <p:spTree>
      <p:nvGrpSpPr>
        <p:cNvPr id="1" name="Shape 3671"/>
        <p:cNvGrpSpPr/>
        <p:nvPr/>
      </p:nvGrpSpPr>
      <p:grpSpPr>
        <a:xfrm>
          <a:off x="0" y="0"/>
          <a:ext cx="0" cy="0"/>
          <a:chOff x="0" y="0"/>
          <a:chExt cx="0" cy="0"/>
        </a:xfrm>
      </p:grpSpPr>
      <p:grpSp>
        <p:nvGrpSpPr>
          <p:cNvPr id="3672" name="Google Shape;3672;p5371"/>
          <p:cNvGrpSpPr/>
          <p:nvPr/>
        </p:nvGrpSpPr>
        <p:grpSpPr>
          <a:xfrm>
            <a:off x="7191544" y="1"/>
            <a:ext cx="5000459" cy="1425992"/>
            <a:chOff x="7191542" y="1"/>
            <a:chExt cx="5000459" cy="1425992"/>
          </a:xfrm>
        </p:grpSpPr>
        <p:pic>
          <p:nvPicPr>
            <p:cNvPr id="3673" name="Google Shape;3673;p53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74" name="Google Shape;3674;p5371"/>
            <p:cNvGrpSpPr/>
            <p:nvPr/>
          </p:nvGrpSpPr>
          <p:grpSpPr>
            <a:xfrm>
              <a:off x="7191542" y="1"/>
              <a:ext cx="5000459" cy="1425992"/>
              <a:chOff x="7186272" y="0"/>
              <a:chExt cx="5005729" cy="1427495"/>
            </a:xfrm>
          </p:grpSpPr>
          <p:sp>
            <p:nvSpPr>
              <p:cNvPr id="3675" name="Google Shape;3675;p53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676" name="Google Shape;3676;p53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677" name="Google Shape;3677;p5371"/>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78" name="Google Shape;3678;p5371"/>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3679" name="Google Shape;3679;p5371"/>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680" name="Google Shape;3680;p537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3681" name="Google Shape;3681;p537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682" name="Google Shape;3682;p5371"/>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683" name="Google Shape;3683;p53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84" name="Google Shape;3684;p537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425429232"/>
      </p:ext>
    </p:extLst>
  </p:cSld>
  <p:clrMapOvr>
    <a:masterClrMapping/>
  </p:clrMapOvr>
</p:sldLayout>
</file>

<file path=ppt/slideLayouts/slideLayout1543.xml><?xml version="1.0" encoding="utf-8"?>
<p:sldLayout xmlns:a="http://schemas.openxmlformats.org/drawingml/2006/main" xmlns:r="http://schemas.openxmlformats.org/officeDocument/2006/relationships" xmlns:p="http://schemas.openxmlformats.org/presentationml/2006/main" matchingName="6_Photo Slide">
  <p:cSld name="6_Photo Slide">
    <p:spTree>
      <p:nvGrpSpPr>
        <p:cNvPr id="1" name="Shape 3685"/>
        <p:cNvGrpSpPr/>
        <p:nvPr/>
      </p:nvGrpSpPr>
      <p:grpSpPr>
        <a:xfrm>
          <a:off x="0" y="0"/>
          <a:ext cx="0" cy="0"/>
          <a:chOff x="0" y="0"/>
          <a:chExt cx="0" cy="0"/>
        </a:xfrm>
      </p:grpSpPr>
      <p:sp>
        <p:nvSpPr>
          <p:cNvPr id="3686" name="Google Shape;3686;p5372"/>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3687" name="Google Shape;3687;p537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688" name="Google Shape;3688;p5372"/>
          <p:cNvGrpSpPr/>
          <p:nvPr/>
        </p:nvGrpSpPr>
        <p:grpSpPr>
          <a:xfrm>
            <a:off x="0" y="5379428"/>
            <a:ext cx="2807368" cy="753891"/>
            <a:chOff x="0" y="5379426"/>
            <a:chExt cx="2807368" cy="753891"/>
          </a:xfrm>
        </p:grpSpPr>
        <p:sp>
          <p:nvSpPr>
            <p:cNvPr id="3689" name="Google Shape;3689;p537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690" name="Google Shape;3690;p537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3691" name="Google Shape;3691;p5372"/>
          <p:cNvSpPr>
            <a:spLocks noGrp="1"/>
          </p:cNvSpPr>
          <p:nvPr>
            <p:ph type="pic" idx="2"/>
          </p:nvPr>
        </p:nvSpPr>
        <p:spPr>
          <a:xfrm>
            <a:off x="2807368" y="457202"/>
            <a:ext cx="8915400" cy="5943598"/>
          </a:xfrm>
          <a:prstGeom prst="rect">
            <a:avLst/>
          </a:prstGeom>
          <a:noFill/>
          <a:ln>
            <a:noFill/>
          </a:ln>
        </p:spPr>
      </p:sp>
      <p:pic>
        <p:nvPicPr>
          <p:cNvPr id="3692" name="Google Shape;3692;p5372"/>
          <p:cNvPicPr preferRelativeResize="0"/>
          <p:nvPr/>
        </p:nvPicPr>
        <p:blipFill rotWithShape="1">
          <a:blip r:embed="rId2">
            <a:alphaModFix/>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410842186"/>
      </p:ext>
    </p:extLst>
  </p:cSld>
  <p:clrMapOvr>
    <a:masterClrMapping/>
  </p:clrMapOvr>
</p:sldLayout>
</file>

<file path=ppt/slideLayouts/slideLayout1544.xml><?xml version="1.0" encoding="utf-8"?>
<p:sldLayout xmlns:a="http://schemas.openxmlformats.org/drawingml/2006/main" xmlns:r="http://schemas.openxmlformats.org/officeDocument/2006/relationships" xmlns:p="http://schemas.openxmlformats.org/presentationml/2006/main" matchingName="5_End">
  <p:cSld name="5_End">
    <p:spTree>
      <p:nvGrpSpPr>
        <p:cNvPr id="1" name="Shape 3693"/>
        <p:cNvGrpSpPr/>
        <p:nvPr/>
      </p:nvGrpSpPr>
      <p:grpSpPr>
        <a:xfrm>
          <a:off x="0" y="0"/>
          <a:ext cx="0" cy="0"/>
          <a:chOff x="0" y="0"/>
          <a:chExt cx="0" cy="0"/>
        </a:xfrm>
      </p:grpSpPr>
      <p:grpSp>
        <p:nvGrpSpPr>
          <p:cNvPr id="3694" name="Google Shape;3694;p5373"/>
          <p:cNvGrpSpPr/>
          <p:nvPr/>
        </p:nvGrpSpPr>
        <p:grpSpPr>
          <a:xfrm>
            <a:off x="0" y="0"/>
            <a:ext cx="12192000" cy="2148830"/>
            <a:chOff x="0" y="0"/>
            <a:chExt cx="12192000" cy="2148830"/>
          </a:xfrm>
        </p:grpSpPr>
        <p:sp>
          <p:nvSpPr>
            <p:cNvPr id="3695" name="Google Shape;3695;p537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696" name="Google Shape;3696;p537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3697" name="Google Shape;3697;p5373"/>
          <p:cNvSpPr/>
          <p:nvPr/>
        </p:nvSpPr>
        <p:spPr>
          <a:xfrm>
            <a:off x="902368" y="1517699"/>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698" name="Google Shape;3698;p5373"/>
          <p:cNvSpPr txBox="1">
            <a:spLocks noGrp="1"/>
          </p:cNvSpPr>
          <p:nvPr>
            <p:ph type="body" idx="1"/>
          </p:nvPr>
        </p:nvSpPr>
        <p:spPr>
          <a:xfrm>
            <a:off x="1219201" y="3429002"/>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699" name="Google Shape;3699;p5373"/>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9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700" name="Google Shape;3700;p5373"/>
          <p:cNvPicPr preferRelativeResize="0"/>
          <p:nvPr/>
        </p:nvPicPr>
        <p:blipFill rotWithShape="1">
          <a:blip r:embed="rId2">
            <a:alphaModFix/>
          </a:blip>
          <a:srcRect/>
          <a:stretch/>
        </p:blipFill>
        <p:spPr>
          <a:xfrm>
            <a:off x="902370" y="228371"/>
            <a:ext cx="2025315" cy="911940"/>
          </a:xfrm>
          <a:prstGeom prst="rect">
            <a:avLst/>
          </a:prstGeom>
          <a:noFill/>
          <a:ln>
            <a:noFill/>
          </a:ln>
        </p:spPr>
      </p:pic>
      <p:sp>
        <p:nvSpPr>
          <p:cNvPr id="3701" name="Google Shape;3701;p5373"/>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936494650"/>
      </p:ext>
    </p:extLst>
  </p:cSld>
  <p:clrMapOvr>
    <a:masterClrMapping/>
  </p:clrMapOvr>
</p:sldLayout>
</file>

<file path=ppt/slideLayouts/slideLayout1545.xml><?xml version="1.0" encoding="utf-8"?>
<p:sldLayout xmlns:a="http://schemas.openxmlformats.org/drawingml/2006/main" xmlns:r="http://schemas.openxmlformats.org/officeDocument/2006/relationships" xmlns:p="http://schemas.openxmlformats.org/presentationml/2006/main" matchingName="4_Blank">
  <p:cSld name="4_Blank">
    <p:spTree>
      <p:nvGrpSpPr>
        <p:cNvPr id="1" name="Shape 3702"/>
        <p:cNvGrpSpPr/>
        <p:nvPr/>
      </p:nvGrpSpPr>
      <p:grpSpPr>
        <a:xfrm>
          <a:off x="0" y="0"/>
          <a:ext cx="0" cy="0"/>
          <a:chOff x="0" y="0"/>
          <a:chExt cx="0" cy="0"/>
        </a:xfrm>
      </p:grpSpPr>
      <p:sp>
        <p:nvSpPr>
          <p:cNvPr id="3703" name="Google Shape;3703;p537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704" name="Google Shape;3704;p53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05" name="Google Shape;3705;p537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706" name="Google Shape;3706;p5374"/>
          <p:cNvGrpSpPr/>
          <p:nvPr/>
        </p:nvGrpSpPr>
        <p:grpSpPr>
          <a:xfrm>
            <a:off x="7191544" y="1"/>
            <a:ext cx="5000459" cy="1425992"/>
            <a:chOff x="7191542" y="1"/>
            <a:chExt cx="5000459" cy="1425992"/>
          </a:xfrm>
        </p:grpSpPr>
        <p:pic>
          <p:nvPicPr>
            <p:cNvPr id="3707" name="Google Shape;3707;p53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08" name="Google Shape;3708;p5374"/>
            <p:cNvGrpSpPr/>
            <p:nvPr/>
          </p:nvGrpSpPr>
          <p:grpSpPr>
            <a:xfrm>
              <a:off x="7191542" y="1"/>
              <a:ext cx="5000459" cy="1425992"/>
              <a:chOff x="7186272" y="0"/>
              <a:chExt cx="5005729" cy="1427495"/>
            </a:xfrm>
          </p:grpSpPr>
          <p:sp>
            <p:nvSpPr>
              <p:cNvPr id="3709" name="Google Shape;3709;p53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710" name="Google Shape;3710;p53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extLst>
      <p:ext uri="{BB962C8B-B14F-4D97-AF65-F5344CB8AC3E}">
        <p14:creationId xmlns:p14="http://schemas.microsoft.com/office/powerpoint/2010/main" val="1302966586"/>
      </p:ext>
    </p:extLst>
  </p:cSld>
  <p:clrMapOvr>
    <a:masterClrMapping/>
  </p:clrMapOvr>
</p:sldLayout>
</file>

<file path=ppt/slideLayouts/slideLayout1546.xml><?xml version="1.0" encoding="utf-8"?>
<p:sldLayout xmlns:a="http://schemas.openxmlformats.org/drawingml/2006/main" xmlns:r="http://schemas.openxmlformats.org/officeDocument/2006/relationships" xmlns:p="http://schemas.openxmlformats.org/presentationml/2006/main" matchingName="6_Title Only">
  <p:cSld name="6_Title Only">
    <p:spTree>
      <p:nvGrpSpPr>
        <p:cNvPr id="1" name="Shape 3711"/>
        <p:cNvGrpSpPr/>
        <p:nvPr/>
      </p:nvGrpSpPr>
      <p:grpSpPr>
        <a:xfrm>
          <a:off x="0" y="0"/>
          <a:ext cx="0" cy="0"/>
          <a:chOff x="0" y="0"/>
          <a:chExt cx="0" cy="0"/>
        </a:xfrm>
      </p:grpSpPr>
      <p:grpSp>
        <p:nvGrpSpPr>
          <p:cNvPr id="3712" name="Google Shape;3712;p5375"/>
          <p:cNvGrpSpPr/>
          <p:nvPr/>
        </p:nvGrpSpPr>
        <p:grpSpPr>
          <a:xfrm>
            <a:off x="7191544" y="1"/>
            <a:ext cx="5000459" cy="1425992"/>
            <a:chOff x="7191542" y="1"/>
            <a:chExt cx="5000459" cy="1425992"/>
          </a:xfrm>
        </p:grpSpPr>
        <p:pic>
          <p:nvPicPr>
            <p:cNvPr id="3713" name="Google Shape;3713;p53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14" name="Google Shape;3714;p5375"/>
            <p:cNvGrpSpPr/>
            <p:nvPr/>
          </p:nvGrpSpPr>
          <p:grpSpPr>
            <a:xfrm>
              <a:off x="7191542" y="1"/>
              <a:ext cx="5000459" cy="1425992"/>
              <a:chOff x="7186272" y="0"/>
              <a:chExt cx="5005729" cy="1427495"/>
            </a:xfrm>
          </p:grpSpPr>
          <p:sp>
            <p:nvSpPr>
              <p:cNvPr id="3715" name="Google Shape;3715;p53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716" name="Google Shape;3716;p53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717" name="Google Shape;3717;p5375"/>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18" name="Google Shape;3718;p537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719" name="Google Shape;3719;p53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20" name="Google Shape;3720;p537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401970822"/>
      </p:ext>
    </p:extLst>
  </p:cSld>
  <p:clrMapOvr>
    <a:masterClrMapping/>
  </p:clrMapOvr>
</p:sldLayout>
</file>

<file path=ppt/slideLayouts/slideLayout1547.xml><?xml version="1.0" encoding="utf-8"?>
<p:sldLayout xmlns:a="http://schemas.openxmlformats.org/drawingml/2006/main" xmlns:r="http://schemas.openxmlformats.org/officeDocument/2006/relationships" xmlns:p="http://schemas.openxmlformats.org/presentationml/2006/main" matchingName="6_End">
  <p:cSld name="6_End">
    <p:spTree>
      <p:nvGrpSpPr>
        <p:cNvPr id="1" name="Shape 3721"/>
        <p:cNvGrpSpPr/>
        <p:nvPr/>
      </p:nvGrpSpPr>
      <p:grpSpPr>
        <a:xfrm>
          <a:off x="0" y="0"/>
          <a:ext cx="0" cy="0"/>
          <a:chOff x="0" y="0"/>
          <a:chExt cx="0" cy="0"/>
        </a:xfrm>
      </p:grpSpPr>
      <p:grpSp>
        <p:nvGrpSpPr>
          <p:cNvPr id="3722" name="Google Shape;3722;p5376"/>
          <p:cNvGrpSpPr/>
          <p:nvPr/>
        </p:nvGrpSpPr>
        <p:grpSpPr>
          <a:xfrm>
            <a:off x="0" y="0"/>
            <a:ext cx="12192000" cy="2148830"/>
            <a:chOff x="0" y="0"/>
            <a:chExt cx="12192000" cy="2148830"/>
          </a:xfrm>
        </p:grpSpPr>
        <p:sp>
          <p:nvSpPr>
            <p:cNvPr id="3723" name="Google Shape;3723;p537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724" name="Google Shape;3724;p537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3725" name="Google Shape;3725;p5376"/>
          <p:cNvSpPr/>
          <p:nvPr/>
        </p:nvSpPr>
        <p:spPr>
          <a:xfrm>
            <a:off x="902368" y="1517699"/>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726" name="Google Shape;3726;p5376"/>
          <p:cNvSpPr txBox="1">
            <a:spLocks noGrp="1"/>
          </p:cNvSpPr>
          <p:nvPr>
            <p:ph type="body" idx="1"/>
          </p:nvPr>
        </p:nvSpPr>
        <p:spPr>
          <a:xfrm>
            <a:off x="1219201" y="3429002"/>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727" name="Google Shape;3727;p537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9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728" name="Google Shape;3728;p5376"/>
          <p:cNvPicPr preferRelativeResize="0"/>
          <p:nvPr/>
        </p:nvPicPr>
        <p:blipFill rotWithShape="1">
          <a:blip r:embed="rId2">
            <a:alphaModFix/>
          </a:blip>
          <a:srcRect/>
          <a:stretch/>
        </p:blipFill>
        <p:spPr>
          <a:xfrm>
            <a:off x="902370" y="228371"/>
            <a:ext cx="2025315" cy="911940"/>
          </a:xfrm>
          <a:prstGeom prst="rect">
            <a:avLst/>
          </a:prstGeom>
          <a:noFill/>
          <a:ln>
            <a:noFill/>
          </a:ln>
        </p:spPr>
      </p:pic>
      <p:sp>
        <p:nvSpPr>
          <p:cNvPr id="3729" name="Google Shape;3729;p5376"/>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085948384"/>
      </p:ext>
    </p:extLst>
  </p:cSld>
  <p:clrMapOvr>
    <a:masterClrMapping/>
  </p:clrMapOvr>
</p:sldLayout>
</file>

<file path=ppt/slideLayouts/slideLayout1548.xml><?xml version="1.0" encoding="utf-8"?>
<p:sldLayout xmlns:a="http://schemas.openxmlformats.org/drawingml/2006/main" xmlns:r="http://schemas.openxmlformats.org/officeDocument/2006/relationships" xmlns:p="http://schemas.openxmlformats.org/presentationml/2006/main" matchingName="5_Blank">
  <p:cSld name="5_Blank">
    <p:spTree>
      <p:nvGrpSpPr>
        <p:cNvPr id="1" name="Shape 3730"/>
        <p:cNvGrpSpPr/>
        <p:nvPr/>
      </p:nvGrpSpPr>
      <p:grpSpPr>
        <a:xfrm>
          <a:off x="0" y="0"/>
          <a:ext cx="0" cy="0"/>
          <a:chOff x="0" y="0"/>
          <a:chExt cx="0" cy="0"/>
        </a:xfrm>
      </p:grpSpPr>
      <p:sp>
        <p:nvSpPr>
          <p:cNvPr id="3731" name="Google Shape;3731;p5377"/>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732" name="Google Shape;3732;p53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33" name="Google Shape;3733;p537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734" name="Google Shape;3734;p5377"/>
          <p:cNvGrpSpPr/>
          <p:nvPr/>
        </p:nvGrpSpPr>
        <p:grpSpPr>
          <a:xfrm>
            <a:off x="7191544" y="1"/>
            <a:ext cx="5000459" cy="1425992"/>
            <a:chOff x="7191542" y="1"/>
            <a:chExt cx="5000459" cy="1425992"/>
          </a:xfrm>
        </p:grpSpPr>
        <p:pic>
          <p:nvPicPr>
            <p:cNvPr id="3735" name="Google Shape;3735;p53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36" name="Google Shape;3736;p5377"/>
            <p:cNvGrpSpPr/>
            <p:nvPr/>
          </p:nvGrpSpPr>
          <p:grpSpPr>
            <a:xfrm>
              <a:off x="7191542" y="1"/>
              <a:ext cx="5000459" cy="1425992"/>
              <a:chOff x="7186272" y="0"/>
              <a:chExt cx="5005729" cy="1427495"/>
            </a:xfrm>
          </p:grpSpPr>
          <p:sp>
            <p:nvSpPr>
              <p:cNvPr id="3737" name="Google Shape;3737;p53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738" name="Google Shape;3738;p53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extLst>
      <p:ext uri="{BB962C8B-B14F-4D97-AF65-F5344CB8AC3E}">
        <p14:creationId xmlns:p14="http://schemas.microsoft.com/office/powerpoint/2010/main" val="4113398495"/>
      </p:ext>
    </p:extLst>
  </p:cSld>
  <p:clrMapOvr>
    <a:masterClrMapping/>
  </p:clrMapOvr>
</p:sldLayout>
</file>

<file path=ppt/slideLayouts/slideLayout1549.xml><?xml version="1.0" encoding="utf-8"?>
<p:sldLayout xmlns:a="http://schemas.openxmlformats.org/drawingml/2006/main" xmlns:r="http://schemas.openxmlformats.org/officeDocument/2006/relationships" xmlns:p="http://schemas.openxmlformats.org/presentationml/2006/main" matchingName="8_Photo Slide">
  <p:cSld name="8_Photo Slide">
    <p:spTree>
      <p:nvGrpSpPr>
        <p:cNvPr id="1" name="Shape 3739"/>
        <p:cNvGrpSpPr/>
        <p:nvPr/>
      </p:nvGrpSpPr>
      <p:grpSpPr>
        <a:xfrm>
          <a:off x="0" y="0"/>
          <a:ext cx="0" cy="0"/>
          <a:chOff x="0" y="0"/>
          <a:chExt cx="0" cy="0"/>
        </a:xfrm>
      </p:grpSpPr>
      <p:sp>
        <p:nvSpPr>
          <p:cNvPr id="3740" name="Google Shape;3740;p5378"/>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3741" name="Google Shape;3741;p537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742" name="Google Shape;3742;p5378"/>
          <p:cNvGrpSpPr/>
          <p:nvPr/>
        </p:nvGrpSpPr>
        <p:grpSpPr>
          <a:xfrm>
            <a:off x="0" y="5379428"/>
            <a:ext cx="2807368" cy="753891"/>
            <a:chOff x="0" y="5379426"/>
            <a:chExt cx="2807368" cy="753891"/>
          </a:xfrm>
        </p:grpSpPr>
        <p:sp>
          <p:nvSpPr>
            <p:cNvPr id="3743" name="Google Shape;3743;p537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744" name="Google Shape;3744;p537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3745" name="Google Shape;3745;p5378"/>
          <p:cNvSpPr>
            <a:spLocks noGrp="1"/>
          </p:cNvSpPr>
          <p:nvPr>
            <p:ph type="pic" idx="2"/>
          </p:nvPr>
        </p:nvSpPr>
        <p:spPr>
          <a:xfrm>
            <a:off x="2807368" y="457202"/>
            <a:ext cx="8915400" cy="5943598"/>
          </a:xfrm>
          <a:prstGeom prst="rect">
            <a:avLst/>
          </a:prstGeom>
          <a:noFill/>
          <a:ln>
            <a:noFill/>
          </a:ln>
        </p:spPr>
      </p:sp>
      <p:pic>
        <p:nvPicPr>
          <p:cNvPr id="3746" name="Google Shape;3746;p5378"/>
          <p:cNvPicPr preferRelativeResize="0"/>
          <p:nvPr/>
        </p:nvPicPr>
        <p:blipFill rotWithShape="1">
          <a:blip r:embed="rId2">
            <a:alphaModFix/>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21256202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matchingName="Two Content">
  <p:cSld name="Two Content 9">
    <p:spTree>
      <p:nvGrpSpPr>
        <p:cNvPr id="1" name="Shape 10565"/>
        <p:cNvGrpSpPr/>
        <p:nvPr/>
      </p:nvGrpSpPr>
      <p:grpSpPr>
        <a:xfrm>
          <a:off x="0" y="0"/>
          <a:ext cx="0" cy="0"/>
          <a:chOff x="0" y="0"/>
          <a:chExt cx="0" cy="0"/>
        </a:xfrm>
      </p:grpSpPr>
      <p:sp>
        <p:nvSpPr>
          <p:cNvPr id="10566" name="Google Shape;10566;p14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567" name="Google Shape;10567;p145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568" name="Google Shape;10568;p1459"/>
          <p:cNvGrpSpPr/>
          <p:nvPr/>
        </p:nvGrpSpPr>
        <p:grpSpPr>
          <a:xfrm>
            <a:off x="7191542" y="1"/>
            <a:ext cx="5000459" cy="1425992"/>
            <a:chOff x="7191542" y="1"/>
            <a:chExt cx="5000459" cy="1425992"/>
          </a:xfrm>
        </p:grpSpPr>
        <p:pic>
          <p:nvPicPr>
            <p:cNvPr id="10569" name="Google Shape;10569;p14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570" name="Google Shape;10570;p1459"/>
            <p:cNvGrpSpPr/>
            <p:nvPr/>
          </p:nvGrpSpPr>
          <p:grpSpPr>
            <a:xfrm>
              <a:off x="7191542" y="1"/>
              <a:ext cx="5000459" cy="1425992"/>
              <a:chOff x="7186272" y="0"/>
              <a:chExt cx="5005729" cy="1427495"/>
            </a:xfrm>
          </p:grpSpPr>
          <p:sp>
            <p:nvSpPr>
              <p:cNvPr id="10571" name="Google Shape;10571;p14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572" name="Google Shape;10572;p14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573" name="Google Shape;10573;p145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74" name="Google Shape;10574;p145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575" name="Google Shape;10575;p14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76" name="Google Shape;10576;p14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550.xml><?xml version="1.0" encoding="utf-8"?>
<p:sldLayout xmlns:a="http://schemas.openxmlformats.org/drawingml/2006/main" xmlns:r="http://schemas.openxmlformats.org/officeDocument/2006/relationships" xmlns:p="http://schemas.openxmlformats.org/presentationml/2006/main" matchingName="16_Quotation">
  <p:cSld name="16_Quotation">
    <p:spTree>
      <p:nvGrpSpPr>
        <p:cNvPr id="1" name="Shape 3747"/>
        <p:cNvGrpSpPr/>
        <p:nvPr/>
      </p:nvGrpSpPr>
      <p:grpSpPr>
        <a:xfrm>
          <a:off x="0" y="0"/>
          <a:ext cx="0" cy="0"/>
          <a:chOff x="0" y="0"/>
          <a:chExt cx="0" cy="0"/>
        </a:xfrm>
      </p:grpSpPr>
      <p:sp>
        <p:nvSpPr>
          <p:cNvPr id="3748" name="Google Shape;3748;p5379"/>
          <p:cNvSpPr/>
          <p:nvPr/>
        </p:nvSpPr>
        <p:spPr>
          <a:xfrm>
            <a:off x="1427358"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749" name="Google Shape;3749;p5379"/>
          <p:cNvSpPr txBox="1">
            <a:spLocks noGrp="1"/>
          </p:cNvSpPr>
          <p:nvPr>
            <p:ph type="title"/>
          </p:nvPr>
        </p:nvSpPr>
        <p:spPr>
          <a:xfrm>
            <a:off x="1427358"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50" name="Google Shape;3750;p537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751" name="Google Shape;3751;p5379"/>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752" name="Google Shape;3752;p53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53" name="Google Shape;3753;p537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754" name="Google Shape;3754;p5379"/>
          <p:cNvGrpSpPr/>
          <p:nvPr/>
        </p:nvGrpSpPr>
        <p:grpSpPr>
          <a:xfrm>
            <a:off x="7191544" y="1"/>
            <a:ext cx="5000459" cy="1425992"/>
            <a:chOff x="7191542" y="1"/>
            <a:chExt cx="5000459" cy="1425992"/>
          </a:xfrm>
        </p:grpSpPr>
        <p:pic>
          <p:nvPicPr>
            <p:cNvPr id="3755" name="Google Shape;3755;p53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56" name="Google Shape;3756;p5379"/>
            <p:cNvGrpSpPr/>
            <p:nvPr/>
          </p:nvGrpSpPr>
          <p:grpSpPr>
            <a:xfrm>
              <a:off x="7191542" y="1"/>
              <a:ext cx="5000459" cy="1425992"/>
              <a:chOff x="7186272" y="0"/>
              <a:chExt cx="5005729" cy="1427495"/>
            </a:xfrm>
          </p:grpSpPr>
          <p:sp>
            <p:nvSpPr>
              <p:cNvPr id="3757" name="Google Shape;3757;p53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758" name="Google Shape;3758;p53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759" name="Google Shape;3759;p5379"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1363143253"/>
      </p:ext>
    </p:extLst>
  </p:cSld>
  <p:clrMapOvr>
    <a:masterClrMapping/>
  </p:clrMapOvr>
</p:sldLayout>
</file>

<file path=ppt/slideLayouts/slideLayout1551.xml><?xml version="1.0" encoding="utf-8"?>
<p:sldLayout xmlns:a="http://schemas.openxmlformats.org/drawingml/2006/main" xmlns:r="http://schemas.openxmlformats.org/officeDocument/2006/relationships" xmlns:p="http://schemas.openxmlformats.org/presentationml/2006/main" matchingName="8_Title and Content">
  <p:cSld name="8_Title and Content">
    <p:spTree>
      <p:nvGrpSpPr>
        <p:cNvPr id="1" name="Shape 3760"/>
        <p:cNvGrpSpPr/>
        <p:nvPr/>
      </p:nvGrpSpPr>
      <p:grpSpPr>
        <a:xfrm>
          <a:off x="0" y="0"/>
          <a:ext cx="0" cy="0"/>
          <a:chOff x="0" y="0"/>
          <a:chExt cx="0" cy="0"/>
        </a:xfrm>
      </p:grpSpPr>
      <p:grpSp>
        <p:nvGrpSpPr>
          <p:cNvPr id="3761" name="Google Shape;3761;p5380"/>
          <p:cNvGrpSpPr/>
          <p:nvPr/>
        </p:nvGrpSpPr>
        <p:grpSpPr>
          <a:xfrm>
            <a:off x="7191544" y="1"/>
            <a:ext cx="5000459" cy="1425992"/>
            <a:chOff x="7191542" y="1"/>
            <a:chExt cx="5000459" cy="1425992"/>
          </a:xfrm>
        </p:grpSpPr>
        <p:pic>
          <p:nvPicPr>
            <p:cNvPr id="3762" name="Google Shape;3762;p53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63" name="Google Shape;3763;p5380"/>
            <p:cNvGrpSpPr/>
            <p:nvPr/>
          </p:nvGrpSpPr>
          <p:grpSpPr>
            <a:xfrm>
              <a:off x="7191542" y="1"/>
              <a:ext cx="5000459" cy="1425992"/>
              <a:chOff x="7186272" y="0"/>
              <a:chExt cx="5005729" cy="1427495"/>
            </a:xfrm>
          </p:grpSpPr>
          <p:sp>
            <p:nvSpPr>
              <p:cNvPr id="3764" name="Google Shape;3764;p53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765" name="Google Shape;3765;p53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766" name="Google Shape;3766;p538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67" name="Google Shape;3767;p5380"/>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768" name="Google Shape;3768;p5380"/>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769" name="Google Shape;3769;p53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70" name="Google Shape;3770;p538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601685252"/>
      </p:ext>
    </p:extLst>
  </p:cSld>
  <p:clrMapOvr>
    <a:masterClrMapping/>
  </p:clrMapOvr>
</p:sldLayout>
</file>

<file path=ppt/slideLayouts/slideLayout1552.xml><?xml version="1.0" encoding="utf-8"?>
<p:sldLayout xmlns:a="http://schemas.openxmlformats.org/drawingml/2006/main" xmlns:r="http://schemas.openxmlformats.org/officeDocument/2006/relationships" xmlns:p="http://schemas.openxmlformats.org/presentationml/2006/main" matchingName="8_Two Content">
  <p:cSld name="8_Two Content">
    <p:spTree>
      <p:nvGrpSpPr>
        <p:cNvPr id="1" name="Shape 3771"/>
        <p:cNvGrpSpPr/>
        <p:nvPr/>
      </p:nvGrpSpPr>
      <p:grpSpPr>
        <a:xfrm>
          <a:off x="0" y="0"/>
          <a:ext cx="0" cy="0"/>
          <a:chOff x="0" y="0"/>
          <a:chExt cx="0" cy="0"/>
        </a:xfrm>
      </p:grpSpPr>
      <p:sp>
        <p:nvSpPr>
          <p:cNvPr id="3772" name="Google Shape;3772;p5381"/>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73" name="Google Shape;3773;p5381"/>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3774" name="Google Shape;3774;p5381"/>
          <p:cNvGrpSpPr/>
          <p:nvPr/>
        </p:nvGrpSpPr>
        <p:grpSpPr>
          <a:xfrm>
            <a:off x="7191544" y="1"/>
            <a:ext cx="5000459" cy="1425992"/>
            <a:chOff x="7191542" y="1"/>
            <a:chExt cx="5000459" cy="1425992"/>
          </a:xfrm>
        </p:grpSpPr>
        <p:pic>
          <p:nvPicPr>
            <p:cNvPr id="3775" name="Google Shape;3775;p53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76" name="Google Shape;3776;p5381"/>
            <p:cNvGrpSpPr/>
            <p:nvPr/>
          </p:nvGrpSpPr>
          <p:grpSpPr>
            <a:xfrm>
              <a:off x="7191542" y="1"/>
              <a:ext cx="5000459" cy="1425992"/>
              <a:chOff x="7186272" y="0"/>
              <a:chExt cx="5005729" cy="1427495"/>
            </a:xfrm>
          </p:grpSpPr>
          <p:sp>
            <p:nvSpPr>
              <p:cNvPr id="3777" name="Google Shape;3777;p53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778" name="Google Shape;3778;p53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779" name="Google Shape;3779;p5381"/>
          <p:cNvSpPr txBox="1">
            <a:spLocks noGrp="1"/>
          </p:cNvSpPr>
          <p:nvPr>
            <p:ph type="body" idx="2"/>
          </p:nvPr>
        </p:nvSpPr>
        <p:spPr>
          <a:xfrm>
            <a:off x="6172201"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780" name="Google Shape;3780;p5381"/>
          <p:cNvSpPr txBox="1">
            <a:spLocks noGrp="1"/>
          </p:cNvSpPr>
          <p:nvPr>
            <p:ph type="sldNum" idx="12"/>
          </p:nvPr>
        </p:nvSpPr>
        <p:spPr>
          <a:xfrm>
            <a:off x="8839198"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781" name="Google Shape;3781;p53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82" name="Google Shape;3782;p538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821203166"/>
      </p:ext>
    </p:extLst>
  </p:cSld>
  <p:clrMapOvr>
    <a:masterClrMapping/>
  </p:clrMapOvr>
</p:sldLayout>
</file>

<file path=ppt/slideLayouts/slideLayout1553.xml><?xml version="1.0" encoding="utf-8"?>
<p:sldLayout xmlns:a="http://schemas.openxmlformats.org/drawingml/2006/main" xmlns:r="http://schemas.openxmlformats.org/officeDocument/2006/relationships" xmlns:p="http://schemas.openxmlformats.org/presentationml/2006/main" matchingName="8_Comparison">
  <p:cSld name="8_Comparison">
    <p:spTree>
      <p:nvGrpSpPr>
        <p:cNvPr id="1" name="Shape 3783"/>
        <p:cNvGrpSpPr/>
        <p:nvPr/>
      </p:nvGrpSpPr>
      <p:grpSpPr>
        <a:xfrm>
          <a:off x="0" y="0"/>
          <a:ext cx="0" cy="0"/>
          <a:chOff x="0" y="0"/>
          <a:chExt cx="0" cy="0"/>
        </a:xfrm>
      </p:grpSpPr>
      <p:grpSp>
        <p:nvGrpSpPr>
          <p:cNvPr id="3784" name="Google Shape;3784;p5382"/>
          <p:cNvGrpSpPr/>
          <p:nvPr/>
        </p:nvGrpSpPr>
        <p:grpSpPr>
          <a:xfrm>
            <a:off x="7191544" y="1"/>
            <a:ext cx="5000459" cy="1425992"/>
            <a:chOff x="7191542" y="1"/>
            <a:chExt cx="5000459" cy="1425992"/>
          </a:xfrm>
        </p:grpSpPr>
        <p:pic>
          <p:nvPicPr>
            <p:cNvPr id="3785" name="Google Shape;3785;p53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86" name="Google Shape;3786;p5382"/>
            <p:cNvGrpSpPr/>
            <p:nvPr/>
          </p:nvGrpSpPr>
          <p:grpSpPr>
            <a:xfrm>
              <a:off x="7191542" y="1"/>
              <a:ext cx="5000459" cy="1425992"/>
              <a:chOff x="7186272" y="0"/>
              <a:chExt cx="5005729" cy="1427495"/>
            </a:xfrm>
          </p:grpSpPr>
          <p:sp>
            <p:nvSpPr>
              <p:cNvPr id="3787" name="Google Shape;3787;p53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788" name="Google Shape;3788;p53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789" name="Google Shape;3789;p5382"/>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90" name="Google Shape;3790;p538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3791" name="Google Shape;3791;p538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792" name="Google Shape;3792;p538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3793" name="Google Shape;3793;p538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794" name="Google Shape;3794;p538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795" name="Google Shape;3795;p53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96" name="Google Shape;3796;p538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010374059"/>
      </p:ext>
    </p:extLst>
  </p:cSld>
  <p:clrMapOvr>
    <a:masterClrMapping/>
  </p:clrMapOvr>
</p:sldLayout>
</file>

<file path=ppt/slideLayouts/slideLayout1554.xml><?xml version="1.0" encoding="utf-8"?>
<p:sldLayout xmlns:a="http://schemas.openxmlformats.org/drawingml/2006/main" xmlns:r="http://schemas.openxmlformats.org/officeDocument/2006/relationships" xmlns:p="http://schemas.openxmlformats.org/presentationml/2006/main" matchingName="8_Title Only">
  <p:cSld name="8_Title Only">
    <p:spTree>
      <p:nvGrpSpPr>
        <p:cNvPr id="1" name="Shape 3797"/>
        <p:cNvGrpSpPr/>
        <p:nvPr/>
      </p:nvGrpSpPr>
      <p:grpSpPr>
        <a:xfrm>
          <a:off x="0" y="0"/>
          <a:ext cx="0" cy="0"/>
          <a:chOff x="0" y="0"/>
          <a:chExt cx="0" cy="0"/>
        </a:xfrm>
      </p:grpSpPr>
      <p:grpSp>
        <p:nvGrpSpPr>
          <p:cNvPr id="3798" name="Google Shape;3798;p5383"/>
          <p:cNvGrpSpPr/>
          <p:nvPr/>
        </p:nvGrpSpPr>
        <p:grpSpPr>
          <a:xfrm>
            <a:off x="7191544" y="1"/>
            <a:ext cx="5000459" cy="1425992"/>
            <a:chOff x="7191542" y="1"/>
            <a:chExt cx="5000459" cy="1425992"/>
          </a:xfrm>
        </p:grpSpPr>
        <p:pic>
          <p:nvPicPr>
            <p:cNvPr id="3799" name="Google Shape;3799;p53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00" name="Google Shape;3800;p5383"/>
            <p:cNvGrpSpPr/>
            <p:nvPr/>
          </p:nvGrpSpPr>
          <p:grpSpPr>
            <a:xfrm>
              <a:off x="7191542" y="1"/>
              <a:ext cx="5000459" cy="1425992"/>
              <a:chOff x="7186272" y="0"/>
              <a:chExt cx="5005729" cy="1427495"/>
            </a:xfrm>
          </p:grpSpPr>
          <p:sp>
            <p:nvSpPr>
              <p:cNvPr id="3801" name="Google Shape;3801;p53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802" name="Google Shape;3802;p53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803" name="Google Shape;3803;p5383"/>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04" name="Google Shape;3804;p5383"/>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805" name="Google Shape;3805;p53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06" name="Google Shape;3806;p538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216185146"/>
      </p:ext>
    </p:extLst>
  </p:cSld>
  <p:clrMapOvr>
    <a:masterClrMapping/>
  </p:clrMapOvr>
</p:sldLayout>
</file>

<file path=ppt/slideLayouts/slideLayout1555.xml><?xml version="1.0" encoding="utf-8"?>
<p:sldLayout xmlns:a="http://schemas.openxmlformats.org/drawingml/2006/main" xmlns:r="http://schemas.openxmlformats.org/officeDocument/2006/relationships" xmlns:p="http://schemas.openxmlformats.org/presentationml/2006/main" matchingName="7_End">
  <p:cSld name="7_End">
    <p:spTree>
      <p:nvGrpSpPr>
        <p:cNvPr id="1" name="Shape 3807"/>
        <p:cNvGrpSpPr/>
        <p:nvPr/>
      </p:nvGrpSpPr>
      <p:grpSpPr>
        <a:xfrm>
          <a:off x="0" y="0"/>
          <a:ext cx="0" cy="0"/>
          <a:chOff x="0" y="0"/>
          <a:chExt cx="0" cy="0"/>
        </a:xfrm>
      </p:grpSpPr>
      <p:grpSp>
        <p:nvGrpSpPr>
          <p:cNvPr id="3808" name="Google Shape;3808;p5384"/>
          <p:cNvGrpSpPr/>
          <p:nvPr/>
        </p:nvGrpSpPr>
        <p:grpSpPr>
          <a:xfrm>
            <a:off x="0" y="0"/>
            <a:ext cx="12192000" cy="2148830"/>
            <a:chOff x="0" y="0"/>
            <a:chExt cx="12192000" cy="2148830"/>
          </a:xfrm>
        </p:grpSpPr>
        <p:sp>
          <p:nvSpPr>
            <p:cNvPr id="3809" name="Google Shape;3809;p538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810" name="Google Shape;3810;p538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3811" name="Google Shape;3811;p5384"/>
          <p:cNvSpPr/>
          <p:nvPr/>
        </p:nvSpPr>
        <p:spPr>
          <a:xfrm>
            <a:off x="902368" y="1517699"/>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812" name="Google Shape;3812;p5384"/>
          <p:cNvSpPr txBox="1">
            <a:spLocks noGrp="1"/>
          </p:cNvSpPr>
          <p:nvPr>
            <p:ph type="body" idx="1"/>
          </p:nvPr>
        </p:nvSpPr>
        <p:spPr>
          <a:xfrm>
            <a:off x="1219201" y="3429002"/>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813" name="Google Shape;3813;p538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9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814" name="Google Shape;3814;p5384"/>
          <p:cNvPicPr preferRelativeResize="0"/>
          <p:nvPr/>
        </p:nvPicPr>
        <p:blipFill rotWithShape="1">
          <a:blip r:embed="rId2">
            <a:alphaModFix/>
          </a:blip>
          <a:srcRect/>
          <a:stretch/>
        </p:blipFill>
        <p:spPr>
          <a:xfrm>
            <a:off x="902370" y="228371"/>
            <a:ext cx="2025315" cy="911940"/>
          </a:xfrm>
          <a:prstGeom prst="rect">
            <a:avLst/>
          </a:prstGeom>
          <a:noFill/>
          <a:ln>
            <a:noFill/>
          </a:ln>
        </p:spPr>
      </p:pic>
      <p:sp>
        <p:nvSpPr>
          <p:cNvPr id="3815" name="Google Shape;3815;p5384"/>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16571637"/>
      </p:ext>
    </p:extLst>
  </p:cSld>
  <p:clrMapOvr>
    <a:masterClrMapping/>
  </p:clrMapOvr>
</p:sldLayout>
</file>

<file path=ppt/slideLayouts/slideLayout1556.xml><?xml version="1.0" encoding="utf-8"?>
<p:sldLayout xmlns:a="http://schemas.openxmlformats.org/drawingml/2006/main" xmlns:r="http://schemas.openxmlformats.org/officeDocument/2006/relationships" xmlns:p="http://schemas.openxmlformats.org/presentationml/2006/main" matchingName="6_Blank">
  <p:cSld name="6_Blank">
    <p:spTree>
      <p:nvGrpSpPr>
        <p:cNvPr id="1" name="Shape 3816"/>
        <p:cNvGrpSpPr/>
        <p:nvPr/>
      </p:nvGrpSpPr>
      <p:grpSpPr>
        <a:xfrm>
          <a:off x="0" y="0"/>
          <a:ext cx="0" cy="0"/>
          <a:chOff x="0" y="0"/>
          <a:chExt cx="0" cy="0"/>
        </a:xfrm>
      </p:grpSpPr>
      <p:sp>
        <p:nvSpPr>
          <p:cNvPr id="3817" name="Google Shape;3817;p538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818" name="Google Shape;3818;p53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19" name="Google Shape;3819;p538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820" name="Google Shape;3820;p5385"/>
          <p:cNvGrpSpPr/>
          <p:nvPr/>
        </p:nvGrpSpPr>
        <p:grpSpPr>
          <a:xfrm>
            <a:off x="7191544" y="1"/>
            <a:ext cx="5000459" cy="1425992"/>
            <a:chOff x="7191542" y="1"/>
            <a:chExt cx="5000459" cy="1425992"/>
          </a:xfrm>
        </p:grpSpPr>
        <p:pic>
          <p:nvPicPr>
            <p:cNvPr id="3821" name="Google Shape;3821;p53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22" name="Google Shape;3822;p5385"/>
            <p:cNvGrpSpPr/>
            <p:nvPr/>
          </p:nvGrpSpPr>
          <p:grpSpPr>
            <a:xfrm>
              <a:off x="7191542" y="1"/>
              <a:ext cx="5000459" cy="1425992"/>
              <a:chOff x="7186272" y="0"/>
              <a:chExt cx="5005729" cy="1427495"/>
            </a:xfrm>
          </p:grpSpPr>
          <p:sp>
            <p:nvSpPr>
              <p:cNvPr id="3823" name="Google Shape;3823;p53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824" name="Google Shape;3824;p53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extLst>
      <p:ext uri="{BB962C8B-B14F-4D97-AF65-F5344CB8AC3E}">
        <p14:creationId xmlns:p14="http://schemas.microsoft.com/office/powerpoint/2010/main" val="2767387952"/>
      </p:ext>
    </p:extLst>
  </p:cSld>
  <p:clrMapOvr>
    <a:masterClrMapping/>
  </p:clrMapOvr>
</p:sldLayout>
</file>

<file path=ppt/slideLayouts/slideLayout1557.xml><?xml version="1.0" encoding="utf-8"?>
<p:sldLayout xmlns:a="http://schemas.openxmlformats.org/drawingml/2006/main" xmlns:r="http://schemas.openxmlformats.org/officeDocument/2006/relationships" xmlns:p="http://schemas.openxmlformats.org/presentationml/2006/main" matchingName="17_Quotation">
  <p:cSld name="17_Quotation">
    <p:spTree>
      <p:nvGrpSpPr>
        <p:cNvPr id="1" name="Shape 3825"/>
        <p:cNvGrpSpPr/>
        <p:nvPr/>
      </p:nvGrpSpPr>
      <p:grpSpPr>
        <a:xfrm>
          <a:off x="0" y="0"/>
          <a:ext cx="0" cy="0"/>
          <a:chOff x="0" y="0"/>
          <a:chExt cx="0" cy="0"/>
        </a:xfrm>
      </p:grpSpPr>
      <p:sp>
        <p:nvSpPr>
          <p:cNvPr id="3826" name="Google Shape;3826;p5386"/>
          <p:cNvSpPr/>
          <p:nvPr/>
        </p:nvSpPr>
        <p:spPr>
          <a:xfrm>
            <a:off x="1427358"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827" name="Google Shape;3827;p5386"/>
          <p:cNvSpPr txBox="1">
            <a:spLocks noGrp="1"/>
          </p:cNvSpPr>
          <p:nvPr>
            <p:ph type="title"/>
          </p:nvPr>
        </p:nvSpPr>
        <p:spPr>
          <a:xfrm>
            <a:off x="1427358"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28" name="Google Shape;3828;p538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829" name="Google Shape;3829;p538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830" name="Google Shape;3830;p53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31" name="Google Shape;3831;p538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832" name="Google Shape;3832;p5386"/>
          <p:cNvGrpSpPr/>
          <p:nvPr/>
        </p:nvGrpSpPr>
        <p:grpSpPr>
          <a:xfrm>
            <a:off x="7191544" y="1"/>
            <a:ext cx="5000459" cy="1425992"/>
            <a:chOff x="7191542" y="1"/>
            <a:chExt cx="5000459" cy="1425992"/>
          </a:xfrm>
        </p:grpSpPr>
        <p:pic>
          <p:nvPicPr>
            <p:cNvPr id="3833" name="Google Shape;3833;p53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34" name="Google Shape;3834;p5386"/>
            <p:cNvGrpSpPr/>
            <p:nvPr/>
          </p:nvGrpSpPr>
          <p:grpSpPr>
            <a:xfrm>
              <a:off x="7191542" y="1"/>
              <a:ext cx="5000459" cy="1425992"/>
              <a:chOff x="7186272" y="0"/>
              <a:chExt cx="5005729" cy="1427495"/>
            </a:xfrm>
          </p:grpSpPr>
          <p:sp>
            <p:nvSpPr>
              <p:cNvPr id="3835" name="Google Shape;3835;p53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836" name="Google Shape;3836;p53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837" name="Google Shape;3837;p5386"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3396177816"/>
      </p:ext>
    </p:extLst>
  </p:cSld>
  <p:clrMapOvr>
    <a:masterClrMapping/>
  </p:clrMapOvr>
</p:sldLayout>
</file>

<file path=ppt/slideLayouts/slideLayout1558.xml><?xml version="1.0" encoding="utf-8"?>
<p:sldLayout xmlns:a="http://schemas.openxmlformats.org/drawingml/2006/main" xmlns:r="http://schemas.openxmlformats.org/officeDocument/2006/relationships" xmlns:p="http://schemas.openxmlformats.org/presentationml/2006/main" matchingName="9_Cover">
  <p:cSld name="9_Cover">
    <p:spTree>
      <p:nvGrpSpPr>
        <p:cNvPr id="1" name="Shape 3838"/>
        <p:cNvGrpSpPr/>
        <p:nvPr/>
      </p:nvGrpSpPr>
      <p:grpSpPr>
        <a:xfrm>
          <a:off x="0" y="0"/>
          <a:ext cx="0" cy="0"/>
          <a:chOff x="0" y="0"/>
          <a:chExt cx="0" cy="0"/>
        </a:xfrm>
      </p:grpSpPr>
      <p:sp>
        <p:nvSpPr>
          <p:cNvPr id="3839" name="Google Shape;3839;p5387"/>
          <p:cNvSpPr/>
          <p:nvPr/>
        </p:nvSpPr>
        <p:spPr>
          <a:xfrm>
            <a:off x="902368" y="1294415"/>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840" name="Google Shape;3840;p5387"/>
          <p:cNvSpPr txBox="1">
            <a:spLocks noGrp="1"/>
          </p:cNvSpPr>
          <p:nvPr>
            <p:ph type="ctrTitle"/>
          </p:nvPr>
        </p:nvSpPr>
        <p:spPr>
          <a:xfrm>
            <a:off x="1413312"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41" name="Google Shape;3841;p5387"/>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
        <p:nvSpPr>
          <p:cNvPr id="3842" name="Google Shape;3842;p5387"/>
          <p:cNvSpPr>
            <a:spLocks noGrp="1"/>
          </p:cNvSpPr>
          <p:nvPr>
            <p:ph type="pic" idx="2"/>
          </p:nvPr>
        </p:nvSpPr>
        <p:spPr>
          <a:xfrm>
            <a:off x="7118684" y="233915"/>
            <a:ext cx="5073316" cy="5943600"/>
          </a:xfrm>
          <a:prstGeom prst="rect">
            <a:avLst/>
          </a:prstGeom>
          <a:noFill/>
          <a:ln>
            <a:noFill/>
          </a:ln>
        </p:spPr>
      </p:sp>
      <p:grpSp>
        <p:nvGrpSpPr>
          <p:cNvPr id="3843" name="Google Shape;3843;p5387"/>
          <p:cNvGrpSpPr/>
          <p:nvPr/>
        </p:nvGrpSpPr>
        <p:grpSpPr>
          <a:xfrm>
            <a:off x="0" y="5020350"/>
            <a:ext cx="12192000" cy="1837653"/>
            <a:chOff x="0" y="5020348"/>
            <a:chExt cx="12192000" cy="1837653"/>
          </a:xfrm>
        </p:grpSpPr>
        <p:sp>
          <p:nvSpPr>
            <p:cNvPr id="3844" name="Google Shape;3844;p538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845" name="Google Shape;3845;p538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3846" name="Google Shape;3846;p538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856774626"/>
      </p:ext>
    </p:extLst>
  </p:cSld>
  <p:clrMapOvr>
    <a:masterClrMapping/>
  </p:clrMapOvr>
</p:sldLayout>
</file>

<file path=ppt/slideLayouts/slideLayout1559.xml><?xml version="1.0" encoding="utf-8"?>
<p:sldLayout xmlns:a="http://schemas.openxmlformats.org/drawingml/2006/main" xmlns:r="http://schemas.openxmlformats.org/officeDocument/2006/relationships" xmlns:p="http://schemas.openxmlformats.org/presentationml/2006/main" matchingName="9_Divider">
  <p:cSld name="9_Divider">
    <p:bg>
      <p:bgPr>
        <a:solidFill>
          <a:schemeClr val="lt2"/>
        </a:solidFill>
        <a:effectLst/>
      </p:bgPr>
    </p:bg>
    <p:spTree>
      <p:nvGrpSpPr>
        <p:cNvPr id="1" name="Shape 3847"/>
        <p:cNvGrpSpPr/>
        <p:nvPr/>
      </p:nvGrpSpPr>
      <p:grpSpPr>
        <a:xfrm>
          <a:off x="0" y="0"/>
          <a:ext cx="0" cy="0"/>
          <a:chOff x="0" y="0"/>
          <a:chExt cx="0" cy="0"/>
        </a:xfrm>
      </p:grpSpPr>
      <p:grpSp>
        <p:nvGrpSpPr>
          <p:cNvPr id="3848" name="Google Shape;3848;p5388"/>
          <p:cNvGrpSpPr/>
          <p:nvPr/>
        </p:nvGrpSpPr>
        <p:grpSpPr>
          <a:xfrm>
            <a:off x="0" y="5020349"/>
            <a:ext cx="12192000" cy="1837653"/>
            <a:chOff x="0" y="5020347"/>
            <a:chExt cx="12192000" cy="1837653"/>
          </a:xfrm>
        </p:grpSpPr>
        <p:sp>
          <p:nvSpPr>
            <p:cNvPr id="3849" name="Google Shape;3849;p538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850" name="Google Shape;3850;p538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851" name="Google Shape;3851;p538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3852" name="Google Shape;3852;p538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853" name="Google Shape;3853;p5388"/>
          <p:cNvSpPr txBox="1">
            <a:spLocks noGrp="1"/>
          </p:cNvSpPr>
          <p:nvPr>
            <p:ph type="title"/>
          </p:nvPr>
        </p:nvSpPr>
        <p:spPr>
          <a:xfrm>
            <a:off x="1413310"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54" name="Google Shape;3854;p5388"/>
          <p:cNvSpPr txBox="1">
            <a:spLocks noGrp="1"/>
          </p:cNvSpPr>
          <p:nvPr>
            <p:ph type="subTitle" idx="1"/>
          </p:nvPr>
        </p:nvSpPr>
        <p:spPr>
          <a:xfrm>
            <a:off x="1413310"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Tree>
    <p:extLst>
      <p:ext uri="{BB962C8B-B14F-4D97-AF65-F5344CB8AC3E}">
        <p14:creationId xmlns:p14="http://schemas.microsoft.com/office/powerpoint/2010/main" val="317714975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matchingName="Comparison">
  <p:cSld name="Comparison 8">
    <p:spTree>
      <p:nvGrpSpPr>
        <p:cNvPr id="1" name="Shape 10577"/>
        <p:cNvGrpSpPr/>
        <p:nvPr/>
      </p:nvGrpSpPr>
      <p:grpSpPr>
        <a:xfrm>
          <a:off x="0" y="0"/>
          <a:ext cx="0" cy="0"/>
          <a:chOff x="0" y="0"/>
          <a:chExt cx="0" cy="0"/>
        </a:xfrm>
      </p:grpSpPr>
      <p:grpSp>
        <p:nvGrpSpPr>
          <p:cNvPr id="10578" name="Google Shape;10578;p1460"/>
          <p:cNvGrpSpPr/>
          <p:nvPr/>
        </p:nvGrpSpPr>
        <p:grpSpPr>
          <a:xfrm>
            <a:off x="7191542" y="1"/>
            <a:ext cx="5000459" cy="1425992"/>
            <a:chOff x="7191542" y="1"/>
            <a:chExt cx="5000459" cy="1425992"/>
          </a:xfrm>
        </p:grpSpPr>
        <p:pic>
          <p:nvPicPr>
            <p:cNvPr id="10579" name="Google Shape;10579;p14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580" name="Google Shape;10580;p1460"/>
            <p:cNvGrpSpPr/>
            <p:nvPr/>
          </p:nvGrpSpPr>
          <p:grpSpPr>
            <a:xfrm>
              <a:off x="7191542" y="1"/>
              <a:ext cx="5000459" cy="1425992"/>
              <a:chOff x="7186272" y="0"/>
              <a:chExt cx="5005729" cy="1427495"/>
            </a:xfrm>
          </p:grpSpPr>
          <p:sp>
            <p:nvSpPr>
              <p:cNvPr id="10581" name="Google Shape;10581;p14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582" name="Google Shape;10582;p14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583" name="Google Shape;10583;p14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584" name="Google Shape;10584;p146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585" name="Google Shape;10585;p146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86" name="Google Shape;10586;p146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587" name="Google Shape;10587;p146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88" name="Google Shape;10588;p14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589" name="Google Shape;10589;p14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90" name="Google Shape;10590;p14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560.xml><?xml version="1.0" encoding="utf-8"?>
<p:sldLayout xmlns:a="http://schemas.openxmlformats.org/drawingml/2006/main" xmlns:r="http://schemas.openxmlformats.org/officeDocument/2006/relationships" xmlns:p="http://schemas.openxmlformats.org/presentationml/2006/main" matchingName="9_Photo Slide">
  <p:cSld name="9_Photo Slide">
    <p:spTree>
      <p:nvGrpSpPr>
        <p:cNvPr id="1" name="Shape 3855"/>
        <p:cNvGrpSpPr/>
        <p:nvPr/>
      </p:nvGrpSpPr>
      <p:grpSpPr>
        <a:xfrm>
          <a:off x="0" y="0"/>
          <a:ext cx="0" cy="0"/>
          <a:chOff x="0" y="0"/>
          <a:chExt cx="0" cy="0"/>
        </a:xfrm>
      </p:grpSpPr>
      <p:sp>
        <p:nvSpPr>
          <p:cNvPr id="3856" name="Google Shape;3856;p5389"/>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3857" name="Google Shape;3857;p538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858" name="Google Shape;3858;p5389"/>
          <p:cNvGrpSpPr/>
          <p:nvPr/>
        </p:nvGrpSpPr>
        <p:grpSpPr>
          <a:xfrm>
            <a:off x="0" y="5379428"/>
            <a:ext cx="2807368" cy="753891"/>
            <a:chOff x="0" y="5379426"/>
            <a:chExt cx="2807368" cy="753891"/>
          </a:xfrm>
        </p:grpSpPr>
        <p:sp>
          <p:nvSpPr>
            <p:cNvPr id="3859" name="Google Shape;3859;p538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860" name="Google Shape;3860;p538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3861" name="Google Shape;3861;p5389"/>
          <p:cNvSpPr>
            <a:spLocks noGrp="1"/>
          </p:cNvSpPr>
          <p:nvPr>
            <p:ph type="pic" idx="2"/>
          </p:nvPr>
        </p:nvSpPr>
        <p:spPr>
          <a:xfrm>
            <a:off x="2807368" y="457202"/>
            <a:ext cx="8915400" cy="5943598"/>
          </a:xfrm>
          <a:prstGeom prst="rect">
            <a:avLst/>
          </a:prstGeom>
          <a:noFill/>
          <a:ln>
            <a:noFill/>
          </a:ln>
        </p:spPr>
      </p:sp>
      <p:pic>
        <p:nvPicPr>
          <p:cNvPr id="3862" name="Google Shape;3862;p5389"/>
          <p:cNvPicPr preferRelativeResize="0"/>
          <p:nvPr/>
        </p:nvPicPr>
        <p:blipFill rotWithShape="1">
          <a:blip r:embed="rId2">
            <a:alphaModFix/>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68241856"/>
      </p:ext>
    </p:extLst>
  </p:cSld>
  <p:clrMapOvr>
    <a:masterClrMapping/>
  </p:clrMapOvr>
</p:sldLayout>
</file>

<file path=ppt/slideLayouts/slideLayout1561.xml><?xml version="1.0" encoding="utf-8"?>
<p:sldLayout xmlns:a="http://schemas.openxmlformats.org/drawingml/2006/main" xmlns:r="http://schemas.openxmlformats.org/officeDocument/2006/relationships" xmlns:p="http://schemas.openxmlformats.org/presentationml/2006/main" matchingName="9_Title and Content">
  <p:cSld name="9_Title and Content">
    <p:spTree>
      <p:nvGrpSpPr>
        <p:cNvPr id="1" name="Shape 3863"/>
        <p:cNvGrpSpPr/>
        <p:nvPr/>
      </p:nvGrpSpPr>
      <p:grpSpPr>
        <a:xfrm>
          <a:off x="0" y="0"/>
          <a:ext cx="0" cy="0"/>
          <a:chOff x="0" y="0"/>
          <a:chExt cx="0" cy="0"/>
        </a:xfrm>
      </p:grpSpPr>
      <p:grpSp>
        <p:nvGrpSpPr>
          <p:cNvPr id="3864" name="Google Shape;3864;p5390"/>
          <p:cNvGrpSpPr/>
          <p:nvPr/>
        </p:nvGrpSpPr>
        <p:grpSpPr>
          <a:xfrm>
            <a:off x="7191544" y="1"/>
            <a:ext cx="5000459" cy="1425992"/>
            <a:chOff x="7191542" y="1"/>
            <a:chExt cx="5000459" cy="1425992"/>
          </a:xfrm>
        </p:grpSpPr>
        <p:pic>
          <p:nvPicPr>
            <p:cNvPr id="3865" name="Google Shape;3865;p53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66" name="Google Shape;3866;p5390"/>
            <p:cNvGrpSpPr/>
            <p:nvPr/>
          </p:nvGrpSpPr>
          <p:grpSpPr>
            <a:xfrm>
              <a:off x="7191542" y="1"/>
              <a:ext cx="5000459" cy="1425992"/>
              <a:chOff x="7186272" y="0"/>
              <a:chExt cx="5005729" cy="1427495"/>
            </a:xfrm>
          </p:grpSpPr>
          <p:sp>
            <p:nvSpPr>
              <p:cNvPr id="3867" name="Google Shape;3867;p53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868" name="Google Shape;3868;p53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869" name="Google Shape;3869;p539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70" name="Google Shape;3870;p5390"/>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871" name="Google Shape;3871;p5390"/>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872" name="Google Shape;3872;p53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73" name="Google Shape;3873;p539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134313026"/>
      </p:ext>
    </p:extLst>
  </p:cSld>
  <p:clrMapOvr>
    <a:masterClrMapping/>
  </p:clrMapOvr>
</p:sldLayout>
</file>

<file path=ppt/slideLayouts/slideLayout1562.xml><?xml version="1.0" encoding="utf-8"?>
<p:sldLayout xmlns:a="http://schemas.openxmlformats.org/drawingml/2006/main" xmlns:r="http://schemas.openxmlformats.org/officeDocument/2006/relationships" xmlns:p="http://schemas.openxmlformats.org/presentationml/2006/main" matchingName="9_Two Content">
  <p:cSld name="9_Two Content">
    <p:spTree>
      <p:nvGrpSpPr>
        <p:cNvPr id="1" name="Shape 3874"/>
        <p:cNvGrpSpPr/>
        <p:nvPr/>
      </p:nvGrpSpPr>
      <p:grpSpPr>
        <a:xfrm>
          <a:off x="0" y="0"/>
          <a:ext cx="0" cy="0"/>
          <a:chOff x="0" y="0"/>
          <a:chExt cx="0" cy="0"/>
        </a:xfrm>
      </p:grpSpPr>
      <p:sp>
        <p:nvSpPr>
          <p:cNvPr id="3875" name="Google Shape;3875;p5391"/>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76" name="Google Shape;3876;p5391"/>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3877" name="Google Shape;3877;p5391"/>
          <p:cNvGrpSpPr/>
          <p:nvPr/>
        </p:nvGrpSpPr>
        <p:grpSpPr>
          <a:xfrm>
            <a:off x="7191544" y="1"/>
            <a:ext cx="5000459" cy="1425992"/>
            <a:chOff x="7191542" y="1"/>
            <a:chExt cx="5000459" cy="1425992"/>
          </a:xfrm>
        </p:grpSpPr>
        <p:pic>
          <p:nvPicPr>
            <p:cNvPr id="3878" name="Google Shape;3878;p53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79" name="Google Shape;3879;p5391"/>
            <p:cNvGrpSpPr/>
            <p:nvPr/>
          </p:nvGrpSpPr>
          <p:grpSpPr>
            <a:xfrm>
              <a:off x="7191542" y="1"/>
              <a:ext cx="5000459" cy="1425992"/>
              <a:chOff x="7186272" y="0"/>
              <a:chExt cx="5005729" cy="1427495"/>
            </a:xfrm>
          </p:grpSpPr>
          <p:sp>
            <p:nvSpPr>
              <p:cNvPr id="3880" name="Google Shape;3880;p53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881" name="Google Shape;3881;p53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882" name="Google Shape;3882;p5391"/>
          <p:cNvSpPr txBox="1">
            <a:spLocks noGrp="1"/>
          </p:cNvSpPr>
          <p:nvPr>
            <p:ph type="body" idx="2"/>
          </p:nvPr>
        </p:nvSpPr>
        <p:spPr>
          <a:xfrm>
            <a:off x="6172201"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883" name="Google Shape;3883;p5391"/>
          <p:cNvSpPr txBox="1">
            <a:spLocks noGrp="1"/>
          </p:cNvSpPr>
          <p:nvPr>
            <p:ph type="sldNum" idx="12"/>
          </p:nvPr>
        </p:nvSpPr>
        <p:spPr>
          <a:xfrm>
            <a:off x="8839198"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884" name="Google Shape;3884;p53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85" name="Google Shape;3885;p539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01631676"/>
      </p:ext>
    </p:extLst>
  </p:cSld>
  <p:clrMapOvr>
    <a:masterClrMapping/>
  </p:clrMapOvr>
</p:sldLayout>
</file>

<file path=ppt/slideLayouts/slideLayout1563.xml><?xml version="1.0" encoding="utf-8"?>
<p:sldLayout xmlns:a="http://schemas.openxmlformats.org/drawingml/2006/main" xmlns:r="http://schemas.openxmlformats.org/officeDocument/2006/relationships" xmlns:p="http://schemas.openxmlformats.org/presentationml/2006/main" matchingName="9_Comparison">
  <p:cSld name="9_Comparison">
    <p:spTree>
      <p:nvGrpSpPr>
        <p:cNvPr id="1" name="Shape 3886"/>
        <p:cNvGrpSpPr/>
        <p:nvPr/>
      </p:nvGrpSpPr>
      <p:grpSpPr>
        <a:xfrm>
          <a:off x="0" y="0"/>
          <a:ext cx="0" cy="0"/>
          <a:chOff x="0" y="0"/>
          <a:chExt cx="0" cy="0"/>
        </a:xfrm>
      </p:grpSpPr>
      <p:grpSp>
        <p:nvGrpSpPr>
          <p:cNvPr id="3887" name="Google Shape;3887;p5392"/>
          <p:cNvGrpSpPr/>
          <p:nvPr/>
        </p:nvGrpSpPr>
        <p:grpSpPr>
          <a:xfrm>
            <a:off x="7191544" y="1"/>
            <a:ext cx="5000459" cy="1425992"/>
            <a:chOff x="7191542" y="1"/>
            <a:chExt cx="5000459" cy="1425992"/>
          </a:xfrm>
        </p:grpSpPr>
        <p:pic>
          <p:nvPicPr>
            <p:cNvPr id="3888" name="Google Shape;3888;p53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89" name="Google Shape;3889;p5392"/>
            <p:cNvGrpSpPr/>
            <p:nvPr/>
          </p:nvGrpSpPr>
          <p:grpSpPr>
            <a:xfrm>
              <a:off x="7191542" y="1"/>
              <a:ext cx="5000459" cy="1425992"/>
              <a:chOff x="7186272" y="0"/>
              <a:chExt cx="5005729" cy="1427495"/>
            </a:xfrm>
          </p:grpSpPr>
          <p:sp>
            <p:nvSpPr>
              <p:cNvPr id="3890" name="Google Shape;3890;p53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891" name="Google Shape;3891;p53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892" name="Google Shape;3892;p5392"/>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93" name="Google Shape;3893;p539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3894" name="Google Shape;3894;p539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895" name="Google Shape;3895;p539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3896" name="Google Shape;3896;p539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897" name="Google Shape;3897;p539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898" name="Google Shape;3898;p53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99" name="Google Shape;3899;p539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98959593"/>
      </p:ext>
    </p:extLst>
  </p:cSld>
  <p:clrMapOvr>
    <a:masterClrMapping/>
  </p:clrMapOvr>
</p:sldLayout>
</file>

<file path=ppt/slideLayouts/slideLayout1564.xml><?xml version="1.0" encoding="utf-8"?>
<p:sldLayout xmlns:a="http://schemas.openxmlformats.org/drawingml/2006/main" xmlns:r="http://schemas.openxmlformats.org/officeDocument/2006/relationships" xmlns:p="http://schemas.openxmlformats.org/presentationml/2006/main" matchingName="9_Title Only">
  <p:cSld name="9_Title Only">
    <p:spTree>
      <p:nvGrpSpPr>
        <p:cNvPr id="1" name="Shape 3900"/>
        <p:cNvGrpSpPr/>
        <p:nvPr/>
      </p:nvGrpSpPr>
      <p:grpSpPr>
        <a:xfrm>
          <a:off x="0" y="0"/>
          <a:ext cx="0" cy="0"/>
          <a:chOff x="0" y="0"/>
          <a:chExt cx="0" cy="0"/>
        </a:xfrm>
      </p:grpSpPr>
      <p:grpSp>
        <p:nvGrpSpPr>
          <p:cNvPr id="3901" name="Google Shape;3901;p5393"/>
          <p:cNvGrpSpPr/>
          <p:nvPr/>
        </p:nvGrpSpPr>
        <p:grpSpPr>
          <a:xfrm>
            <a:off x="7191544" y="1"/>
            <a:ext cx="5000459" cy="1425992"/>
            <a:chOff x="7191542" y="1"/>
            <a:chExt cx="5000459" cy="1425992"/>
          </a:xfrm>
        </p:grpSpPr>
        <p:pic>
          <p:nvPicPr>
            <p:cNvPr id="3902" name="Google Shape;3902;p53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03" name="Google Shape;3903;p5393"/>
            <p:cNvGrpSpPr/>
            <p:nvPr/>
          </p:nvGrpSpPr>
          <p:grpSpPr>
            <a:xfrm>
              <a:off x="7191542" y="1"/>
              <a:ext cx="5000459" cy="1425992"/>
              <a:chOff x="7186272" y="0"/>
              <a:chExt cx="5005729" cy="1427495"/>
            </a:xfrm>
          </p:grpSpPr>
          <p:sp>
            <p:nvSpPr>
              <p:cNvPr id="3904" name="Google Shape;3904;p53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905" name="Google Shape;3905;p53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906" name="Google Shape;3906;p5393"/>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07" name="Google Shape;3907;p5393"/>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908" name="Google Shape;3908;p53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909" name="Google Shape;3909;p539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297108381"/>
      </p:ext>
    </p:extLst>
  </p:cSld>
  <p:clrMapOvr>
    <a:masterClrMapping/>
  </p:clrMapOvr>
</p:sldLayout>
</file>

<file path=ppt/slideLayouts/slideLayout1565.xml><?xml version="1.0" encoding="utf-8"?>
<p:sldLayout xmlns:a="http://schemas.openxmlformats.org/drawingml/2006/main" xmlns:r="http://schemas.openxmlformats.org/officeDocument/2006/relationships" xmlns:p="http://schemas.openxmlformats.org/presentationml/2006/main" matchingName="8_End">
  <p:cSld name="8_End">
    <p:spTree>
      <p:nvGrpSpPr>
        <p:cNvPr id="1" name="Shape 3910"/>
        <p:cNvGrpSpPr/>
        <p:nvPr/>
      </p:nvGrpSpPr>
      <p:grpSpPr>
        <a:xfrm>
          <a:off x="0" y="0"/>
          <a:ext cx="0" cy="0"/>
          <a:chOff x="0" y="0"/>
          <a:chExt cx="0" cy="0"/>
        </a:xfrm>
      </p:grpSpPr>
      <p:grpSp>
        <p:nvGrpSpPr>
          <p:cNvPr id="3911" name="Google Shape;3911;p5394"/>
          <p:cNvGrpSpPr/>
          <p:nvPr/>
        </p:nvGrpSpPr>
        <p:grpSpPr>
          <a:xfrm>
            <a:off x="0" y="0"/>
            <a:ext cx="12192000" cy="2148830"/>
            <a:chOff x="0" y="0"/>
            <a:chExt cx="12192000" cy="2148830"/>
          </a:xfrm>
        </p:grpSpPr>
        <p:sp>
          <p:nvSpPr>
            <p:cNvPr id="3912" name="Google Shape;3912;p539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913" name="Google Shape;3913;p539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3914" name="Google Shape;3914;p5394"/>
          <p:cNvSpPr/>
          <p:nvPr/>
        </p:nvSpPr>
        <p:spPr>
          <a:xfrm>
            <a:off x="902368" y="1517699"/>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915" name="Google Shape;3915;p5394"/>
          <p:cNvSpPr txBox="1">
            <a:spLocks noGrp="1"/>
          </p:cNvSpPr>
          <p:nvPr>
            <p:ph type="body" idx="1"/>
          </p:nvPr>
        </p:nvSpPr>
        <p:spPr>
          <a:xfrm>
            <a:off x="1219201" y="3429002"/>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916" name="Google Shape;3916;p539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9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917" name="Google Shape;3917;p5394"/>
          <p:cNvPicPr preferRelativeResize="0"/>
          <p:nvPr/>
        </p:nvPicPr>
        <p:blipFill rotWithShape="1">
          <a:blip r:embed="rId2">
            <a:alphaModFix/>
          </a:blip>
          <a:srcRect/>
          <a:stretch/>
        </p:blipFill>
        <p:spPr>
          <a:xfrm>
            <a:off x="902370" y="228371"/>
            <a:ext cx="2025315" cy="911940"/>
          </a:xfrm>
          <a:prstGeom prst="rect">
            <a:avLst/>
          </a:prstGeom>
          <a:noFill/>
          <a:ln>
            <a:noFill/>
          </a:ln>
        </p:spPr>
      </p:pic>
      <p:sp>
        <p:nvSpPr>
          <p:cNvPr id="3918" name="Google Shape;3918;p5394"/>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822386023"/>
      </p:ext>
    </p:extLst>
  </p:cSld>
  <p:clrMapOvr>
    <a:masterClrMapping/>
  </p:clrMapOvr>
</p:sldLayout>
</file>

<file path=ppt/slideLayouts/slideLayout1566.xml><?xml version="1.0" encoding="utf-8"?>
<p:sldLayout xmlns:a="http://schemas.openxmlformats.org/drawingml/2006/main" xmlns:r="http://schemas.openxmlformats.org/officeDocument/2006/relationships" xmlns:p="http://schemas.openxmlformats.org/presentationml/2006/main" matchingName="7_Blank">
  <p:cSld name="7_Blank">
    <p:spTree>
      <p:nvGrpSpPr>
        <p:cNvPr id="1" name="Shape 3919"/>
        <p:cNvGrpSpPr/>
        <p:nvPr/>
      </p:nvGrpSpPr>
      <p:grpSpPr>
        <a:xfrm>
          <a:off x="0" y="0"/>
          <a:ext cx="0" cy="0"/>
          <a:chOff x="0" y="0"/>
          <a:chExt cx="0" cy="0"/>
        </a:xfrm>
      </p:grpSpPr>
      <p:sp>
        <p:nvSpPr>
          <p:cNvPr id="3920" name="Google Shape;3920;p539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921" name="Google Shape;3921;p53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922" name="Google Shape;3922;p539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923" name="Google Shape;3923;p5395"/>
          <p:cNvGrpSpPr/>
          <p:nvPr/>
        </p:nvGrpSpPr>
        <p:grpSpPr>
          <a:xfrm>
            <a:off x="7191544" y="1"/>
            <a:ext cx="5000459" cy="1425992"/>
            <a:chOff x="7191542" y="1"/>
            <a:chExt cx="5000459" cy="1425992"/>
          </a:xfrm>
        </p:grpSpPr>
        <p:pic>
          <p:nvPicPr>
            <p:cNvPr id="3924" name="Google Shape;3924;p53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25" name="Google Shape;3925;p5395"/>
            <p:cNvGrpSpPr/>
            <p:nvPr/>
          </p:nvGrpSpPr>
          <p:grpSpPr>
            <a:xfrm>
              <a:off x="7191542" y="1"/>
              <a:ext cx="5000459" cy="1425992"/>
              <a:chOff x="7186272" y="0"/>
              <a:chExt cx="5005729" cy="1427495"/>
            </a:xfrm>
          </p:grpSpPr>
          <p:sp>
            <p:nvSpPr>
              <p:cNvPr id="3926" name="Google Shape;3926;p53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927" name="Google Shape;3927;p53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extLst>
      <p:ext uri="{BB962C8B-B14F-4D97-AF65-F5344CB8AC3E}">
        <p14:creationId xmlns:p14="http://schemas.microsoft.com/office/powerpoint/2010/main" val="951786240"/>
      </p:ext>
    </p:extLst>
  </p:cSld>
  <p:clrMapOvr>
    <a:masterClrMapping/>
  </p:clrMapOvr>
</p:sldLayout>
</file>

<file path=ppt/slideLayouts/slideLayout1567.xml><?xml version="1.0" encoding="utf-8"?>
<p:sldLayout xmlns:a="http://schemas.openxmlformats.org/drawingml/2006/main" xmlns:r="http://schemas.openxmlformats.org/officeDocument/2006/relationships" xmlns:p="http://schemas.openxmlformats.org/presentationml/2006/main" matchingName="10_Cover">
  <p:cSld name="10_Cover">
    <p:spTree>
      <p:nvGrpSpPr>
        <p:cNvPr id="1" name="Shape 3928"/>
        <p:cNvGrpSpPr/>
        <p:nvPr/>
      </p:nvGrpSpPr>
      <p:grpSpPr>
        <a:xfrm>
          <a:off x="0" y="0"/>
          <a:ext cx="0" cy="0"/>
          <a:chOff x="0" y="0"/>
          <a:chExt cx="0" cy="0"/>
        </a:xfrm>
      </p:grpSpPr>
      <p:sp>
        <p:nvSpPr>
          <p:cNvPr id="3929" name="Google Shape;3929;p5396"/>
          <p:cNvSpPr/>
          <p:nvPr/>
        </p:nvSpPr>
        <p:spPr>
          <a:xfrm>
            <a:off x="902368" y="1294415"/>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930" name="Google Shape;3930;p5396"/>
          <p:cNvSpPr txBox="1">
            <a:spLocks noGrp="1"/>
          </p:cNvSpPr>
          <p:nvPr>
            <p:ph type="ctrTitle"/>
          </p:nvPr>
        </p:nvSpPr>
        <p:spPr>
          <a:xfrm>
            <a:off x="1413312"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31" name="Google Shape;3931;p5396"/>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
        <p:nvSpPr>
          <p:cNvPr id="3932" name="Google Shape;3932;p5396"/>
          <p:cNvSpPr>
            <a:spLocks noGrp="1"/>
          </p:cNvSpPr>
          <p:nvPr>
            <p:ph type="pic" idx="2"/>
          </p:nvPr>
        </p:nvSpPr>
        <p:spPr>
          <a:xfrm>
            <a:off x="7118684" y="233915"/>
            <a:ext cx="5073316" cy="5943600"/>
          </a:xfrm>
          <a:prstGeom prst="rect">
            <a:avLst/>
          </a:prstGeom>
          <a:noFill/>
          <a:ln>
            <a:noFill/>
          </a:ln>
        </p:spPr>
      </p:sp>
      <p:grpSp>
        <p:nvGrpSpPr>
          <p:cNvPr id="3933" name="Google Shape;3933;p5396"/>
          <p:cNvGrpSpPr/>
          <p:nvPr/>
        </p:nvGrpSpPr>
        <p:grpSpPr>
          <a:xfrm>
            <a:off x="0" y="5020350"/>
            <a:ext cx="12192000" cy="1837653"/>
            <a:chOff x="0" y="5020348"/>
            <a:chExt cx="12192000" cy="1837653"/>
          </a:xfrm>
        </p:grpSpPr>
        <p:sp>
          <p:nvSpPr>
            <p:cNvPr id="3934" name="Google Shape;3934;p539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935" name="Google Shape;3935;p539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3936" name="Google Shape;3936;p539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026236856"/>
      </p:ext>
    </p:extLst>
  </p:cSld>
  <p:clrMapOvr>
    <a:masterClrMapping/>
  </p:clrMapOvr>
</p:sldLayout>
</file>

<file path=ppt/slideLayouts/slideLayout1568.xml><?xml version="1.0" encoding="utf-8"?>
<p:sldLayout xmlns:a="http://schemas.openxmlformats.org/drawingml/2006/main" xmlns:r="http://schemas.openxmlformats.org/officeDocument/2006/relationships" xmlns:p="http://schemas.openxmlformats.org/presentationml/2006/main" matchingName="10_Divider">
  <p:cSld name="10_Divider">
    <p:bg>
      <p:bgPr>
        <a:solidFill>
          <a:schemeClr val="lt2"/>
        </a:solidFill>
        <a:effectLst/>
      </p:bgPr>
    </p:bg>
    <p:spTree>
      <p:nvGrpSpPr>
        <p:cNvPr id="1" name="Shape 3937"/>
        <p:cNvGrpSpPr/>
        <p:nvPr/>
      </p:nvGrpSpPr>
      <p:grpSpPr>
        <a:xfrm>
          <a:off x="0" y="0"/>
          <a:ext cx="0" cy="0"/>
          <a:chOff x="0" y="0"/>
          <a:chExt cx="0" cy="0"/>
        </a:xfrm>
      </p:grpSpPr>
      <p:grpSp>
        <p:nvGrpSpPr>
          <p:cNvPr id="3938" name="Google Shape;3938;p5397"/>
          <p:cNvGrpSpPr/>
          <p:nvPr/>
        </p:nvGrpSpPr>
        <p:grpSpPr>
          <a:xfrm>
            <a:off x="0" y="5020349"/>
            <a:ext cx="12192000" cy="1837653"/>
            <a:chOff x="0" y="5020347"/>
            <a:chExt cx="12192000" cy="1837653"/>
          </a:xfrm>
        </p:grpSpPr>
        <p:sp>
          <p:nvSpPr>
            <p:cNvPr id="3939" name="Google Shape;3939;p539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940" name="Google Shape;3940;p539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941" name="Google Shape;3941;p539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3942" name="Google Shape;3942;p539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943" name="Google Shape;3943;p5397"/>
          <p:cNvSpPr txBox="1">
            <a:spLocks noGrp="1"/>
          </p:cNvSpPr>
          <p:nvPr>
            <p:ph type="title"/>
          </p:nvPr>
        </p:nvSpPr>
        <p:spPr>
          <a:xfrm>
            <a:off x="1413310"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44" name="Google Shape;3944;p5397"/>
          <p:cNvSpPr txBox="1">
            <a:spLocks noGrp="1"/>
          </p:cNvSpPr>
          <p:nvPr>
            <p:ph type="subTitle" idx="1"/>
          </p:nvPr>
        </p:nvSpPr>
        <p:spPr>
          <a:xfrm>
            <a:off x="1413310"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Tree>
    <p:extLst>
      <p:ext uri="{BB962C8B-B14F-4D97-AF65-F5344CB8AC3E}">
        <p14:creationId xmlns:p14="http://schemas.microsoft.com/office/powerpoint/2010/main" val="729771505"/>
      </p:ext>
    </p:extLst>
  </p:cSld>
  <p:clrMapOvr>
    <a:masterClrMapping/>
  </p:clrMapOvr>
</p:sldLayout>
</file>

<file path=ppt/slideLayouts/slideLayout1569.xml><?xml version="1.0" encoding="utf-8"?>
<p:sldLayout xmlns:a="http://schemas.openxmlformats.org/drawingml/2006/main" xmlns:r="http://schemas.openxmlformats.org/officeDocument/2006/relationships" xmlns:p="http://schemas.openxmlformats.org/presentationml/2006/main" matchingName="19_Quotation">
  <p:cSld name="19_Quotation">
    <p:spTree>
      <p:nvGrpSpPr>
        <p:cNvPr id="1" name="Shape 3945"/>
        <p:cNvGrpSpPr/>
        <p:nvPr/>
      </p:nvGrpSpPr>
      <p:grpSpPr>
        <a:xfrm>
          <a:off x="0" y="0"/>
          <a:ext cx="0" cy="0"/>
          <a:chOff x="0" y="0"/>
          <a:chExt cx="0" cy="0"/>
        </a:xfrm>
      </p:grpSpPr>
      <p:sp>
        <p:nvSpPr>
          <p:cNvPr id="3946" name="Google Shape;3946;p5398"/>
          <p:cNvSpPr/>
          <p:nvPr/>
        </p:nvSpPr>
        <p:spPr>
          <a:xfrm>
            <a:off x="1427358"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947" name="Google Shape;3947;p5398"/>
          <p:cNvSpPr txBox="1">
            <a:spLocks noGrp="1"/>
          </p:cNvSpPr>
          <p:nvPr>
            <p:ph type="title"/>
          </p:nvPr>
        </p:nvSpPr>
        <p:spPr>
          <a:xfrm>
            <a:off x="1427358"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48" name="Google Shape;3948;p539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949" name="Google Shape;3949;p5398"/>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950" name="Google Shape;3950;p53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951" name="Google Shape;3951;p539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952" name="Google Shape;3952;p5398"/>
          <p:cNvGrpSpPr/>
          <p:nvPr/>
        </p:nvGrpSpPr>
        <p:grpSpPr>
          <a:xfrm>
            <a:off x="7191544" y="1"/>
            <a:ext cx="5000459" cy="1425992"/>
            <a:chOff x="7191542" y="1"/>
            <a:chExt cx="5000459" cy="1425992"/>
          </a:xfrm>
        </p:grpSpPr>
        <p:pic>
          <p:nvPicPr>
            <p:cNvPr id="3953" name="Google Shape;3953;p53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54" name="Google Shape;3954;p5398"/>
            <p:cNvGrpSpPr/>
            <p:nvPr/>
          </p:nvGrpSpPr>
          <p:grpSpPr>
            <a:xfrm>
              <a:off x="7191542" y="1"/>
              <a:ext cx="5000459" cy="1425992"/>
              <a:chOff x="7186272" y="0"/>
              <a:chExt cx="5005729" cy="1427495"/>
            </a:xfrm>
          </p:grpSpPr>
          <p:sp>
            <p:nvSpPr>
              <p:cNvPr id="3955" name="Google Shape;3955;p53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956" name="Google Shape;3956;p53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957" name="Google Shape;3957;p5398"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299062303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matchingName="Title Only">
  <p:cSld name="Title Only 8">
    <p:spTree>
      <p:nvGrpSpPr>
        <p:cNvPr id="1" name="Shape 10591"/>
        <p:cNvGrpSpPr/>
        <p:nvPr/>
      </p:nvGrpSpPr>
      <p:grpSpPr>
        <a:xfrm>
          <a:off x="0" y="0"/>
          <a:ext cx="0" cy="0"/>
          <a:chOff x="0" y="0"/>
          <a:chExt cx="0" cy="0"/>
        </a:xfrm>
      </p:grpSpPr>
      <p:grpSp>
        <p:nvGrpSpPr>
          <p:cNvPr id="10592" name="Google Shape;10592;p1461"/>
          <p:cNvGrpSpPr/>
          <p:nvPr/>
        </p:nvGrpSpPr>
        <p:grpSpPr>
          <a:xfrm>
            <a:off x="7191542" y="1"/>
            <a:ext cx="5000459" cy="1425992"/>
            <a:chOff x="7191542" y="1"/>
            <a:chExt cx="5000459" cy="1425992"/>
          </a:xfrm>
        </p:grpSpPr>
        <p:pic>
          <p:nvPicPr>
            <p:cNvPr id="10593" name="Google Shape;10593;p14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594" name="Google Shape;10594;p1461"/>
            <p:cNvGrpSpPr/>
            <p:nvPr/>
          </p:nvGrpSpPr>
          <p:grpSpPr>
            <a:xfrm>
              <a:off x="7191542" y="1"/>
              <a:ext cx="5000459" cy="1425992"/>
              <a:chOff x="7186272" y="0"/>
              <a:chExt cx="5005729" cy="1427495"/>
            </a:xfrm>
          </p:grpSpPr>
          <p:sp>
            <p:nvSpPr>
              <p:cNvPr id="10595" name="Google Shape;10595;p14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596" name="Google Shape;10596;p14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597" name="Google Shape;10597;p146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598" name="Google Shape;10598;p14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599" name="Google Shape;10599;p14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00" name="Google Shape;10600;p14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570.xml><?xml version="1.0" encoding="utf-8"?>
<p:sldLayout xmlns:a="http://schemas.openxmlformats.org/drawingml/2006/main" xmlns:r="http://schemas.openxmlformats.org/officeDocument/2006/relationships" xmlns:p="http://schemas.openxmlformats.org/presentationml/2006/main" matchingName="10_Photo Slide">
  <p:cSld name="10_Photo Slide">
    <p:spTree>
      <p:nvGrpSpPr>
        <p:cNvPr id="1" name="Shape 3958"/>
        <p:cNvGrpSpPr/>
        <p:nvPr/>
      </p:nvGrpSpPr>
      <p:grpSpPr>
        <a:xfrm>
          <a:off x="0" y="0"/>
          <a:ext cx="0" cy="0"/>
          <a:chOff x="0" y="0"/>
          <a:chExt cx="0" cy="0"/>
        </a:xfrm>
      </p:grpSpPr>
      <p:sp>
        <p:nvSpPr>
          <p:cNvPr id="3959" name="Google Shape;3959;p5399"/>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3960" name="Google Shape;3960;p539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961" name="Google Shape;3961;p5399"/>
          <p:cNvGrpSpPr/>
          <p:nvPr/>
        </p:nvGrpSpPr>
        <p:grpSpPr>
          <a:xfrm>
            <a:off x="0" y="5379428"/>
            <a:ext cx="2807368" cy="753891"/>
            <a:chOff x="0" y="5379426"/>
            <a:chExt cx="2807368" cy="753891"/>
          </a:xfrm>
        </p:grpSpPr>
        <p:sp>
          <p:nvSpPr>
            <p:cNvPr id="3962" name="Google Shape;3962;p539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963" name="Google Shape;3963;p539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3964" name="Google Shape;3964;p5399"/>
          <p:cNvSpPr>
            <a:spLocks noGrp="1"/>
          </p:cNvSpPr>
          <p:nvPr>
            <p:ph type="pic" idx="2"/>
          </p:nvPr>
        </p:nvSpPr>
        <p:spPr>
          <a:xfrm>
            <a:off x="2807368" y="457202"/>
            <a:ext cx="8915400" cy="5943598"/>
          </a:xfrm>
          <a:prstGeom prst="rect">
            <a:avLst/>
          </a:prstGeom>
          <a:noFill/>
          <a:ln>
            <a:noFill/>
          </a:ln>
        </p:spPr>
      </p:sp>
      <p:pic>
        <p:nvPicPr>
          <p:cNvPr id="3965" name="Google Shape;3965;p5399"/>
          <p:cNvPicPr preferRelativeResize="0"/>
          <p:nvPr/>
        </p:nvPicPr>
        <p:blipFill rotWithShape="1">
          <a:blip r:embed="rId2">
            <a:alphaModFix/>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461047023"/>
      </p:ext>
    </p:extLst>
  </p:cSld>
  <p:clrMapOvr>
    <a:masterClrMapping/>
  </p:clrMapOvr>
</p:sldLayout>
</file>

<file path=ppt/slideLayouts/slideLayout1571.xml><?xml version="1.0" encoding="utf-8"?>
<p:sldLayout xmlns:a="http://schemas.openxmlformats.org/drawingml/2006/main" xmlns:r="http://schemas.openxmlformats.org/officeDocument/2006/relationships" xmlns:p="http://schemas.openxmlformats.org/presentationml/2006/main" matchingName="20_Quotation">
  <p:cSld name="20_Quotation">
    <p:spTree>
      <p:nvGrpSpPr>
        <p:cNvPr id="1" name="Shape 3966"/>
        <p:cNvGrpSpPr/>
        <p:nvPr/>
      </p:nvGrpSpPr>
      <p:grpSpPr>
        <a:xfrm>
          <a:off x="0" y="0"/>
          <a:ext cx="0" cy="0"/>
          <a:chOff x="0" y="0"/>
          <a:chExt cx="0" cy="0"/>
        </a:xfrm>
      </p:grpSpPr>
      <p:sp>
        <p:nvSpPr>
          <p:cNvPr id="3967" name="Google Shape;3967;p5400"/>
          <p:cNvSpPr/>
          <p:nvPr/>
        </p:nvSpPr>
        <p:spPr>
          <a:xfrm>
            <a:off x="1427358"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968" name="Google Shape;3968;p5400"/>
          <p:cNvSpPr txBox="1">
            <a:spLocks noGrp="1"/>
          </p:cNvSpPr>
          <p:nvPr>
            <p:ph type="title"/>
          </p:nvPr>
        </p:nvSpPr>
        <p:spPr>
          <a:xfrm>
            <a:off x="1427358"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69" name="Google Shape;3969;p540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970" name="Google Shape;3970;p5400"/>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971" name="Google Shape;3971;p54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972" name="Google Shape;3972;p540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973" name="Google Shape;3973;p5400"/>
          <p:cNvGrpSpPr/>
          <p:nvPr/>
        </p:nvGrpSpPr>
        <p:grpSpPr>
          <a:xfrm>
            <a:off x="7191544" y="1"/>
            <a:ext cx="5000459" cy="1425992"/>
            <a:chOff x="7191542" y="1"/>
            <a:chExt cx="5000459" cy="1425992"/>
          </a:xfrm>
        </p:grpSpPr>
        <p:pic>
          <p:nvPicPr>
            <p:cNvPr id="3974" name="Google Shape;3974;p54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75" name="Google Shape;3975;p5400"/>
            <p:cNvGrpSpPr/>
            <p:nvPr/>
          </p:nvGrpSpPr>
          <p:grpSpPr>
            <a:xfrm>
              <a:off x="7191542" y="1"/>
              <a:ext cx="5000459" cy="1425992"/>
              <a:chOff x="7186272" y="0"/>
              <a:chExt cx="5005729" cy="1427495"/>
            </a:xfrm>
          </p:grpSpPr>
          <p:sp>
            <p:nvSpPr>
              <p:cNvPr id="3976" name="Google Shape;3976;p54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977" name="Google Shape;3977;p54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978" name="Google Shape;3978;p5400"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3439939160"/>
      </p:ext>
    </p:extLst>
  </p:cSld>
  <p:clrMapOvr>
    <a:masterClrMapping/>
  </p:clrMapOvr>
</p:sldLayout>
</file>

<file path=ppt/slideLayouts/slideLayout1572.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spTree>
      <p:nvGrpSpPr>
        <p:cNvPr id="1" name="Shape 3979"/>
        <p:cNvGrpSpPr/>
        <p:nvPr/>
      </p:nvGrpSpPr>
      <p:grpSpPr>
        <a:xfrm>
          <a:off x="0" y="0"/>
          <a:ext cx="0" cy="0"/>
          <a:chOff x="0" y="0"/>
          <a:chExt cx="0" cy="0"/>
        </a:xfrm>
      </p:grpSpPr>
      <p:grpSp>
        <p:nvGrpSpPr>
          <p:cNvPr id="3980" name="Google Shape;3980;p5401"/>
          <p:cNvGrpSpPr/>
          <p:nvPr/>
        </p:nvGrpSpPr>
        <p:grpSpPr>
          <a:xfrm>
            <a:off x="7191544" y="1"/>
            <a:ext cx="5000459" cy="1425992"/>
            <a:chOff x="7191542" y="1"/>
            <a:chExt cx="5000459" cy="1425992"/>
          </a:xfrm>
        </p:grpSpPr>
        <p:pic>
          <p:nvPicPr>
            <p:cNvPr id="3981" name="Google Shape;3981;p54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82" name="Google Shape;3982;p5401"/>
            <p:cNvGrpSpPr/>
            <p:nvPr/>
          </p:nvGrpSpPr>
          <p:grpSpPr>
            <a:xfrm>
              <a:off x="7191542" y="1"/>
              <a:ext cx="5000459" cy="1425992"/>
              <a:chOff x="7186272" y="0"/>
              <a:chExt cx="5005729" cy="1427495"/>
            </a:xfrm>
          </p:grpSpPr>
          <p:sp>
            <p:nvSpPr>
              <p:cNvPr id="3983" name="Google Shape;3983;p54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984" name="Google Shape;3984;p54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985" name="Google Shape;3985;p5401"/>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86" name="Google Shape;3986;p5401"/>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987" name="Google Shape;3987;p5401"/>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988" name="Google Shape;3988;p54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989" name="Google Shape;3989;p540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644574552"/>
      </p:ext>
    </p:extLst>
  </p:cSld>
  <p:clrMapOvr>
    <a:masterClrMapping/>
  </p:clrMapOvr>
</p:sldLayout>
</file>

<file path=ppt/slideLayouts/slideLayout1573.xml><?xml version="1.0" encoding="utf-8"?>
<p:sldLayout xmlns:a="http://schemas.openxmlformats.org/drawingml/2006/main" xmlns:r="http://schemas.openxmlformats.org/officeDocument/2006/relationships" xmlns:p="http://schemas.openxmlformats.org/presentationml/2006/main" matchingName="10_Two Content">
  <p:cSld name="10_Two Content">
    <p:spTree>
      <p:nvGrpSpPr>
        <p:cNvPr id="1" name="Shape 3990"/>
        <p:cNvGrpSpPr/>
        <p:nvPr/>
      </p:nvGrpSpPr>
      <p:grpSpPr>
        <a:xfrm>
          <a:off x="0" y="0"/>
          <a:ext cx="0" cy="0"/>
          <a:chOff x="0" y="0"/>
          <a:chExt cx="0" cy="0"/>
        </a:xfrm>
      </p:grpSpPr>
      <p:sp>
        <p:nvSpPr>
          <p:cNvPr id="3991" name="Google Shape;3991;p5402"/>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92" name="Google Shape;3992;p5402"/>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3993" name="Google Shape;3993;p5402"/>
          <p:cNvGrpSpPr/>
          <p:nvPr/>
        </p:nvGrpSpPr>
        <p:grpSpPr>
          <a:xfrm>
            <a:off x="7191544" y="1"/>
            <a:ext cx="5000459" cy="1425992"/>
            <a:chOff x="7191542" y="1"/>
            <a:chExt cx="5000459" cy="1425992"/>
          </a:xfrm>
        </p:grpSpPr>
        <p:pic>
          <p:nvPicPr>
            <p:cNvPr id="3994" name="Google Shape;3994;p54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95" name="Google Shape;3995;p5402"/>
            <p:cNvGrpSpPr/>
            <p:nvPr/>
          </p:nvGrpSpPr>
          <p:grpSpPr>
            <a:xfrm>
              <a:off x="7191542" y="1"/>
              <a:ext cx="5000459" cy="1425992"/>
              <a:chOff x="7186272" y="0"/>
              <a:chExt cx="5005729" cy="1427495"/>
            </a:xfrm>
          </p:grpSpPr>
          <p:sp>
            <p:nvSpPr>
              <p:cNvPr id="3996" name="Google Shape;3996;p54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3997" name="Google Shape;3997;p54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3998" name="Google Shape;3998;p5402"/>
          <p:cNvSpPr txBox="1">
            <a:spLocks noGrp="1"/>
          </p:cNvSpPr>
          <p:nvPr>
            <p:ph type="body" idx="2"/>
          </p:nvPr>
        </p:nvSpPr>
        <p:spPr>
          <a:xfrm>
            <a:off x="6172201"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999" name="Google Shape;3999;p5402"/>
          <p:cNvSpPr txBox="1">
            <a:spLocks noGrp="1"/>
          </p:cNvSpPr>
          <p:nvPr>
            <p:ph type="sldNum" idx="12"/>
          </p:nvPr>
        </p:nvSpPr>
        <p:spPr>
          <a:xfrm>
            <a:off x="8839198"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000" name="Google Shape;4000;p54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001" name="Google Shape;4001;p540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441835814"/>
      </p:ext>
    </p:extLst>
  </p:cSld>
  <p:clrMapOvr>
    <a:masterClrMapping/>
  </p:clrMapOvr>
</p:sldLayout>
</file>

<file path=ppt/slideLayouts/slideLayout1574.xml><?xml version="1.0" encoding="utf-8"?>
<p:sldLayout xmlns:a="http://schemas.openxmlformats.org/drawingml/2006/main" xmlns:r="http://schemas.openxmlformats.org/officeDocument/2006/relationships" xmlns:p="http://schemas.openxmlformats.org/presentationml/2006/main" matchingName="10_Comparison">
  <p:cSld name="10_Comparison">
    <p:spTree>
      <p:nvGrpSpPr>
        <p:cNvPr id="1" name="Shape 4002"/>
        <p:cNvGrpSpPr/>
        <p:nvPr/>
      </p:nvGrpSpPr>
      <p:grpSpPr>
        <a:xfrm>
          <a:off x="0" y="0"/>
          <a:ext cx="0" cy="0"/>
          <a:chOff x="0" y="0"/>
          <a:chExt cx="0" cy="0"/>
        </a:xfrm>
      </p:grpSpPr>
      <p:grpSp>
        <p:nvGrpSpPr>
          <p:cNvPr id="4003" name="Google Shape;4003;p5403"/>
          <p:cNvGrpSpPr/>
          <p:nvPr/>
        </p:nvGrpSpPr>
        <p:grpSpPr>
          <a:xfrm>
            <a:off x="7191544" y="1"/>
            <a:ext cx="5000459" cy="1425992"/>
            <a:chOff x="7191542" y="1"/>
            <a:chExt cx="5000459" cy="1425992"/>
          </a:xfrm>
        </p:grpSpPr>
        <p:pic>
          <p:nvPicPr>
            <p:cNvPr id="4004" name="Google Shape;4004;p54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005" name="Google Shape;4005;p5403"/>
            <p:cNvGrpSpPr/>
            <p:nvPr/>
          </p:nvGrpSpPr>
          <p:grpSpPr>
            <a:xfrm>
              <a:off x="7191542" y="1"/>
              <a:ext cx="5000459" cy="1425992"/>
              <a:chOff x="7186272" y="0"/>
              <a:chExt cx="5005729" cy="1427495"/>
            </a:xfrm>
          </p:grpSpPr>
          <p:sp>
            <p:nvSpPr>
              <p:cNvPr id="4006" name="Google Shape;4006;p54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4007" name="Google Shape;4007;p54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4008" name="Google Shape;4008;p5403"/>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09" name="Google Shape;4009;p5403"/>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4010" name="Google Shape;4010;p5403"/>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011" name="Google Shape;4011;p540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4012" name="Google Shape;4012;p540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013" name="Google Shape;4013;p5403"/>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014" name="Google Shape;4014;p54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015" name="Google Shape;4015;p540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63304620"/>
      </p:ext>
    </p:extLst>
  </p:cSld>
  <p:clrMapOvr>
    <a:masterClrMapping/>
  </p:clrMapOvr>
</p:sldLayout>
</file>

<file path=ppt/slideLayouts/slideLayout1575.xml><?xml version="1.0" encoding="utf-8"?>
<p:sldLayout xmlns:a="http://schemas.openxmlformats.org/drawingml/2006/main" xmlns:r="http://schemas.openxmlformats.org/officeDocument/2006/relationships" xmlns:p="http://schemas.openxmlformats.org/presentationml/2006/main" matchingName="10_Title Only">
  <p:cSld name="10_Title Only">
    <p:spTree>
      <p:nvGrpSpPr>
        <p:cNvPr id="1" name="Shape 4016"/>
        <p:cNvGrpSpPr/>
        <p:nvPr/>
      </p:nvGrpSpPr>
      <p:grpSpPr>
        <a:xfrm>
          <a:off x="0" y="0"/>
          <a:ext cx="0" cy="0"/>
          <a:chOff x="0" y="0"/>
          <a:chExt cx="0" cy="0"/>
        </a:xfrm>
      </p:grpSpPr>
      <p:grpSp>
        <p:nvGrpSpPr>
          <p:cNvPr id="4017" name="Google Shape;4017;p5404"/>
          <p:cNvGrpSpPr/>
          <p:nvPr/>
        </p:nvGrpSpPr>
        <p:grpSpPr>
          <a:xfrm>
            <a:off x="7191544" y="1"/>
            <a:ext cx="5000459" cy="1425992"/>
            <a:chOff x="7191542" y="1"/>
            <a:chExt cx="5000459" cy="1425992"/>
          </a:xfrm>
        </p:grpSpPr>
        <p:pic>
          <p:nvPicPr>
            <p:cNvPr id="4018" name="Google Shape;4018;p54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019" name="Google Shape;4019;p5404"/>
            <p:cNvGrpSpPr/>
            <p:nvPr/>
          </p:nvGrpSpPr>
          <p:grpSpPr>
            <a:xfrm>
              <a:off x="7191542" y="1"/>
              <a:ext cx="5000459" cy="1425992"/>
              <a:chOff x="7186272" y="0"/>
              <a:chExt cx="5005729" cy="1427495"/>
            </a:xfrm>
          </p:grpSpPr>
          <p:sp>
            <p:nvSpPr>
              <p:cNvPr id="4020" name="Google Shape;4020;p54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4021" name="Google Shape;4021;p54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4022" name="Google Shape;4022;p540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23" name="Google Shape;4023;p540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024" name="Google Shape;4024;p54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025" name="Google Shape;4025;p540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697051389"/>
      </p:ext>
    </p:extLst>
  </p:cSld>
  <p:clrMapOvr>
    <a:masterClrMapping/>
  </p:clrMapOvr>
</p:sldLayout>
</file>

<file path=ppt/slideLayouts/slideLayout1576.xml><?xml version="1.0" encoding="utf-8"?>
<p:sldLayout xmlns:a="http://schemas.openxmlformats.org/drawingml/2006/main" xmlns:r="http://schemas.openxmlformats.org/officeDocument/2006/relationships" xmlns:p="http://schemas.openxmlformats.org/presentationml/2006/main" matchingName="9_End">
  <p:cSld name="9_End">
    <p:spTree>
      <p:nvGrpSpPr>
        <p:cNvPr id="1" name="Shape 4026"/>
        <p:cNvGrpSpPr/>
        <p:nvPr/>
      </p:nvGrpSpPr>
      <p:grpSpPr>
        <a:xfrm>
          <a:off x="0" y="0"/>
          <a:ext cx="0" cy="0"/>
          <a:chOff x="0" y="0"/>
          <a:chExt cx="0" cy="0"/>
        </a:xfrm>
      </p:grpSpPr>
      <p:grpSp>
        <p:nvGrpSpPr>
          <p:cNvPr id="4027" name="Google Shape;4027;p5405"/>
          <p:cNvGrpSpPr/>
          <p:nvPr/>
        </p:nvGrpSpPr>
        <p:grpSpPr>
          <a:xfrm>
            <a:off x="0" y="0"/>
            <a:ext cx="12192000" cy="2148830"/>
            <a:chOff x="0" y="0"/>
            <a:chExt cx="12192000" cy="2148830"/>
          </a:xfrm>
        </p:grpSpPr>
        <p:sp>
          <p:nvSpPr>
            <p:cNvPr id="4028" name="Google Shape;4028;p540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4029" name="Google Shape;4029;p540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4030" name="Google Shape;4030;p5405"/>
          <p:cNvSpPr/>
          <p:nvPr/>
        </p:nvSpPr>
        <p:spPr>
          <a:xfrm>
            <a:off x="902368" y="1517699"/>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031" name="Google Shape;4031;p5405"/>
          <p:cNvSpPr txBox="1">
            <a:spLocks noGrp="1"/>
          </p:cNvSpPr>
          <p:nvPr>
            <p:ph type="body" idx="1"/>
          </p:nvPr>
        </p:nvSpPr>
        <p:spPr>
          <a:xfrm>
            <a:off x="1219201" y="3429002"/>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032" name="Google Shape;4032;p540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9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033" name="Google Shape;4033;p5405"/>
          <p:cNvPicPr preferRelativeResize="0"/>
          <p:nvPr/>
        </p:nvPicPr>
        <p:blipFill rotWithShape="1">
          <a:blip r:embed="rId2">
            <a:alphaModFix/>
          </a:blip>
          <a:srcRect/>
          <a:stretch/>
        </p:blipFill>
        <p:spPr>
          <a:xfrm>
            <a:off x="902370" y="228371"/>
            <a:ext cx="2025315" cy="911940"/>
          </a:xfrm>
          <a:prstGeom prst="rect">
            <a:avLst/>
          </a:prstGeom>
          <a:noFill/>
          <a:ln>
            <a:noFill/>
          </a:ln>
        </p:spPr>
      </p:pic>
      <p:sp>
        <p:nvSpPr>
          <p:cNvPr id="4034" name="Google Shape;4034;p540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722274660"/>
      </p:ext>
    </p:extLst>
  </p:cSld>
  <p:clrMapOvr>
    <a:masterClrMapping/>
  </p:clrMapOvr>
</p:sldLayout>
</file>

<file path=ppt/slideLayouts/slideLayout1577.xml><?xml version="1.0" encoding="utf-8"?>
<p:sldLayout xmlns:a="http://schemas.openxmlformats.org/drawingml/2006/main" xmlns:r="http://schemas.openxmlformats.org/officeDocument/2006/relationships" xmlns:p="http://schemas.openxmlformats.org/presentationml/2006/main" matchingName="8_Blank">
  <p:cSld name="8_Blank">
    <p:spTree>
      <p:nvGrpSpPr>
        <p:cNvPr id="1" name="Shape 4035"/>
        <p:cNvGrpSpPr/>
        <p:nvPr/>
      </p:nvGrpSpPr>
      <p:grpSpPr>
        <a:xfrm>
          <a:off x="0" y="0"/>
          <a:ext cx="0" cy="0"/>
          <a:chOff x="0" y="0"/>
          <a:chExt cx="0" cy="0"/>
        </a:xfrm>
      </p:grpSpPr>
      <p:sp>
        <p:nvSpPr>
          <p:cNvPr id="4036" name="Google Shape;4036;p540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037" name="Google Shape;4037;p54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038" name="Google Shape;4038;p540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039" name="Google Shape;4039;p5406"/>
          <p:cNvGrpSpPr/>
          <p:nvPr/>
        </p:nvGrpSpPr>
        <p:grpSpPr>
          <a:xfrm>
            <a:off x="7191544" y="1"/>
            <a:ext cx="5000459" cy="1425992"/>
            <a:chOff x="7191542" y="1"/>
            <a:chExt cx="5000459" cy="1425992"/>
          </a:xfrm>
        </p:grpSpPr>
        <p:pic>
          <p:nvPicPr>
            <p:cNvPr id="4040" name="Google Shape;4040;p54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041" name="Google Shape;4041;p5406"/>
            <p:cNvGrpSpPr/>
            <p:nvPr/>
          </p:nvGrpSpPr>
          <p:grpSpPr>
            <a:xfrm>
              <a:off x="7191542" y="1"/>
              <a:ext cx="5000459" cy="1425992"/>
              <a:chOff x="7186272" y="0"/>
              <a:chExt cx="5005729" cy="1427495"/>
            </a:xfrm>
          </p:grpSpPr>
          <p:sp>
            <p:nvSpPr>
              <p:cNvPr id="4042" name="Google Shape;4042;p54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4043" name="Google Shape;4043;p54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extLst>
      <p:ext uri="{BB962C8B-B14F-4D97-AF65-F5344CB8AC3E}">
        <p14:creationId xmlns:p14="http://schemas.microsoft.com/office/powerpoint/2010/main" val="3482957991"/>
      </p:ext>
    </p:extLst>
  </p:cSld>
  <p:clrMapOvr>
    <a:masterClrMapping/>
  </p:clrMapOvr>
</p:sldLayout>
</file>

<file path=ppt/slideLayouts/slideLayout1578.xml><?xml version="1.0" encoding="utf-8"?>
<p:sldLayout xmlns:a="http://schemas.openxmlformats.org/drawingml/2006/main" xmlns:r="http://schemas.openxmlformats.org/officeDocument/2006/relationships" xmlns:p="http://schemas.openxmlformats.org/presentationml/2006/main" matchingName="26_Quotation">
  <p:cSld name="26_Quotation">
    <p:spTree>
      <p:nvGrpSpPr>
        <p:cNvPr id="1" name="Shape 4044"/>
        <p:cNvGrpSpPr/>
        <p:nvPr/>
      </p:nvGrpSpPr>
      <p:grpSpPr>
        <a:xfrm>
          <a:off x="0" y="0"/>
          <a:ext cx="0" cy="0"/>
          <a:chOff x="0" y="0"/>
          <a:chExt cx="0" cy="0"/>
        </a:xfrm>
      </p:grpSpPr>
      <p:sp>
        <p:nvSpPr>
          <p:cNvPr id="4045" name="Google Shape;4045;p5407"/>
          <p:cNvSpPr/>
          <p:nvPr/>
        </p:nvSpPr>
        <p:spPr>
          <a:xfrm>
            <a:off x="1427358"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046" name="Google Shape;4046;p5407"/>
          <p:cNvSpPr txBox="1">
            <a:spLocks noGrp="1"/>
          </p:cNvSpPr>
          <p:nvPr>
            <p:ph type="title"/>
          </p:nvPr>
        </p:nvSpPr>
        <p:spPr>
          <a:xfrm>
            <a:off x="1427358"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47" name="Google Shape;4047;p540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048" name="Google Shape;4048;p5407"/>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049" name="Google Shape;4049;p54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050" name="Google Shape;4050;p540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051" name="Google Shape;4051;p5407"/>
          <p:cNvGrpSpPr/>
          <p:nvPr/>
        </p:nvGrpSpPr>
        <p:grpSpPr>
          <a:xfrm>
            <a:off x="7191544" y="1"/>
            <a:ext cx="5000459" cy="1425992"/>
            <a:chOff x="7191542" y="1"/>
            <a:chExt cx="5000459" cy="1425992"/>
          </a:xfrm>
        </p:grpSpPr>
        <p:pic>
          <p:nvPicPr>
            <p:cNvPr id="4052" name="Google Shape;4052;p54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053" name="Google Shape;4053;p5407"/>
            <p:cNvGrpSpPr/>
            <p:nvPr/>
          </p:nvGrpSpPr>
          <p:grpSpPr>
            <a:xfrm>
              <a:off x="7191542" y="1"/>
              <a:ext cx="5000459" cy="1425992"/>
              <a:chOff x="7186272" y="0"/>
              <a:chExt cx="5005729" cy="1427495"/>
            </a:xfrm>
          </p:grpSpPr>
          <p:sp>
            <p:nvSpPr>
              <p:cNvPr id="4054" name="Google Shape;4054;p54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4055" name="Google Shape;4055;p54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4056" name="Google Shape;4056;p5407"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4109083916"/>
      </p:ext>
    </p:extLst>
  </p:cSld>
  <p:clrMapOvr>
    <a:masterClrMapping/>
  </p:clrMapOvr>
</p:sldLayout>
</file>

<file path=ppt/slideLayouts/slideLayout1579.xml><?xml version="1.0" encoding="utf-8"?>
<p:sldLayout xmlns:a="http://schemas.openxmlformats.org/drawingml/2006/main" xmlns:r="http://schemas.openxmlformats.org/officeDocument/2006/relationships" xmlns:p="http://schemas.openxmlformats.org/presentationml/2006/main" matchingName="28_Quotation">
  <p:cSld name="28_Quotation">
    <p:spTree>
      <p:nvGrpSpPr>
        <p:cNvPr id="1" name="Shape 4057"/>
        <p:cNvGrpSpPr/>
        <p:nvPr/>
      </p:nvGrpSpPr>
      <p:grpSpPr>
        <a:xfrm>
          <a:off x="0" y="0"/>
          <a:ext cx="0" cy="0"/>
          <a:chOff x="0" y="0"/>
          <a:chExt cx="0" cy="0"/>
        </a:xfrm>
      </p:grpSpPr>
      <p:sp>
        <p:nvSpPr>
          <p:cNvPr id="4058" name="Google Shape;4058;p5408"/>
          <p:cNvSpPr/>
          <p:nvPr/>
        </p:nvSpPr>
        <p:spPr>
          <a:xfrm>
            <a:off x="1427358"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059" name="Google Shape;4059;p5408"/>
          <p:cNvSpPr txBox="1">
            <a:spLocks noGrp="1"/>
          </p:cNvSpPr>
          <p:nvPr>
            <p:ph type="title"/>
          </p:nvPr>
        </p:nvSpPr>
        <p:spPr>
          <a:xfrm>
            <a:off x="1427358"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60" name="Google Shape;4060;p540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061" name="Google Shape;4061;p5408"/>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062" name="Google Shape;4062;p54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063" name="Google Shape;4063;p540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064" name="Google Shape;4064;p5408"/>
          <p:cNvGrpSpPr/>
          <p:nvPr/>
        </p:nvGrpSpPr>
        <p:grpSpPr>
          <a:xfrm>
            <a:off x="7191544" y="1"/>
            <a:ext cx="5000459" cy="1425992"/>
            <a:chOff x="7191542" y="1"/>
            <a:chExt cx="5000459" cy="1425992"/>
          </a:xfrm>
        </p:grpSpPr>
        <p:pic>
          <p:nvPicPr>
            <p:cNvPr id="4065" name="Google Shape;4065;p54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066" name="Google Shape;4066;p5408"/>
            <p:cNvGrpSpPr/>
            <p:nvPr/>
          </p:nvGrpSpPr>
          <p:grpSpPr>
            <a:xfrm>
              <a:off x="7191542" y="1"/>
              <a:ext cx="5000459" cy="1425992"/>
              <a:chOff x="7186272" y="0"/>
              <a:chExt cx="5005729" cy="1427495"/>
            </a:xfrm>
          </p:grpSpPr>
          <p:sp>
            <p:nvSpPr>
              <p:cNvPr id="4067" name="Google Shape;4067;p54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4068" name="Google Shape;4068;p54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4069" name="Google Shape;4069;p5408"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340012066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matchingName="End">
  <p:cSld name="End 9">
    <p:spTree>
      <p:nvGrpSpPr>
        <p:cNvPr id="1" name="Shape 10601"/>
        <p:cNvGrpSpPr/>
        <p:nvPr/>
      </p:nvGrpSpPr>
      <p:grpSpPr>
        <a:xfrm>
          <a:off x="0" y="0"/>
          <a:ext cx="0" cy="0"/>
          <a:chOff x="0" y="0"/>
          <a:chExt cx="0" cy="0"/>
        </a:xfrm>
      </p:grpSpPr>
      <p:grpSp>
        <p:nvGrpSpPr>
          <p:cNvPr id="10602" name="Google Shape;10602;p1462"/>
          <p:cNvGrpSpPr/>
          <p:nvPr/>
        </p:nvGrpSpPr>
        <p:grpSpPr>
          <a:xfrm>
            <a:off x="0" y="0"/>
            <a:ext cx="12192000" cy="2148830"/>
            <a:chOff x="0" y="0"/>
            <a:chExt cx="12192000" cy="2148830"/>
          </a:xfrm>
        </p:grpSpPr>
        <p:sp>
          <p:nvSpPr>
            <p:cNvPr id="10603" name="Google Shape;10603;p146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604" name="Google Shape;10604;p146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0605" name="Google Shape;10605;p146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606" name="Google Shape;10606;p146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07" name="Google Shape;10607;p146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0608" name="Google Shape;10608;p146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609" name="Google Shape;10609;p146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580.xml><?xml version="1.0" encoding="utf-8"?>
<p:sldLayout xmlns:a="http://schemas.openxmlformats.org/drawingml/2006/main" xmlns:r="http://schemas.openxmlformats.org/officeDocument/2006/relationships" xmlns:p="http://schemas.openxmlformats.org/presentationml/2006/main" matchingName="4_Photo Slide">
  <p:cSld name="4_Photo Slide">
    <p:spTree>
      <p:nvGrpSpPr>
        <p:cNvPr id="1" name="Shape 4070"/>
        <p:cNvGrpSpPr/>
        <p:nvPr/>
      </p:nvGrpSpPr>
      <p:grpSpPr>
        <a:xfrm>
          <a:off x="0" y="0"/>
          <a:ext cx="0" cy="0"/>
          <a:chOff x="0" y="0"/>
          <a:chExt cx="0" cy="0"/>
        </a:xfrm>
      </p:grpSpPr>
      <p:sp>
        <p:nvSpPr>
          <p:cNvPr id="4071" name="Google Shape;4071;p5409"/>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4072" name="Google Shape;4072;p540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073" name="Google Shape;4073;p5409"/>
          <p:cNvGrpSpPr/>
          <p:nvPr/>
        </p:nvGrpSpPr>
        <p:grpSpPr>
          <a:xfrm>
            <a:off x="0" y="5379428"/>
            <a:ext cx="2807368" cy="753891"/>
            <a:chOff x="0" y="5379426"/>
            <a:chExt cx="2807368" cy="753891"/>
          </a:xfrm>
        </p:grpSpPr>
        <p:sp>
          <p:nvSpPr>
            <p:cNvPr id="4074" name="Google Shape;4074;p540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075" name="Google Shape;4075;p540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4076" name="Google Shape;4076;p5409"/>
          <p:cNvSpPr>
            <a:spLocks noGrp="1"/>
          </p:cNvSpPr>
          <p:nvPr>
            <p:ph type="pic" idx="2"/>
          </p:nvPr>
        </p:nvSpPr>
        <p:spPr>
          <a:xfrm>
            <a:off x="2807368" y="457202"/>
            <a:ext cx="8915400" cy="5943598"/>
          </a:xfrm>
          <a:prstGeom prst="rect">
            <a:avLst/>
          </a:prstGeom>
          <a:noFill/>
          <a:ln>
            <a:noFill/>
          </a:ln>
        </p:spPr>
      </p:sp>
      <p:pic>
        <p:nvPicPr>
          <p:cNvPr id="4077" name="Google Shape;4077;p5409"/>
          <p:cNvPicPr preferRelativeResize="0"/>
          <p:nvPr/>
        </p:nvPicPr>
        <p:blipFill rotWithShape="1">
          <a:blip r:embed="rId2">
            <a:alphaModFix/>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997679220"/>
      </p:ext>
    </p:extLst>
  </p:cSld>
  <p:clrMapOvr>
    <a:masterClrMapping/>
  </p:clrMapOvr>
</p:sldLayout>
</file>

<file path=ppt/slideLayouts/slideLayout1581.xml><?xml version="1.0" encoding="utf-8"?>
<p:sldLayout xmlns:a="http://schemas.openxmlformats.org/drawingml/2006/main" xmlns:r="http://schemas.openxmlformats.org/officeDocument/2006/relationships" xmlns:p="http://schemas.openxmlformats.org/presentationml/2006/main" matchingName="14_Cover">
  <p:cSld name="14_Cover">
    <p:spTree>
      <p:nvGrpSpPr>
        <p:cNvPr id="1" name="Shape 4078"/>
        <p:cNvGrpSpPr/>
        <p:nvPr/>
      </p:nvGrpSpPr>
      <p:grpSpPr>
        <a:xfrm>
          <a:off x="0" y="0"/>
          <a:ext cx="0" cy="0"/>
          <a:chOff x="0" y="0"/>
          <a:chExt cx="0" cy="0"/>
        </a:xfrm>
      </p:grpSpPr>
      <p:sp>
        <p:nvSpPr>
          <p:cNvPr id="4079" name="Google Shape;4079;p5410"/>
          <p:cNvSpPr/>
          <p:nvPr/>
        </p:nvSpPr>
        <p:spPr>
          <a:xfrm>
            <a:off x="902368" y="1294415"/>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080" name="Google Shape;4080;p5410"/>
          <p:cNvSpPr txBox="1">
            <a:spLocks noGrp="1"/>
          </p:cNvSpPr>
          <p:nvPr>
            <p:ph type="ctrTitle"/>
          </p:nvPr>
        </p:nvSpPr>
        <p:spPr>
          <a:xfrm>
            <a:off x="1413312"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81" name="Google Shape;4081;p5410"/>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
        <p:nvSpPr>
          <p:cNvPr id="4082" name="Google Shape;4082;p5410"/>
          <p:cNvSpPr>
            <a:spLocks noGrp="1"/>
          </p:cNvSpPr>
          <p:nvPr>
            <p:ph type="pic" idx="2"/>
          </p:nvPr>
        </p:nvSpPr>
        <p:spPr>
          <a:xfrm>
            <a:off x="7118684" y="233915"/>
            <a:ext cx="5073316" cy="5943600"/>
          </a:xfrm>
          <a:prstGeom prst="rect">
            <a:avLst/>
          </a:prstGeom>
          <a:noFill/>
          <a:ln>
            <a:noFill/>
          </a:ln>
        </p:spPr>
      </p:sp>
      <p:grpSp>
        <p:nvGrpSpPr>
          <p:cNvPr id="4083" name="Google Shape;4083;p5410"/>
          <p:cNvGrpSpPr/>
          <p:nvPr/>
        </p:nvGrpSpPr>
        <p:grpSpPr>
          <a:xfrm>
            <a:off x="0" y="5020350"/>
            <a:ext cx="12192000" cy="1837653"/>
            <a:chOff x="0" y="5020348"/>
            <a:chExt cx="12192000" cy="1837653"/>
          </a:xfrm>
        </p:grpSpPr>
        <p:sp>
          <p:nvSpPr>
            <p:cNvPr id="4084" name="Google Shape;4084;p541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085" name="Google Shape;4085;p541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4086" name="Google Shape;4086;p541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552281052"/>
      </p:ext>
    </p:extLst>
  </p:cSld>
  <p:clrMapOvr>
    <a:masterClrMapping/>
  </p:clrMapOvr>
</p:sldLayout>
</file>

<file path=ppt/slideLayouts/slideLayout1582.xml><?xml version="1.0" encoding="utf-8"?>
<p:sldLayout xmlns:a="http://schemas.openxmlformats.org/drawingml/2006/main" xmlns:r="http://schemas.openxmlformats.org/officeDocument/2006/relationships" xmlns:p="http://schemas.openxmlformats.org/presentationml/2006/main" matchingName="14_Divider">
  <p:cSld name="14_Divider">
    <p:bg>
      <p:bgPr>
        <a:solidFill>
          <a:schemeClr val="lt2"/>
        </a:solidFill>
        <a:effectLst/>
      </p:bgPr>
    </p:bg>
    <p:spTree>
      <p:nvGrpSpPr>
        <p:cNvPr id="1" name="Shape 4087"/>
        <p:cNvGrpSpPr/>
        <p:nvPr/>
      </p:nvGrpSpPr>
      <p:grpSpPr>
        <a:xfrm>
          <a:off x="0" y="0"/>
          <a:ext cx="0" cy="0"/>
          <a:chOff x="0" y="0"/>
          <a:chExt cx="0" cy="0"/>
        </a:xfrm>
      </p:grpSpPr>
      <p:grpSp>
        <p:nvGrpSpPr>
          <p:cNvPr id="4088" name="Google Shape;4088;p5411"/>
          <p:cNvGrpSpPr/>
          <p:nvPr/>
        </p:nvGrpSpPr>
        <p:grpSpPr>
          <a:xfrm>
            <a:off x="0" y="5020349"/>
            <a:ext cx="12192000" cy="1837653"/>
            <a:chOff x="0" y="5020347"/>
            <a:chExt cx="12192000" cy="1837653"/>
          </a:xfrm>
        </p:grpSpPr>
        <p:sp>
          <p:nvSpPr>
            <p:cNvPr id="4089" name="Google Shape;4089;p541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090" name="Google Shape;4090;p541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091" name="Google Shape;4091;p541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4092" name="Google Shape;4092;p541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093" name="Google Shape;4093;p5411"/>
          <p:cNvSpPr txBox="1">
            <a:spLocks noGrp="1"/>
          </p:cNvSpPr>
          <p:nvPr>
            <p:ph type="title"/>
          </p:nvPr>
        </p:nvSpPr>
        <p:spPr>
          <a:xfrm>
            <a:off x="1413310"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94" name="Google Shape;4094;p5411"/>
          <p:cNvSpPr txBox="1">
            <a:spLocks noGrp="1"/>
          </p:cNvSpPr>
          <p:nvPr>
            <p:ph type="subTitle" idx="1"/>
          </p:nvPr>
        </p:nvSpPr>
        <p:spPr>
          <a:xfrm>
            <a:off x="1413310"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Tree>
    <p:extLst>
      <p:ext uri="{BB962C8B-B14F-4D97-AF65-F5344CB8AC3E}">
        <p14:creationId xmlns:p14="http://schemas.microsoft.com/office/powerpoint/2010/main" val="1454142847"/>
      </p:ext>
    </p:extLst>
  </p:cSld>
  <p:clrMapOvr>
    <a:masterClrMapping/>
  </p:clrMapOvr>
</p:sldLayout>
</file>

<file path=ppt/slideLayouts/slideLayout1583.xml><?xml version="1.0" encoding="utf-8"?>
<p:sldLayout xmlns:a="http://schemas.openxmlformats.org/drawingml/2006/main" xmlns:r="http://schemas.openxmlformats.org/officeDocument/2006/relationships" xmlns:p="http://schemas.openxmlformats.org/presentationml/2006/main" matchingName="14_Photo Slide">
  <p:cSld name="14_Photo Slide">
    <p:spTree>
      <p:nvGrpSpPr>
        <p:cNvPr id="1" name="Shape 4095"/>
        <p:cNvGrpSpPr/>
        <p:nvPr/>
      </p:nvGrpSpPr>
      <p:grpSpPr>
        <a:xfrm>
          <a:off x="0" y="0"/>
          <a:ext cx="0" cy="0"/>
          <a:chOff x="0" y="0"/>
          <a:chExt cx="0" cy="0"/>
        </a:xfrm>
      </p:grpSpPr>
      <p:sp>
        <p:nvSpPr>
          <p:cNvPr id="4096" name="Google Shape;4096;p5412"/>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4097" name="Google Shape;4097;p541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098" name="Google Shape;4098;p5412"/>
          <p:cNvGrpSpPr/>
          <p:nvPr/>
        </p:nvGrpSpPr>
        <p:grpSpPr>
          <a:xfrm>
            <a:off x="0" y="5379428"/>
            <a:ext cx="2807368" cy="753891"/>
            <a:chOff x="0" y="5379426"/>
            <a:chExt cx="2807368" cy="753891"/>
          </a:xfrm>
        </p:grpSpPr>
        <p:sp>
          <p:nvSpPr>
            <p:cNvPr id="4099" name="Google Shape;4099;p541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100" name="Google Shape;4100;p541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4101" name="Google Shape;4101;p5412"/>
          <p:cNvSpPr>
            <a:spLocks noGrp="1"/>
          </p:cNvSpPr>
          <p:nvPr>
            <p:ph type="pic" idx="2"/>
          </p:nvPr>
        </p:nvSpPr>
        <p:spPr>
          <a:xfrm>
            <a:off x="2807368" y="457202"/>
            <a:ext cx="8915400" cy="5943598"/>
          </a:xfrm>
          <a:prstGeom prst="rect">
            <a:avLst/>
          </a:prstGeom>
          <a:noFill/>
          <a:ln>
            <a:noFill/>
          </a:ln>
        </p:spPr>
      </p:sp>
      <p:pic>
        <p:nvPicPr>
          <p:cNvPr id="4102" name="Google Shape;4102;p5412"/>
          <p:cNvPicPr preferRelativeResize="0"/>
          <p:nvPr/>
        </p:nvPicPr>
        <p:blipFill rotWithShape="1">
          <a:blip r:embed="rId2">
            <a:alphaModFix/>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306307262"/>
      </p:ext>
    </p:extLst>
  </p:cSld>
  <p:clrMapOvr>
    <a:masterClrMapping/>
  </p:clrMapOvr>
</p:sldLayout>
</file>

<file path=ppt/slideLayouts/slideLayout1584.xml><?xml version="1.0" encoding="utf-8"?>
<p:sldLayout xmlns:a="http://schemas.openxmlformats.org/drawingml/2006/main" xmlns:r="http://schemas.openxmlformats.org/officeDocument/2006/relationships" xmlns:p="http://schemas.openxmlformats.org/presentationml/2006/main" matchingName="30_Quotation">
  <p:cSld name="30_Quotation">
    <p:spTree>
      <p:nvGrpSpPr>
        <p:cNvPr id="1" name="Shape 4103"/>
        <p:cNvGrpSpPr/>
        <p:nvPr/>
      </p:nvGrpSpPr>
      <p:grpSpPr>
        <a:xfrm>
          <a:off x="0" y="0"/>
          <a:ext cx="0" cy="0"/>
          <a:chOff x="0" y="0"/>
          <a:chExt cx="0" cy="0"/>
        </a:xfrm>
      </p:grpSpPr>
      <p:sp>
        <p:nvSpPr>
          <p:cNvPr id="4104" name="Google Shape;4104;p5413"/>
          <p:cNvSpPr/>
          <p:nvPr/>
        </p:nvSpPr>
        <p:spPr>
          <a:xfrm>
            <a:off x="1427358"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105" name="Google Shape;4105;p5413"/>
          <p:cNvSpPr txBox="1">
            <a:spLocks noGrp="1"/>
          </p:cNvSpPr>
          <p:nvPr>
            <p:ph type="title"/>
          </p:nvPr>
        </p:nvSpPr>
        <p:spPr>
          <a:xfrm>
            <a:off x="1427358"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06" name="Google Shape;4106;p541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107" name="Google Shape;4107;p5413"/>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108" name="Google Shape;4108;p54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109" name="Google Shape;4109;p541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110" name="Google Shape;4110;p5413"/>
          <p:cNvGrpSpPr/>
          <p:nvPr/>
        </p:nvGrpSpPr>
        <p:grpSpPr>
          <a:xfrm>
            <a:off x="7191544" y="1"/>
            <a:ext cx="5000459" cy="1425992"/>
            <a:chOff x="7191542" y="1"/>
            <a:chExt cx="5000459" cy="1425992"/>
          </a:xfrm>
        </p:grpSpPr>
        <p:pic>
          <p:nvPicPr>
            <p:cNvPr id="4111" name="Google Shape;4111;p54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112" name="Google Shape;4112;p5413"/>
            <p:cNvGrpSpPr/>
            <p:nvPr/>
          </p:nvGrpSpPr>
          <p:grpSpPr>
            <a:xfrm>
              <a:off x="7191542" y="1"/>
              <a:ext cx="5000459" cy="1425992"/>
              <a:chOff x="7186272" y="0"/>
              <a:chExt cx="5005729" cy="1427495"/>
            </a:xfrm>
          </p:grpSpPr>
          <p:sp>
            <p:nvSpPr>
              <p:cNvPr id="4113" name="Google Shape;4113;p54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4114" name="Google Shape;4114;p54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4115" name="Google Shape;4115;p5413"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1351785800"/>
      </p:ext>
    </p:extLst>
  </p:cSld>
  <p:clrMapOvr>
    <a:masterClrMapping/>
  </p:clrMapOvr>
</p:sldLayout>
</file>

<file path=ppt/slideLayouts/slideLayout1585.xml><?xml version="1.0" encoding="utf-8"?>
<p:sldLayout xmlns:a="http://schemas.openxmlformats.org/drawingml/2006/main" xmlns:r="http://schemas.openxmlformats.org/officeDocument/2006/relationships" xmlns:p="http://schemas.openxmlformats.org/presentationml/2006/main" matchingName="31_Quotation">
  <p:cSld name="31_Quotation">
    <p:spTree>
      <p:nvGrpSpPr>
        <p:cNvPr id="1" name="Shape 4116"/>
        <p:cNvGrpSpPr/>
        <p:nvPr/>
      </p:nvGrpSpPr>
      <p:grpSpPr>
        <a:xfrm>
          <a:off x="0" y="0"/>
          <a:ext cx="0" cy="0"/>
          <a:chOff x="0" y="0"/>
          <a:chExt cx="0" cy="0"/>
        </a:xfrm>
      </p:grpSpPr>
      <p:sp>
        <p:nvSpPr>
          <p:cNvPr id="4117" name="Google Shape;4117;p5414"/>
          <p:cNvSpPr/>
          <p:nvPr/>
        </p:nvSpPr>
        <p:spPr>
          <a:xfrm>
            <a:off x="1427358"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118" name="Google Shape;4118;p5414"/>
          <p:cNvSpPr txBox="1">
            <a:spLocks noGrp="1"/>
          </p:cNvSpPr>
          <p:nvPr>
            <p:ph type="title"/>
          </p:nvPr>
        </p:nvSpPr>
        <p:spPr>
          <a:xfrm>
            <a:off x="1427358"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19" name="Google Shape;4119;p54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120" name="Google Shape;4120;p541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121" name="Google Shape;4121;p54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122" name="Google Shape;4122;p541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123" name="Google Shape;4123;p5414"/>
          <p:cNvGrpSpPr/>
          <p:nvPr/>
        </p:nvGrpSpPr>
        <p:grpSpPr>
          <a:xfrm>
            <a:off x="7191544" y="1"/>
            <a:ext cx="5000459" cy="1425992"/>
            <a:chOff x="7191542" y="1"/>
            <a:chExt cx="5000459" cy="1425992"/>
          </a:xfrm>
        </p:grpSpPr>
        <p:pic>
          <p:nvPicPr>
            <p:cNvPr id="4124" name="Google Shape;4124;p54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125" name="Google Shape;4125;p5414"/>
            <p:cNvGrpSpPr/>
            <p:nvPr/>
          </p:nvGrpSpPr>
          <p:grpSpPr>
            <a:xfrm>
              <a:off x="7191542" y="1"/>
              <a:ext cx="5000459" cy="1425992"/>
              <a:chOff x="7186272" y="0"/>
              <a:chExt cx="5005729" cy="1427495"/>
            </a:xfrm>
          </p:grpSpPr>
          <p:sp>
            <p:nvSpPr>
              <p:cNvPr id="4126" name="Google Shape;4126;p54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4127" name="Google Shape;4127;p54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4128" name="Google Shape;4128;p5414"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2943706847"/>
      </p:ext>
    </p:extLst>
  </p:cSld>
  <p:clrMapOvr>
    <a:masterClrMapping/>
  </p:clrMapOvr>
</p:sldLayout>
</file>

<file path=ppt/slideLayouts/slideLayout1586.xml><?xml version="1.0" encoding="utf-8"?>
<p:sldLayout xmlns:a="http://schemas.openxmlformats.org/drawingml/2006/main" xmlns:r="http://schemas.openxmlformats.org/officeDocument/2006/relationships" xmlns:p="http://schemas.openxmlformats.org/presentationml/2006/main" matchingName="15_Title and Content">
  <p:cSld name="15_Title and Content">
    <p:spTree>
      <p:nvGrpSpPr>
        <p:cNvPr id="1" name="Shape 4129"/>
        <p:cNvGrpSpPr/>
        <p:nvPr/>
      </p:nvGrpSpPr>
      <p:grpSpPr>
        <a:xfrm>
          <a:off x="0" y="0"/>
          <a:ext cx="0" cy="0"/>
          <a:chOff x="0" y="0"/>
          <a:chExt cx="0" cy="0"/>
        </a:xfrm>
      </p:grpSpPr>
      <p:grpSp>
        <p:nvGrpSpPr>
          <p:cNvPr id="4130" name="Google Shape;4130;p5415"/>
          <p:cNvGrpSpPr/>
          <p:nvPr/>
        </p:nvGrpSpPr>
        <p:grpSpPr>
          <a:xfrm>
            <a:off x="7191544" y="1"/>
            <a:ext cx="5000459" cy="1425992"/>
            <a:chOff x="7191542" y="1"/>
            <a:chExt cx="5000459" cy="1425992"/>
          </a:xfrm>
        </p:grpSpPr>
        <p:pic>
          <p:nvPicPr>
            <p:cNvPr id="4131" name="Google Shape;4131;p54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132" name="Google Shape;4132;p5415"/>
            <p:cNvGrpSpPr/>
            <p:nvPr/>
          </p:nvGrpSpPr>
          <p:grpSpPr>
            <a:xfrm>
              <a:off x="7191542" y="1"/>
              <a:ext cx="5000459" cy="1425992"/>
              <a:chOff x="7186272" y="0"/>
              <a:chExt cx="5005729" cy="1427495"/>
            </a:xfrm>
          </p:grpSpPr>
          <p:sp>
            <p:nvSpPr>
              <p:cNvPr id="4133" name="Google Shape;4133;p54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4134" name="Google Shape;4134;p54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4135" name="Google Shape;4135;p5415"/>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36" name="Google Shape;4136;p5415"/>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137" name="Google Shape;4137;p541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138" name="Google Shape;4138;p54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139" name="Google Shape;4139;p541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359734440"/>
      </p:ext>
    </p:extLst>
  </p:cSld>
  <p:clrMapOvr>
    <a:masterClrMapping/>
  </p:clrMapOvr>
</p:sldLayout>
</file>

<file path=ppt/slideLayouts/slideLayout1587.xml><?xml version="1.0" encoding="utf-8"?>
<p:sldLayout xmlns:a="http://schemas.openxmlformats.org/drawingml/2006/main" xmlns:r="http://schemas.openxmlformats.org/officeDocument/2006/relationships" xmlns:p="http://schemas.openxmlformats.org/presentationml/2006/main" matchingName="14_Two Content">
  <p:cSld name="14_Two Content">
    <p:spTree>
      <p:nvGrpSpPr>
        <p:cNvPr id="1" name="Shape 4140"/>
        <p:cNvGrpSpPr/>
        <p:nvPr/>
      </p:nvGrpSpPr>
      <p:grpSpPr>
        <a:xfrm>
          <a:off x="0" y="0"/>
          <a:ext cx="0" cy="0"/>
          <a:chOff x="0" y="0"/>
          <a:chExt cx="0" cy="0"/>
        </a:xfrm>
      </p:grpSpPr>
      <p:sp>
        <p:nvSpPr>
          <p:cNvPr id="4141" name="Google Shape;4141;p541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42" name="Google Shape;4142;p5416"/>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4143" name="Google Shape;4143;p5416"/>
          <p:cNvGrpSpPr/>
          <p:nvPr/>
        </p:nvGrpSpPr>
        <p:grpSpPr>
          <a:xfrm>
            <a:off x="7191544" y="1"/>
            <a:ext cx="5000459" cy="1425992"/>
            <a:chOff x="7191542" y="1"/>
            <a:chExt cx="5000459" cy="1425992"/>
          </a:xfrm>
        </p:grpSpPr>
        <p:pic>
          <p:nvPicPr>
            <p:cNvPr id="4144" name="Google Shape;4144;p54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145" name="Google Shape;4145;p5416"/>
            <p:cNvGrpSpPr/>
            <p:nvPr/>
          </p:nvGrpSpPr>
          <p:grpSpPr>
            <a:xfrm>
              <a:off x="7191542" y="1"/>
              <a:ext cx="5000459" cy="1425992"/>
              <a:chOff x="7186272" y="0"/>
              <a:chExt cx="5005729" cy="1427495"/>
            </a:xfrm>
          </p:grpSpPr>
          <p:sp>
            <p:nvSpPr>
              <p:cNvPr id="4146" name="Google Shape;4146;p54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4147" name="Google Shape;4147;p54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4148" name="Google Shape;4148;p5416"/>
          <p:cNvSpPr txBox="1">
            <a:spLocks noGrp="1"/>
          </p:cNvSpPr>
          <p:nvPr>
            <p:ph type="body" idx="2"/>
          </p:nvPr>
        </p:nvSpPr>
        <p:spPr>
          <a:xfrm>
            <a:off x="6172201"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149" name="Google Shape;4149;p5416"/>
          <p:cNvSpPr txBox="1">
            <a:spLocks noGrp="1"/>
          </p:cNvSpPr>
          <p:nvPr>
            <p:ph type="sldNum" idx="12"/>
          </p:nvPr>
        </p:nvSpPr>
        <p:spPr>
          <a:xfrm>
            <a:off x="8839198"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150" name="Google Shape;4150;p54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151" name="Google Shape;4151;p541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754212289"/>
      </p:ext>
    </p:extLst>
  </p:cSld>
  <p:clrMapOvr>
    <a:masterClrMapping/>
  </p:clrMapOvr>
</p:sldLayout>
</file>

<file path=ppt/slideLayouts/slideLayout1588.xml><?xml version="1.0" encoding="utf-8"?>
<p:sldLayout xmlns:a="http://schemas.openxmlformats.org/drawingml/2006/main" xmlns:r="http://schemas.openxmlformats.org/officeDocument/2006/relationships" xmlns:p="http://schemas.openxmlformats.org/presentationml/2006/main" matchingName="14_Comparison">
  <p:cSld name="14_Comparison">
    <p:spTree>
      <p:nvGrpSpPr>
        <p:cNvPr id="1" name="Shape 4152"/>
        <p:cNvGrpSpPr/>
        <p:nvPr/>
      </p:nvGrpSpPr>
      <p:grpSpPr>
        <a:xfrm>
          <a:off x="0" y="0"/>
          <a:ext cx="0" cy="0"/>
          <a:chOff x="0" y="0"/>
          <a:chExt cx="0" cy="0"/>
        </a:xfrm>
      </p:grpSpPr>
      <p:grpSp>
        <p:nvGrpSpPr>
          <p:cNvPr id="4153" name="Google Shape;4153;p5417"/>
          <p:cNvGrpSpPr/>
          <p:nvPr/>
        </p:nvGrpSpPr>
        <p:grpSpPr>
          <a:xfrm>
            <a:off x="7191544" y="1"/>
            <a:ext cx="5000459" cy="1425992"/>
            <a:chOff x="7191542" y="1"/>
            <a:chExt cx="5000459" cy="1425992"/>
          </a:xfrm>
        </p:grpSpPr>
        <p:pic>
          <p:nvPicPr>
            <p:cNvPr id="4154" name="Google Shape;4154;p54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155" name="Google Shape;4155;p5417"/>
            <p:cNvGrpSpPr/>
            <p:nvPr/>
          </p:nvGrpSpPr>
          <p:grpSpPr>
            <a:xfrm>
              <a:off x="7191542" y="1"/>
              <a:ext cx="5000459" cy="1425992"/>
              <a:chOff x="7186272" y="0"/>
              <a:chExt cx="5005729" cy="1427495"/>
            </a:xfrm>
          </p:grpSpPr>
          <p:sp>
            <p:nvSpPr>
              <p:cNvPr id="4156" name="Google Shape;4156;p54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4157" name="Google Shape;4157;p54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4158" name="Google Shape;4158;p5417"/>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59" name="Google Shape;4159;p5417"/>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4160" name="Google Shape;4160;p5417"/>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161" name="Google Shape;4161;p541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4162" name="Google Shape;4162;p541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163" name="Google Shape;4163;p5417"/>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164" name="Google Shape;4164;p54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165" name="Google Shape;4165;p541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6547008"/>
      </p:ext>
    </p:extLst>
  </p:cSld>
  <p:clrMapOvr>
    <a:masterClrMapping/>
  </p:clrMapOvr>
</p:sldLayout>
</file>

<file path=ppt/slideLayouts/slideLayout1589.xml><?xml version="1.0" encoding="utf-8"?>
<p:sldLayout xmlns:a="http://schemas.openxmlformats.org/drawingml/2006/main" xmlns:r="http://schemas.openxmlformats.org/officeDocument/2006/relationships" xmlns:p="http://schemas.openxmlformats.org/presentationml/2006/main" matchingName="14_Title Only">
  <p:cSld name="14_Title Only">
    <p:spTree>
      <p:nvGrpSpPr>
        <p:cNvPr id="1" name="Shape 4166"/>
        <p:cNvGrpSpPr/>
        <p:nvPr/>
      </p:nvGrpSpPr>
      <p:grpSpPr>
        <a:xfrm>
          <a:off x="0" y="0"/>
          <a:ext cx="0" cy="0"/>
          <a:chOff x="0" y="0"/>
          <a:chExt cx="0" cy="0"/>
        </a:xfrm>
      </p:grpSpPr>
      <p:grpSp>
        <p:nvGrpSpPr>
          <p:cNvPr id="4167" name="Google Shape;4167;p5418"/>
          <p:cNvGrpSpPr/>
          <p:nvPr/>
        </p:nvGrpSpPr>
        <p:grpSpPr>
          <a:xfrm>
            <a:off x="7191544" y="1"/>
            <a:ext cx="5000459" cy="1425992"/>
            <a:chOff x="7191542" y="1"/>
            <a:chExt cx="5000459" cy="1425992"/>
          </a:xfrm>
        </p:grpSpPr>
        <p:pic>
          <p:nvPicPr>
            <p:cNvPr id="4168" name="Google Shape;4168;p54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169" name="Google Shape;4169;p5418"/>
            <p:cNvGrpSpPr/>
            <p:nvPr/>
          </p:nvGrpSpPr>
          <p:grpSpPr>
            <a:xfrm>
              <a:off x="7191542" y="1"/>
              <a:ext cx="5000459" cy="1425992"/>
              <a:chOff x="7186272" y="0"/>
              <a:chExt cx="5005729" cy="1427495"/>
            </a:xfrm>
          </p:grpSpPr>
          <p:sp>
            <p:nvSpPr>
              <p:cNvPr id="4170" name="Google Shape;4170;p54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4171" name="Google Shape;4171;p54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4172" name="Google Shape;4172;p541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73" name="Google Shape;4173;p5418"/>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174" name="Google Shape;4174;p54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175" name="Google Shape;4175;p541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12409425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matchingName="Blank">
  <p:cSld name="Blank 7">
    <p:spTree>
      <p:nvGrpSpPr>
        <p:cNvPr id="1" name="Shape 10610"/>
        <p:cNvGrpSpPr/>
        <p:nvPr/>
      </p:nvGrpSpPr>
      <p:grpSpPr>
        <a:xfrm>
          <a:off x="0" y="0"/>
          <a:ext cx="0" cy="0"/>
          <a:chOff x="0" y="0"/>
          <a:chExt cx="0" cy="0"/>
        </a:xfrm>
      </p:grpSpPr>
      <p:sp>
        <p:nvSpPr>
          <p:cNvPr id="10611" name="Google Shape;10611;p14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612" name="Google Shape;10612;p14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13" name="Google Shape;10613;p14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614" name="Google Shape;10614;p1463"/>
          <p:cNvGrpSpPr/>
          <p:nvPr/>
        </p:nvGrpSpPr>
        <p:grpSpPr>
          <a:xfrm>
            <a:off x="7191542" y="1"/>
            <a:ext cx="5000459" cy="1425992"/>
            <a:chOff x="7191542" y="1"/>
            <a:chExt cx="5000459" cy="1425992"/>
          </a:xfrm>
        </p:grpSpPr>
        <p:pic>
          <p:nvPicPr>
            <p:cNvPr id="10615" name="Google Shape;10615;p14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16" name="Google Shape;10616;p1463"/>
            <p:cNvGrpSpPr/>
            <p:nvPr/>
          </p:nvGrpSpPr>
          <p:grpSpPr>
            <a:xfrm>
              <a:off x="7191542" y="1"/>
              <a:ext cx="5000459" cy="1425992"/>
              <a:chOff x="7186272" y="0"/>
              <a:chExt cx="5005729" cy="1427495"/>
            </a:xfrm>
          </p:grpSpPr>
          <p:sp>
            <p:nvSpPr>
              <p:cNvPr id="10617" name="Google Shape;10617;p14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618" name="Google Shape;10618;p14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590.xml><?xml version="1.0" encoding="utf-8"?>
<p:sldLayout xmlns:a="http://schemas.openxmlformats.org/drawingml/2006/main" xmlns:r="http://schemas.openxmlformats.org/officeDocument/2006/relationships" xmlns:p="http://schemas.openxmlformats.org/presentationml/2006/main" matchingName="13_End">
  <p:cSld name="13_End">
    <p:spTree>
      <p:nvGrpSpPr>
        <p:cNvPr id="1" name="Shape 4176"/>
        <p:cNvGrpSpPr/>
        <p:nvPr/>
      </p:nvGrpSpPr>
      <p:grpSpPr>
        <a:xfrm>
          <a:off x="0" y="0"/>
          <a:ext cx="0" cy="0"/>
          <a:chOff x="0" y="0"/>
          <a:chExt cx="0" cy="0"/>
        </a:xfrm>
      </p:grpSpPr>
      <p:grpSp>
        <p:nvGrpSpPr>
          <p:cNvPr id="4177" name="Google Shape;4177;p5419"/>
          <p:cNvGrpSpPr/>
          <p:nvPr/>
        </p:nvGrpSpPr>
        <p:grpSpPr>
          <a:xfrm>
            <a:off x="0" y="0"/>
            <a:ext cx="12192000" cy="2148830"/>
            <a:chOff x="0" y="0"/>
            <a:chExt cx="12192000" cy="2148830"/>
          </a:xfrm>
        </p:grpSpPr>
        <p:sp>
          <p:nvSpPr>
            <p:cNvPr id="4178" name="Google Shape;4178;p541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4179" name="Google Shape;4179;p541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4180" name="Google Shape;4180;p5419"/>
          <p:cNvSpPr/>
          <p:nvPr/>
        </p:nvSpPr>
        <p:spPr>
          <a:xfrm>
            <a:off x="902368" y="1517699"/>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181" name="Google Shape;4181;p5419"/>
          <p:cNvSpPr txBox="1">
            <a:spLocks noGrp="1"/>
          </p:cNvSpPr>
          <p:nvPr>
            <p:ph type="body" idx="1"/>
          </p:nvPr>
        </p:nvSpPr>
        <p:spPr>
          <a:xfrm>
            <a:off x="1219201" y="3429002"/>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182" name="Google Shape;4182;p541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9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183" name="Google Shape;4183;p5419"/>
          <p:cNvPicPr preferRelativeResize="0"/>
          <p:nvPr/>
        </p:nvPicPr>
        <p:blipFill rotWithShape="1">
          <a:blip r:embed="rId2">
            <a:alphaModFix/>
          </a:blip>
          <a:srcRect/>
          <a:stretch/>
        </p:blipFill>
        <p:spPr>
          <a:xfrm>
            <a:off x="902370" y="228371"/>
            <a:ext cx="2025315" cy="911940"/>
          </a:xfrm>
          <a:prstGeom prst="rect">
            <a:avLst/>
          </a:prstGeom>
          <a:noFill/>
          <a:ln>
            <a:noFill/>
          </a:ln>
        </p:spPr>
      </p:pic>
      <p:sp>
        <p:nvSpPr>
          <p:cNvPr id="4184" name="Google Shape;4184;p541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047818551"/>
      </p:ext>
    </p:extLst>
  </p:cSld>
  <p:clrMapOvr>
    <a:masterClrMapping/>
  </p:clrMapOvr>
</p:sldLayout>
</file>

<file path=ppt/slideLayouts/slideLayout1591.xml><?xml version="1.0" encoding="utf-8"?>
<p:sldLayout xmlns:a="http://schemas.openxmlformats.org/drawingml/2006/main" xmlns:r="http://schemas.openxmlformats.org/officeDocument/2006/relationships" xmlns:p="http://schemas.openxmlformats.org/presentationml/2006/main" matchingName="12_Blank">
  <p:cSld name="12_Blank">
    <p:spTree>
      <p:nvGrpSpPr>
        <p:cNvPr id="1" name="Shape 4185"/>
        <p:cNvGrpSpPr/>
        <p:nvPr/>
      </p:nvGrpSpPr>
      <p:grpSpPr>
        <a:xfrm>
          <a:off x="0" y="0"/>
          <a:ext cx="0" cy="0"/>
          <a:chOff x="0" y="0"/>
          <a:chExt cx="0" cy="0"/>
        </a:xfrm>
      </p:grpSpPr>
      <p:sp>
        <p:nvSpPr>
          <p:cNvPr id="4186" name="Google Shape;4186;p5420"/>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187" name="Google Shape;4187;p54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188" name="Google Shape;4188;p542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189" name="Google Shape;4189;p5420"/>
          <p:cNvGrpSpPr/>
          <p:nvPr/>
        </p:nvGrpSpPr>
        <p:grpSpPr>
          <a:xfrm>
            <a:off x="7191544" y="1"/>
            <a:ext cx="5000459" cy="1425992"/>
            <a:chOff x="7191542" y="1"/>
            <a:chExt cx="5000459" cy="1425992"/>
          </a:xfrm>
        </p:grpSpPr>
        <p:pic>
          <p:nvPicPr>
            <p:cNvPr id="4190" name="Google Shape;4190;p54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191" name="Google Shape;4191;p5420"/>
            <p:cNvGrpSpPr/>
            <p:nvPr/>
          </p:nvGrpSpPr>
          <p:grpSpPr>
            <a:xfrm>
              <a:off x="7191542" y="1"/>
              <a:ext cx="5000459" cy="1425992"/>
              <a:chOff x="7186272" y="0"/>
              <a:chExt cx="5005729" cy="1427495"/>
            </a:xfrm>
          </p:grpSpPr>
          <p:sp>
            <p:nvSpPr>
              <p:cNvPr id="4192" name="Google Shape;4192;p54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4193" name="Google Shape;4193;p54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extLst>
      <p:ext uri="{BB962C8B-B14F-4D97-AF65-F5344CB8AC3E}">
        <p14:creationId xmlns:p14="http://schemas.microsoft.com/office/powerpoint/2010/main" val="2602664222"/>
      </p:ext>
    </p:extLst>
  </p:cSld>
  <p:clrMapOvr>
    <a:masterClrMapping/>
  </p:clrMapOvr>
</p:sldLayout>
</file>

<file path=ppt/slideLayouts/slideLayout1592.xml><?xml version="1.0" encoding="utf-8"?>
<p:sldLayout xmlns:a="http://schemas.openxmlformats.org/drawingml/2006/main" xmlns:r="http://schemas.openxmlformats.org/officeDocument/2006/relationships" xmlns:p="http://schemas.openxmlformats.org/presentationml/2006/main" matchingName="13_Blank">
  <p:cSld name="13_Blank">
    <p:spTree>
      <p:nvGrpSpPr>
        <p:cNvPr id="1" name="Shape 4194"/>
        <p:cNvGrpSpPr/>
        <p:nvPr/>
      </p:nvGrpSpPr>
      <p:grpSpPr>
        <a:xfrm>
          <a:off x="0" y="0"/>
          <a:ext cx="0" cy="0"/>
          <a:chOff x="0" y="0"/>
          <a:chExt cx="0" cy="0"/>
        </a:xfrm>
      </p:grpSpPr>
      <p:sp>
        <p:nvSpPr>
          <p:cNvPr id="4195" name="Google Shape;4195;p5421"/>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196" name="Google Shape;4196;p54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197" name="Google Shape;4197;p542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198" name="Google Shape;4198;p5421"/>
          <p:cNvGrpSpPr/>
          <p:nvPr/>
        </p:nvGrpSpPr>
        <p:grpSpPr>
          <a:xfrm>
            <a:off x="7191544" y="1"/>
            <a:ext cx="5000459" cy="1425992"/>
            <a:chOff x="7191542" y="1"/>
            <a:chExt cx="5000459" cy="1425992"/>
          </a:xfrm>
        </p:grpSpPr>
        <p:pic>
          <p:nvPicPr>
            <p:cNvPr id="4199" name="Google Shape;4199;p54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200" name="Google Shape;4200;p5421"/>
            <p:cNvGrpSpPr/>
            <p:nvPr/>
          </p:nvGrpSpPr>
          <p:grpSpPr>
            <a:xfrm>
              <a:off x="7191542" y="1"/>
              <a:ext cx="5000459" cy="1425992"/>
              <a:chOff x="7186272" y="0"/>
              <a:chExt cx="5005729" cy="1427495"/>
            </a:xfrm>
          </p:grpSpPr>
          <p:sp>
            <p:nvSpPr>
              <p:cNvPr id="4201" name="Google Shape;4201;p54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4202" name="Google Shape;4202;p54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extLst>
      <p:ext uri="{BB962C8B-B14F-4D97-AF65-F5344CB8AC3E}">
        <p14:creationId xmlns:p14="http://schemas.microsoft.com/office/powerpoint/2010/main" val="3815410881"/>
      </p:ext>
    </p:extLst>
  </p:cSld>
  <p:clrMapOvr>
    <a:masterClrMapping/>
  </p:clrMapOvr>
</p:sldLayout>
</file>

<file path=ppt/slideLayouts/slideLayout1593.xml><?xml version="1.0" encoding="utf-8"?>
<p:sldLayout xmlns:a="http://schemas.openxmlformats.org/drawingml/2006/main" xmlns:r="http://schemas.openxmlformats.org/officeDocument/2006/relationships" xmlns:p="http://schemas.openxmlformats.org/presentationml/2006/main" matchingName="34_Quotation">
  <p:cSld name="34_Quotation">
    <p:spTree>
      <p:nvGrpSpPr>
        <p:cNvPr id="1" name="Shape 4203"/>
        <p:cNvGrpSpPr/>
        <p:nvPr/>
      </p:nvGrpSpPr>
      <p:grpSpPr>
        <a:xfrm>
          <a:off x="0" y="0"/>
          <a:ext cx="0" cy="0"/>
          <a:chOff x="0" y="0"/>
          <a:chExt cx="0" cy="0"/>
        </a:xfrm>
      </p:grpSpPr>
      <p:sp>
        <p:nvSpPr>
          <p:cNvPr id="4204" name="Google Shape;4204;p5422"/>
          <p:cNvSpPr/>
          <p:nvPr/>
        </p:nvSpPr>
        <p:spPr>
          <a:xfrm>
            <a:off x="1427358"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205" name="Google Shape;4205;p5422"/>
          <p:cNvSpPr txBox="1">
            <a:spLocks noGrp="1"/>
          </p:cNvSpPr>
          <p:nvPr>
            <p:ph type="title"/>
          </p:nvPr>
        </p:nvSpPr>
        <p:spPr>
          <a:xfrm>
            <a:off x="1427358"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06" name="Google Shape;4206;p542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207" name="Google Shape;4207;p542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208" name="Google Shape;4208;p54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09" name="Google Shape;4209;p542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210" name="Google Shape;4210;p5422"/>
          <p:cNvGrpSpPr/>
          <p:nvPr/>
        </p:nvGrpSpPr>
        <p:grpSpPr>
          <a:xfrm>
            <a:off x="7191544" y="1"/>
            <a:ext cx="5000459" cy="1425992"/>
            <a:chOff x="7191542" y="1"/>
            <a:chExt cx="5000459" cy="1425992"/>
          </a:xfrm>
        </p:grpSpPr>
        <p:pic>
          <p:nvPicPr>
            <p:cNvPr id="4211" name="Google Shape;4211;p54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212" name="Google Shape;4212;p5422"/>
            <p:cNvGrpSpPr/>
            <p:nvPr/>
          </p:nvGrpSpPr>
          <p:grpSpPr>
            <a:xfrm>
              <a:off x="7191542" y="1"/>
              <a:ext cx="5000459" cy="1425992"/>
              <a:chOff x="7186272" y="0"/>
              <a:chExt cx="5005729" cy="1427495"/>
            </a:xfrm>
          </p:grpSpPr>
          <p:sp>
            <p:nvSpPr>
              <p:cNvPr id="4213" name="Google Shape;4213;p54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4214" name="Google Shape;4214;p54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4215" name="Google Shape;4215;p5422"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566006052"/>
      </p:ext>
    </p:extLst>
  </p:cSld>
  <p:clrMapOvr>
    <a:masterClrMapping/>
  </p:clrMapOvr>
</p:sldLayout>
</file>

<file path=ppt/slideLayouts/slideLayout1594.xml><?xml version="1.0" encoding="utf-8"?>
<p:sldLayout xmlns:a="http://schemas.openxmlformats.org/drawingml/2006/main" xmlns:r="http://schemas.openxmlformats.org/officeDocument/2006/relationships" xmlns:p="http://schemas.openxmlformats.org/presentationml/2006/main" matchingName="35_Quotation">
  <p:cSld name="35_Quotation">
    <p:spTree>
      <p:nvGrpSpPr>
        <p:cNvPr id="1" name="Shape 4216"/>
        <p:cNvGrpSpPr/>
        <p:nvPr/>
      </p:nvGrpSpPr>
      <p:grpSpPr>
        <a:xfrm>
          <a:off x="0" y="0"/>
          <a:ext cx="0" cy="0"/>
          <a:chOff x="0" y="0"/>
          <a:chExt cx="0" cy="0"/>
        </a:xfrm>
      </p:grpSpPr>
      <p:sp>
        <p:nvSpPr>
          <p:cNvPr id="4217" name="Google Shape;4217;p5423"/>
          <p:cNvSpPr/>
          <p:nvPr/>
        </p:nvSpPr>
        <p:spPr>
          <a:xfrm>
            <a:off x="1427358"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218" name="Google Shape;4218;p5423"/>
          <p:cNvSpPr txBox="1">
            <a:spLocks noGrp="1"/>
          </p:cNvSpPr>
          <p:nvPr>
            <p:ph type="title"/>
          </p:nvPr>
        </p:nvSpPr>
        <p:spPr>
          <a:xfrm>
            <a:off x="1427358"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19" name="Google Shape;4219;p542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220" name="Google Shape;4220;p5423"/>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221" name="Google Shape;4221;p54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22" name="Google Shape;4222;p542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223" name="Google Shape;4223;p5423"/>
          <p:cNvGrpSpPr/>
          <p:nvPr/>
        </p:nvGrpSpPr>
        <p:grpSpPr>
          <a:xfrm>
            <a:off x="7191544" y="1"/>
            <a:ext cx="5000459" cy="1425992"/>
            <a:chOff x="7191542" y="1"/>
            <a:chExt cx="5000459" cy="1425992"/>
          </a:xfrm>
        </p:grpSpPr>
        <p:pic>
          <p:nvPicPr>
            <p:cNvPr id="4224" name="Google Shape;4224;p54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225" name="Google Shape;4225;p5423"/>
            <p:cNvGrpSpPr/>
            <p:nvPr/>
          </p:nvGrpSpPr>
          <p:grpSpPr>
            <a:xfrm>
              <a:off x="7191542" y="1"/>
              <a:ext cx="5000459" cy="1425992"/>
              <a:chOff x="7186272" y="0"/>
              <a:chExt cx="5005729" cy="1427495"/>
            </a:xfrm>
          </p:grpSpPr>
          <p:sp>
            <p:nvSpPr>
              <p:cNvPr id="4226" name="Google Shape;4226;p54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4227" name="Google Shape;4227;p54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4228" name="Google Shape;4228;p5423"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2890351863"/>
      </p:ext>
    </p:extLst>
  </p:cSld>
  <p:clrMapOvr>
    <a:masterClrMapping/>
  </p:clrMapOvr>
</p:sldLayout>
</file>

<file path=ppt/slideLayouts/slideLayout1595.xml><?xml version="1.0" encoding="utf-8"?>
<p:sldLayout xmlns:a="http://schemas.openxmlformats.org/drawingml/2006/main" xmlns:r="http://schemas.openxmlformats.org/officeDocument/2006/relationships" xmlns:p="http://schemas.openxmlformats.org/presentationml/2006/main" matchingName="36_Quotation">
  <p:cSld name="36_Quotation">
    <p:spTree>
      <p:nvGrpSpPr>
        <p:cNvPr id="1" name="Shape 4229"/>
        <p:cNvGrpSpPr/>
        <p:nvPr/>
      </p:nvGrpSpPr>
      <p:grpSpPr>
        <a:xfrm>
          <a:off x="0" y="0"/>
          <a:ext cx="0" cy="0"/>
          <a:chOff x="0" y="0"/>
          <a:chExt cx="0" cy="0"/>
        </a:xfrm>
      </p:grpSpPr>
      <p:sp>
        <p:nvSpPr>
          <p:cNvPr id="4230" name="Google Shape;4230;p5424"/>
          <p:cNvSpPr/>
          <p:nvPr/>
        </p:nvSpPr>
        <p:spPr>
          <a:xfrm>
            <a:off x="1427358"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231" name="Google Shape;4231;p5424"/>
          <p:cNvSpPr txBox="1">
            <a:spLocks noGrp="1"/>
          </p:cNvSpPr>
          <p:nvPr>
            <p:ph type="title"/>
          </p:nvPr>
        </p:nvSpPr>
        <p:spPr>
          <a:xfrm>
            <a:off x="1427358"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32" name="Google Shape;4232;p54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233" name="Google Shape;4233;p542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234" name="Google Shape;4234;p54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35" name="Google Shape;4235;p542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236" name="Google Shape;4236;p5424"/>
          <p:cNvGrpSpPr/>
          <p:nvPr/>
        </p:nvGrpSpPr>
        <p:grpSpPr>
          <a:xfrm>
            <a:off x="7191544" y="1"/>
            <a:ext cx="5000459" cy="1425992"/>
            <a:chOff x="7191542" y="1"/>
            <a:chExt cx="5000459" cy="1425992"/>
          </a:xfrm>
        </p:grpSpPr>
        <p:pic>
          <p:nvPicPr>
            <p:cNvPr id="4237" name="Google Shape;4237;p54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238" name="Google Shape;4238;p5424"/>
            <p:cNvGrpSpPr/>
            <p:nvPr/>
          </p:nvGrpSpPr>
          <p:grpSpPr>
            <a:xfrm>
              <a:off x="7191542" y="1"/>
              <a:ext cx="5000459" cy="1425992"/>
              <a:chOff x="7186272" y="0"/>
              <a:chExt cx="5005729" cy="1427495"/>
            </a:xfrm>
          </p:grpSpPr>
          <p:sp>
            <p:nvSpPr>
              <p:cNvPr id="4239" name="Google Shape;4239;p54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4240" name="Google Shape;4240;p54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4241" name="Google Shape;4241;p5424"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899348520"/>
      </p:ext>
    </p:extLst>
  </p:cSld>
  <p:clrMapOvr>
    <a:masterClrMapping/>
  </p:clrMapOvr>
</p:sldLayout>
</file>

<file path=ppt/slideLayouts/slideLayout1596.xml><?xml version="1.0" encoding="utf-8"?>
<p:sldLayout xmlns:a="http://schemas.openxmlformats.org/drawingml/2006/main" xmlns:r="http://schemas.openxmlformats.org/officeDocument/2006/relationships" xmlns:p="http://schemas.openxmlformats.org/presentationml/2006/main" matchingName="37_Quotation">
  <p:cSld name="37_Quotation">
    <p:spTree>
      <p:nvGrpSpPr>
        <p:cNvPr id="1" name="Shape 4242"/>
        <p:cNvGrpSpPr/>
        <p:nvPr/>
      </p:nvGrpSpPr>
      <p:grpSpPr>
        <a:xfrm>
          <a:off x="0" y="0"/>
          <a:ext cx="0" cy="0"/>
          <a:chOff x="0" y="0"/>
          <a:chExt cx="0" cy="0"/>
        </a:xfrm>
      </p:grpSpPr>
      <p:sp>
        <p:nvSpPr>
          <p:cNvPr id="4243" name="Google Shape;4243;p5425"/>
          <p:cNvSpPr/>
          <p:nvPr/>
        </p:nvSpPr>
        <p:spPr>
          <a:xfrm>
            <a:off x="1427358"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244" name="Google Shape;4244;p5425"/>
          <p:cNvSpPr txBox="1">
            <a:spLocks noGrp="1"/>
          </p:cNvSpPr>
          <p:nvPr>
            <p:ph type="title"/>
          </p:nvPr>
        </p:nvSpPr>
        <p:spPr>
          <a:xfrm>
            <a:off x="1427358"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45" name="Google Shape;4245;p542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246" name="Google Shape;4246;p542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247" name="Google Shape;4247;p54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48" name="Google Shape;4248;p542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249" name="Google Shape;4249;p5425"/>
          <p:cNvGrpSpPr/>
          <p:nvPr/>
        </p:nvGrpSpPr>
        <p:grpSpPr>
          <a:xfrm>
            <a:off x="7191544" y="1"/>
            <a:ext cx="5000459" cy="1425992"/>
            <a:chOff x="7191542" y="1"/>
            <a:chExt cx="5000459" cy="1425992"/>
          </a:xfrm>
        </p:grpSpPr>
        <p:pic>
          <p:nvPicPr>
            <p:cNvPr id="4250" name="Google Shape;4250;p54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251" name="Google Shape;4251;p5425"/>
            <p:cNvGrpSpPr/>
            <p:nvPr/>
          </p:nvGrpSpPr>
          <p:grpSpPr>
            <a:xfrm>
              <a:off x="7191542" y="1"/>
              <a:ext cx="5000459" cy="1425992"/>
              <a:chOff x="7186272" y="0"/>
              <a:chExt cx="5005729" cy="1427495"/>
            </a:xfrm>
          </p:grpSpPr>
          <p:sp>
            <p:nvSpPr>
              <p:cNvPr id="4252" name="Google Shape;4252;p54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4253" name="Google Shape;4253;p54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4254" name="Google Shape;4254;p5425"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4036822589"/>
      </p:ext>
    </p:extLst>
  </p:cSld>
  <p:clrMapOvr>
    <a:masterClrMapping/>
  </p:clrMapOvr>
</p:sldLayout>
</file>

<file path=ppt/slideLayouts/slideLayout1597.xml><?xml version="1.0" encoding="utf-8"?>
<p:sldLayout xmlns:a="http://schemas.openxmlformats.org/drawingml/2006/main" xmlns:r="http://schemas.openxmlformats.org/officeDocument/2006/relationships" xmlns:p="http://schemas.openxmlformats.org/presentationml/2006/main" matchingName="15_Cover">
  <p:cSld name="15_Cover">
    <p:spTree>
      <p:nvGrpSpPr>
        <p:cNvPr id="1" name="Shape 4255"/>
        <p:cNvGrpSpPr/>
        <p:nvPr/>
      </p:nvGrpSpPr>
      <p:grpSpPr>
        <a:xfrm>
          <a:off x="0" y="0"/>
          <a:ext cx="0" cy="0"/>
          <a:chOff x="0" y="0"/>
          <a:chExt cx="0" cy="0"/>
        </a:xfrm>
      </p:grpSpPr>
      <p:sp>
        <p:nvSpPr>
          <p:cNvPr id="4256" name="Google Shape;4256;p5426"/>
          <p:cNvSpPr/>
          <p:nvPr/>
        </p:nvSpPr>
        <p:spPr>
          <a:xfrm>
            <a:off x="902368" y="1294415"/>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257" name="Google Shape;4257;p5426"/>
          <p:cNvSpPr txBox="1">
            <a:spLocks noGrp="1"/>
          </p:cNvSpPr>
          <p:nvPr>
            <p:ph type="ctrTitle"/>
          </p:nvPr>
        </p:nvSpPr>
        <p:spPr>
          <a:xfrm>
            <a:off x="1413312"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58" name="Google Shape;4258;p5426"/>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
        <p:nvSpPr>
          <p:cNvPr id="4259" name="Google Shape;4259;p5426"/>
          <p:cNvSpPr>
            <a:spLocks noGrp="1"/>
          </p:cNvSpPr>
          <p:nvPr>
            <p:ph type="pic" idx="2"/>
          </p:nvPr>
        </p:nvSpPr>
        <p:spPr>
          <a:xfrm>
            <a:off x="7118684" y="233915"/>
            <a:ext cx="5073316" cy="5943600"/>
          </a:xfrm>
          <a:prstGeom prst="rect">
            <a:avLst/>
          </a:prstGeom>
          <a:noFill/>
          <a:ln>
            <a:noFill/>
          </a:ln>
        </p:spPr>
      </p:sp>
      <p:grpSp>
        <p:nvGrpSpPr>
          <p:cNvPr id="4260" name="Google Shape;4260;p5426"/>
          <p:cNvGrpSpPr/>
          <p:nvPr/>
        </p:nvGrpSpPr>
        <p:grpSpPr>
          <a:xfrm>
            <a:off x="0" y="5020350"/>
            <a:ext cx="12192000" cy="1837653"/>
            <a:chOff x="0" y="5020348"/>
            <a:chExt cx="12192000" cy="1837653"/>
          </a:xfrm>
        </p:grpSpPr>
        <p:sp>
          <p:nvSpPr>
            <p:cNvPr id="4261" name="Google Shape;4261;p542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262" name="Google Shape;4262;p542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4263" name="Google Shape;4263;p542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248717748"/>
      </p:ext>
    </p:extLst>
  </p:cSld>
  <p:clrMapOvr>
    <a:masterClrMapping/>
  </p:clrMapOvr>
</p:sldLayout>
</file>

<file path=ppt/slideLayouts/slideLayout1598.xml><?xml version="1.0" encoding="utf-8"?>
<p:sldLayout xmlns:a="http://schemas.openxmlformats.org/drawingml/2006/main" xmlns:r="http://schemas.openxmlformats.org/officeDocument/2006/relationships" xmlns:p="http://schemas.openxmlformats.org/presentationml/2006/main" matchingName="15_Divider">
  <p:cSld name="15_Divider">
    <p:bg>
      <p:bgPr>
        <a:solidFill>
          <a:schemeClr val="lt2"/>
        </a:solidFill>
        <a:effectLst/>
      </p:bgPr>
    </p:bg>
    <p:spTree>
      <p:nvGrpSpPr>
        <p:cNvPr id="1" name="Shape 4264"/>
        <p:cNvGrpSpPr/>
        <p:nvPr/>
      </p:nvGrpSpPr>
      <p:grpSpPr>
        <a:xfrm>
          <a:off x="0" y="0"/>
          <a:ext cx="0" cy="0"/>
          <a:chOff x="0" y="0"/>
          <a:chExt cx="0" cy="0"/>
        </a:xfrm>
      </p:grpSpPr>
      <p:grpSp>
        <p:nvGrpSpPr>
          <p:cNvPr id="4265" name="Google Shape;4265;p5427"/>
          <p:cNvGrpSpPr/>
          <p:nvPr/>
        </p:nvGrpSpPr>
        <p:grpSpPr>
          <a:xfrm>
            <a:off x="0" y="5020349"/>
            <a:ext cx="12192000" cy="1837653"/>
            <a:chOff x="0" y="5020347"/>
            <a:chExt cx="12192000" cy="1837653"/>
          </a:xfrm>
        </p:grpSpPr>
        <p:sp>
          <p:nvSpPr>
            <p:cNvPr id="4266" name="Google Shape;4266;p542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267" name="Google Shape;4267;p542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268" name="Google Shape;4268;p542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4269" name="Google Shape;4269;p542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270" name="Google Shape;4270;p5427"/>
          <p:cNvSpPr txBox="1">
            <a:spLocks noGrp="1"/>
          </p:cNvSpPr>
          <p:nvPr>
            <p:ph type="title"/>
          </p:nvPr>
        </p:nvSpPr>
        <p:spPr>
          <a:xfrm>
            <a:off x="1413310"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71" name="Google Shape;4271;p5427"/>
          <p:cNvSpPr txBox="1">
            <a:spLocks noGrp="1"/>
          </p:cNvSpPr>
          <p:nvPr>
            <p:ph type="subTitle" idx="1"/>
          </p:nvPr>
        </p:nvSpPr>
        <p:spPr>
          <a:xfrm>
            <a:off x="1413310"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Tree>
    <p:extLst>
      <p:ext uri="{BB962C8B-B14F-4D97-AF65-F5344CB8AC3E}">
        <p14:creationId xmlns:p14="http://schemas.microsoft.com/office/powerpoint/2010/main" val="3687366092"/>
      </p:ext>
    </p:extLst>
  </p:cSld>
  <p:clrMapOvr>
    <a:masterClrMapping/>
  </p:clrMapOvr>
</p:sldLayout>
</file>

<file path=ppt/slideLayouts/slideLayout1599.xml><?xml version="1.0" encoding="utf-8"?>
<p:sldLayout xmlns:a="http://schemas.openxmlformats.org/drawingml/2006/main" xmlns:r="http://schemas.openxmlformats.org/officeDocument/2006/relationships" xmlns:p="http://schemas.openxmlformats.org/presentationml/2006/main" matchingName="15_Photo Slide">
  <p:cSld name="15_Photo Slide">
    <p:spTree>
      <p:nvGrpSpPr>
        <p:cNvPr id="1" name="Shape 4272"/>
        <p:cNvGrpSpPr/>
        <p:nvPr/>
      </p:nvGrpSpPr>
      <p:grpSpPr>
        <a:xfrm>
          <a:off x="0" y="0"/>
          <a:ext cx="0" cy="0"/>
          <a:chOff x="0" y="0"/>
          <a:chExt cx="0" cy="0"/>
        </a:xfrm>
      </p:grpSpPr>
      <p:sp>
        <p:nvSpPr>
          <p:cNvPr id="4273" name="Google Shape;4273;p5428"/>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4274" name="Google Shape;4274;p542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275" name="Google Shape;4275;p5428"/>
          <p:cNvGrpSpPr/>
          <p:nvPr/>
        </p:nvGrpSpPr>
        <p:grpSpPr>
          <a:xfrm>
            <a:off x="0" y="5379428"/>
            <a:ext cx="2807368" cy="753891"/>
            <a:chOff x="0" y="5379426"/>
            <a:chExt cx="2807368" cy="753891"/>
          </a:xfrm>
        </p:grpSpPr>
        <p:sp>
          <p:nvSpPr>
            <p:cNvPr id="4276" name="Google Shape;4276;p542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277" name="Google Shape;4277;p542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4278" name="Google Shape;4278;p5428"/>
          <p:cNvSpPr>
            <a:spLocks noGrp="1"/>
          </p:cNvSpPr>
          <p:nvPr>
            <p:ph type="pic" idx="2"/>
          </p:nvPr>
        </p:nvSpPr>
        <p:spPr>
          <a:xfrm>
            <a:off x="2807368" y="457202"/>
            <a:ext cx="8915400" cy="5943598"/>
          </a:xfrm>
          <a:prstGeom prst="rect">
            <a:avLst/>
          </a:prstGeom>
          <a:noFill/>
          <a:ln>
            <a:noFill/>
          </a:ln>
        </p:spPr>
      </p:sp>
      <p:pic>
        <p:nvPicPr>
          <p:cNvPr id="4279" name="Google Shape;4279;p5428"/>
          <p:cNvPicPr preferRelativeResize="0"/>
          <p:nvPr/>
        </p:nvPicPr>
        <p:blipFill rotWithShape="1">
          <a:blip r:embed="rId2">
            <a:alphaModFix/>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34239548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9072"/>
        <p:cNvGrpSpPr/>
        <p:nvPr/>
      </p:nvGrpSpPr>
      <p:grpSpPr>
        <a:xfrm>
          <a:off x="0" y="0"/>
          <a:ext cx="0" cy="0"/>
          <a:chOff x="0" y="0"/>
          <a:chExt cx="0" cy="0"/>
        </a:xfrm>
      </p:grpSpPr>
      <p:grpSp>
        <p:nvGrpSpPr>
          <p:cNvPr id="9073" name="Google Shape;9073;p1322"/>
          <p:cNvGrpSpPr/>
          <p:nvPr/>
        </p:nvGrpSpPr>
        <p:grpSpPr>
          <a:xfrm>
            <a:off x="7191542" y="1"/>
            <a:ext cx="5000459" cy="1425992"/>
            <a:chOff x="7191542" y="1"/>
            <a:chExt cx="5000459" cy="1425992"/>
          </a:xfrm>
        </p:grpSpPr>
        <p:pic>
          <p:nvPicPr>
            <p:cNvPr id="9074" name="Google Shape;9074;p13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075" name="Google Shape;9075;p1322"/>
            <p:cNvGrpSpPr/>
            <p:nvPr/>
          </p:nvGrpSpPr>
          <p:grpSpPr>
            <a:xfrm>
              <a:off x="7191542" y="1"/>
              <a:ext cx="5000459" cy="1425992"/>
              <a:chOff x="7186272" y="0"/>
              <a:chExt cx="5005729" cy="1427495"/>
            </a:xfrm>
          </p:grpSpPr>
          <p:sp>
            <p:nvSpPr>
              <p:cNvPr id="9076" name="Google Shape;9076;p13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077" name="Google Shape;9077;p13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078" name="Google Shape;9078;p13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079" name="Google Shape;9079;p132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80" name="Google Shape;9080;p13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081" name="Google Shape;9081;p13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82" name="Google Shape;9082;p13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matchingName="3_Quotation">
  <p:cSld name="3_Quotation 3">
    <p:spTree>
      <p:nvGrpSpPr>
        <p:cNvPr id="1" name="Shape 10619"/>
        <p:cNvGrpSpPr/>
        <p:nvPr/>
      </p:nvGrpSpPr>
      <p:grpSpPr>
        <a:xfrm>
          <a:off x="0" y="0"/>
          <a:ext cx="0" cy="0"/>
          <a:chOff x="0" y="0"/>
          <a:chExt cx="0" cy="0"/>
        </a:xfrm>
      </p:grpSpPr>
      <p:sp>
        <p:nvSpPr>
          <p:cNvPr id="10620" name="Google Shape;10620;p146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621" name="Google Shape;10621;p146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622" name="Google Shape;10622;p146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23" name="Google Shape;10623;p14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624" name="Google Shape;10624;p14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25" name="Google Shape;10625;p14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626" name="Google Shape;10626;p1464"/>
          <p:cNvGrpSpPr/>
          <p:nvPr/>
        </p:nvGrpSpPr>
        <p:grpSpPr>
          <a:xfrm>
            <a:off x="7191542" y="1"/>
            <a:ext cx="5000459" cy="1425992"/>
            <a:chOff x="7191542" y="1"/>
            <a:chExt cx="5000459" cy="1425992"/>
          </a:xfrm>
        </p:grpSpPr>
        <p:pic>
          <p:nvPicPr>
            <p:cNvPr id="10627" name="Google Shape;10627;p14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28" name="Google Shape;10628;p1464"/>
            <p:cNvGrpSpPr/>
            <p:nvPr/>
          </p:nvGrpSpPr>
          <p:grpSpPr>
            <a:xfrm>
              <a:off x="7191542" y="1"/>
              <a:ext cx="5000459" cy="1425992"/>
              <a:chOff x="7186272" y="0"/>
              <a:chExt cx="5005729" cy="1427495"/>
            </a:xfrm>
          </p:grpSpPr>
          <p:sp>
            <p:nvSpPr>
              <p:cNvPr id="10629" name="Google Shape;10629;p14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630" name="Google Shape;10630;p14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631" name="Google Shape;10631;p146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600.xml><?xml version="1.0" encoding="utf-8"?>
<p:sldLayout xmlns:a="http://schemas.openxmlformats.org/drawingml/2006/main" xmlns:r="http://schemas.openxmlformats.org/officeDocument/2006/relationships" xmlns:p="http://schemas.openxmlformats.org/presentationml/2006/main" matchingName="16_Title and Content">
  <p:cSld name="16_Title and Content">
    <p:spTree>
      <p:nvGrpSpPr>
        <p:cNvPr id="1" name="Shape 4280"/>
        <p:cNvGrpSpPr/>
        <p:nvPr/>
      </p:nvGrpSpPr>
      <p:grpSpPr>
        <a:xfrm>
          <a:off x="0" y="0"/>
          <a:ext cx="0" cy="0"/>
          <a:chOff x="0" y="0"/>
          <a:chExt cx="0" cy="0"/>
        </a:xfrm>
      </p:grpSpPr>
      <p:grpSp>
        <p:nvGrpSpPr>
          <p:cNvPr id="4281" name="Google Shape;4281;p5429"/>
          <p:cNvGrpSpPr/>
          <p:nvPr/>
        </p:nvGrpSpPr>
        <p:grpSpPr>
          <a:xfrm>
            <a:off x="7191544" y="1"/>
            <a:ext cx="5000459" cy="1425992"/>
            <a:chOff x="7191542" y="1"/>
            <a:chExt cx="5000459" cy="1425992"/>
          </a:xfrm>
        </p:grpSpPr>
        <p:pic>
          <p:nvPicPr>
            <p:cNvPr id="4282" name="Google Shape;4282;p54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283" name="Google Shape;4283;p5429"/>
            <p:cNvGrpSpPr/>
            <p:nvPr/>
          </p:nvGrpSpPr>
          <p:grpSpPr>
            <a:xfrm>
              <a:off x="7191542" y="1"/>
              <a:ext cx="5000459" cy="1425992"/>
              <a:chOff x="7186272" y="0"/>
              <a:chExt cx="5005729" cy="1427495"/>
            </a:xfrm>
          </p:grpSpPr>
          <p:sp>
            <p:nvSpPr>
              <p:cNvPr id="4284" name="Google Shape;4284;p54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4285" name="Google Shape;4285;p54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4286" name="Google Shape;4286;p5429"/>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87" name="Google Shape;4287;p5429"/>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288" name="Google Shape;4288;p5429"/>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289" name="Google Shape;4289;p54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90" name="Google Shape;4290;p542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581554625"/>
      </p:ext>
    </p:extLst>
  </p:cSld>
  <p:clrMapOvr>
    <a:masterClrMapping/>
  </p:clrMapOvr>
</p:sldLayout>
</file>

<file path=ppt/slideLayouts/slideLayout1601.xml><?xml version="1.0" encoding="utf-8"?>
<p:sldLayout xmlns:a="http://schemas.openxmlformats.org/drawingml/2006/main" xmlns:r="http://schemas.openxmlformats.org/officeDocument/2006/relationships" xmlns:p="http://schemas.openxmlformats.org/presentationml/2006/main" matchingName="15_Two Content">
  <p:cSld name="15_Two Content">
    <p:spTree>
      <p:nvGrpSpPr>
        <p:cNvPr id="1" name="Shape 4291"/>
        <p:cNvGrpSpPr/>
        <p:nvPr/>
      </p:nvGrpSpPr>
      <p:grpSpPr>
        <a:xfrm>
          <a:off x="0" y="0"/>
          <a:ext cx="0" cy="0"/>
          <a:chOff x="0" y="0"/>
          <a:chExt cx="0" cy="0"/>
        </a:xfrm>
      </p:grpSpPr>
      <p:sp>
        <p:nvSpPr>
          <p:cNvPr id="4292" name="Google Shape;4292;p543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93" name="Google Shape;4293;p5430"/>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4294" name="Google Shape;4294;p5430"/>
          <p:cNvGrpSpPr/>
          <p:nvPr/>
        </p:nvGrpSpPr>
        <p:grpSpPr>
          <a:xfrm>
            <a:off x="7191544" y="1"/>
            <a:ext cx="5000459" cy="1425992"/>
            <a:chOff x="7191542" y="1"/>
            <a:chExt cx="5000459" cy="1425992"/>
          </a:xfrm>
        </p:grpSpPr>
        <p:pic>
          <p:nvPicPr>
            <p:cNvPr id="4295" name="Google Shape;4295;p54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296" name="Google Shape;4296;p5430"/>
            <p:cNvGrpSpPr/>
            <p:nvPr/>
          </p:nvGrpSpPr>
          <p:grpSpPr>
            <a:xfrm>
              <a:off x="7191542" y="1"/>
              <a:ext cx="5000459" cy="1425992"/>
              <a:chOff x="7186272" y="0"/>
              <a:chExt cx="5005729" cy="1427495"/>
            </a:xfrm>
          </p:grpSpPr>
          <p:sp>
            <p:nvSpPr>
              <p:cNvPr id="4297" name="Google Shape;4297;p54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4298" name="Google Shape;4298;p54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4299" name="Google Shape;4299;p5430"/>
          <p:cNvSpPr txBox="1">
            <a:spLocks noGrp="1"/>
          </p:cNvSpPr>
          <p:nvPr>
            <p:ph type="body" idx="2"/>
          </p:nvPr>
        </p:nvSpPr>
        <p:spPr>
          <a:xfrm>
            <a:off x="6172201"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300" name="Google Shape;4300;p5430"/>
          <p:cNvSpPr txBox="1">
            <a:spLocks noGrp="1"/>
          </p:cNvSpPr>
          <p:nvPr>
            <p:ph type="sldNum" idx="12"/>
          </p:nvPr>
        </p:nvSpPr>
        <p:spPr>
          <a:xfrm>
            <a:off x="8839198"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301" name="Google Shape;4301;p54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302" name="Google Shape;4302;p543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206293384"/>
      </p:ext>
    </p:extLst>
  </p:cSld>
  <p:clrMapOvr>
    <a:masterClrMapping/>
  </p:clrMapOvr>
</p:sldLayout>
</file>

<file path=ppt/slideLayouts/slideLayout1602.xml><?xml version="1.0" encoding="utf-8"?>
<p:sldLayout xmlns:a="http://schemas.openxmlformats.org/drawingml/2006/main" xmlns:r="http://schemas.openxmlformats.org/officeDocument/2006/relationships" xmlns:p="http://schemas.openxmlformats.org/presentationml/2006/main" matchingName="15_Comparison">
  <p:cSld name="15_Comparison">
    <p:spTree>
      <p:nvGrpSpPr>
        <p:cNvPr id="1" name="Shape 4303"/>
        <p:cNvGrpSpPr/>
        <p:nvPr/>
      </p:nvGrpSpPr>
      <p:grpSpPr>
        <a:xfrm>
          <a:off x="0" y="0"/>
          <a:ext cx="0" cy="0"/>
          <a:chOff x="0" y="0"/>
          <a:chExt cx="0" cy="0"/>
        </a:xfrm>
      </p:grpSpPr>
      <p:grpSp>
        <p:nvGrpSpPr>
          <p:cNvPr id="4304" name="Google Shape;4304;p5431"/>
          <p:cNvGrpSpPr/>
          <p:nvPr/>
        </p:nvGrpSpPr>
        <p:grpSpPr>
          <a:xfrm>
            <a:off x="7191544" y="1"/>
            <a:ext cx="5000459" cy="1425992"/>
            <a:chOff x="7191542" y="1"/>
            <a:chExt cx="5000459" cy="1425992"/>
          </a:xfrm>
        </p:grpSpPr>
        <p:pic>
          <p:nvPicPr>
            <p:cNvPr id="4305" name="Google Shape;4305;p54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306" name="Google Shape;4306;p5431"/>
            <p:cNvGrpSpPr/>
            <p:nvPr/>
          </p:nvGrpSpPr>
          <p:grpSpPr>
            <a:xfrm>
              <a:off x="7191542" y="1"/>
              <a:ext cx="5000459" cy="1425992"/>
              <a:chOff x="7186272" y="0"/>
              <a:chExt cx="5005729" cy="1427495"/>
            </a:xfrm>
          </p:grpSpPr>
          <p:sp>
            <p:nvSpPr>
              <p:cNvPr id="4307" name="Google Shape;4307;p54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4308" name="Google Shape;4308;p54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4309" name="Google Shape;4309;p5431"/>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10" name="Google Shape;4310;p5431"/>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4311" name="Google Shape;4311;p5431"/>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312" name="Google Shape;4312;p543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4313" name="Google Shape;4313;p543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314" name="Google Shape;4314;p5431"/>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315" name="Google Shape;4315;p54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316" name="Google Shape;4316;p543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409934330"/>
      </p:ext>
    </p:extLst>
  </p:cSld>
  <p:clrMapOvr>
    <a:masterClrMapping/>
  </p:clrMapOvr>
</p:sldLayout>
</file>

<file path=ppt/slideLayouts/slideLayout1603.xml><?xml version="1.0" encoding="utf-8"?>
<p:sldLayout xmlns:a="http://schemas.openxmlformats.org/drawingml/2006/main" xmlns:r="http://schemas.openxmlformats.org/officeDocument/2006/relationships" xmlns:p="http://schemas.openxmlformats.org/presentationml/2006/main" matchingName="15_Title Only">
  <p:cSld name="15_Title Only">
    <p:spTree>
      <p:nvGrpSpPr>
        <p:cNvPr id="1" name="Shape 4317"/>
        <p:cNvGrpSpPr/>
        <p:nvPr/>
      </p:nvGrpSpPr>
      <p:grpSpPr>
        <a:xfrm>
          <a:off x="0" y="0"/>
          <a:ext cx="0" cy="0"/>
          <a:chOff x="0" y="0"/>
          <a:chExt cx="0" cy="0"/>
        </a:xfrm>
      </p:grpSpPr>
      <p:grpSp>
        <p:nvGrpSpPr>
          <p:cNvPr id="4318" name="Google Shape;4318;p5432"/>
          <p:cNvGrpSpPr/>
          <p:nvPr/>
        </p:nvGrpSpPr>
        <p:grpSpPr>
          <a:xfrm>
            <a:off x="7191544" y="1"/>
            <a:ext cx="5000459" cy="1425992"/>
            <a:chOff x="7191542" y="1"/>
            <a:chExt cx="5000459" cy="1425992"/>
          </a:xfrm>
        </p:grpSpPr>
        <p:pic>
          <p:nvPicPr>
            <p:cNvPr id="4319" name="Google Shape;4319;p54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320" name="Google Shape;4320;p5432"/>
            <p:cNvGrpSpPr/>
            <p:nvPr/>
          </p:nvGrpSpPr>
          <p:grpSpPr>
            <a:xfrm>
              <a:off x="7191542" y="1"/>
              <a:ext cx="5000459" cy="1425992"/>
              <a:chOff x="7186272" y="0"/>
              <a:chExt cx="5005729" cy="1427495"/>
            </a:xfrm>
          </p:grpSpPr>
          <p:sp>
            <p:nvSpPr>
              <p:cNvPr id="4321" name="Google Shape;4321;p54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4322" name="Google Shape;4322;p54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4323" name="Google Shape;4323;p5432"/>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24" name="Google Shape;4324;p543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325" name="Google Shape;4325;p54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326" name="Google Shape;4326;p543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30187990"/>
      </p:ext>
    </p:extLst>
  </p:cSld>
  <p:clrMapOvr>
    <a:masterClrMapping/>
  </p:clrMapOvr>
</p:sldLayout>
</file>

<file path=ppt/slideLayouts/slideLayout1604.xml><?xml version="1.0" encoding="utf-8"?>
<p:sldLayout xmlns:a="http://schemas.openxmlformats.org/drawingml/2006/main" xmlns:r="http://schemas.openxmlformats.org/officeDocument/2006/relationships" xmlns:p="http://schemas.openxmlformats.org/presentationml/2006/main" matchingName="15_End">
  <p:cSld name="15_End">
    <p:spTree>
      <p:nvGrpSpPr>
        <p:cNvPr id="1" name="Shape 4327"/>
        <p:cNvGrpSpPr/>
        <p:nvPr/>
      </p:nvGrpSpPr>
      <p:grpSpPr>
        <a:xfrm>
          <a:off x="0" y="0"/>
          <a:ext cx="0" cy="0"/>
          <a:chOff x="0" y="0"/>
          <a:chExt cx="0" cy="0"/>
        </a:xfrm>
      </p:grpSpPr>
      <p:grpSp>
        <p:nvGrpSpPr>
          <p:cNvPr id="4328" name="Google Shape;4328;p5433"/>
          <p:cNvGrpSpPr/>
          <p:nvPr/>
        </p:nvGrpSpPr>
        <p:grpSpPr>
          <a:xfrm>
            <a:off x="0" y="0"/>
            <a:ext cx="12192000" cy="2148830"/>
            <a:chOff x="0" y="0"/>
            <a:chExt cx="12192000" cy="2148830"/>
          </a:xfrm>
        </p:grpSpPr>
        <p:sp>
          <p:nvSpPr>
            <p:cNvPr id="4329" name="Google Shape;4329;p543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4330" name="Google Shape;4330;p543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4331" name="Google Shape;4331;p5433"/>
          <p:cNvSpPr/>
          <p:nvPr/>
        </p:nvSpPr>
        <p:spPr>
          <a:xfrm>
            <a:off x="902368" y="1517699"/>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332" name="Google Shape;4332;p5433"/>
          <p:cNvSpPr txBox="1">
            <a:spLocks noGrp="1"/>
          </p:cNvSpPr>
          <p:nvPr>
            <p:ph type="body" idx="1"/>
          </p:nvPr>
        </p:nvSpPr>
        <p:spPr>
          <a:xfrm>
            <a:off x="1219201" y="3429002"/>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333" name="Google Shape;4333;p5433"/>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9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334" name="Google Shape;4334;p5433"/>
          <p:cNvPicPr preferRelativeResize="0"/>
          <p:nvPr/>
        </p:nvPicPr>
        <p:blipFill rotWithShape="1">
          <a:blip r:embed="rId2">
            <a:alphaModFix/>
          </a:blip>
          <a:srcRect/>
          <a:stretch/>
        </p:blipFill>
        <p:spPr>
          <a:xfrm>
            <a:off x="902370" y="228371"/>
            <a:ext cx="2025315" cy="911940"/>
          </a:xfrm>
          <a:prstGeom prst="rect">
            <a:avLst/>
          </a:prstGeom>
          <a:noFill/>
          <a:ln>
            <a:noFill/>
          </a:ln>
        </p:spPr>
      </p:pic>
      <p:sp>
        <p:nvSpPr>
          <p:cNvPr id="4335" name="Google Shape;4335;p5433"/>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542844176"/>
      </p:ext>
    </p:extLst>
  </p:cSld>
  <p:clrMapOvr>
    <a:masterClrMapping/>
  </p:clrMapOvr>
</p:sldLayout>
</file>

<file path=ppt/slideLayouts/slideLayout1605.xml><?xml version="1.0" encoding="utf-8"?>
<p:sldLayout xmlns:a="http://schemas.openxmlformats.org/drawingml/2006/main" xmlns:r="http://schemas.openxmlformats.org/officeDocument/2006/relationships" xmlns:p="http://schemas.openxmlformats.org/presentationml/2006/main" matchingName="14_Blank">
  <p:cSld name="14_Blank">
    <p:spTree>
      <p:nvGrpSpPr>
        <p:cNvPr id="1" name="Shape 4336"/>
        <p:cNvGrpSpPr/>
        <p:nvPr/>
      </p:nvGrpSpPr>
      <p:grpSpPr>
        <a:xfrm>
          <a:off x="0" y="0"/>
          <a:ext cx="0" cy="0"/>
          <a:chOff x="0" y="0"/>
          <a:chExt cx="0" cy="0"/>
        </a:xfrm>
      </p:grpSpPr>
      <p:sp>
        <p:nvSpPr>
          <p:cNvPr id="4337" name="Google Shape;4337;p543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338" name="Google Shape;4338;p54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339" name="Google Shape;4339;p543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340" name="Google Shape;4340;p5434"/>
          <p:cNvGrpSpPr/>
          <p:nvPr/>
        </p:nvGrpSpPr>
        <p:grpSpPr>
          <a:xfrm>
            <a:off x="7191544" y="1"/>
            <a:ext cx="5000459" cy="1425992"/>
            <a:chOff x="7191542" y="1"/>
            <a:chExt cx="5000459" cy="1425992"/>
          </a:xfrm>
        </p:grpSpPr>
        <p:pic>
          <p:nvPicPr>
            <p:cNvPr id="4341" name="Google Shape;4341;p54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342" name="Google Shape;4342;p5434"/>
            <p:cNvGrpSpPr/>
            <p:nvPr/>
          </p:nvGrpSpPr>
          <p:grpSpPr>
            <a:xfrm>
              <a:off x="7191542" y="1"/>
              <a:ext cx="5000459" cy="1425992"/>
              <a:chOff x="7186272" y="0"/>
              <a:chExt cx="5005729" cy="1427495"/>
            </a:xfrm>
          </p:grpSpPr>
          <p:sp>
            <p:nvSpPr>
              <p:cNvPr id="4343" name="Google Shape;4343;p54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4344" name="Google Shape;4344;p54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extLst>
      <p:ext uri="{BB962C8B-B14F-4D97-AF65-F5344CB8AC3E}">
        <p14:creationId xmlns:p14="http://schemas.microsoft.com/office/powerpoint/2010/main" val="404829516"/>
      </p:ext>
    </p:extLst>
  </p:cSld>
  <p:clrMapOvr>
    <a:masterClrMapping/>
  </p:clrMapOvr>
</p:sldLayout>
</file>

<file path=ppt/slideLayouts/slideLayout1606.xml><?xml version="1.0" encoding="utf-8"?>
<p:sldLayout xmlns:a="http://schemas.openxmlformats.org/drawingml/2006/main" xmlns:r="http://schemas.openxmlformats.org/officeDocument/2006/relationships" xmlns:p="http://schemas.openxmlformats.org/presentationml/2006/main" matchingName="17_Cover">
  <p:cSld name="17_Cover">
    <p:spTree>
      <p:nvGrpSpPr>
        <p:cNvPr id="1" name="Shape 4345"/>
        <p:cNvGrpSpPr/>
        <p:nvPr/>
      </p:nvGrpSpPr>
      <p:grpSpPr>
        <a:xfrm>
          <a:off x="0" y="0"/>
          <a:ext cx="0" cy="0"/>
          <a:chOff x="0" y="0"/>
          <a:chExt cx="0" cy="0"/>
        </a:xfrm>
      </p:grpSpPr>
      <p:sp>
        <p:nvSpPr>
          <p:cNvPr id="4346" name="Google Shape;4346;p5435"/>
          <p:cNvSpPr/>
          <p:nvPr/>
        </p:nvSpPr>
        <p:spPr>
          <a:xfrm>
            <a:off x="902368" y="1294415"/>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347" name="Google Shape;4347;p5435"/>
          <p:cNvSpPr txBox="1">
            <a:spLocks noGrp="1"/>
          </p:cNvSpPr>
          <p:nvPr>
            <p:ph type="ctrTitle"/>
          </p:nvPr>
        </p:nvSpPr>
        <p:spPr>
          <a:xfrm>
            <a:off x="1413312"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48" name="Google Shape;4348;p5435"/>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
        <p:nvSpPr>
          <p:cNvPr id="4349" name="Google Shape;4349;p5435"/>
          <p:cNvSpPr>
            <a:spLocks noGrp="1"/>
          </p:cNvSpPr>
          <p:nvPr>
            <p:ph type="pic" idx="2"/>
          </p:nvPr>
        </p:nvSpPr>
        <p:spPr>
          <a:xfrm>
            <a:off x="7118684" y="233915"/>
            <a:ext cx="5073316" cy="5943600"/>
          </a:xfrm>
          <a:prstGeom prst="rect">
            <a:avLst/>
          </a:prstGeom>
          <a:noFill/>
          <a:ln>
            <a:noFill/>
          </a:ln>
        </p:spPr>
      </p:sp>
      <p:grpSp>
        <p:nvGrpSpPr>
          <p:cNvPr id="4350" name="Google Shape;4350;p5435"/>
          <p:cNvGrpSpPr/>
          <p:nvPr/>
        </p:nvGrpSpPr>
        <p:grpSpPr>
          <a:xfrm>
            <a:off x="0" y="5020350"/>
            <a:ext cx="12192000" cy="1837653"/>
            <a:chOff x="0" y="5020348"/>
            <a:chExt cx="12192000" cy="1837653"/>
          </a:xfrm>
        </p:grpSpPr>
        <p:sp>
          <p:nvSpPr>
            <p:cNvPr id="4351" name="Google Shape;4351;p543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352" name="Google Shape;4352;p543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4353" name="Google Shape;4353;p543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25711918"/>
      </p:ext>
    </p:extLst>
  </p:cSld>
  <p:clrMapOvr>
    <a:masterClrMapping/>
  </p:clrMapOvr>
</p:sldLayout>
</file>

<file path=ppt/slideLayouts/slideLayout1607.xml><?xml version="1.0" encoding="utf-8"?>
<p:sldLayout xmlns:a="http://schemas.openxmlformats.org/drawingml/2006/main" xmlns:r="http://schemas.openxmlformats.org/officeDocument/2006/relationships" xmlns:p="http://schemas.openxmlformats.org/presentationml/2006/main" matchingName="17_Divider">
  <p:cSld name="17_Divider">
    <p:bg>
      <p:bgPr>
        <a:solidFill>
          <a:schemeClr val="lt2"/>
        </a:solidFill>
        <a:effectLst/>
      </p:bgPr>
    </p:bg>
    <p:spTree>
      <p:nvGrpSpPr>
        <p:cNvPr id="1" name="Shape 4354"/>
        <p:cNvGrpSpPr/>
        <p:nvPr/>
      </p:nvGrpSpPr>
      <p:grpSpPr>
        <a:xfrm>
          <a:off x="0" y="0"/>
          <a:ext cx="0" cy="0"/>
          <a:chOff x="0" y="0"/>
          <a:chExt cx="0" cy="0"/>
        </a:xfrm>
      </p:grpSpPr>
      <p:grpSp>
        <p:nvGrpSpPr>
          <p:cNvPr id="4355" name="Google Shape;4355;p5436"/>
          <p:cNvGrpSpPr/>
          <p:nvPr/>
        </p:nvGrpSpPr>
        <p:grpSpPr>
          <a:xfrm>
            <a:off x="0" y="5020349"/>
            <a:ext cx="12192000" cy="1837653"/>
            <a:chOff x="0" y="5020347"/>
            <a:chExt cx="12192000" cy="1837653"/>
          </a:xfrm>
        </p:grpSpPr>
        <p:sp>
          <p:nvSpPr>
            <p:cNvPr id="4356" name="Google Shape;4356;p543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357" name="Google Shape;4357;p543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358" name="Google Shape;4358;p543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4359" name="Google Shape;4359;p543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360" name="Google Shape;4360;p5436"/>
          <p:cNvSpPr txBox="1">
            <a:spLocks noGrp="1"/>
          </p:cNvSpPr>
          <p:nvPr>
            <p:ph type="title"/>
          </p:nvPr>
        </p:nvSpPr>
        <p:spPr>
          <a:xfrm>
            <a:off x="1413310"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61" name="Google Shape;4361;p5436"/>
          <p:cNvSpPr txBox="1">
            <a:spLocks noGrp="1"/>
          </p:cNvSpPr>
          <p:nvPr>
            <p:ph type="subTitle" idx="1"/>
          </p:nvPr>
        </p:nvSpPr>
        <p:spPr>
          <a:xfrm>
            <a:off x="1413310"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Tree>
    <p:extLst>
      <p:ext uri="{BB962C8B-B14F-4D97-AF65-F5344CB8AC3E}">
        <p14:creationId xmlns:p14="http://schemas.microsoft.com/office/powerpoint/2010/main" val="3625692019"/>
      </p:ext>
    </p:extLst>
  </p:cSld>
  <p:clrMapOvr>
    <a:masterClrMapping/>
  </p:clrMapOvr>
</p:sldLayout>
</file>

<file path=ppt/slideLayouts/slideLayout1608.xml><?xml version="1.0" encoding="utf-8"?>
<p:sldLayout xmlns:a="http://schemas.openxmlformats.org/drawingml/2006/main" xmlns:r="http://schemas.openxmlformats.org/officeDocument/2006/relationships" xmlns:p="http://schemas.openxmlformats.org/presentationml/2006/main" matchingName="17_Photo Slide">
  <p:cSld name="17_Photo Slide">
    <p:spTree>
      <p:nvGrpSpPr>
        <p:cNvPr id="1" name="Shape 4362"/>
        <p:cNvGrpSpPr/>
        <p:nvPr/>
      </p:nvGrpSpPr>
      <p:grpSpPr>
        <a:xfrm>
          <a:off x="0" y="0"/>
          <a:ext cx="0" cy="0"/>
          <a:chOff x="0" y="0"/>
          <a:chExt cx="0" cy="0"/>
        </a:xfrm>
      </p:grpSpPr>
      <p:sp>
        <p:nvSpPr>
          <p:cNvPr id="4363" name="Google Shape;4363;p5437"/>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4364" name="Google Shape;4364;p543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365" name="Google Shape;4365;p5437"/>
          <p:cNvGrpSpPr/>
          <p:nvPr/>
        </p:nvGrpSpPr>
        <p:grpSpPr>
          <a:xfrm>
            <a:off x="0" y="5379428"/>
            <a:ext cx="2807368" cy="753891"/>
            <a:chOff x="0" y="5379426"/>
            <a:chExt cx="2807368" cy="753891"/>
          </a:xfrm>
        </p:grpSpPr>
        <p:sp>
          <p:nvSpPr>
            <p:cNvPr id="4366" name="Google Shape;4366;p543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367" name="Google Shape;4367;p543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4368" name="Google Shape;4368;p5437"/>
          <p:cNvSpPr>
            <a:spLocks noGrp="1"/>
          </p:cNvSpPr>
          <p:nvPr>
            <p:ph type="pic" idx="2"/>
          </p:nvPr>
        </p:nvSpPr>
        <p:spPr>
          <a:xfrm>
            <a:off x="2807368" y="457202"/>
            <a:ext cx="8915400" cy="5943598"/>
          </a:xfrm>
          <a:prstGeom prst="rect">
            <a:avLst/>
          </a:prstGeom>
          <a:noFill/>
          <a:ln>
            <a:noFill/>
          </a:ln>
        </p:spPr>
      </p:sp>
      <p:pic>
        <p:nvPicPr>
          <p:cNvPr id="4369" name="Google Shape;4369;p5437"/>
          <p:cNvPicPr preferRelativeResize="0"/>
          <p:nvPr/>
        </p:nvPicPr>
        <p:blipFill rotWithShape="1">
          <a:blip r:embed="rId2">
            <a:alphaModFix/>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1314556779"/>
      </p:ext>
    </p:extLst>
  </p:cSld>
  <p:clrMapOvr>
    <a:masterClrMapping/>
  </p:clrMapOvr>
</p:sldLayout>
</file>

<file path=ppt/slideLayouts/slideLayout1609.xml><?xml version="1.0" encoding="utf-8"?>
<p:sldLayout xmlns:a="http://schemas.openxmlformats.org/drawingml/2006/main" xmlns:r="http://schemas.openxmlformats.org/officeDocument/2006/relationships" xmlns:p="http://schemas.openxmlformats.org/presentationml/2006/main" matchingName="41_Quotation">
  <p:cSld name="41_Quotation">
    <p:spTree>
      <p:nvGrpSpPr>
        <p:cNvPr id="1" name="Shape 4370"/>
        <p:cNvGrpSpPr/>
        <p:nvPr/>
      </p:nvGrpSpPr>
      <p:grpSpPr>
        <a:xfrm>
          <a:off x="0" y="0"/>
          <a:ext cx="0" cy="0"/>
          <a:chOff x="0" y="0"/>
          <a:chExt cx="0" cy="0"/>
        </a:xfrm>
      </p:grpSpPr>
      <p:sp>
        <p:nvSpPr>
          <p:cNvPr id="4371" name="Google Shape;4371;p5438"/>
          <p:cNvSpPr/>
          <p:nvPr/>
        </p:nvSpPr>
        <p:spPr>
          <a:xfrm>
            <a:off x="1427358"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372" name="Google Shape;4372;p5438"/>
          <p:cNvSpPr txBox="1">
            <a:spLocks noGrp="1"/>
          </p:cNvSpPr>
          <p:nvPr>
            <p:ph type="title"/>
          </p:nvPr>
        </p:nvSpPr>
        <p:spPr>
          <a:xfrm>
            <a:off x="1427358"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73" name="Google Shape;4373;p543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374" name="Google Shape;4374;p5438"/>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375" name="Google Shape;4375;p54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376" name="Google Shape;4376;p543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377" name="Google Shape;4377;p5438"/>
          <p:cNvGrpSpPr/>
          <p:nvPr/>
        </p:nvGrpSpPr>
        <p:grpSpPr>
          <a:xfrm>
            <a:off x="7191544" y="1"/>
            <a:ext cx="5000459" cy="1425992"/>
            <a:chOff x="7191542" y="1"/>
            <a:chExt cx="5000459" cy="1425992"/>
          </a:xfrm>
        </p:grpSpPr>
        <p:pic>
          <p:nvPicPr>
            <p:cNvPr id="4378" name="Google Shape;4378;p54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379" name="Google Shape;4379;p5438"/>
            <p:cNvGrpSpPr/>
            <p:nvPr/>
          </p:nvGrpSpPr>
          <p:grpSpPr>
            <a:xfrm>
              <a:off x="7191542" y="1"/>
              <a:ext cx="5000459" cy="1425992"/>
              <a:chOff x="7186272" y="0"/>
              <a:chExt cx="5005729" cy="1427495"/>
            </a:xfrm>
          </p:grpSpPr>
          <p:sp>
            <p:nvSpPr>
              <p:cNvPr id="4380" name="Google Shape;4380;p54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4381" name="Google Shape;4381;p54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4382" name="Google Shape;4382;p5438"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206307640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matchingName="Cover">
  <p:cSld name="Cover 10 2">
    <p:spTree>
      <p:nvGrpSpPr>
        <p:cNvPr id="1" name="Shape 10632"/>
        <p:cNvGrpSpPr/>
        <p:nvPr/>
      </p:nvGrpSpPr>
      <p:grpSpPr>
        <a:xfrm>
          <a:off x="0" y="0"/>
          <a:ext cx="0" cy="0"/>
          <a:chOff x="0" y="0"/>
          <a:chExt cx="0" cy="0"/>
        </a:xfrm>
      </p:grpSpPr>
      <p:sp>
        <p:nvSpPr>
          <p:cNvPr id="10633" name="Google Shape;10633;p146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634" name="Google Shape;10634;p146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635" name="Google Shape;10635;p146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636" name="Google Shape;10636;p1465"/>
          <p:cNvSpPr>
            <a:spLocks noGrp="1"/>
          </p:cNvSpPr>
          <p:nvPr>
            <p:ph type="pic" idx="2"/>
          </p:nvPr>
        </p:nvSpPr>
        <p:spPr>
          <a:xfrm>
            <a:off x="7118684" y="233915"/>
            <a:ext cx="5073316" cy="5943600"/>
          </a:xfrm>
          <a:prstGeom prst="rect">
            <a:avLst/>
          </a:prstGeom>
          <a:noFill/>
          <a:ln>
            <a:noFill/>
          </a:ln>
        </p:spPr>
      </p:sp>
      <p:grpSp>
        <p:nvGrpSpPr>
          <p:cNvPr id="10637" name="Google Shape;10637;p1465"/>
          <p:cNvGrpSpPr/>
          <p:nvPr/>
        </p:nvGrpSpPr>
        <p:grpSpPr>
          <a:xfrm>
            <a:off x="0" y="5020348"/>
            <a:ext cx="12192000" cy="1837653"/>
            <a:chOff x="0" y="5020348"/>
            <a:chExt cx="12192000" cy="1837653"/>
          </a:xfrm>
        </p:grpSpPr>
        <p:sp>
          <p:nvSpPr>
            <p:cNvPr id="10638" name="Google Shape;10638;p146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639" name="Google Shape;10639;p146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640" name="Google Shape;10640;p146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610.xml><?xml version="1.0" encoding="utf-8"?>
<p:sldLayout xmlns:a="http://schemas.openxmlformats.org/drawingml/2006/main" xmlns:r="http://schemas.openxmlformats.org/officeDocument/2006/relationships" xmlns:p="http://schemas.openxmlformats.org/presentationml/2006/main" matchingName="18_Title and Content">
  <p:cSld name="18_Title and Content">
    <p:spTree>
      <p:nvGrpSpPr>
        <p:cNvPr id="1" name="Shape 4383"/>
        <p:cNvGrpSpPr/>
        <p:nvPr/>
      </p:nvGrpSpPr>
      <p:grpSpPr>
        <a:xfrm>
          <a:off x="0" y="0"/>
          <a:ext cx="0" cy="0"/>
          <a:chOff x="0" y="0"/>
          <a:chExt cx="0" cy="0"/>
        </a:xfrm>
      </p:grpSpPr>
      <p:grpSp>
        <p:nvGrpSpPr>
          <p:cNvPr id="4384" name="Google Shape;4384;p5439"/>
          <p:cNvGrpSpPr/>
          <p:nvPr/>
        </p:nvGrpSpPr>
        <p:grpSpPr>
          <a:xfrm>
            <a:off x="7191544" y="1"/>
            <a:ext cx="5000459" cy="1425992"/>
            <a:chOff x="7191542" y="1"/>
            <a:chExt cx="5000459" cy="1425992"/>
          </a:xfrm>
        </p:grpSpPr>
        <p:pic>
          <p:nvPicPr>
            <p:cNvPr id="4385" name="Google Shape;4385;p54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386" name="Google Shape;4386;p5439"/>
            <p:cNvGrpSpPr/>
            <p:nvPr/>
          </p:nvGrpSpPr>
          <p:grpSpPr>
            <a:xfrm>
              <a:off x="7191542" y="1"/>
              <a:ext cx="5000459" cy="1425992"/>
              <a:chOff x="7186272" y="0"/>
              <a:chExt cx="5005729" cy="1427495"/>
            </a:xfrm>
          </p:grpSpPr>
          <p:sp>
            <p:nvSpPr>
              <p:cNvPr id="4387" name="Google Shape;4387;p54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4388" name="Google Shape;4388;p54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4389" name="Google Shape;4389;p5439"/>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90" name="Google Shape;4390;p5439"/>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391" name="Google Shape;4391;p5439"/>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392" name="Google Shape;4392;p54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393" name="Google Shape;4393;p543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540942537"/>
      </p:ext>
    </p:extLst>
  </p:cSld>
  <p:clrMapOvr>
    <a:masterClrMapping/>
  </p:clrMapOvr>
</p:sldLayout>
</file>

<file path=ppt/slideLayouts/slideLayout1611.xml><?xml version="1.0" encoding="utf-8"?>
<p:sldLayout xmlns:a="http://schemas.openxmlformats.org/drawingml/2006/main" xmlns:r="http://schemas.openxmlformats.org/officeDocument/2006/relationships" xmlns:p="http://schemas.openxmlformats.org/presentationml/2006/main" matchingName="17_Two Content">
  <p:cSld name="17_Two Content">
    <p:spTree>
      <p:nvGrpSpPr>
        <p:cNvPr id="1" name="Shape 4394"/>
        <p:cNvGrpSpPr/>
        <p:nvPr/>
      </p:nvGrpSpPr>
      <p:grpSpPr>
        <a:xfrm>
          <a:off x="0" y="0"/>
          <a:ext cx="0" cy="0"/>
          <a:chOff x="0" y="0"/>
          <a:chExt cx="0" cy="0"/>
        </a:xfrm>
      </p:grpSpPr>
      <p:sp>
        <p:nvSpPr>
          <p:cNvPr id="4395" name="Google Shape;4395;p544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96" name="Google Shape;4396;p5440"/>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4397" name="Google Shape;4397;p5440"/>
          <p:cNvGrpSpPr/>
          <p:nvPr/>
        </p:nvGrpSpPr>
        <p:grpSpPr>
          <a:xfrm>
            <a:off x="7191544" y="1"/>
            <a:ext cx="5000459" cy="1425992"/>
            <a:chOff x="7191542" y="1"/>
            <a:chExt cx="5000459" cy="1425992"/>
          </a:xfrm>
        </p:grpSpPr>
        <p:pic>
          <p:nvPicPr>
            <p:cNvPr id="4398" name="Google Shape;4398;p544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399" name="Google Shape;4399;p5440"/>
            <p:cNvGrpSpPr/>
            <p:nvPr/>
          </p:nvGrpSpPr>
          <p:grpSpPr>
            <a:xfrm>
              <a:off x="7191542" y="1"/>
              <a:ext cx="5000459" cy="1425992"/>
              <a:chOff x="7186272" y="0"/>
              <a:chExt cx="5005729" cy="1427495"/>
            </a:xfrm>
          </p:grpSpPr>
          <p:sp>
            <p:nvSpPr>
              <p:cNvPr id="4400" name="Google Shape;4400;p54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4401" name="Google Shape;4401;p54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4402" name="Google Shape;4402;p5440"/>
          <p:cNvSpPr txBox="1">
            <a:spLocks noGrp="1"/>
          </p:cNvSpPr>
          <p:nvPr>
            <p:ph type="body" idx="2"/>
          </p:nvPr>
        </p:nvSpPr>
        <p:spPr>
          <a:xfrm>
            <a:off x="6172201"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403" name="Google Shape;4403;p5440"/>
          <p:cNvSpPr txBox="1">
            <a:spLocks noGrp="1"/>
          </p:cNvSpPr>
          <p:nvPr>
            <p:ph type="sldNum" idx="12"/>
          </p:nvPr>
        </p:nvSpPr>
        <p:spPr>
          <a:xfrm>
            <a:off x="8839198"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404" name="Google Shape;4404;p54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05" name="Google Shape;4405;p544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184929652"/>
      </p:ext>
    </p:extLst>
  </p:cSld>
  <p:clrMapOvr>
    <a:masterClrMapping/>
  </p:clrMapOvr>
</p:sldLayout>
</file>

<file path=ppt/slideLayouts/slideLayout1612.xml><?xml version="1.0" encoding="utf-8"?>
<p:sldLayout xmlns:a="http://schemas.openxmlformats.org/drawingml/2006/main" xmlns:r="http://schemas.openxmlformats.org/officeDocument/2006/relationships" xmlns:p="http://schemas.openxmlformats.org/presentationml/2006/main" matchingName="17_Comparison">
  <p:cSld name="17_Comparison">
    <p:spTree>
      <p:nvGrpSpPr>
        <p:cNvPr id="1" name="Shape 4406"/>
        <p:cNvGrpSpPr/>
        <p:nvPr/>
      </p:nvGrpSpPr>
      <p:grpSpPr>
        <a:xfrm>
          <a:off x="0" y="0"/>
          <a:ext cx="0" cy="0"/>
          <a:chOff x="0" y="0"/>
          <a:chExt cx="0" cy="0"/>
        </a:xfrm>
      </p:grpSpPr>
      <p:grpSp>
        <p:nvGrpSpPr>
          <p:cNvPr id="4407" name="Google Shape;4407;p5441"/>
          <p:cNvGrpSpPr/>
          <p:nvPr/>
        </p:nvGrpSpPr>
        <p:grpSpPr>
          <a:xfrm>
            <a:off x="7191544" y="1"/>
            <a:ext cx="5000459" cy="1425992"/>
            <a:chOff x="7191542" y="1"/>
            <a:chExt cx="5000459" cy="1425992"/>
          </a:xfrm>
        </p:grpSpPr>
        <p:pic>
          <p:nvPicPr>
            <p:cNvPr id="4408" name="Google Shape;4408;p54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409" name="Google Shape;4409;p5441"/>
            <p:cNvGrpSpPr/>
            <p:nvPr/>
          </p:nvGrpSpPr>
          <p:grpSpPr>
            <a:xfrm>
              <a:off x="7191542" y="1"/>
              <a:ext cx="5000459" cy="1425992"/>
              <a:chOff x="7186272" y="0"/>
              <a:chExt cx="5005729" cy="1427495"/>
            </a:xfrm>
          </p:grpSpPr>
          <p:sp>
            <p:nvSpPr>
              <p:cNvPr id="4410" name="Google Shape;4410;p54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4411" name="Google Shape;4411;p54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4412" name="Google Shape;4412;p5441"/>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13" name="Google Shape;4413;p5441"/>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4414" name="Google Shape;4414;p5441"/>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415" name="Google Shape;4415;p544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4416" name="Google Shape;4416;p544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417" name="Google Shape;4417;p5441"/>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418" name="Google Shape;4418;p54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19" name="Google Shape;4419;p544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361194702"/>
      </p:ext>
    </p:extLst>
  </p:cSld>
  <p:clrMapOvr>
    <a:masterClrMapping/>
  </p:clrMapOvr>
</p:sldLayout>
</file>

<file path=ppt/slideLayouts/slideLayout1613.xml><?xml version="1.0" encoding="utf-8"?>
<p:sldLayout xmlns:a="http://schemas.openxmlformats.org/drawingml/2006/main" xmlns:r="http://schemas.openxmlformats.org/officeDocument/2006/relationships" xmlns:p="http://schemas.openxmlformats.org/presentationml/2006/main" matchingName="17_Title Only">
  <p:cSld name="17_Title Only">
    <p:spTree>
      <p:nvGrpSpPr>
        <p:cNvPr id="1" name="Shape 4420"/>
        <p:cNvGrpSpPr/>
        <p:nvPr/>
      </p:nvGrpSpPr>
      <p:grpSpPr>
        <a:xfrm>
          <a:off x="0" y="0"/>
          <a:ext cx="0" cy="0"/>
          <a:chOff x="0" y="0"/>
          <a:chExt cx="0" cy="0"/>
        </a:xfrm>
      </p:grpSpPr>
      <p:grpSp>
        <p:nvGrpSpPr>
          <p:cNvPr id="4421" name="Google Shape;4421;p5442"/>
          <p:cNvGrpSpPr/>
          <p:nvPr/>
        </p:nvGrpSpPr>
        <p:grpSpPr>
          <a:xfrm>
            <a:off x="7191544" y="1"/>
            <a:ext cx="5000459" cy="1425992"/>
            <a:chOff x="7191542" y="1"/>
            <a:chExt cx="5000459" cy="1425992"/>
          </a:xfrm>
        </p:grpSpPr>
        <p:pic>
          <p:nvPicPr>
            <p:cNvPr id="4422" name="Google Shape;4422;p54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423" name="Google Shape;4423;p5442"/>
            <p:cNvGrpSpPr/>
            <p:nvPr/>
          </p:nvGrpSpPr>
          <p:grpSpPr>
            <a:xfrm>
              <a:off x="7191542" y="1"/>
              <a:ext cx="5000459" cy="1425992"/>
              <a:chOff x="7186272" y="0"/>
              <a:chExt cx="5005729" cy="1427495"/>
            </a:xfrm>
          </p:grpSpPr>
          <p:sp>
            <p:nvSpPr>
              <p:cNvPr id="4424" name="Google Shape;4424;p54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4425" name="Google Shape;4425;p54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4426" name="Google Shape;4426;p5442"/>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27" name="Google Shape;4427;p544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428" name="Google Shape;4428;p54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29" name="Google Shape;4429;p544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851923834"/>
      </p:ext>
    </p:extLst>
  </p:cSld>
  <p:clrMapOvr>
    <a:masterClrMapping/>
  </p:clrMapOvr>
</p:sldLayout>
</file>

<file path=ppt/slideLayouts/slideLayout1614.xml><?xml version="1.0" encoding="utf-8"?>
<p:sldLayout xmlns:a="http://schemas.openxmlformats.org/drawingml/2006/main" xmlns:r="http://schemas.openxmlformats.org/officeDocument/2006/relationships" xmlns:p="http://schemas.openxmlformats.org/presentationml/2006/main" matchingName="17_End">
  <p:cSld name="17_End">
    <p:spTree>
      <p:nvGrpSpPr>
        <p:cNvPr id="1" name="Shape 4430"/>
        <p:cNvGrpSpPr/>
        <p:nvPr/>
      </p:nvGrpSpPr>
      <p:grpSpPr>
        <a:xfrm>
          <a:off x="0" y="0"/>
          <a:ext cx="0" cy="0"/>
          <a:chOff x="0" y="0"/>
          <a:chExt cx="0" cy="0"/>
        </a:xfrm>
      </p:grpSpPr>
      <p:grpSp>
        <p:nvGrpSpPr>
          <p:cNvPr id="4431" name="Google Shape;4431;p5443"/>
          <p:cNvGrpSpPr/>
          <p:nvPr/>
        </p:nvGrpSpPr>
        <p:grpSpPr>
          <a:xfrm>
            <a:off x="0" y="0"/>
            <a:ext cx="12192000" cy="2148830"/>
            <a:chOff x="0" y="0"/>
            <a:chExt cx="12192000" cy="2148830"/>
          </a:xfrm>
        </p:grpSpPr>
        <p:sp>
          <p:nvSpPr>
            <p:cNvPr id="4432" name="Google Shape;4432;p544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4433" name="Google Shape;4433;p544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4434" name="Google Shape;4434;p5443"/>
          <p:cNvSpPr/>
          <p:nvPr/>
        </p:nvSpPr>
        <p:spPr>
          <a:xfrm>
            <a:off x="902368" y="1517699"/>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435" name="Google Shape;4435;p5443"/>
          <p:cNvSpPr txBox="1">
            <a:spLocks noGrp="1"/>
          </p:cNvSpPr>
          <p:nvPr>
            <p:ph type="body" idx="1"/>
          </p:nvPr>
        </p:nvSpPr>
        <p:spPr>
          <a:xfrm>
            <a:off x="1219201" y="3429002"/>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436" name="Google Shape;4436;p5443"/>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9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437" name="Google Shape;4437;p5443"/>
          <p:cNvPicPr preferRelativeResize="0"/>
          <p:nvPr/>
        </p:nvPicPr>
        <p:blipFill rotWithShape="1">
          <a:blip r:embed="rId2">
            <a:alphaModFix/>
          </a:blip>
          <a:srcRect/>
          <a:stretch/>
        </p:blipFill>
        <p:spPr>
          <a:xfrm>
            <a:off x="902370" y="228371"/>
            <a:ext cx="2025315" cy="911940"/>
          </a:xfrm>
          <a:prstGeom prst="rect">
            <a:avLst/>
          </a:prstGeom>
          <a:noFill/>
          <a:ln>
            <a:noFill/>
          </a:ln>
        </p:spPr>
      </p:pic>
      <p:sp>
        <p:nvSpPr>
          <p:cNvPr id="4438" name="Google Shape;4438;p5443"/>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38067676"/>
      </p:ext>
    </p:extLst>
  </p:cSld>
  <p:clrMapOvr>
    <a:masterClrMapping/>
  </p:clrMapOvr>
</p:sldLayout>
</file>

<file path=ppt/slideLayouts/slideLayout1615.xml><?xml version="1.0" encoding="utf-8"?>
<p:sldLayout xmlns:a="http://schemas.openxmlformats.org/drawingml/2006/main" xmlns:r="http://schemas.openxmlformats.org/officeDocument/2006/relationships" xmlns:p="http://schemas.openxmlformats.org/presentationml/2006/main" matchingName="16_Blank">
  <p:cSld name="16_Blank">
    <p:spTree>
      <p:nvGrpSpPr>
        <p:cNvPr id="1" name="Shape 4439"/>
        <p:cNvGrpSpPr/>
        <p:nvPr/>
      </p:nvGrpSpPr>
      <p:grpSpPr>
        <a:xfrm>
          <a:off x="0" y="0"/>
          <a:ext cx="0" cy="0"/>
          <a:chOff x="0" y="0"/>
          <a:chExt cx="0" cy="0"/>
        </a:xfrm>
      </p:grpSpPr>
      <p:sp>
        <p:nvSpPr>
          <p:cNvPr id="4440" name="Google Shape;4440;p544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441" name="Google Shape;4441;p54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42" name="Google Shape;4442;p54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443" name="Google Shape;4443;p5444"/>
          <p:cNvGrpSpPr/>
          <p:nvPr/>
        </p:nvGrpSpPr>
        <p:grpSpPr>
          <a:xfrm>
            <a:off x="7191544" y="1"/>
            <a:ext cx="5000459" cy="1425992"/>
            <a:chOff x="7191542" y="1"/>
            <a:chExt cx="5000459" cy="1425992"/>
          </a:xfrm>
        </p:grpSpPr>
        <p:pic>
          <p:nvPicPr>
            <p:cNvPr id="4444" name="Google Shape;4444;p54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445" name="Google Shape;4445;p5444"/>
            <p:cNvGrpSpPr/>
            <p:nvPr/>
          </p:nvGrpSpPr>
          <p:grpSpPr>
            <a:xfrm>
              <a:off x="7191542" y="1"/>
              <a:ext cx="5000459" cy="1425992"/>
              <a:chOff x="7186272" y="0"/>
              <a:chExt cx="5005729" cy="1427495"/>
            </a:xfrm>
          </p:grpSpPr>
          <p:sp>
            <p:nvSpPr>
              <p:cNvPr id="4446" name="Google Shape;4446;p54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4447" name="Google Shape;4447;p54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extLst>
      <p:ext uri="{BB962C8B-B14F-4D97-AF65-F5344CB8AC3E}">
        <p14:creationId xmlns:p14="http://schemas.microsoft.com/office/powerpoint/2010/main" val="1151189683"/>
      </p:ext>
    </p:extLst>
  </p:cSld>
  <p:clrMapOvr>
    <a:masterClrMapping/>
  </p:clrMapOvr>
</p:sldLayout>
</file>

<file path=ppt/slideLayouts/slideLayout1616.xml><?xml version="1.0" encoding="utf-8"?>
<p:sldLayout xmlns:a="http://schemas.openxmlformats.org/drawingml/2006/main" xmlns:r="http://schemas.openxmlformats.org/officeDocument/2006/relationships" xmlns:p="http://schemas.openxmlformats.org/presentationml/2006/main" matchingName="42_Quotation">
  <p:cSld name="42_Quotation">
    <p:spTree>
      <p:nvGrpSpPr>
        <p:cNvPr id="1" name="Shape 4448"/>
        <p:cNvGrpSpPr/>
        <p:nvPr/>
      </p:nvGrpSpPr>
      <p:grpSpPr>
        <a:xfrm>
          <a:off x="0" y="0"/>
          <a:ext cx="0" cy="0"/>
          <a:chOff x="0" y="0"/>
          <a:chExt cx="0" cy="0"/>
        </a:xfrm>
      </p:grpSpPr>
      <p:sp>
        <p:nvSpPr>
          <p:cNvPr id="4449" name="Google Shape;4449;p5445"/>
          <p:cNvSpPr/>
          <p:nvPr/>
        </p:nvSpPr>
        <p:spPr>
          <a:xfrm>
            <a:off x="1427358"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450" name="Google Shape;4450;p5445"/>
          <p:cNvSpPr txBox="1">
            <a:spLocks noGrp="1"/>
          </p:cNvSpPr>
          <p:nvPr>
            <p:ph type="title"/>
          </p:nvPr>
        </p:nvSpPr>
        <p:spPr>
          <a:xfrm>
            <a:off x="1427358"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51" name="Google Shape;4451;p544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452" name="Google Shape;4452;p544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453" name="Google Shape;4453;p54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54" name="Google Shape;4454;p544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455" name="Google Shape;4455;p5445"/>
          <p:cNvGrpSpPr/>
          <p:nvPr/>
        </p:nvGrpSpPr>
        <p:grpSpPr>
          <a:xfrm>
            <a:off x="7191544" y="1"/>
            <a:ext cx="5000459" cy="1425992"/>
            <a:chOff x="7191542" y="1"/>
            <a:chExt cx="5000459" cy="1425992"/>
          </a:xfrm>
        </p:grpSpPr>
        <p:pic>
          <p:nvPicPr>
            <p:cNvPr id="4456" name="Google Shape;4456;p54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457" name="Google Shape;4457;p5445"/>
            <p:cNvGrpSpPr/>
            <p:nvPr/>
          </p:nvGrpSpPr>
          <p:grpSpPr>
            <a:xfrm>
              <a:off x="7191542" y="1"/>
              <a:ext cx="5000459" cy="1425992"/>
              <a:chOff x="7186272" y="0"/>
              <a:chExt cx="5005729" cy="1427495"/>
            </a:xfrm>
          </p:grpSpPr>
          <p:sp>
            <p:nvSpPr>
              <p:cNvPr id="4458" name="Google Shape;4458;p54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4459" name="Google Shape;4459;p54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4460" name="Google Shape;4460;p5445"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4146832903"/>
      </p:ext>
    </p:extLst>
  </p:cSld>
  <p:clrMapOvr>
    <a:masterClrMapping/>
  </p:clrMapOvr>
</p:sldLayout>
</file>

<file path=ppt/slideLayouts/slideLayout1617.xml><?xml version="1.0" encoding="utf-8"?>
<p:sldLayout xmlns:a="http://schemas.openxmlformats.org/drawingml/2006/main" xmlns:r="http://schemas.openxmlformats.org/officeDocument/2006/relationships" xmlns:p="http://schemas.openxmlformats.org/presentationml/2006/main" matchingName="2_Title Slide" type="title">
  <p:cSld name="2_Title Slide">
    <p:spTree>
      <p:nvGrpSpPr>
        <p:cNvPr id="1" name="Shape 4461"/>
        <p:cNvGrpSpPr/>
        <p:nvPr/>
      </p:nvGrpSpPr>
      <p:grpSpPr>
        <a:xfrm>
          <a:off x="0" y="0"/>
          <a:ext cx="0" cy="0"/>
          <a:chOff x="0" y="0"/>
          <a:chExt cx="0" cy="0"/>
        </a:xfrm>
      </p:grpSpPr>
      <p:sp>
        <p:nvSpPr>
          <p:cNvPr id="4462" name="Google Shape;4462;p5446"/>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9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63" name="Google Shape;4463;p5446"/>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3600"/>
              <a:buNone/>
              <a:defRPr sz="2400"/>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
        <p:nvSpPr>
          <p:cNvPr id="4464" name="Google Shape;4464;p5446"/>
          <p:cNvSpPr txBox="1">
            <a:spLocks noGrp="1"/>
          </p:cNvSpPr>
          <p:nvPr>
            <p:ph type="dt" idx="10"/>
          </p:nvPr>
        </p:nvSpPr>
        <p:spPr>
          <a:xfrm>
            <a:off x="0" y="0"/>
            <a:ext cx="2000000" cy="2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9pPr>
          </a:lstStyle>
          <a:p>
            <a:endParaRPr/>
          </a:p>
        </p:txBody>
      </p:sp>
      <p:sp>
        <p:nvSpPr>
          <p:cNvPr id="4465" name="Google Shape;4465;p544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66" name="Google Shape;4466;p544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extLst>
      <p:ext uri="{BB962C8B-B14F-4D97-AF65-F5344CB8AC3E}">
        <p14:creationId xmlns:p14="http://schemas.microsoft.com/office/powerpoint/2010/main" val="611607197"/>
      </p:ext>
    </p:extLst>
  </p:cSld>
  <p:clrMapOvr>
    <a:masterClrMapping/>
  </p:clrMapOvr>
</p:sldLayout>
</file>

<file path=ppt/slideLayouts/slideLayout1618.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4467"/>
        <p:cNvGrpSpPr/>
        <p:nvPr/>
      </p:nvGrpSpPr>
      <p:grpSpPr>
        <a:xfrm>
          <a:off x="0" y="0"/>
          <a:ext cx="0" cy="0"/>
          <a:chOff x="0" y="0"/>
          <a:chExt cx="0" cy="0"/>
        </a:xfrm>
      </p:grpSpPr>
      <p:sp>
        <p:nvSpPr>
          <p:cNvPr id="4468" name="Google Shape;4468;p5447"/>
          <p:cNvSpPr txBox="1">
            <a:spLocks noGrp="1"/>
          </p:cNvSpPr>
          <p:nvPr>
            <p:ph type="body" idx="1"/>
          </p:nvPr>
        </p:nvSpPr>
        <p:spPr>
          <a:xfrm>
            <a:off x="2826557" y="5400857"/>
            <a:ext cx="8178613" cy="348899"/>
          </a:xfrm>
          <a:prstGeom prst="rect">
            <a:avLst/>
          </a:prstGeom>
          <a:noFill/>
          <a:ln>
            <a:noFill/>
          </a:ln>
        </p:spPr>
        <p:txBody>
          <a:bodyPr spcFirstLastPara="1" wrap="square" lIns="91425" tIns="45700" rIns="91425" bIns="45700" anchor="t" anchorCtr="0">
            <a:spAutoFit/>
          </a:bodyPr>
          <a:lstStyle>
            <a:lvl1pPr marL="304815" lvl="0" indent="-152408" algn="r">
              <a:lnSpc>
                <a:spcPct val="100000"/>
              </a:lnSpc>
              <a:spcBef>
                <a:spcPts val="1000"/>
              </a:spcBef>
              <a:spcAft>
                <a:spcPts val="0"/>
              </a:spcAft>
              <a:buSzPts val="2801"/>
              <a:buNone/>
              <a:defRPr sz="1867">
                <a:solidFill>
                  <a:srgbClr val="616364"/>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469" name="Google Shape;4469;p5447"/>
          <p:cNvSpPr txBox="1">
            <a:spLocks noGrp="1"/>
          </p:cNvSpPr>
          <p:nvPr>
            <p:ph type="ctrTitle"/>
          </p:nvPr>
        </p:nvSpPr>
        <p:spPr>
          <a:xfrm>
            <a:off x="2826557"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8001"/>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70" name="Google Shape;4470;p5447"/>
          <p:cNvSpPr txBox="1">
            <a:spLocks noGrp="1"/>
          </p:cNvSpPr>
          <p:nvPr>
            <p:ph type="dt" idx="10"/>
          </p:nvPr>
        </p:nvSpPr>
        <p:spPr>
          <a:xfrm>
            <a:off x="0" y="0"/>
            <a:ext cx="2000000" cy="2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9pPr>
          </a:lstStyle>
          <a:p>
            <a:endParaRPr/>
          </a:p>
        </p:txBody>
      </p:sp>
      <p:sp>
        <p:nvSpPr>
          <p:cNvPr id="4471" name="Google Shape;4471;p544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72" name="Google Shape;4472;p544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4473" name="Google Shape;4473;p5447"/>
          <p:cNvSpPr/>
          <p:nvPr/>
        </p:nvSpPr>
        <p:spPr>
          <a:xfrm rot="10800000">
            <a:off x="1" y="2000250"/>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4474" name="Google Shape;4474;p5447"/>
          <p:cNvSpPr/>
          <p:nvPr/>
        </p:nvSpPr>
        <p:spPr>
          <a:xfrm>
            <a:off x="0" y="6115053"/>
            <a:ext cx="12192000" cy="742949"/>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4475" name="Google Shape;4475;p5447"/>
          <p:cNvSpPr txBox="1">
            <a:spLocks noGrp="1"/>
          </p:cNvSpPr>
          <p:nvPr>
            <p:ph type="body" idx="2"/>
          </p:nvPr>
        </p:nvSpPr>
        <p:spPr>
          <a:xfrm>
            <a:off x="2826557" y="3447401"/>
            <a:ext cx="8178613" cy="713317"/>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4800"/>
              <a:buNone/>
              <a:defRPr sz="3200" b="0" i="0">
                <a:solidFill>
                  <a:srgbClr val="00314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4476" name="Google Shape;4476;p5447"/>
          <p:cNvPicPr preferRelativeResize="0"/>
          <p:nvPr/>
        </p:nvPicPr>
        <p:blipFill rotWithShape="1">
          <a:blip r:embed="rId2">
            <a:alphaModFix/>
          </a:blip>
          <a:srcRect/>
          <a:stretch/>
        </p:blipFill>
        <p:spPr>
          <a:xfrm>
            <a:off x="2829836" y="4178331"/>
            <a:ext cx="4395959" cy="1140163"/>
          </a:xfrm>
          <a:prstGeom prst="rect">
            <a:avLst/>
          </a:prstGeom>
          <a:noFill/>
          <a:ln>
            <a:noFill/>
          </a:ln>
        </p:spPr>
      </p:pic>
    </p:spTree>
    <p:extLst>
      <p:ext uri="{BB962C8B-B14F-4D97-AF65-F5344CB8AC3E}">
        <p14:creationId xmlns:p14="http://schemas.microsoft.com/office/powerpoint/2010/main" val="1197267408"/>
      </p:ext>
    </p:extLst>
  </p:cSld>
  <p:clrMapOvr>
    <a:masterClrMapping/>
  </p:clrMapOvr>
</p:sldLayout>
</file>

<file path=ppt/slideLayouts/slideLayout1619.xml><?xml version="1.0" encoding="utf-8"?>
<p:sldLayout xmlns:a="http://schemas.openxmlformats.org/drawingml/2006/main" xmlns:r="http://schemas.openxmlformats.org/officeDocument/2006/relationships" xmlns:p="http://schemas.openxmlformats.org/presentationml/2006/main" matchingName="4_Title Slide_Yale Blue">
  <p:cSld name="4_Title Slide_Yale Blue">
    <p:spTree>
      <p:nvGrpSpPr>
        <p:cNvPr id="1" name="Shape 4477"/>
        <p:cNvGrpSpPr/>
        <p:nvPr/>
      </p:nvGrpSpPr>
      <p:grpSpPr>
        <a:xfrm>
          <a:off x="0" y="0"/>
          <a:ext cx="0" cy="0"/>
          <a:chOff x="0" y="0"/>
          <a:chExt cx="0" cy="0"/>
        </a:xfrm>
      </p:grpSpPr>
      <p:sp>
        <p:nvSpPr>
          <p:cNvPr id="4478" name="Google Shape;4478;p5448"/>
          <p:cNvSpPr txBox="1">
            <a:spLocks noGrp="1"/>
          </p:cNvSpPr>
          <p:nvPr>
            <p:ph type="body" idx="1"/>
          </p:nvPr>
        </p:nvSpPr>
        <p:spPr>
          <a:xfrm>
            <a:off x="2826557" y="5400857"/>
            <a:ext cx="8178613" cy="348899"/>
          </a:xfrm>
          <a:prstGeom prst="rect">
            <a:avLst/>
          </a:prstGeom>
          <a:noFill/>
          <a:ln>
            <a:noFill/>
          </a:ln>
        </p:spPr>
        <p:txBody>
          <a:bodyPr spcFirstLastPara="1" wrap="square" lIns="91425" tIns="45700" rIns="91425" bIns="45700" anchor="t" anchorCtr="0">
            <a:spAutoFit/>
          </a:bodyPr>
          <a:lstStyle>
            <a:lvl1pPr marL="304815" lvl="0" indent="-152408" algn="r">
              <a:lnSpc>
                <a:spcPct val="100000"/>
              </a:lnSpc>
              <a:spcBef>
                <a:spcPts val="1000"/>
              </a:spcBef>
              <a:spcAft>
                <a:spcPts val="0"/>
              </a:spcAft>
              <a:buSzPts val="2801"/>
              <a:buNone/>
              <a:defRPr sz="1867">
                <a:solidFill>
                  <a:srgbClr val="616364"/>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479" name="Google Shape;4479;p5448"/>
          <p:cNvSpPr txBox="1">
            <a:spLocks noGrp="1"/>
          </p:cNvSpPr>
          <p:nvPr>
            <p:ph type="ctrTitle"/>
          </p:nvPr>
        </p:nvSpPr>
        <p:spPr>
          <a:xfrm>
            <a:off x="2826557"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8001"/>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80" name="Google Shape;4480;p5448"/>
          <p:cNvSpPr txBox="1">
            <a:spLocks noGrp="1"/>
          </p:cNvSpPr>
          <p:nvPr>
            <p:ph type="dt" idx="10"/>
          </p:nvPr>
        </p:nvSpPr>
        <p:spPr>
          <a:xfrm>
            <a:off x="0" y="0"/>
            <a:ext cx="2000000" cy="2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9pPr>
          </a:lstStyle>
          <a:p>
            <a:endParaRPr/>
          </a:p>
        </p:txBody>
      </p:sp>
      <p:sp>
        <p:nvSpPr>
          <p:cNvPr id="4481" name="Google Shape;4481;p544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82" name="Google Shape;4482;p544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4483" name="Google Shape;4483;p5448"/>
          <p:cNvSpPr/>
          <p:nvPr/>
        </p:nvSpPr>
        <p:spPr>
          <a:xfrm rot="10800000">
            <a:off x="1" y="2000250"/>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4484" name="Google Shape;4484;p5448"/>
          <p:cNvSpPr/>
          <p:nvPr/>
        </p:nvSpPr>
        <p:spPr>
          <a:xfrm>
            <a:off x="0" y="6115053"/>
            <a:ext cx="12192000" cy="742949"/>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4485" name="Google Shape;4485;p5448"/>
          <p:cNvSpPr txBox="1">
            <a:spLocks noGrp="1"/>
          </p:cNvSpPr>
          <p:nvPr>
            <p:ph type="body" idx="2"/>
          </p:nvPr>
        </p:nvSpPr>
        <p:spPr>
          <a:xfrm>
            <a:off x="2826557" y="3447401"/>
            <a:ext cx="8178613" cy="713317"/>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4800"/>
              <a:buNone/>
              <a:defRPr sz="3200" b="0" i="0">
                <a:solidFill>
                  <a:srgbClr val="00314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4486" name="Google Shape;4486;p5448"/>
          <p:cNvPicPr preferRelativeResize="0"/>
          <p:nvPr/>
        </p:nvPicPr>
        <p:blipFill rotWithShape="1">
          <a:blip r:embed="rId2">
            <a:alphaModFix/>
          </a:blip>
          <a:srcRect/>
          <a:stretch/>
        </p:blipFill>
        <p:spPr>
          <a:xfrm>
            <a:off x="2829836" y="4178331"/>
            <a:ext cx="4395959" cy="1140163"/>
          </a:xfrm>
          <a:prstGeom prst="rect">
            <a:avLst/>
          </a:prstGeom>
          <a:noFill/>
          <a:ln>
            <a:noFill/>
          </a:ln>
        </p:spPr>
      </p:pic>
    </p:spTree>
    <p:extLst>
      <p:ext uri="{BB962C8B-B14F-4D97-AF65-F5344CB8AC3E}">
        <p14:creationId xmlns:p14="http://schemas.microsoft.com/office/powerpoint/2010/main" val="359521690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matchingName="Divider">
  <p:cSld name="Divider 11 2">
    <p:spTree>
      <p:nvGrpSpPr>
        <p:cNvPr id="1" name="Shape 10641"/>
        <p:cNvGrpSpPr/>
        <p:nvPr/>
      </p:nvGrpSpPr>
      <p:grpSpPr>
        <a:xfrm>
          <a:off x="0" y="0"/>
          <a:ext cx="0" cy="0"/>
          <a:chOff x="0" y="0"/>
          <a:chExt cx="0" cy="0"/>
        </a:xfrm>
      </p:grpSpPr>
      <p:grpSp>
        <p:nvGrpSpPr>
          <p:cNvPr id="10642" name="Google Shape;10642;p1466"/>
          <p:cNvGrpSpPr/>
          <p:nvPr/>
        </p:nvGrpSpPr>
        <p:grpSpPr>
          <a:xfrm>
            <a:off x="0" y="5020347"/>
            <a:ext cx="12192000" cy="1837653"/>
            <a:chOff x="0" y="5020347"/>
            <a:chExt cx="12192000" cy="1837653"/>
          </a:xfrm>
        </p:grpSpPr>
        <p:sp>
          <p:nvSpPr>
            <p:cNvPr id="10643" name="Google Shape;10643;p146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644" name="Google Shape;10644;p146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645" name="Google Shape;10645;p146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646" name="Google Shape;10646;p146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647" name="Google Shape;10647;p146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648" name="Google Shape;10648;p146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620.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4487"/>
        <p:cNvGrpSpPr/>
        <p:nvPr/>
      </p:nvGrpSpPr>
      <p:grpSpPr>
        <a:xfrm>
          <a:off x="0" y="0"/>
          <a:ext cx="0" cy="0"/>
          <a:chOff x="0" y="0"/>
          <a:chExt cx="0" cy="0"/>
        </a:xfrm>
      </p:grpSpPr>
      <p:sp>
        <p:nvSpPr>
          <p:cNvPr id="4488" name="Google Shape;4488;p5449"/>
          <p:cNvSpPr txBox="1">
            <a:spLocks noGrp="1"/>
          </p:cNvSpPr>
          <p:nvPr>
            <p:ph type="title"/>
          </p:nvPr>
        </p:nvSpPr>
        <p:spPr>
          <a:xfrm>
            <a:off x="848992" y="783847"/>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89" name="Google Shape;4489;p5449"/>
          <p:cNvSpPr/>
          <p:nvPr/>
        </p:nvSpPr>
        <p:spPr>
          <a:xfrm>
            <a:off x="0" y="6313119"/>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4490" name="Google Shape;4490;p5449"/>
          <p:cNvSpPr/>
          <p:nvPr/>
        </p:nvSpPr>
        <p:spPr>
          <a:xfrm>
            <a:off x="0" y="6301516"/>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4491" name="Google Shape;4491;p5449"/>
          <p:cNvSpPr txBox="1">
            <a:spLocks noGrp="1"/>
          </p:cNvSpPr>
          <p:nvPr>
            <p:ph type="body" idx="1"/>
          </p:nvPr>
        </p:nvSpPr>
        <p:spPr>
          <a:xfrm>
            <a:off x="848786" y="1615018"/>
            <a:ext cx="10176933" cy="3812116"/>
          </a:xfrm>
          <a:prstGeom prst="rect">
            <a:avLst/>
          </a:prstGeom>
          <a:noFill/>
          <a:ln>
            <a:noFill/>
          </a:ln>
        </p:spPr>
        <p:txBody>
          <a:bodyPr spcFirstLastPara="1" wrap="square" lIns="91425" tIns="45700" rIns="91425" bIns="45700" anchor="t" anchorCtr="0">
            <a:noAutofit/>
          </a:bodyPr>
          <a:lstStyle>
            <a:lvl1pPr marL="304815" lvl="0" indent="-287881" algn="l">
              <a:lnSpc>
                <a:spcPct val="100000"/>
              </a:lnSpc>
              <a:spcBef>
                <a:spcPts val="1000"/>
              </a:spcBef>
              <a:spcAft>
                <a:spcPts val="0"/>
              </a:spcAft>
              <a:buSzPts val="3200"/>
              <a:buFont typeface="Arial"/>
              <a:buChar char="•"/>
              <a:defRPr sz="2133" b="0">
                <a:solidFill>
                  <a:schemeClr val="dk1"/>
                </a:solidFill>
                <a:latin typeface="Verdana"/>
                <a:ea typeface="Verdana"/>
                <a:cs typeface="Verdana"/>
                <a:sym typeface="Verdana"/>
              </a:defRPr>
            </a:lvl1pPr>
            <a:lvl2pPr marL="609630" lvl="1" indent="-287881" algn="l">
              <a:lnSpc>
                <a:spcPct val="100000"/>
              </a:lnSpc>
              <a:spcBef>
                <a:spcPts val="1000"/>
              </a:spcBef>
              <a:spcAft>
                <a:spcPts val="0"/>
              </a:spcAft>
              <a:buSzPts val="3200"/>
              <a:buChar char="•"/>
              <a:defRPr sz="2133">
                <a:latin typeface="Verdana"/>
                <a:ea typeface="Verdana"/>
                <a:cs typeface="Verdana"/>
                <a:sym typeface="Verdana"/>
              </a:defRPr>
            </a:lvl2pPr>
            <a:lvl3pPr marL="914446" lvl="2" indent="-287881" algn="l">
              <a:lnSpc>
                <a:spcPct val="100000"/>
              </a:lnSpc>
              <a:spcBef>
                <a:spcPts val="1000"/>
              </a:spcBef>
              <a:spcAft>
                <a:spcPts val="0"/>
              </a:spcAft>
              <a:buSzPts val="3200"/>
              <a:buChar char="•"/>
              <a:defRPr sz="2133">
                <a:latin typeface="Verdana"/>
                <a:ea typeface="Verdana"/>
                <a:cs typeface="Verdana"/>
                <a:sym typeface="Verdana"/>
              </a:defRPr>
            </a:lvl3pPr>
            <a:lvl4pPr marL="1219261" lvl="3" indent="-287881" algn="l">
              <a:lnSpc>
                <a:spcPct val="100000"/>
              </a:lnSpc>
              <a:spcBef>
                <a:spcPts val="1000"/>
              </a:spcBef>
              <a:spcAft>
                <a:spcPts val="0"/>
              </a:spcAft>
              <a:buSzPts val="3200"/>
              <a:buChar char="•"/>
              <a:defRPr sz="2133">
                <a:latin typeface="Verdana"/>
                <a:ea typeface="Verdana"/>
                <a:cs typeface="Verdana"/>
                <a:sym typeface="Verdana"/>
              </a:defRPr>
            </a:lvl4pPr>
            <a:lvl5pPr marL="1524076" lvl="4" indent="-287881" algn="l">
              <a:lnSpc>
                <a:spcPct val="100000"/>
              </a:lnSpc>
              <a:spcBef>
                <a:spcPts val="1000"/>
              </a:spcBef>
              <a:spcAft>
                <a:spcPts val="0"/>
              </a:spcAft>
              <a:buSzPts val="3200"/>
              <a:buChar char="•"/>
              <a:defRPr sz="2133">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4492" name="Google Shape;4492;p544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754242680"/>
      </p:ext>
    </p:extLst>
  </p:cSld>
  <p:clrMapOvr>
    <a:masterClrMapping/>
  </p:clrMapOvr>
</p:sldLayout>
</file>

<file path=ppt/slideLayouts/slideLayout1621.xml><?xml version="1.0" encoding="utf-8"?>
<p:sldLayout xmlns:a="http://schemas.openxmlformats.org/drawingml/2006/main" xmlns:r="http://schemas.openxmlformats.org/officeDocument/2006/relationships" xmlns:p="http://schemas.openxmlformats.org/presentationml/2006/main" matchingName="19_Title and Content">
  <p:cSld name="19_Title and Content">
    <p:spTree>
      <p:nvGrpSpPr>
        <p:cNvPr id="1" name="Shape 4493"/>
        <p:cNvGrpSpPr/>
        <p:nvPr/>
      </p:nvGrpSpPr>
      <p:grpSpPr>
        <a:xfrm>
          <a:off x="0" y="0"/>
          <a:ext cx="0" cy="0"/>
          <a:chOff x="0" y="0"/>
          <a:chExt cx="0" cy="0"/>
        </a:xfrm>
      </p:grpSpPr>
      <p:sp>
        <p:nvSpPr>
          <p:cNvPr id="4494" name="Google Shape;4494;p5450"/>
          <p:cNvSpPr/>
          <p:nvPr/>
        </p:nvSpPr>
        <p:spPr>
          <a:xfrm>
            <a:off x="0" y="6313119"/>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4495" name="Google Shape;4495;p5450"/>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496" name="Google Shape;4496;p5450"/>
          <p:cNvSpPr/>
          <p:nvPr/>
        </p:nvSpPr>
        <p:spPr>
          <a:xfrm>
            <a:off x="0" y="6301516"/>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4497" name="Google Shape;4497;p5450"/>
          <p:cNvSpPr txBox="1">
            <a:spLocks noGrp="1"/>
          </p:cNvSpPr>
          <p:nvPr>
            <p:ph type="title"/>
          </p:nvPr>
        </p:nvSpPr>
        <p:spPr>
          <a:xfrm>
            <a:off x="848991" y="806858"/>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98" name="Google Shape;4498;p5450"/>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a:latin typeface="Verdana"/>
                <a:ea typeface="Verdana"/>
                <a:cs typeface="Verdana"/>
                <a:sym typeface="Verdana"/>
              </a:defRPr>
            </a:lvl1pPr>
            <a:lvl2pPr marL="609630" lvl="1" indent="-270990" algn="l">
              <a:lnSpc>
                <a:spcPct val="100000"/>
              </a:lnSpc>
              <a:spcBef>
                <a:spcPts val="500"/>
              </a:spcBef>
              <a:spcAft>
                <a:spcPts val="0"/>
              </a:spcAft>
              <a:buSzPts val="2801"/>
              <a:buChar char="•"/>
              <a:defRPr sz="1867">
                <a:latin typeface="Verdana"/>
                <a:ea typeface="Verdana"/>
                <a:cs typeface="Verdana"/>
                <a:sym typeface="Verdana"/>
              </a:defRPr>
            </a:lvl2pPr>
            <a:lvl3pPr marL="914446" lvl="2" indent="-270989" algn="l">
              <a:lnSpc>
                <a:spcPct val="100000"/>
              </a:lnSpc>
              <a:spcBef>
                <a:spcPts val="1000"/>
              </a:spcBef>
              <a:spcAft>
                <a:spcPts val="0"/>
              </a:spcAft>
              <a:buSzPts val="2801"/>
              <a:buChar char="•"/>
              <a:defRPr sz="1867">
                <a:latin typeface="Verdana"/>
                <a:ea typeface="Verdana"/>
                <a:cs typeface="Verdana"/>
                <a:sym typeface="Verdana"/>
              </a:defRPr>
            </a:lvl3pPr>
            <a:lvl4pPr marL="1219261" lvl="3" indent="-270989" algn="l">
              <a:lnSpc>
                <a:spcPct val="100000"/>
              </a:lnSpc>
              <a:spcBef>
                <a:spcPts val="1000"/>
              </a:spcBef>
              <a:spcAft>
                <a:spcPts val="0"/>
              </a:spcAft>
              <a:buSzPts val="2801"/>
              <a:buChar char="•"/>
              <a:defRPr sz="1867">
                <a:latin typeface="Verdana"/>
                <a:ea typeface="Verdana"/>
                <a:cs typeface="Verdana"/>
                <a:sym typeface="Verdana"/>
              </a:defRPr>
            </a:lvl4pPr>
            <a:lvl5pPr marL="1524076" lvl="4" indent="-270990" algn="l">
              <a:lnSpc>
                <a:spcPct val="100000"/>
              </a:lnSpc>
              <a:spcBef>
                <a:spcPts val="1000"/>
              </a:spcBef>
              <a:spcAft>
                <a:spcPts val="0"/>
              </a:spcAft>
              <a:buSzPts val="2801"/>
              <a:buChar char="•"/>
              <a:defRPr sz="1867">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21424731"/>
      </p:ext>
    </p:extLst>
  </p:cSld>
  <p:clrMapOvr>
    <a:masterClrMapping/>
  </p:clrMapOvr>
</p:sldLayout>
</file>

<file path=ppt/slideLayouts/slideLayout1622.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4499"/>
        <p:cNvGrpSpPr/>
        <p:nvPr/>
      </p:nvGrpSpPr>
      <p:grpSpPr>
        <a:xfrm>
          <a:off x="0" y="0"/>
          <a:ext cx="0" cy="0"/>
          <a:chOff x="0" y="0"/>
          <a:chExt cx="0" cy="0"/>
        </a:xfrm>
      </p:grpSpPr>
      <p:sp>
        <p:nvSpPr>
          <p:cNvPr id="4500" name="Google Shape;4500;p5451"/>
          <p:cNvSpPr/>
          <p:nvPr/>
        </p:nvSpPr>
        <p:spPr>
          <a:xfrm>
            <a:off x="0" y="6313119"/>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4501" name="Google Shape;4501;p5451"/>
          <p:cNvSpPr/>
          <p:nvPr/>
        </p:nvSpPr>
        <p:spPr>
          <a:xfrm>
            <a:off x="0" y="6301516"/>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4502" name="Google Shape;4502;p5451"/>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1800"/>
              <a:buNone/>
              <a:defRPr sz="1200" b="0" i="1">
                <a:solidFill>
                  <a:srgbClr val="003B5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503" name="Google Shape;4503;p5451"/>
          <p:cNvSpPr txBox="1">
            <a:spLocks noGrp="1"/>
          </p:cNvSpPr>
          <p:nvPr>
            <p:ph type="body" idx="2"/>
          </p:nvPr>
        </p:nvSpPr>
        <p:spPr>
          <a:xfrm>
            <a:off x="5549395" y="1997129"/>
            <a:ext cx="5466561" cy="3085413"/>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b="0">
                <a:solidFill>
                  <a:schemeClr val="dk1"/>
                </a:solidFill>
                <a:latin typeface="Verdana"/>
                <a:ea typeface="Verdana"/>
                <a:cs typeface="Verdana"/>
                <a:sym typeface="Verdana"/>
              </a:defRPr>
            </a:lvl1pPr>
            <a:lvl2pPr marL="609630" lvl="1" indent="-270990" algn="l">
              <a:lnSpc>
                <a:spcPct val="100000"/>
              </a:lnSpc>
              <a:spcBef>
                <a:spcPts val="500"/>
              </a:spcBef>
              <a:spcAft>
                <a:spcPts val="0"/>
              </a:spcAft>
              <a:buSzPts val="2801"/>
              <a:buChar char="•"/>
              <a:defRPr sz="1867" b="0">
                <a:solidFill>
                  <a:srgbClr val="003B5C"/>
                </a:solidFill>
                <a:latin typeface="Verdana"/>
                <a:ea typeface="Verdana"/>
                <a:cs typeface="Verdana"/>
                <a:sym typeface="Verdana"/>
              </a:defRPr>
            </a:lvl2pPr>
            <a:lvl3pPr marL="914446" lvl="2" indent="-270989"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3pPr>
            <a:lvl4pPr marL="1219261" lvl="3" indent="-270989"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4pPr>
            <a:lvl5pPr marL="1524076" lvl="4" indent="-270990"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504" name="Google Shape;4504;p5451"/>
          <p:cNvSpPr txBox="1">
            <a:spLocks noGrp="1"/>
          </p:cNvSpPr>
          <p:nvPr>
            <p:ph type="title"/>
          </p:nvPr>
        </p:nvSpPr>
        <p:spPr>
          <a:xfrm>
            <a:off x="5549395" y="1154528"/>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505" name="Google Shape;4505;p545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178014183"/>
      </p:ext>
    </p:extLst>
  </p:cSld>
  <p:clrMapOvr>
    <a:masterClrMapping/>
  </p:clrMapOvr>
</p:sldLayout>
</file>

<file path=ppt/slideLayouts/slideLayout1623.xml><?xml version="1.0" encoding="utf-8"?>
<p:sldLayout xmlns:a="http://schemas.openxmlformats.org/drawingml/2006/main" xmlns:r="http://schemas.openxmlformats.org/officeDocument/2006/relationships" xmlns:p="http://schemas.openxmlformats.org/presentationml/2006/main" matchingName="5_Title Slide_Yale Blue">
  <p:cSld name="5_Title Slide_Yale Blue">
    <p:spTree>
      <p:nvGrpSpPr>
        <p:cNvPr id="1" name="Shape 4506"/>
        <p:cNvGrpSpPr/>
        <p:nvPr/>
      </p:nvGrpSpPr>
      <p:grpSpPr>
        <a:xfrm>
          <a:off x="0" y="0"/>
          <a:ext cx="0" cy="0"/>
          <a:chOff x="0" y="0"/>
          <a:chExt cx="0" cy="0"/>
        </a:xfrm>
      </p:grpSpPr>
      <p:sp>
        <p:nvSpPr>
          <p:cNvPr id="4507" name="Google Shape;4507;p5452"/>
          <p:cNvSpPr txBox="1">
            <a:spLocks noGrp="1"/>
          </p:cNvSpPr>
          <p:nvPr>
            <p:ph type="body" idx="1"/>
          </p:nvPr>
        </p:nvSpPr>
        <p:spPr>
          <a:xfrm>
            <a:off x="2826557" y="5400857"/>
            <a:ext cx="8178613" cy="348899"/>
          </a:xfrm>
          <a:prstGeom prst="rect">
            <a:avLst/>
          </a:prstGeom>
          <a:noFill/>
          <a:ln>
            <a:noFill/>
          </a:ln>
        </p:spPr>
        <p:txBody>
          <a:bodyPr spcFirstLastPara="1" wrap="square" lIns="91425" tIns="45700" rIns="91425" bIns="45700" anchor="t" anchorCtr="0">
            <a:spAutoFit/>
          </a:bodyPr>
          <a:lstStyle>
            <a:lvl1pPr marL="304815" lvl="0" indent="-152408" algn="r">
              <a:lnSpc>
                <a:spcPct val="100000"/>
              </a:lnSpc>
              <a:spcBef>
                <a:spcPts val="1000"/>
              </a:spcBef>
              <a:spcAft>
                <a:spcPts val="0"/>
              </a:spcAft>
              <a:buSzPts val="2801"/>
              <a:buNone/>
              <a:defRPr sz="1867">
                <a:solidFill>
                  <a:srgbClr val="616364"/>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508" name="Google Shape;4508;p5452"/>
          <p:cNvSpPr txBox="1">
            <a:spLocks noGrp="1"/>
          </p:cNvSpPr>
          <p:nvPr>
            <p:ph type="ctrTitle"/>
          </p:nvPr>
        </p:nvSpPr>
        <p:spPr>
          <a:xfrm>
            <a:off x="2826557"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8001"/>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09" name="Google Shape;4509;p5452"/>
          <p:cNvSpPr txBox="1">
            <a:spLocks noGrp="1"/>
          </p:cNvSpPr>
          <p:nvPr>
            <p:ph type="dt" idx="10"/>
          </p:nvPr>
        </p:nvSpPr>
        <p:spPr>
          <a:xfrm>
            <a:off x="0" y="0"/>
            <a:ext cx="2000000" cy="2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9pPr>
          </a:lstStyle>
          <a:p>
            <a:endParaRPr/>
          </a:p>
        </p:txBody>
      </p:sp>
      <p:sp>
        <p:nvSpPr>
          <p:cNvPr id="4510" name="Google Shape;4510;p545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11" name="Google Shape;4511;p545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4512" name="Google Shape;4512;p5452"/>
          <p:cNvSpPr/>
          <p:nvPr/>
        </p:nvSpPr>
        <p:spPr>
          <a:xfrm rot="10800000">
            <a:off x="1" y="2000250"/>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4513" name="Google Shape;4513;p5452"/>
          <p:cNvSpPr/>
          <p:nvPr/>
        </p:nvSpPr>
        <p:spPr>
          <a:xfrm>
            <a:off x="0" y="6115053"/>
            <a:ext cx="12192000" cy="742949"/>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4514" name="Google Shape;4514;p5452"/>
          <p:cNvSpPr txBox="1">
            <a:spLocks noGrp="1"/>
          </p:cNvSpPr>
          <p:nvPr>
            <p:ph type="body" idx="2"/>
          </p:nvPr>
        </p:nvSpPr>
        <p:spPr>
          <a:xfrm>
            <a:off x="2826557" y="3447401"/>
            <a:ext cx="8178613" cy="713317"/>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4800"/>
              <a:buNone/>
              <a:defRPr sz="3200" b="0" i="0">
                <a:solidFill>
                  <a:srgbClr val="00314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4515" name="Google Shape;4515;p5452"/>
          <p:cNvPicPr preferRelativeResize="0"/>
          <p:nvPr/>
        </p:nvPicPr>
        <p:blipFill rotWithShape="1">
          <a:blip r:embed="rId2">
            <a:alphaModFix/>
          </a:blip>
          <a:srcRect/>
          <a:stretch/>
        </p:blipFill>
        <p:spPr>
          <a:xfrm>
            <a:off x="2829836" y="4178331"/>
            <a:ext cx="4395959" cy="1140163"/>
          </a:xfrm>
          <a:prstGeom prst="rect">
            <a:avLst/>
          </a:prstGeom>
          <a:noFill/>
          <a:ln>
            <a:noFill/>
          </a:ln>
        </p:spPr>
      </p:pic>
    </p:spTree>
    <p:extLst>
      <p:ext uri="{BB962C8B-B14F-4D97-AF65-F5344CB8AC3E}">
        <p14:creationId xmlns:p14="http://schemas.microsoft.com/office/powerpoint/2010/main" val="129295176"/>
      </p:ext>
    </p:extLst>
  </p:cSld>
  <p:clrMapOvr>
    <a:masterClrMapping/>
  </p:clrMapOvr>
</p:sldLayout>
</file>

<file path=ppt/slideLayouts/slideLayout1624.xml><?xml version="1.0" encoding="utf-8"?>
<p:sldLayout xmlns:a="http://schemas.openxmlformats.org/drawingml/2006/main" xmlns:r="http://schemas.openxmlformats.org/officeDocument/2006/relationships" xmlns:p="http://schemas.openxmlformats.org/presentationml/2006/main" matchingName="1_Title and Bullets Layout">
  <p:cSld name="1_Title and Bullets Layout">
    <p:spTree>
      <p:nvGrpSpPr>
        <p:cNvPr id="1" name="Shape 4516"/>
        <p:cNvGrpSpPr/>
        <p:nvPr/>
      </p:nvGrpSpPr>
      <p:grpSpPr>
        <a:xfrm>
          <a:off x="0" y="0"/>
          <a:ext cx="0" cy="0"/>
          <a:chOff x="0" y="0"/>
          <a:chExt cx="0" cy="0"/>
        </a:xfrm>
      </p:grpSpPr>
      <p:sp>
        <p:nvSpPr>
          <p:cNvPr id="4517" name="Google Shape;4517;p5453"/>
          <p:cNvSpPr txBox="1">
            <a:spLocks noGrp="1"/>
          </p:cNvSpPr>
          <p:nvPr>
            <p:ph type="title"/>
          </p:nvPr>
        </p:nvSpPr>
        <p:spPr>
          <a:xfrm>
            <a:off x="848992" y="783847"/>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18" name="Google Shape;4518;p5453"/>
          <p:cNvSpPr/>
          <p:nvPr/>
        </p:nvSpPr>
        <p:spPr>
          <a:xfrm>
            <a:off x="0" y="6313119"/>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4519" name="Google Shape;4519;p5453"/>
          <p:cNvSpPr/>
          <p:nvPr/>
        </p:nvSpPr>
        <p:spPr>
          <a:xfrm>
            <a:off x="0" y="6301516"/>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4520" name="Google Shape;4520;p5453"/>
          <p:cNvSpPr txBox="1">
            <a:spLocks noGrp="1"/>
          </p:cNvSpPr>
          <p:nvPr>
            <p:ph type="body" idx="1"/>
          </p:nvPr>
        </p:nvSpPr>
        <p:spPr>
          <a:xfrm>
            <a:off x="848786" y="1615018"/>
            <a:ext cx="10176933" cy="3812116"/>
          </a:xfrm>
          <a:prstGeom prst="rect">
            <a:avLst/>
          </a:prstGeom>
          <a:noFill/>
          <a:ln>
            <a:noFill/>
          </a:ln>
        </p:spPr>
        <p:txBody>
          <a:bodyPr spcFirstLastPara="1" wrap="square" lIns="91425" tIns="45700" rIns="91425" bIns="45700" anchor="t" anchorCtr="0">
            <a:noAutofit/>
          </a:bodyPr>
          <a:lstStyle>
            <a:lvl1pPr marL="304815" lvl="0" indent="-287881" algn="l">
              <a:lnSpc>
                <a:spcPct val="100000"/>
              </a:lnSpc>
              <a:spcBef>
                <a:spcPts val="1000"/>
              </a:spcBef>
              <a:spcAft>
                <a:spcPts val="0"/>
              </a:spcAft>
              <a:buSzPts val="3200"/>
              <a:buFont typeface="Arial"/>
              <a:buChar char="•"/>
              <a:defRPr sz="2133" b="0">
                <a:solidFill>
                  <a:schemeClr val="dk1"/>
                </a:solidFill>
                <a:latin typeface="Verdana"/>
                <a:ea typeface="Verdana"/>
                <a:cs typeface="Verdana"/>
                <a:sym typeface="Verdana"/>
              </a:defRPr>
            </a:lvl1pPr>
            <a:lvl2pPr marL="609630" lvl="1" indent="-287881" algn="l">
              <a:lnSpc>
                <a:spcPct val="100000"/>
              </a:lnSpc>
              <a:spcBef>
                <a:spcPts val="1000"/>
              </a:spcBef>
              <a:spcAft>
                <a:spcPts val="0"/>
              </a:spcAft>
              <a:buSzPts val="3200"/>
              <a:buChar char="•"/>
              <a:defRPr sz="2133">
                <a:latin typeface="Verdana"/>
                <a:ea typeface="Verdana"/>
                <a:cs typeface="Verdana"/>
                <a:sym typeface="Verdana"/>
              </a:defRPr>
            </a:lvl2pPr>
            <a:lvl3pPr marL="914446" lvl="2" indent="-287881" algn="l">
              <a:lnSpc>
                <a:spcPct val="100000"/>
              </a:lnSpc>
              <a:spcBef>
                <a:spcPts val="1000"/>
              </a:spcBef>
              <a:spcAft>
                <a:spcPts val="0"/>
              </a:spcAft>
              <a:buSzPts val="3200"/>
              <a:buChar char="•"/>
              <a:defRPr sz="2133">
                <a:latin typeface="Verdana"/>
                <a:ea typeface="Verdana"/>
                <a:cs typeface="Verdana"/>
                <a:sym typeface="Verdana"/>
              </a:defRPr>
            </a:lvl3pPr>
            <a:lvl4pPr marL="1219261" lvl="3" indent="-287881" algn="l">
              <a:lnSpc>
                <a:spcPct val="100000"/>
              </a:lnSpc>
              <a:spcBef>
                <a:spcPts val="1000"/>
              </a:spcBef>
              <a:spcAft>
                <a:spcPts val="0"/>
              </a:spcAft>
              <a:buSzPts val="3200"/>
              <a:buChar char="•"/>
              <a:defRPr sz="2133">
                <a:latin typeface="Verdana"/>
                <a:ea typeface="Verdana"/>
                <a:cs typeface="Verdana"/>
                <a:sym typeface="Verdana"/>
              </a:defRPr>
            </a:lvl4pPr>
            <a:lvl5pPr marL="1524076" lvl="4" indent="-287881" algn="l">
              <a:lnSpc>
                <a:spcPct val="100000"/>
              </a:lnSpc>
              <a:spcBef>
                <a:spcPts val="1000"/>
              </a:spcBef>
              <a:spcAft>
                <a:spcPts val="0"/>
              </a:spcAft>
              <a:buSzPts val="3200"/>
              <a:buChar char="•"/>
              <a:defRPr sz="2133">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4521" name="Google Shape;4521;p545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030199052"/>
      </p:ext>
    </p:extLst>
  </p:cSld>
  <p:clrMapOvr>
    <a:masterClrMapping/>
  </p:clrMapOvr>
</p:sldLayout>
</file>

<file path=ppt/slideLayouts/slideLayout1625.xml><?xml version="1.0" encoding="utf-8"?>
<p:sldLayout xmlns:a="http://schemas.openxmlformats.org/drawingml/2006/main" xmlns:r="http://schemas.openxmlformats.org/officeDocument/2006/relationships" xmlns:p="http://schemas.openxmlformats.org/presentationml/2006/main" matchingName="20_Title and Content">
  <p:cSld name="20_Title and Content">
    <p:spTree>
      <p:nvGrpSpPr>
        <p:cNvPr id="1" name="Shape 4522"/>
        <p:cNvGrpSpPr/>
        <p:nvPr/>
      </p:nvGrpSpPr>
      <p:grpSpPr>
        <a:xfrm>
          <a:off x="0" y="0"/>
          <a:ext cx="0" cy="0"/>
          <a:chOff x="0" y="0"/>
          <a:chExt cx="0" cy="0"/>
        </a:xfrm>
      </p:grpSpPr>
      <p:sp>
        <p:nvSpPr>
          <p:cNvPr id="4523" name="Google Shape;4523;p5454"/>
          <p:cNvSpPr/>
          <p:nvPr/>
        </p:nvSpPr>
        <p:spPr>
          <a:xfrm>
            <a:off x="0" y="6313119"/>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4524" name="Google Shape;4524;p5454"/>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525" name="Google Shape;4525;p5454"/>
          <p:cNvSpPr/>
          <p:nvPr/>
        </p:nvSpPr>
        <p:spPr>
          <a:xfrm>
            <a:off x="0" y="6301516"/>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4526" name="Google Shape;4526;p5454"/>
          <p:cNvSpPr txBox="1">
            <a:spLocks noGrp="1"/>
          </p:cNvSpPr>
          <p:nvPr>
            <p:ph type="title"/>
          </p:nvPr>
        </p:nvSpPr>
        <p:spPr>
          <a:xfrm>
            <a:off x="848991" y="806858"/>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27" name="Google Shape;4527;p5454"/>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a:latin typeface="Verdana"/>
                <a:ea typeface="Verdana"/>
                <a:cs typeface="Verdana"/>
                <a:sym typeface="Verdana"/>
              </a:defRPr>
            </a:lvl1pPr>
            <a:lvl2pPr marL="609630" lvl="1" indent="-270990" algn="l">
              <a:lnSpc>
                <a:spcPct val="100000"/>
              </a:lnSpc>
              <a:spcBef>
                <a:spcPts val="500"/>
              </a:spcBef>
              <a:spcAft>
                <a:spcPts val="0"/>
              </a:spcAft>
              <a:buSzPts val="2801"/>
              <a:buChar char="•"/>
              <a:defRPr sz="1867">
                <a:latin typeface="Verdana"/>
                <a:ea typeface="Verdana"/>
                <a:cs typeface="Verdana"/>
                <a:sym typeface="Verdana"/>
              </a:defRPr>
            </a:lvl2pPr>
            <a:lvl3pPr marL="914446" lvl="2" indent="-270989" algn="l">
              <a:lnSpc>
                <a:spcPct val="100000"/>
              </a:lnSpc>
              <a:spcBef>
                <a:spcPts val="1000"/>
              </a:spcBef>
              <a:spcAft>
                <a:spcPts val="0"/>
              </a:spcAft>
              <a:buSzPts val="2801"/>
              <a:buChar char="•"/>
              <a:defRPr sz="1867">
                <a:latin typeface="Verdana"/>
                <a:ea typeface="Verdana"/>
                <a:cs typeface="Verdana"/>
                <a:sym typeface="Verdana"/>
              </a:defRPr>
            </a:lvl3pPr>
            <a:lvl4pPr marL="1219261" lvl="3" indent="-270989" algn="l">
              <a:lnSpc>
                <a:spcPct val="100000"/>
              </a:lnSpc>
              <a:spcBef>
                <a:spcPts val="1000"/>
              </a:spcBef>
              <a:spcAft>
                <a:spcPts val="0"/>
              </a:spcAft>
              <a:buSzPts val="2801"/>
              <a:buChar char="•"/>
              <a:defRPr sz="1867">
                <a:latin typeface="Verdana"/>
                <a:ea typeface="Verdana"/>
                <a:cs typeface="Verdana"/>
                <a:sym typeface="Verdana"/>
              </a:defRPr>
            </a:lvl4pPr>
            <a:lvl5pPr marL="1524076" lvl="4" indent="-270990" algn="l">
              <a:lnSpc>
                <a:spcPct val="100000"/>
              </a:lnSpc>
              <a:spcBef>
                <a:spcPts val="1000"/>
              </a:spcBef>
              <a:spcAft>
                <a:spcPts val="0"/>
              </a:spcAft>
              <a:buSzPts val="2801"/>
              <a:buChar char="•"/>
              <a:defRPr sz="1867">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221121476"/>
      </p:ext>
    </p:extLst>
  </p:cSld>
  <p:clrMapOvr>
    <a:masterClrMapping/>
  </p:clrMapOvr>
</p:sldLayout>
</file>

<file path=ppt/slideLayouts/slideLayout1626.xml><?xml version="1.0" encoding="utf-8"?>
<p:sldLayout xmlns:a="http://schemas.openxmlformats.org/drawingml/2006/main" xmlns:r="http://schemas.openxmlformats.org/officeDocument/2006/relationships" xmlns:p="http://schemas.openxmlformats.org/presentationml/2006/main" matchingName="1_Two Section | Picture and Copy Layout">
  <p:cSld name="1_Two Section | Picture and Copy Layout">
    <p:spTree>
      <p:nvGrpSpPr>
        <p:cNvPr id="1" name="Shape 4528"/>
        <p:cNvGrpSpPr/>
        <p:nvPr/>
      </p:nvGrpSpPr>
      <p:grpSpPr>
        <a:xfrm>
          <a:off x="0" y="0"/>
          <a:ext cx="0" cy="0"/>
          <a:chOff x="0" y="0"/>
          <a:chExt cx="0" cy="0"/>
        </a:xfrm>
      </p:grpSpPr>
      <p:sp>
        <p:nvSpPr>
          <p:cNvPr id="4529" name="Google Shape;4529;p5455"/>
          <p:cNvSpPr/>
          <p:nvPr/>
        </p:nvSpPr>
        <p:spPr>
          <a:xfrm>
            <a:off x="0" y="6313119"/>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4530" name="Google Shape;4530;p5455"/>
          <p:cNvSpPr/>
          <p:nvPr/>
        </p:nvSpPr>
        <p:spPr>
          <a:xfrm>
            <a:off x="0" y="6301516"/>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4531" name="Google Shape;4531;p5455"/>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1800"/>
              <a:buNone/>
              <a:defRPr sz="1200" b="0" i="1">
                <a:solidFill>
                  <a:srgbClr val="003B5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532" name="Google Shape;4532;p5455"/>
          <p:cNvSpPr txBox="1">
            <a:spLocks noGrp="1"/>
          </p:cNvSpPr>
          <p:nvPr>
            <p:ph type="body" idx="2"/>
          </p:nvPr>
        </p:nvSpPr>
        <p:spPr>
          <a:xfrm>
            <a:off x="5549395" y="1997129"/>
            <a:ext cx="5466561" cy="3085413"/>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b="0">
                <a:solidFill>
                  <a:schemeClr val="dk1"/>
                </a:solidFill>
                <a:latin typeface="Verdana"/>
                <a:ea typeface="Verdana"/>
                <a:cs typeface="Verdana"/>
                <a:sym typeface="Verdana"/>
              </a:defRPr>
            </a:lvl1pPr>
            <a:lvl2pPr marL="609630" lvl="1" indent="-270990" algn="l">
              <a:lnSpc>
                <a:spcPct val="100000"/>
              </a:lnSpc>
              <a:spcBef>
                <a:spcPts val="500"/>
              </a:spcBef>
              <a:spcAft>
                <a:spcPts val="0"/>
              </a:spcAft>
              <a:buSzPts val="2801"/>
              <a:buChar char="•"/>
              <a:defRPr sz="1867" b="0">
                <a:solidFill>
                  <a:srgbClr val="003B5C"/>
                </a:solidFill>
                <a:latin typeface="Verdana"/>
                <a:ea typeface="Verdana"/>
                <a:cs typeface="Verdana"/>
                <a:sym typeface="Verdana"/>
              </a:defRPr>
            </a:lvl2pPr>
            <a:lvl3pPr marL="914446" lvl="2" indent="-270989"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3pPr>
            <a:lvl4pPr marL="1219261" lvl="3" indent="-270989"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4pPr>
            <a:lvl5pPr marL="1524076" lvl="4" indent="-270990"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533" name="Google Shape;4533;p5455"/>
          <p:cNvSpPr txBox="1">
            <a:spLocks noGrp="1"/>
          </p:cNvSpPr>
          <p:nvPr>
            <p:ph type="title"/>
          </p:nvPr>
        </p:nvSpPr>
        <p:spPr>
          <a:xfrm>
            <a:off x="5549395" y="1154528"/>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534" name="Google Shape;4534;p545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457701017"/>
      </p:ext>
    </p:extLst>
  </p:cSld>
  <p:clrMapOvr>
    <a:masterClrMapping/>
  </p:clrMapOvr>
</p:sldLayout>
</file>

<file path=ppt/slideLayouts/slideLayout1627.xml><?xml version="1.0" encoding="utf-8"?>
<p:sldLayout xmlns:a="http://schemas.openxmlformats.org/drawingml/2006/main" xmlns:r="http://schemas.openxmlformats.org/officeDocument/2006/relationships" xmlns:p="http://schemas.openxmlformats.org/presentationml/2006/main" matchingName="6_Title Slide_Yale Blue">
  <p:cSld name="6_Title Slide_Yale Blue">
    <p:spTree>
      <p:nvGrpSpPr>
        <p:cNvPr id="1" name="Shape 4535"/>
        <p:cNvGrpSpPr/>
        <p:nvPr/>
      </p:nvGrpSpPr>
      <p:grpSpPr>
        <a:xfrm>
          <a:off x="0" y="0"/>
          <a:ext cx="0" cy="0"/>
          <a:chOff x="0" y="0"/>
          <a:chExt cx="0" cy="0"/>
        </a:xfrm>
      </p:grpSpPr>
      <p:sp>
        <p:nvSpPr>
          <p:cNvPr id="4536" name="Google Shape;4536;p5456"/>
          <p:cNvSpPr txBox="1">
            <a:spLocks noGrp="1"/>
          </p:cNvSpPr>
          <p:nvPr>
            <p:ph type="body" idx="1"/>
          </p:nvPr>
        </p:nvSpPr>
        <p:spPr>
          <a:xfrm>
            <a:off x="2826557" y="5400857"/>
            <a:ext cx="8178613" cy="348899"/>
          </a:xfrm>
          <a:prstGeom prst="rect">
            <a:avLst/>
          </a:prstGeom>
          <a:noFill/>
          <a:ln>
            <a:noFill/>
          </a:ln>
        </p:spPr>
        <p:txBody>
          <a:bodyPr spcFirstLastPara="1" wrap="square" lIns="91425" tIns="45700" rIns="91425" bIns="45700" anchor="t" anchorCtr="0">
            <a:spAutoFit/>
          </a:bodyPr>
          <a:lstStyle>
            <a:lvl1pPr marL="304815" lvl="0" indent="-152408" algn="r">
              <a:lnSpc>
                <a:spcPct val="100000"/>
              </a:lnSpc>
              <a:spcBef>
                <a:spcPts val="1000"/>
              </a:spcBef>
              <a:spcAft>
                <a:spcPts val="0"/>
              </a:spcAft>
              <a:buSzPts val="2801"/>
              <a:buNone/>
              <a:defRPr sz="1867">
                <a:solidFill>
                  <a:srgbClr val="616364"/>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537" name="Google Shape;4537;p5456"/>
          <p:cNvSpPr txBox="1">
            <a:spLocks noGrp="1"/>
          </p:cNvSpPr>
          <p:nvPr>
            <p:ph type="ctrTitle"/>
          </p:nvPr>
        </p:nvSpPr>
        <p:spPr>
          <a:xfrm>
            <a:off x="2826557"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8001"/>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38" name="Google Shape;4538;p5456"/>
          <p:cNvSpPr txBox="1">
            <a:spLocks noGrp="1"/>
          </p:cNvSpPr>
          <p:nvPr>
            <p:ph type="dt" idx="10"/>
          </p:nvPr>
        </p:nvSpPr>
        <p:spPr>
          <a:xfrm>
            <a:off x="0" y="0"/>
            <a:ext cx="2000000" cy="2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9pPr>
          </a:lstStyle>
          <a:p>
            <a:endParaRPr/>
          </a:p>
        </p:txBody>
      </p:sp>
      <p:sp>
        <p:nvSpPr>
          <p:cNvPr id="4539" name="Google Shape;4539;p545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40" name="Google Shape;4540;p545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4541" name="Google Shape;4541;p5456"/>
          <p:cNvSpPr/>
          <p:nvPr/>
        </p:nvSpPr>
        <p:spPr>
          <a:xfrm rot="10800000">
            <a:off x="1" y="2000250"/>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4542" name="Google Shape;4542;p5456"/>
          <p:cNvSpPr/>
          <p:nvPr/>
        </p:nvSpPr>
        <p:spPr>
          <a:xfrm>
            <a:off x="0" y="6115053"/>
            <a:ext cx="12192000" cy="742949"/>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4543" name="Google Shape;4543;p5456"/>
          <p:cNvSpPr txBox="1">
            <a:spLocks noGrp="1"/>
          </p:cNvSpPr>
          <p:nvPr>
            <p:ph type="body" idx="2"/>
          </p:nvPr>
        </p:nvSpPr>
        <p:spPr>
          <a:xfrm>
            <a:off x="2826557" y="3447401"/>
            <a:ext cx="8178613" cy="713317"/>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4800"/>
              <a:buNone/>
              <a:defRPr sz="3200" b="0" i="0">
                <a:solidFill>
                  <a:srgbClr val="00314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4544" name="Google Shape;4544;p5456"/>
          <p:cNvPicPr preferRelativeResize="0"/>
          <p:nvPr/>
        </p:nvPicPr>
        <p:blipFill rotWithShape="1">
          <a:blip r:embed="rId2">
            <a:alphaModFix/>
          </a:blip>
          <a:srcRect/>
          <a:stretch/>
        </p:blipFill>
        <p:spPr>
          <a:xfrm>
            <a:off x="2829836" y="4178331"/>
            <a:ext cx="4395959" cy="1140163"/>
          </a:xfrm>
          <a:prstGeom prst="rect">
            <a:avLst/>
          </a:prstGeom>
          <a:noFill/>
          <a:ln>
            <a:noFill/>
          </a:ln>
        </p:spPr>
      </p:pic>
    </p:spTree>
    <p:extLst>
      <p:ext uri="{BB962C8B-B14F-4D97-AF65-F5344CB8AC3E}">
        <p14:creationId xmlns:p14="http://schemas.microsoft.com/office/powerpoint/2010/main" val="3011787090"/>
      </p:ext>
    </p:extLst>
  </p:cSld>
  <p:clrMapOvr>
    <a:masterClrMapping/>
  </p:clrMapOvr>
</p:sldLayout>
</file>

<file path=ppt/slideLayouts/slideLayout1628.xml><?xml version="1.0" encoding="utf-8"?>
<p:sldLayout xmlns:a="http://schemas.openxmlformats.org/drawingml/2006/main" xmlns:r="http://schemas.openxmlformats.org/officeDocument/2006/relationships" xmlns:p="http://schemas.openxmlformats.org/presentationml/2006/main" matchingName="7_Title Slide_Yale Blue">
  <p:cSld name="7_Title Slide_Yale Blue">
    <p:spTree>
      <p:nvGrpSpPr>
        <p:cNvPr id="1" name="Shape 4545"/>
        <p:cNvGrpSpPr/>
        <p:nvPr/>
      </p:nvGrpSpPr>
      <p:grpSpPr>
        <a:xfrm>
          <a:off x="0" y="0"/>
          <a:ext cx="0" cy="0"/>
          <a:chOff x="0" y="0"/>
          <a:chExt cx="0" cy="0"/>
        </a:xfrm>
      </p:grpSpPr>
      <p:sp>
        <p:nvSpPr>
          <p:cNvPr id="4546" name="Google Shape;4546;p5457"/>
          <p:cNvSpPr txBox="1">
            <a:spLocks noGrp="1"/>
          </p:cNvSpPr>
          <p:nvPr>
            <p:ph type="body" idx="1"/>
          </p:nvPr>
        </p:nvSpPr>
        <p:spPr>
          <a:xfrm>
            <a:off x="2826557" y="5400857"/>
            <a:ext cx="8178613" cy="348899"/>
          </a:xfrm>
          <a:prstGeom prst="rect">
            <a:avLst/>
          </a:prstGeom>
          <a:noFill/>
          <a:ln>
            <a:noFill/>
          </a:ln>
        </p:spPr>
        <p:txBody>
          <a:bodyPr spcFirstLastPara="1" wrap="square" lIns="91425" tIns="45700" rIns="91425" bIns="45700" anchor="t" anchorCtr="0">
            <a:spAutoFit/>
          </a:bodyPr>
          <a:lstStyle>
            <a:lvl1pPr marL="304815" lvl="0" indent="-152408" algn="r">
              <a:lnSpc>
                <a:spcPct val="100000"/>
              </a:lnSpc>
              <a:spcBef>
                <a:spcPts val="1000"/>
              </a:spcBef>
              <a:spcAft>
                <a:spcPts val="0"/>
              </a:spcAft>
              <a:buSzPts val="2801"/>
              <a:buNone/>
              <a:defRPr sz="1867">
                <a:solidFill>
                  <a:srgbClr val="616364"/>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547" name="Google Shape;4547;p5457"/>
          <p:cNvSpPr txBox="1">
            <a:spLocks noGrp="1"/>
          </p:cNvSpPr>
          <p:nvPr>
            <p:ph type="ctrTitle"/>
          </p:nvPr>
        </p:nvSpPr>
        <p:spPr>
          <a:xfrm>
            <a:off x="2826557"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8001"/>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48" name="Google Shape;4548;p5457"/>
          <p:cNvSpPr txBox="1">
            <a:spLocks noGrp="1"/>
          </p:cNvSpPr>
          <p:nvPr>
            <p:ph type="dt" idx="10"/>
          </p:nvPr>
        </p:nvSpPr>
        <p:spPr>
          <a:xfrm>
            <a:off x="0" y="0"/>
            <a:ext cx="2000000" cy="2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9pPr>
          </a:lstStyle>
          <a:p>
            <a:endParaRPr/>
          </a:p>
        </p:txBody>
      </p:sp>
      <p:sp>
        <p:nvSpPr>
          <p:cNvPr id="4549" name="Google Shape;4549;p545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50" name="Google Shape;4550;p545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4551" name="Google Shape;4551;p5457"/>
          <p:cNvSpPr/>
          <p:nvPr/>
        </p:nvSpPr>
        <p:spPr>
          <a:xfrm rot="10800000">
            <a:off x="1" y="2000250"/>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4552" name="Google Shape;4552;p5457"/>
          <p:cNvSpPr/>
          <p:nvPr/>
        </p:nvSpPr>
        <p:spPr>
          <a:xfrm>
            <a:off x="0" y="6115053"/>
            <a:ext cx="12192000" cy="742949"/>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4553" name="Google Shape;4553;p5457"/>
          <p:cNvSpPr txBox="1">
            <a:spLocks noGrp="1"/>
          </p:cNvSpPr>
          <p:nvPr>
            <p:ph type="body" idx="2"/>
          </p:nvPr>
        </p:nvSpPr>
        <p:spPr>
          <a:xfrm>
            <a:off x="2826557" y="3447401"/>
            <a:ext cx="8178613" cy="713317"/>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4800"/>
              <a:buNone/>
              <a:defRPr sz="3200" b="0" i="0">
                <a:solidFill>
                  <a:srgbClr val="00314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4554" name="Google Shape;4554;p5457"/>
          <p:cNvPicPr preferRelativeResize="0"/>
          <p:nvPr/>
        </p:nvPicPr>
        <p:blipFill rotWithShape="1">
          <a:blip r:embed="rId2">
            <a:alphaModFix/>
          </a:blip>
          <a:srcRect/>
          <a:stretch/>
        </p:blipFill>
        <p:spPr>
          <a:xfrm>
            <a:off x="2829836" y="4178331"/>
            <a:ext cx="4395959" cy="1140163"/>
          </a:xfrm>
          <a:prstGeom prst="rect">
            <a:avLst/>
          </a:prstGeom>
          <a:noFill/>
          <a:ln>
            <a:noFill/>
          </a:ln>
        </p:spPr>
      </p:pic>
    </p:spTree>
    <p:extLst>
      <p:ext uri="{BB962C8B-B14F-4D97-AF65-F5344CB8AC3E}">
        <p14:creationId xmlns:p14="http://schemas.microsoft.com/office/powerpoint/2010/main" val="490165702"/>
      </p:ext>
    </p:extLst>
  </p:cSld>
  <p:clrMapOvr>
    <a:masterClrMapping/>
  </p:clrMapOvr>
</p:sldLayout>
</file>

<file path=ppt/slideLayouts/slideLayout1629.xml><?xml version="1.0" encoding="utf-8"?>
<p:sldLayout xmlns:a="http://schemas.openxmlformats.org/drawingml/2006/main" xmlns:r="http://schemas.openxmlformats.org/officeDocument/2006/relationships" xmlns:p="http://schemas.openxmlformats.org/presentationml/2006/main" matchingName="8_Title Slide_Yale Blue">
  <p:cSld name="8_Title Slide_Yale Blue">
    <p:spTree>
      <p:nvGrpSpPr>
        <p:cNvPr id="1" name="Shape 4555"/>
        <p:cNvGrpSpPr/>
        <p:nvPr/>
      </p:nvGrpSpPr>
      <p:grpSpPr>
        <a:xfrm>
          <a:off x="0" y="0"/>
          <a:ext cx="0" cy="0"/>
          <a:chOff x="0" y="0"/>
          <a:chExt cx="0" cy="0"/>
        </a:xfrm>
      </p:grpSpPr>
      <p:sp>
        <p:nvSpPr>
          <p:cNvPr id="4556" name="Google Shape;4556;p5458"/>
          <p:cNvSpPr txBox="1">
            <a:spLocks noGrp="1"/>
          </p:cNvSpPr>
          <p:nvPr>
            <p:ph type="body" idx="1"/>
          </p:nvPr>
        </p:nvSpPr>
        <p:spPr>
          <a:xfrm>
            <a:off x="2826557" y="5400857"/>
            <a:ext cx="8178613" cy="348899"/>
          </a:xfrm>
          <a:prstGeom prst="rect">
            <a:avLst/>
          </a:prstGeom>
          <a:noFill/>
          <a:ln>
            <a:noFill/>
          </a:ln>
        </p:spPr>
        <p:txBody>
          <a:bodyPr spcFirstLastPara="1" wrap="square" lIns="91425" tIns="45700" rIns="91425" bIns="45700" anchor="t" anchorCtr="0">
            <a:spAutoFit/>
          </a:bodyPr>
          <a:lstStyle>
            <a:lvl1pPr marL="304815" lvl="0" indent="-152408" algn="r">
              <a:lnSpc>
                <a:spcPct val="100000"/>
              </a:lnSpc>
              <a:spcBef>
                <a:spcPts val="1000"/>
              </a:spcBef>
              <a:spcAft>
                <a:spcPts val="0"/>
              </a:spcAft>
              <a:buSzPts val="2801"/>
              <a:buNone/>
              <a:defRPr sz="1867">
                <a:solidFill>
                  <a:srgbClr val="616364"/>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557" name="Google Shape;4557;p5458"/>
          <p:cNvSpPr txBox="1">
            <a:spLocks noGrp="1"/>
          </p:cNvSpPr>
          <p:nvPr>
            <p:ph type="ctrTitle"/>
          </p:nvPr>
        </p:nvSpPr>
        <p:spPr>
          <a:xfrm>
            <a:off x="2826557"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8001"/>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58" name="Google Shape;4558;p5458"/>
          <p:cNvSpPr txBox="1">
            <a:spLocks noGrp="1"/>
          </p:cNvSpPr>
          <p:nvPr>
            <p:ph type="dt" idx="10"/>
          </p:nvPr>
        </p:nvSpPr>
        <p:spPr>
          <a:xfrm>
            <a:off x="0" y="0"/>
            <a:ext cx="2000000" cy="2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9pPr>
          </a:lstStyle>
          <a:p>
            <a:endParaRPr/>
          </a:p>
        </p:txBody>
      </p:sp>
      <p:sp>
        <p:nvSpPr>
          <p:cNvPr id="4559" name="Google Shape;4559;p545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60" name="Google Shape;4560;p545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4561" name="Google Shape;4561;p5458"/>
          <p:cNvSpPr/>
          <p:nvPr/>
        </p:nvSpPr>
        <p:spPr>
          <a:xfrm rot="10800000">
            <a:off x="1" y="2000250"/>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4562" name="Google Shape;4562;p5458"/>
          <p:cNvSpPr/>
          <p:nvPr/>
        </p:nvSpPr>
        <p:spPr>
          <a:xfrm>
            <a:off x="0" y="6115053"/>
            <a:ext cx="12192000" cy="742949"/>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4563" name="Google Shape;4563;p5458"/>
          <p:cNvSpPr txBox="1">
            <a:spLocks noGrp="1"/>
          </p:cNvSpPr>
          <p:nvPr>
            <p:ph type="body" idx="2"/>
          </p:nvPr>
        </p:nvSpPr>
        <p:spPr>
          <a:xfrm>
            <a:off x="2826557" y="3447401"/>
            <a:ext cx="8178613" cy="713317"/>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4800"/>
              <a:buNone/>
              <a:defRPr sz="3200" b="0" i="0">
                <a:solidFill>
                  <a:srgbClr val="00314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4564" name="Google Shape;4564;p5458"/>
          <p:cNvPicPr preferRelativeResize="0"/>
          <p:nvPr/>
        </p:nvPicPr>
        <p:blipFill rotWithShape="1">
          <a:blip r:embed="rId2">
            <a:alphaModFix/>
          </a:blip>
          <a:srcRect/>
          <a:stretch/>
        </p:blipFill>
        <p:spPr>
          <a:xfrm>
            <a:off x="2829836" y="4178331"/>
            <a:ext cx="4395959" cy="1140163"/>
          </a:xfrm>
          <a:prstGeom prst="rect">
            <a:avLst/>
          </a:prstGeom>
          <a:noFill/>
          <a:ln>
            <a:noFill/>
          </a:ln>
        </p:spPr>
      </p:pic>
    </p:spTree>
    <p:extLst>
      <p:ext uri="{BB962C8B-B14F-4D97-AF65-F5344CB8AC3E}">
        <p14:creationId xmlns:p14="http://schemas.microsoft.com/office/powerpoint/2010/main" val="29235003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matchingName="Photo Slide">
  <p:cSld name="Photo Slide 10 2">
    <p:spTree>
      <p:nvGrpSpPr>
        <p:cNvPr id="1" name="Shape 10649"/>
        <p:cNvGrpSpPr/>
        <p:nvPr/>
      </p:nvGrpSpPr>
      <p:grpSpPr>
        <a:xfrm>
          <a:off x="0" y="0"/>
          <a:ext cx="0" cy="0"/>
          <a:chOff x="0" y="0"/>
          <a:chExt cx="0" cy="0"/>
        </a:xfrm>
      </p:grpSpPr>
      <p:sp>
        <p:nvSpPr>
          <p:cNvPr id="10650" name="Google Shape;10650;p146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651" name="Google Shape;10651;p146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652" name="Google Shape;10652;p1467"/>
          <p:cNvGrpSpPr/>
          <p:nvPr/>
        </p:nvGrpSpPr>
        <p:grpSpPr>
          <a:xfrm>
            <a:off x="0" y="5379426"/>
            <a:ext cx="2807368" cy="753891"/>
            <a:chOff x="0" y="5379426"/>
            <a:chExt cx="2807368" cy="753891"/>
          </a:xfrm>
        </p:grpSpPr>
        <p:sp>
          <p:nvSpPr>
            <p:cNvPr id="10653" name="Google Shape;10653;p146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654" name="Google Shape;10654;p146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0655" name="Google Shape;10655;p1467"/>
          <p:cNvSpPr>
            <a:spLocks noGrp="1"/>
          </p:cNvSpPr>
          <p:nvPr>
            <p:ph type="pic" idx="2"/>
          </p:nvPr>
        </p:nvSpPr>
        <p:spPr>
          <a:xfrm>
            <a:off x="2807368" y="457202"/>
            <a:ext cx="8915400" cy="5943598"/>
          </a:xfrm>
          <a:prstGeom prst="rect">
            <a:avLst/>
          </a:prstGeom>
          <a:noFill/>
          <a:ln>
            <a:noFill/>
          </a:ln>
        </p:spPr>
      </p:sp>
      <p:pic>
        <p:nvPicPr>
          <p:cNvPr id="10656" name="Google Shape;10656;p146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630.xml><?xml version="1.0" encoding="utf-8"?>
<p:sldLayout xmlns:a="http://schemas.openxmlformats.org/drawingml/2006/main" xmlns:r="http://schemas.openxmlformats.org/officeDocument/2006/relationships" xmlns:p="http://schemas.openxmlformats.org/presentationml/2006/main" matchingName="2_Title and Bullets Layout">
  <p:cSld name="2_Title and Bullets Layout">
    <p:spTree>
      <p:nvGrpSpPr>
        <p:cNvPr id="1" name="Shape 4565"/>
        <p:cNvGrpSpPr/>
        <p:nvPr/>
      </p:nvGrpSpPr>
      <p:grpSpPr>
        <a:xfrm>
          <a:off x="0" y="0"/>
          <a:ext cx="0" cy="0"/>
          <a:chOff x="0" y="0"/>
          <a:chExt cx="0" cy="0"/>
        </a:xfrm>
      </p:grpSpPr>
      <p:sp>
        <p:nvSpPr>
          <p:cNvPr id="4566" name="Google Shape;4566;p5459"/>
          <p:cNvSpPr txBox="1">
            <a:spLocks noGrp="1"/>
          </p:cNvSpPr>
          <p:nvPr>
            <p:ph type="title"/>
          </p:nvPr>
        </p:nvSpPr>
        <p:spPr>
          <a:xfrm>
            <a:off x="848992" y="783847"/>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67" name="Google Shape;4567;p5459"/>
          <p:cNvSpPr/>
          <p:nvPr/>
        </p:nvSpPr>
        <p:spPr>
          <a:xfrm>
            <a:off x="0" y="6313119"/>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4568" name="Google Shape;4568;p5459"/>
          <p:cNvSpPr/>
          <p:nvPr/>
        </p:nvSpPr>
        <p:spPr>
          <a:xfrm>
            <a:off x="0" y="6301516"/>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4569" name="Google Shape;4569;p5459"/>
          <p:cNvSpPr txBox="1">
            <a:spLocks noGrp="1"/>
          </p:cNvSpPr>
          <p:nvPr>
            <p:ph type="body" idx="1"/>
          </p:nvPr>
        </p:nvSpPr>
        <p:spPr>
          <a:xfrm>
            <a:off x="848786" y="1615018"/>
            <a:ext cx="10176933" cy="3812116"/>
          </a:xfrm>
          <a:prstGeom prst="rect">
            <a:avLst/>
          </a:prstGeom>
          <a:noFill/>
          <a:ln>
            <a:noFill/>
          </a:ln>
        </p:spPr>
        <p:txBody>
          <a:bodyPr spcFirstLastPara="1" wrap="square" lIns="91425" tIns="45700" rIns="91425" bIns="45700" anchor="t" anchorCtr="0">
            <a:noAutofit/>
          </a:bodyPr>
          <a:lstStyle>
            <a:lvl1pPr marL="304815" lvl="0" indent="-287881" algn="l">
              <a:lnSpc>
                <a:spcPct val="100000"/>
              </a:lnSpc>
              <a:spcBef>
                <a:spcPts val="1000"/>
              </a:spcBef>
              <a:spcAft>
                <a:spcPts val="0"/>
              </a:spcAft>
              <a:buSzPts val="3200"/>
              <a:buFont typeface="Arial"/>
              <a:buChar char="•"/>
              <a:defRPr sz="2133" b="0">
                <a:solidFill>
                  <a:schemeClr val="dk1"/>
                </a:solidFill>
                <a:latin typeface="Verdana"/>
                <a:ea typeface="Verdana"/>
                <a:cs typeface="Verdana"/>
                <a:sym typeface="Verdana"/>
              </a:defRPr>
            </a:lvl1pPr>
            <a:lvl2pPr marL="609630" lvl="1" indent="-287881" algn="l">
              <a:lnSpc>
                <a:spcPct val="100000"/>
              </a:lnSpc>
              <a:spcBef>
                <a:spcPts val="1000"/>
              </a:spcBef>
              <a:spcAft>
                <a:spcPts val="0"/>
              </a:spcAft>
              <a:buSzPts val="3200"/>
              <a:buChar char="•"/>
              <a:defRPr sz="2133">
                <a:latin typeface="Verdana"/>
                <a:ea typeface="Verdana"/>
                <a:cs typeface="Verdana"/>
                <a:sym typeface="Verdana"/>
              </a:defRPr>
            </a:lvl2pPr>
            <a:lvl3pPr marL="914446" lvl="2" indent="-287881" algn="l">
              <a:lnSpc>
                <a:spcPct val="100000"/>
              </a:lnSpc>
              <a:spcBef>
                <a:spcPts val="1000"/>
              </a:spcBef>
              <a:spcAft>
                <a:spcPts val="0"/>
              </a:spcAft>
              <a:buSzPts val="3200"/>
              <a:buChar char="•"/>
              <a:defRPr sz="2133">
                <a:latin typeface="Verdana"/>
                <a:ea typeface="Verdana"/>
                <a:cs typeface="Verdana"/>
                <a:sym typeface="Verdana"/>
              </a:defRPr>
            </a:lvl3pPr>
            <a:lvl4pPr marL="1219261" lvl="3" indent="-287881" algn="l">
              <a:lnSpc>
                <a:spcPct val="100000"/>
              </a:lnSpc>
              <a:spcBef>
                <a:spcPts val="1000"/>
              </a:spcBef>
              <a:spcAft>
                <a:spcPts val="0"/>
              </a:spcAft>
              <a:buSzPts val="3200"/>
              <a:buChar char="•"/>
              <a:defRPr sz="2133">
                <a:latin typeface="Verdana"/>
                <a:ea typeface="Verdana"/>
                <a:cs typeface="Verdana"/>
                <a:sym typeface="Verdana"/>
              </a:defRPr>
            </a:lvl4pPr>
            <a:lvl5pPr marL="1524076" lvl="4" indent="-287881" algn="l">
              <a:lnSpc>
                <a:spcPct val="100000"/>
              </a:lnSpc>
              <a:spcBef>
                <a:spcPts val="1000"/>
              </a:spcBef>
              <a:spcAft>
                <a:spcPts val="0"/>
              </a:spcAft>
              <a:buSzPts val="3200"/>
              <a:buChar char="•"/>
              <a:defRPr sz="2133">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4570" name="Google Shape;4570;p545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085981619"/>
      </p:ext>
    </p:extLst>
  </p:cSld>
  <p:clrMapOvr>
    <a:masterClrMapping/>
  </p:clrMapOvr>
</p:sldLayout>
</file>

<file path=ppt/slideLayouts/slideLayout1631.xml><?xml version="1.0" encoding="utf-8"?>
<p:sldLayout xmlns:a="http://schemas.openxmlformats.org/drawingml/2006/main" xmlns:r="http://schemas.openxmlformats.org/officeDocument/2006/relationships" xmlns:p="http://schemas.openxmlformats.org/presentationml/2006/main" matchingName="21_Title and Content">
  <p:cSld name="21_Title and Content">
    <p:spTree>
      <p:nvGrpSpPr>
        <p:cNvPr id="1" name="Shape 4571"/>
        <p:cNvGrpSpPr/>
        <p:nvPr/>
      </p:nvGrpSpPr>
      <p:grpSpPr>
        <a:xfrm>
          <a:off x="0" y="0"/>
          <a:ext cx="0" cy="0"/>
          <a:chOff x="0" y="0"/>
          <a:chExt cx="0" cy="0"/>
        </a:xfrm>
      </p:grpSpPr>
      <p:sp>
        <p:nvSpPr>
          <p:cNvPr id="4572" name="Google Shape;4572;p5460"/>
          <p:cNvSpPr/>
          <p:nvPr/>
        </p:nvSpPr>
        <p:spPr>
          <a:xfrm>
            <a:off x="0" y="6313119"/>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4573" name="Google Shape;4573;p5460"/>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574" name="Google Shape;4574;p5460"/>
          <p:cNvSpPr/>
          <p:nvPr/>
        </p:nvSpPr>
        <p:spPr>
          <a:xfrm>
            <a:off x="0" y="6301516"/>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4575" name="Google Shape;4575;p5460"/>
          <p:cNvSpPr txBox="1">
            <a:spLocks noGrp="1"/>
          </p:cNvSpPr>
          <p:nvPr>
            <p:ph type="title"/>
          </p:nvPr>
        </p:nvSpPr>
        <p:spPr>
          <a:xfrm>
            <a:off x="848991" y="806858"/>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76" name="Google Shape;4576;p5460"/>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a:latin typeface="Verdana"/>
                <a:ea typeface="Verdana"/>
                <a:cs typeface="Verdana"/>
                <a:sym typeface="Verdana"/>
              </a:defRPr>
            </a:lvl1pPr>
            <a:lvl2pPr marL="609630" lvl="1" indent="-270990" algn="l">
              <a:lnSpc>
                <a:spcPct val="100000"/>
              </a:lnSpc>
              <a:spcBef>
                <a:spcPts val="500"/>
              </a:spcBef>
              <a:spcAft>
                <a:spcPts val="0"/>
              </a:spcAft>
              <a:buSzPts val="2801"/>
              <a:buChar char="•"/>
              <a:defRPr sz="1867">
                <a:latin typeface="Verdana"/>
                <a:ea typeface="Verdana"/>
                <a:cs typeface="Verdana"/>
                <a:sym typeface="Verdana"/>
              </a:defRPr>
            </a:lvl2pPr>
            <a:lvl3pPr marL="914446" lvl="2" indent="-270989" algn="l">
              <a:lnSpc>
                <a:spcPct val="100000"/>
              </a:lnSpc>
              <a:spcBef>
                <a:spcPts val="1000"/>
              </a:spcBef>
              <a:spcAft>
                <a:spcPts val="0"/>
              </a:spcAft>
              <a:buSzPts val="2801"/>
              <a:buChar char="•"/>
              <a:defRPr sz="1867">
                <a:latin typeface="Verdana"/>
                <a:ea typeface="Verdana"/>
                <a:cs typeface="Verdana"/>
                <a:sym typeface="Verdana"/>
              </a:defRPr>
            </a:lvl3pPr>
            <a:lvl4pPr marL="1219261" lvl="3" indent="-270989" algn="l">
              <a:lnSpc>
                <a:spcPct val="100000"/>
              </a:lnSpc>
              <a:spcBef>
                <a:spcPts val="1000"/>
              </a:spcBef>
              <a:spcAft>
                <a:spcPts val="0"/>
              </a:spcAft>
              <a:buSzPts val="2801"/>
              <a:buChar char="•"/>
              <a:defRPr sz="1867">
                <a:latin typeface="Verdana"/>
                <a:ea typeface="Verdana"/>
                <a:cs typeface="Verdana"/>
                <a:sym typeface="Verdana"/>
              </a:defRPr>
            </a:lvl4pPr>
            <a:lvl5pPr marL="1524076" lvl="4" indent="-270990" algn="l">
              <a:lnSpc>
                <a:spcPct val="100000"/>
              </a:lnSpc>
              <a:spcBef>
                <a:spcPts val="1000"/>
              </a:spcBef>
              <a:spcAft>
                <a:spcPts val="0"/>
              </a:spcAft>
              <a:buSzPts val="2801"/>
              <a:buChar char="•"/>
              <a:defRPr sz="1867">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705252129"/>
      </p:ext>
    </p:extLst>
  </p:cSld>
  <p:clrMapOvr>
    <a:masterClrMapping/>
  </p:clrMapOvr>
</p:sldLayout>
</file>

<file path=ppt/slideLayouts/slideLayout1632.xml><?xml version="1.0" encoding="utf-8"?>
<p:sldLayout xmlns:a="http://schemas.openxmlformats.org/drawingml/2006/main" xmlns:r="http://schemas.openxmlformats.org/officeDocument/2006/relationships" xmlns:p="http://schemas.openxmlformats.org/presentationml/2006/main" matchingName="2_Two Section | Picture and Copy Layout">
  <p:cSld name="2_Two Section | Picture and Copy Layout">
    <p:spTree>
      <p:nvGrpSpPr>
        <p:cNvPr id="1" name="Shape 4577"/>
        <p:cNvGrpSpPr/>
        <p:nvPr/>
      </p:nvGrpSpPr>
      <p:grpSpPr>
        <a:xfrm>
          <a:off x="0" y="0"/>
          <a:ext cx="0" cy="0"/>
          <a:chOff x="0" y="0"/>
          <a:chExt cx="0" cy="0"/>
        </a:xfrm>
      </p:grpSpPr>
      <p:sp>
        <p:nvSpPr>
          <p:cNvPr id="4578" name="Google Shape;4578;p5461"/>
          <p:cNvSpPr/>
          <p:nvPr/>
        </p:nvSpPr>
        <p:spPr>
          <a:xfrm>
            <a:off x="0" y="6313119"/>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4579" name="Google Shape;4579;p5461"/>
          <p:cNvSpPr/>
          <p:nvPr/>
        </p:nvSpPr>
        <p:spPr>
          <a:xfrm>
            <a:off x="0" y="6301516"/>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4580" name="Google Shape;4580;p5461"/>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1800"/>
              <a:buNone/>
              <a:defRPr sz="1200" b="0" i="1">
                <a:solidFill>
                  <a:srgbClr val="003B5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581" name="Google Shape;4581;p5461"/>
          <p:cNvSpPr txBox="1">
            <a:spLocks noGrp="1"/>
          </p:cNvSpPr>
          <p:nvPr>
            <p:ph type="body" idx="2"/>
          </p:nvPr>
        </p:nvSpPr>
        <p:spPr>
          <a:xfrm>
            <a:off x="5549395" y="1997129"/>
            <a:ext cx="5466561" cy="3085413"/>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b="0">
                <a:solidFill>
                  <a:schemeClr val="dk1"/>
                </a:solidFill>
                <a:latin typeface="Verdana"/>
                <a:ea typeface="Verdana"/>
                <a:cs typeface="Verdana"/>
                <a:sym typeface="Verdana"/>
              </a:defRPr>
            </a:lvl1pPr>
            <a:lvl2pPr marL="609630" lvl="1" indent="-270990" algn="l">
              <a:lnSpc>
                <a:spcPct val="100000"/>
              </a:lnSpc>
              <a:spcBef>
                <a:spcPts val="500"/>
              </a:spcBef>
              <a:spcAft>
                <a:spcPts val="0"/>
              </a:spcAft>
              <a:buSzPts val="2801"/>
              <a:buChar char="•"/>
              <a:defRPr sz="1867" b="0">
                <a:solidFill>
                  <a:srgbClr val="003B5C"/>
                </a:solidFill>
                <a:latin typeface="Verdana"/>
                <a:ea typeface="Verdana"/>
                <a:cs typeface="Verdana"/>
                <a:sym typeface="Verdana"/>
              </a:defRPr>
            </a:lvl2pPr>
            <a:lvl3pPr marL="914446" lvl="2" indent="-270989"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3pPr>
            <a:lvl4pPr marL="1219261" lvl="3" indent="-270989"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4pPr>
            <a:lvl5pPr marL="1524076" lvl="4" indent="-270990"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582" name="Google Shape;4582;p5461"/>
          <p:cNvSpPr txBox="1">
            <a:spLocks noGrp="1"/>
          </p:cNvSpPr>
          <p:nvPr>
            <p:ph type="title"/>
          </p:nvPr>
        </p:nvSpPr>
        <p:spPr>
          <a:xfrm>
            <a:off x="5549395" y="1154528"/>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583" name="Google Shape;4583;p546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09789712"/>
      </p:ext>
    </p:extLst>
  </p:cSld>
  <p:clrMapOvr>
    <a:masterClrMapping/>
  </p:clrMapOvr>
</p:sldLayout>
</file>

<file path=ppt/slideLayouts/slideLayout1633.xml><?xml version="1.0" encoding="utf-8"?>
<p:sldLayout xmlns:a="http://schemas.openxmlformats.org/drawingml/2006/main" xmlns:r="http://schemas.openxmlformats.org/officeDocument/2006/relationships" xmlns:p="http://schemas.openxmlformats.org/presentationml/2006/main" matchingName="9_Title Slide_Yale Blue">
  <p:cSld name="9_Title Slide_Yale Blue">
    <p:spTree>
      <p:nvGrpSpPr>
        <p:cNvPr id="1" name="Shape 4584"/>
        <p:cNvGrpSpPr/>
        <p:nvPr/>
      </p:nvGrpSpPr>
      <p:grpSpPr>
        <a:xfrm>
          <a:off x="0" y="0"/>
          <a:ext cx="0" cy="0"/>
          <a:chOff x="0" y="0"/>
          <a:chExt cx="0" cy="0"/>
        </a:xfrm>
      </p:grpSpPr>
      <p:sp>
        <p:nvSpPr>
          <p:cNvPr id="4585" name="Google Shape;4585;p5462"/>
          <p:cNvSpPr txBox="1">
            <a:spLocks noGrp="1"/>
          </p:cNvSpPr>
          <p:nvPr>
            <p:ph type="body" idx="1"/>
          </p:nvPr>
        </p:nvSpPr>
        <p:spPr>
          <a:xfrm>
            <a:off x="2826557" y="5400857"/>
            <a:ext cx="8178613" cy="348899"/>
          </a:xfrm>
          <a:prstGeom prst="rect">
            <a:avLst/>
          </a:prstGeom>
          <a:noFill/>
          <a:ln>
            <a:noFill/>
          </a:ln>
        </p:spPr>
        <p:txBody>
          <a:bodyPr spcFirstLastPara="1" wrap="square" lIns="91425" tIns="45700" rIns="91425" bIns="45700" anchor="t" anchorCtr="0">
            <a:spAutoFit/>
          </a:bodyPr>
          <a:lstStyle>
            <a:lvl1pPr marL="304815" lvl="0" indent="-152408" algn="r">
              <a:lnSpc>
                <a:spcPct val="100000"/>
              </a:lnSpc>
              <a:spcBef>
                <a:spcPts val="1000"/>
              </a:spcBef>
              <a:spcAft>
                <a:spcPts val="0"/>
              </a:spcAft>
              <a:buSzPts val="2801"/>
              <a:buNone/>
              <a:defRPr sz="1867">
                <a:solidFill>
                  <a:srgbClr val="616364"/>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586" name="Google Shape;4586;p5462"/>
          <p:cNvSpPr txBox="1">
            <a:spLocks noGrp="1"/>
          </p:cNvSpPr>
          <p:nvPr>
            <p:ph type="ctrTitle"/>
          </p:nvPr>
        </p:nvSpPr>
        <p:spPr>
          <a:xfrm>
            <a:off x="2826557"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8001"/>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87" name="Google Shape;4587;p5462"/>
          <p:cNvSpPr txBox="1">
            <a:spLocks noGrp="1"/>
          </p:cNvSpPr>
          <p:nvPr>
            <p:ph type="dt" idx="10"/>
          </p:nvPr>
        </p:nvSpPr>
        <p:spPr>
          <a:xfrm>
            <a:off x="0" y="0"/>
            <a:ext cx="2000000" cy="2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9pPr>
          </a:lstStyle>
          <a:p>
            <a:endParaRPr/>
          </a:p>
        </p:txBody>
      </p:sp>
      <p:sp>
        <p:nvSpPr>
          <p:cNvPr id="4588" name="Google Shape;4588;p546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89" name="Google Shape;4589;p546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4590" name="Google Shape;4590;p5462"/>
          <p:cNvSpPr/>
          <p:nvPr/>
        </p:nvSpPr>
        <p:spPr>
          <a:xfrm rot="10800000">
            <a:off x="1" y="2000250"/>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4591" name="Google Shape;4591;p5462"/>
          <p:cNvSpPr/>
          <p:nvPr/>
        </p:nvSpPr>
        <p:spPr>
          <a:xfrm>
            <a:off x="0" y="6115053"/>
            <a:ext cx="12192000" cy="742949"/>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4592" name="Google Shape;4592;p5462"/>
          <p:cNvSpPr txBox="1">
            <a:spLocks noGrp="1"/>
          </p:cNvSpPr>
          <p:nvPr>
            <p:ph type="body" idx="2"/>
          </p:nvPr>
        </p:nvSpPr>
        <p:spPr>
          <a:xfrm>
            <a:off x="2826557" y="3447401"/>
            <a:ext cx="8178613" cy="713317"/>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4800"/>
              <a:buNone/>
              <a:defRPr sz="3200" b="0" i="0">
                <a:solidFill>
                  <a:srgbClr val="00314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4593" name="Google Shape;4593;p5462"/>
          <p:cNvPicPr preferRelativeResize="0"/>
          <p:nvPr/>
        </p:nvPicPr>
        <p:blipFill rotWithShape="1">
          <a:blip r:embed="rId2">
            <a:alphaModFix/>
          </a:blip>
          <a:srcRect/>
          <a:stretch/>
        </p:blipFill>
        <p:spPr>
          <a:xfrm>
            <a:off x="2829836" y="4178331"/>
            <a:ext cx="4395959" cy="1140163"/>
          </a:xfrm>
          <a:prstGeom prst="rect">
            <a:avLst/>
          </a:prstGeom>
          <a:noFill/>
          <a:ln>
            <a:noFill/>
          </a:ln>
        </p:spPr>
      </p:pic>
    </p:spTree>
    <p:extLst>
      <p:ext uri="{BB962C8B-B14F-4D97-AF65-F5344CB8AC3E}">
        <p14:creationId xmlns:p14="http://schemas.microsoft.com/office/powerpoint/2010/main" val="749431724"/>
      </p:ext>
    </p:extLst>
  </p:cSld>
  <p:clrMapOvr>
    <a:masterClrMapping/>
  </p:clrMapOvr>
</p:sldLayout>
</file>

<file path=ppt/slideLayouts/slideLayout1634.xml><?xml version="1.0" encoding="utf-8"?>
<p:sldLayout xmlns:a="http://schemas.openxmlformats.org/drawingml/2006/main" xmlns:r="http://schemas.openxmlformats.org/officeDocument/2006/relationships" xmlns:p="http://schemas.openxmlformats.org/presentationml/2006/main" matchingName="3_Title and Bullets Layout">
  <p:cSld name="3_Title and Bullets Layout">
    <p:spTree>
      <p:nvGrpSpPr>
        <p:cNvPr id="1" name="Shape 4594"/>
        <p:cNvGrpSpPr/>
        <p:nvPr/>
      </p:nvGrpSpPr>
      <p:grpSpPr>
        <a:xfrm>
          <a:off x="0" y="0"/>
          <a:ext cx="0" cy="0"/>
          <a:chOff x="0" y="0"/>
          <a:chExt cx="0" cy="0"/>
        </a:xfrm>
      </p:grpSpPr>
      <p:sp>
        <p:nvSpPr>
          <p:cNvPr id="4595" name="Google Shape;4595;p5463"/>
          <p:cNvSpPr txBox="1">
            <a:spLocks noGrp="1"/>
          </p:cNvSpPr>
          <p:nvPr>
            <p:ph type="title"/>
          </p:nvPr>
        </p:nvSpPr>
        <p:spPr>
          <a:xfrm>
            <a:off x="848992" y="783847"/>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96" name="Google Shape;4596;p5463"/>
          <p:cNvSpPr/>
          <p:nvPr/>
        </p:nvSpPr>
        <p:spPr>
          <a:xfrm>
            <a:off x="0" y="6313119"/>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4597" name="Google Shape;4597;p5463"/>
          <p:cNvSpPr/>
          <p:nvPr/>
        </p:nvSpPr>
        <p:spPr>
          <a:xfrm>
            <a:off x="0" y="6301516"/>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4598" name="Google Shape;4598;p5463"/>
          <p:cNvSpPr txBox="1">
            <a:spLocks noGrp="1"/>
          </p:cNvSpPr>
          <p:nvPr>
            <p:ph type="body" idx="1"/>
          </p:nvPr>
        </p:nvSpPr>
        <p:spPr>
          <a:xfrm>
            <a:off x="848786" y="1615018"/>
            <a:ext cx="10176933" cy="3812116"/>
          </a:xfrm>
          <a:prstGeom prst="rect">
            <a:avLst/>
          </a:prstGeom>
          <a:noFill/>
          <a:ln>
            <a:noFill/>
          </a:ln>
        </p:spPr>
        <p:txBody>
          <a:bodyPr spcFirstLastPara="1" wrap="square" lIns="91425" tIns="45700" rIns="91425" bIns="45700" anchor="t" anchorCtr="0">
            <a:noAutofit/>
          </a:bodyPr>
          <a:lstStyle>
            <a:lvl1pPr marL="304815" lvl="0" indent="-287881" algn="l">
              <a:lnSpc>
                <a:spcPct val="100000"/>
              </a:lnSpc>
              <a:spcBef>
                <a:spcPts val="1000"/>
              </a:spcBef>
              <a:spcAft>
                <a:spcPts val="0"/>
              </a:spcAft>
              <a:buSzPts val="3200"/>
              <a:buFont typeface="Arial"/>
              <a:buChar char="•"/>
              <a:defRPr sz="2133" b="0">
                <a:solidFill>
                  <a:schemeClr val="dk1"/>
                </a:solidFill>
                <a:latin typeface="Verdana"/>
                <a:ea typeface="Verdana"/>
                <a:cs typeface="Verdana"/>
                <a:sym typeface="Verdana"/>
              </a:defRPr>
            </a:lvl1pPr>
            <a:lvl2pPr marL="609630" lvl="1" indent="-287881" algn="l">
              <a:lnSpc>
                <a:spcPct val="100000"/>
              </a:lnSpc>
              <a:spcBef>
                <a:spcPts val="1000"/>
              </a:spcBef>
              <a:spcAft>
                <a:spcPts val="0"/>
              </a:spcAft>
              <a:buSzPts val="3200"/>
              <a:buChar char="•"/>
              <a:defRPr sz="2133">
                <a:latin typeface="Verdana"/>
                <a:ea typeface="Verdana"/>
                <a:cs typeface="Verdana"/>
                <a:sym typeface="Verdana"/>
              </a:defRPr>
            </a:lvl2pPr>
            <a:lvl3pPr marL="914446" lvl="2" indent="-287881" algn="l">
              <a:lnSpc>
                <a:spcPct val="100000"/>
              </a:lnSpc>
              <a:spcBef>
                <a:spcPts val="1000"/>
              </a:spcBef>
              <a:spcAft>
                <a:spcPts val="0"/>
              </a:spcAft>
              <a:buSzPts val="3200"/>
              <a:buChar char="•"/>
              <a:defRPr sz="2133">
                <a:latin typeface="Verdana"/>
                <a:ea typeface="Verdana"/>
                <a:cs typeface="Verdana"/>
                <a:sym typeface="Verdana"/>
              </a:defRPr>
            </a:lvl3pPr>
            <a:lvl4pPr marL="1219261" lvl="3" indent="-287881" algn="l">
              <a:lnSpc>
                <a:spcPct val="100000"/>
              </a:lnSpc>
              <a:spcBef>
                <a:spcPts val="1000"/>
              </a:spcBef>
              <a:spcAft>
                <a:spcPts val="0"/>
              </a:spcAft>
              <a:buSzPts val="3200"/>
              <a:buChar char="•"/>
              <a:defRPr sz="2133">
                <a:latin typeface="Verdana"/>
                <a:ea typeface="Verdana"/>
                <a:cs typeface="Verdana"/>
                <a:sym typeface="Verdana"/>
              </a:defRPr>
            </a:lvl4pPr>
            <a:lvl5pPr marL="1524076" lvl="4" indent="-287881" algn="l">
              <a:lnSpc>
                <a:spcPct val="100000"/>
              </a:lnSpc>
              <a:spcBef>
                <a:spcPts val="1000"/>
              </a:spcBef>
              <a:spcAft>
                <a:spcPts val="0"/>
              </a:spcAft>
              <a:buSzPts val="3200"/>
              <a:buChar char="•"/>
              <a:defRPr sz="2133">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4599" name="Google Shape;4599;p546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658725581"/>
      </p:ext>
    </p:extLst>
  </p:cSld>
  <p:clrMapOvr>
    <a:masterClrMapping/>
  </p:clrMapOvr>
</p:sldLayout>
</file>

<file path=ppt/slideLayouts/slideLayout1635.xml><?xml version="1.0" encoding="utf-8"?>
<p:sldLayout xmlns:a="http://schemas.openxmlformats.org/drawingml/2006/main" xmlns:r="http://schemas.openxmlformats.org/officeDocument/2006/relationships" xmlns:p="http://schemas.openxmlformats.org/presentationml/2006/main" matchingName="22_Title and Content">
  <p:cSld name="22_Title and Content">
    <p:spTree>
      <p:nvGrpSpPr>
        <p:cNvPr id="1" name="Shape 4600"/>
        <p:cNvGrpSpPr/>
        <p:nvPr/>
      </p:nvGrpSpPr>
      <p:grpSpPr>
        <a:xfrm>
          <a:off x="0" y="0"/>
          <a:ext cx="0" cy="0"/>
          <a:chOff x="0" y="0"/>
          <a:chExt cx="0" cy="0"/>
        </a:xfrm>
      </p:grpSpPr>
      <p:sp>
        <p:nvSpPr>
          <p:cNvPr id="4601" name="Google Shape;4601;p5464"/>
          <p:cNvSpPr/>
          <p:nvPr/>
        </p:nvSpPr>
        <p:spPr>
          <a:xfrm>
            <a:off x="0" y="6313119"/>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4602" name="Google Shape;4602;p5464"/>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603" name="Google Shape;4603;p5464"/>
          <p:cNvSpPr/>
          <p:nvPr/>
        </p:nvSpPr>
        <p:spPr>
          <a:xfrm>
            <a:off x="0" y="6301516"/>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4604" name="Google Shape;4604;p5464"/>
          <p:cNvSpPr txBox="1">
            <a:spLocks noGrp="1"/>
          </p:cNvSpPr>
          <p:nvPr>
            <p:ph type="title"/>
          </p:nvPr>
        </p:nvSpPr>
        <p:spPr>
          <a:xfrm>
            <a:off x="848991" y="806858"/>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05" name="Google Shape;4605;p5464"/>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a:latin typeface="Verdana"/>
                <a:ea typeface="Verdana"/>
                <a:cs typeface="Verdana"/>
                <a:sym typeface="Verdana"/>
              </a:defRPr>
            </a:lvl1pPr>
            <a:lvl2pPr marL="609630" lvl="1" indent="-270990" algn="l">
              <a:lnSpc>
                <a:spcPct val="100000"/>
              </a:lnSpc>
              <a:spcBef>
                <a:spcPts val="500"/>
              </a:spcBef>
              <a:spcAft>
                <a:spcPts val="0"/>
              </a:spcAft>
              <a:buSzPts val="2801"/>
              <a:buChar char="•"/>
              <a:defRPr sz="1867">
                <a:latin typeface="Verdana"/>
                <a:ea typeface="Verdana"/>
                <a:cs typeface="Verdana"/>
                <a:sym typeface="Verdana"/>
              </a:defRPr>
            </a:lvl2pPr>
            <a:lvl3pPr marL="914446" lvl="2" indent="-270989" algn="l">
              <a:lnSpc>
                <a:spcPct val="100000"/>
              </a:lnSpc>
              <a:spcBef>
                <a:spcPts val="1000"/>
              </a:spcBef>
              <a:spcAft>
                <a:spcPts val="0"/>
              </a:spcAft>
              <a:buSzPts val="2801"/>
              <a:buChar char="•"/>
              <a:defRPr sz="1867">
                <a:latin typeface="Verdana"/>
                <a:ea typeface="Verdana"/>
                <a:cs typeface="Verdana"/>
                <a:sym typeface="Verdana"/>
              </a:defRPr>
            </a:lvl3pPr>
            <a:lvl4pPr marL="1219261" lvl="3" indent="-270989" algn="l">
              <a:lnSpc>
                <a:spcPct val="100000"/>
              </a:lnSpc>
              <a:spcBef>
                <a:spcPts val="1000"/>
              </a:spcBef>
              <a:spcAft>
                <a:spcPts val="0"/>
              </a:spcAft>
              <a:buSzPts val="2801"/>
              <a:buChar char="•"/>
              <a:defRPr sz="1867">
                <a:latin typeface="Verdana"/>
                <a:ea typeface="Verdana"/>
                <a:cs typeface="Verdana"/>
                <a:sym typeface="Verdana"/>
              </a:defRPr>
            </a:lvl4pPr>
            <a:lvl5pPr marL="1524076" lvl="4" indent="-270990" algn="l">
              <a:lnSpc>
                <a:spcPct val="100000"/>
              </a:lnSpc>
              <a:spcBef>
                <a:spcPts val="1000"/>
              </a:spcBef>
              <a:spcAft>
                <a:spcPts val="0"/>
              </a:spcAft>
              <a:buSzPts val="2801"/>
              <a:buChar char="•"/>
              <a:defRPr sz="1867">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609505518"/>
      </p:ext>
    </p:extLst>
  </p:cSld>
  <p:clrMapOvr>
    <a:masterClrMapping/>
  </p:clrMapOvr>
</p:sldLayout>
</file>

<file path=ppt/slideLayouts/slideLayout1636.xml><?xml version="1.0" encoding="utf-8"?>
<p:sldLayout xmlns:a="http://schemas.openxmlformats.org/drawingml/2006/main" xmlns:r="http://schemas.openxmlformats.org/officeDocument/2006/relationships" xmlns:p="http://schemas.openxmlformats.org/presentationml/2006/main" matchingName="3_Two Section | Picture and Copy Layout">
  <p:cSld name="3_Two Section | Picture and Copy Layout">
    <p:spTree>
      <p:nvGrpSpPr>
        <p:cNvPr id="1" name="Shape 4606"/>
        <p:cNvGrpSpPr/>
        <p:nvPr/>
      </p:nvGrpSpPr>
      <p:grpSpPr>
        <a:xfrm>
          <a:off x="0" y="0"/>
          <a:ext cx="0" cy="0"/>
          <a:chOff x="0" y="0"/>
          <a:chExt cx="0" cy="0"/>
        </a:xfrm>
      </p:grpSpPr>
      <p:sp>
        <p:nvSpPr>
          <p:cNvPr id="4607" name="Google Shape;4607;p5465"/>
          <p:cNvSpPr/>
          <p:nvPr/>
        </p:nvSpPr>
        <p:spPr>
          <a:xfrm>
            <a:off x="0" y="6313119"/>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4608" name="Google Shape;4608;p5465"/>
          <p:cNvSpPr/>
          <p:nvPr/>
        </p:nvSpPr>
        <p:spPr>
          <a:xfrm>
            <a:off x="0" y="6301516"/>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4609" name="Google Shape;4609;p5465"/>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1800"/>
              <a:buNone/>
              <a:defRPr sz="1200" b="0" i="1">
                <a:solidFill>
                  <a:srgbClr val="003B5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610" name="Google Shape;4610;p5465"/>
          <p:cNvSpPr txBox="1">
            <a:spLocks noGrp="1"/>
          </p:cNvSpPr>
          <p:nvPr>
            <p:ph type="body" idx="2"/>
          </p:nvPr>
        </p:nvSpPr>
        <p:spPr>
          <a:xfrm>
            <a:off x="5549395" y="1997129"/>
            <a:ext cx="5466561" cy="3085413"/>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b="0">
                <a:solidFill>
                  <a:schemeClr val="dk1"/>
                </a:solidFill>
                <a:latin typeface="Verdana"/>
                <a:ea typeface="Verdana"/>
                <a:cs typeface="Verdana"/>
                <a:sym typeface="Verdana"/>
              </a:defRPr>
            </a:lvl1pPr>
            <a:lvl2pPr marL="609630" lvl="1" indent="-270990" algn="l">
              <a:lnSpc>
                <a:spcPct val="100000"/>
              </a:lnSpc>
              <a:spcBef>
                <a:spcPts val="500"/>
              </a:spcBef>
              <a:spcAft>
                <a:spcPts val="0"/>
              </a:spcAft>
              <a:buSzPts val="2801"/>
              <a:buChar char="•"/>
              <a:defRPr sz="1867" b="0">
                <a:solidFill>
                  <a:srgbClr val="003B5C"/>
                </a:solidFill>
                <a:latin typeface="Verdana"/>
                <a:ea typeface="Verdana"/>
                <a:cs typeface="Verdana"/>
                <a:sym typeface="Verdana"/>
              </a:defRPr>
            </a:lvl2pPr>
            <a:lvl3pPr marL="914446" lvl="2" indent="-270989"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3pPr>
            <a:lvl4pPr marL="1219261" lvl="3" indent="-270989"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4pPr>
            <a:lvl5pPr marL="1524076" lvl="4" indent="-270990"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611" name="Google Shape;4611;p5465"/>
          <p:cNvSpPr txBox="1">
            <a:spLocks noGrp="1"/>
          </p:cNvSpPr>
          <p:nvPr>
            <p:ph type="title"/>
          </p:nvPr>
        </p:nvSpPr>
        <p:spPr>
          <a:xfrm>
            <a:off x="5549395" y="1154528"/>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612" name="Google Shape;4612;p546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078039640"/>
      </p:ext>
    </p:extLst>
  </p:cSld>
  <p:clrMapOvr>
    <a:masterClrMapping/>
  </p:clrMapOvr>
</p:sldLayout>
</file>

<file path=ppt/slideLayouts/slideLayout1637.xml><?xml version="1.0" encoding="utf-8"?>
<p:sldLayout xmlns:a="http://schemas.openxmlformats.org/drawingml/2006/main" xmlns:r="http://schemas.openxmlformats.org/officeDocument/2006/relationships" xmlns:p="http://schemas.openxmlformats.org/presentationml/2006/main" matchingName="4_Title and Bullets Layout">
  <p:cSld name="4_Title and Bullets Layout">
    <p:spTree>
      <p:nvGrpSpPr>
        <p:cNvPr id="1" name="Shape 4613"/>
        <p:cNvGrpSpPr/>
        <p:nvPr/>
      </p:nvGrpSpPr>
      <p:grpSpPr>
        <a:xfrm>
          <a:off x="0" y="0"/>
          <a:ext cx="0" cy="0"/>
          <a:chOff x="0" y="0"/>
          <a:chExt cx="0" cy="0"/>
        </a:xfrm>
      </p:grpSpPr>
      <p:sp>
        <p:nvSpPr>
          <p:cNvPr id="4614" name="Google Shape;4614;p5466"/>
          <p:cNvSpPr txBox="1">
            <a:spLocks noGrp="1"/>
          </p:cNvSpPr>
          <p:nvPr>
            <p:ph type="title"/>
          </p:nvPr>
        </p:nvSpPr>
        <p:spPr>
          <a:xfrm>
            <a:off x="848992" y="783847"/>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15" name="Google Shape;4615;p5466"/>
          <p:cNvSpPr/>
          <p:nvPr/>
        </p:nvSpPr>
        <p:spPr>
          <a:xfrm>
            <a:off x="0" y="6313119"/>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4616" name="Google Shape;4616;p5466"/>
          <p:cNvSpPr/>
          <p:nvPr/>
        </p:nvSpPr>
        <p:spPr>
          <a:xfrm>
            <a:off x="0" y="6301516"/>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4617" name="Google Shape;4617;p5466"/>
          <p:cNvSpPr txBox="1">
            <a:spLocks noGrp="1"/>
          </p:cNvSpPr>
          <p:nvPr>
            <p:ph type="body" idx="1"/>
          </p:nvPr>
        </p:nvSpPr>
        <p:spPr>
          <a:xfrm>
            <a:off x="848786" y="1615018"/>
            <a:ext cx="10176933" cy="3812116"/>
          </a:xfrm>
          <a:prstGeom prst="rect">
            <a:avLst/>
          </a:prstGeom>
          <a:noFill/>
          <a:ln>
            <a:noFill/>
          </a:ln>
        </p:spPr>
        <p:txBody>
          <a:bodyPr spcFirstLastPara="1" wrap="square" lIns="91425" tIns="45700" rIns="91425" bIns="45700" anchor="t" anchorCtr="0">
            <a:noAutofit/>
          </a:bodyPr>
          <a:lstStyle>
            <a:lvl1pPr marL="304815" lvl="0" indent="-287881" algn="l">
              <a:lnSpc>
                <a:spcPct val="100000"/>
              </a:lnSpc>
              <a:spcBef>
                <a:spcPts val="1000"/>
              </a:spcBef>
              <a:spcAft>
                <a:spcPts val="0"/>
              </a:spcAft>
              <a:buSzPts val="3200"/>
              <a:buFont typeface="Arial"/>
              <a:buChar char="•"/>
              <a:defRPr sz="2133" b="0">
                <a:solidFill>
                  <a:schemeClr val="dk1"/>
                </a:solidFill>
                <a:latin typeface="Verdana"/>
                <a:ea typeface="Verdana"/>
                <a:cs typeface="Verdana"/>
                <a:sym typeface="Verdana"/>
              </a:defRPr>
            </a:lvl1pPr>
            <a:lvl2pPr marL="609630" lvl="1" indent="-287881" algn="l">
              <a:lnSpc>
                <a:spcPct val="100000"/>
              </a:lnSpc>
              <a:spcBef>
                <a:spcPts val="1000"/>
              </a:spcBef>
              <a:spcAft>
                <a:spcPts val="0"/>
              </a:spcAft>
              <a:buSzPts val="3200"/>
              <a:buChar char="•"/>
              <a:defRPr sz="2133">
                <a:latin typeface="Verdana"/>
                <a:ea typeface="Verdana"/>
                <a:cs typeface="Verdana"/>
                <a:sym typeface="Verdana"/>
              </a:defRPr>
            </a:lvl2pPr>
            <a:lvl3pPr marL="914446" lvl="2" indent="-287881" algn="l">
              <a:lnSpc>
                <a:spcPct val="100000"/>
              </a:lnSpc>
              <a:spcBef>
                <a:spcPts val="1000"/>
              </a:spcBef>
              <a:spcAft>
                <a:spcPts val="0"/>
              </a:spcAft>
              <a:buSzPts val="3200"/>
              <a:buChar char="•"/>
              <a:defRPr sz="2133">
                <a:latin typeface="Verdana"/>
                <a:ea typeface="Verdana"/>
                <a:cs typeface="Verdana"/>
                <a:sym typeface="Verdana"/>
              </a:defRPr>
            </a:lvl3pPr>
            <a:lvl4pPr marL="1219261" lvl="3" indent="-287881" algn="l">
              <a:lnSpc>
                <a:spcPct val="100000"/>
              </a:lnSpc>
              <a:spcBef>
                <a:spcPts val="1000"/>
              </a:spcBef>
              <a:spcAft>
                <a:spcPts val="0"/>
              </a:spcAft>
              <a:buSzPts val="3200"/>
              <a:buChar char="•"/>
              <a:defRPr sz="2133">
                <a:latin typeface="Verdana"/>
                <a:ea typeface="Verdana"/>
                <a:cs typeface="Verdana"/>
                <a:sym typeface="Verdana"/>
              </a:defRPr>
            </a:lvl4pPr>
            <a:lvl5pPr marL="1524076" lvl="4" indent="-287881" algn="l">
              <a:lnSpc>
                <a:spcPct val="100000"/>
              </a:lnSpc>
              <a:spcBef>
                <a:spcPts val="1000"/>
              </a:spcBef>
              <a:spcAft>
                <a:spcPts val="0"/>
              </a:spcAft>
              <a:buSzPts val="3200"/>
              <a:buChar char="•"/>
              <a:defRPr sz="2133">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4618" name="Google Shape;4618;p546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34988409"/>
      </p:ext>
    </p:extLst>
  </p:cSld>
  <p:clrMapOvr>
    <a:masterClrMapping/>
  </p:clrMapOvr>
</p:sldLayout>
</file>

<file path=ppt/slideLayouts/slideLayout1638.xml><?xml version="1.0" encoding="utf-8"?>
<p:sldLayout xmlns:a="http://schemas.openxmlformats.org/drawingml/2006/main" xmlns:r="http://schemas.openxmlformats.org/officeDocument/2006/relationships" xmlns:p="http://schemas.openxmlformats.org/presentationml/2006/main" matchingName="23_Title and Content">
  <p:cSld name="23_Title and Content">
    <p:spTree>
      <p:nvGrpSpPr>
        <p:cNvPr id="1" name="Shape 4619"/>
        <p:cNvGrpSpPr/>
        <p:nvPr/>
      </p:nvGrpSpPr>
      <p:grpSpPr>
        <a:xfrm>
          <a:off x="0" y="0"/>
          <a:ext cx="0" cy="0"/>
          <a:chOff x="0" y="0"/>
          <a:chExt cx="0" cy="0"/>
        </a:xfrm>
      </p:grpSpPr>
      <p:sp>
        <p:nvSpPr>
          <p:cNvPr id="4620" name="Google Shape;4620;p5467"/>
          <p:cNvSpPr/>
          <p:nvPr/>
        </p:nvSpPr>
        <p:spPr>
          <a:xfrm>
            <a:off x="0" y="6313119"/>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4621" name="Google Shape;4621;p5467"/>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622" name="Google Shape;4622;p5467"/>
          <p:cNvSpPr/>
          <p:nvPr/>
        </p:nvSpPr>
        <p:spPr>
          <a:xfrm>
            <a:off x="0" y="6301516"/>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4623" name="Google Shape;4623;p5467"/>
          <p:cNvSpPr txBox="1">
            <a:spLocks noGrp="1"/>
          </p:cNvSpPr>
          <p:nvPr>
            <p:ph type="title"/>
          </p:nvPr>
        </p:nvSpPr>
        <p:spPr>
          <a:xfrm>
            <a:off x="848991" y="806858"/>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24" name="Google Shape;4624;p5467"/>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a:latin typeface="Verdana"/>
                <a:ea typeface="Verdana"/>
                <a:cs typeface="Verdana"/>
                <a:sym typeface="Verdana"/>
              </a:defRPr>
            </a:lvl1pPr>
            <a:lvl2pPr marL="609630" lvl="1" indent="-270990" algn="l">
              <a:lnSpc>
                <a:spcPct val="100000"/>
              </a:lnSpc>
              <a:spcBef>
                <a:spcPts val="500"/>
              </a:spcBef>
              <a:spcAft>
                <a:spcPts val="0"/>
              </a:spcAft>
              <a:buSzPts val="2801"/>
              <a:buChar char="•"/>
              <a:defRPr sz="1867">
                <a:latin typeface="Verdana"/>
                <a:ea typeface="Verdana"/>
                <a:cs typeface="Verdana"/>
                <a:sym typeface="Verdana"/>
              </a:defRPr>
            </a:lvl2pPr>
            <a:lvl3pPr marL="914446" lvl="2" indent="-270989" algn="l">
              <a:lnSpc>
                <a:spcPct val="100000"/>
              </a:lnSpc>
              <a:spcBef>
                <a:spcPts val="1000"/>
              </a:spcBef>
              <a:spcAft>
                <a:spcPts val="0"/>
              </a:spcAft>
              <a:buSzPts val="2801"/>
              <a:buChar char="•"/>
              <a:defRPr sz="1867">
                <a:latin typeface="Verdana"/>
                <a:ea typeface="Verdana"/>
                <a:cs typeface="Verdana"/>
                <a:sym typeface="Verdana"/>
              </a:defRPr>
            </a:lvl3pPr>
            <a:lvl4pPr marL="1219261" lvl="3" indent="-270989" algn="l">
              <a:lnSpc>
                <a:spcPct val="100000"/>
              </a:lnSpc>
              <a:spcBef>
                <a:spcPts val="1000"/>
              </a:spcBef>
              <a:spcAft>
                <a:spcPts val="0"/>
              </a:spcAft>
              <a:buSzPts val="2801"/>
              <a:buChar char="•"/>
              <a:defRPr sz="1867">
                <a:latin typeface="Verdana"/>
                <a:ea typeface="Verdana"/>
                <a:cs typeface="Verdana"/>
                <a:sym typeface="Verdana"/>
              </a:defRPr>
            </a:lvl4pPr>
            <a:lvl5pPr marL="1524076" lvl="4" indent="-270990" algn="l">
              <a:lnSpc>
                <a:spcPct val="100000"/>
              </a:lnSpc>
              <a:spcBef>
                <a:spcPts val="1000"/>
              </a:spcBef>
              <a:spcAft>
                <a:spcPts val="0"/>
              </a:spcAft>
              <a:buSzPts val="2801"/>
              <a:buChar char="•"/>
              <a:defRPr sz="1867">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310177022"/>
      </p:ext>
    </p:extLst>
  </p:cSld>
  <p:clrMapOvr>
    <a:masterClrMapping/>
  </p:clrMapOvr>
</p:sldLayout>
</file>

<file path=ppt/slideLayouts/slideLayout1639.xml><?xml version="1.0" encoding="utf-8"?>
<p:sldLayout xmlns:a="http://schemas.openxmlformats.org/drawingml/2006/main" xmlns:r="http://schemas.openxmlformats.org/officeDocument/2006/relationships" xmlns:p="http://schemas.openxmlformats.org/presentationml/2006/main" matchingName="4_Two Section | Picture and Copy Layout">
  <p:cSld name="4_Two Section | Picture and Copy Layout">
    <p:spTree>
      <p:nvGrpSpPr>
        <p:cNvPr id="1" name="Shape 4625"/>
        <p:cNvGrpSpPr/>
        <p:nvPr/>
      </p:nvGrpSpPr>
      <p:grpSpPr>
        <a:xfrm>
          <a:off x="0" y="0"/>
          <a:ext cx="0" cy="0"/>
          <a:chOff x="0" y="0"/>
          <a:chExt cx="0" cy="0"/>
        </a:xfrm>
      </p:grpSpPr>
      <p:sp>
        <p:nvSpPr>
          <p:cNvPr id="4626" name="Google Shape;4626;p5468"/>
          <p:cNvSpPr/>
          <p:nvPr/>
        </p:nvSpPr>
        <p:spPr>
          <a:xfrm>
            <a:off x="0" y="6313119"/>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4627" name="Google Shape;4627;p5468"/>
          <p:cNvSpPr/>
          <p:nvPr/>
        </p:nvSpPr>
        <p:spPr>
          <a:xfrm>
            <a:off x="0" y="6301516"/>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4628" name="Google Shape;4628;p5468"/>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1800"/>
              <a:buNone/>
              <a:defRPr sz="1200" b="0" i="1">
                <a:solidFill>
                  <a:srgbClr val="003B5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629" name="Google Shape;4629;p5468"/>
          <p:cNvSpPr txBox="1">
            <a:spLocks noGrp="1"/>
          </p:cNvSpPr>
          <p:nvPr>
            <p:ph type="body" idx="2"/>
          </p:nvPr>
        </p:nvSpPr>
        <p:spPr>
          <a:xfrm>
            <a:off x="5549395" y="1997129"/>
            <a:ext cx="5466561" cy="3085413"/>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b="0">
                <a:solidFill>
                  <a:schemeClr val="dk1"/>
                </a:solidFill>
                <a:latin typeface="Verdana"/>
                <a:ea typeface="Verdana"/>
                <a:cs typeface="Verdana"/>
                <a:sym typeface="Verdana"/>
              </a:defRPr>
            </a:lvl1pPr>
            <a:lvl2pPr marL="609630" lvl="1" indent="-270990" algn="l">
              <a:lnSpc>
                <a:spcPct val="100000"/>
              </a:lnSpc>
              <a:spcBef>
                <a:spcPts val="500"/>
              </a:spcBef>
              <a:spcAft>
                <a:spcPts val="0"/>
              </a:spcAft>
              <a:buSzPts val="2801"/>
              <a:buChar char="•"/>
              <a:defRPr sz="1867" b="0">
                <a:solidFill>
                  <a:srgbClr val="003B5C"/>
                </a:solidFill>
                <a:latin typeface="Verdana"/>
                <a:ea typeface="Verdana"/>
                <a:cs typeface="Verdana"/>
                <a:sym typeface="Verdana"/>
              </a:defRPr>
            </a:lvl2pPr>
            <a:lvl3pPr marL="914446" lvl="2" indent="-270989"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3pPr>
            <a:lvl4pPr marL="1219261" lvl="3" indent="-270989"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4pPr>
            <a:lvl5pPr marL="1524076" lvl="4" indent="-270990"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630" name="Google Shape;4630;p5468"/>
          <p:cNvSpPr txBox="1">
            <a:spLocks noGrp="1"/>
          </p:cNvSpPr>
          <p:nvPr>
            <p:ph type="title"/>
          </p:nvPr>
        </p:nvSpPr>
        <p:spPr>
          <a:xfrm>
            <a:off x="5549395" y="1154528"/>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631" name="Google Shape;4631;p546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44141296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matchingName="Quotation">
  <p:cSld name="Quotation 15 2">
    <p:spTree>
      <p:nvGrpSpPr>
        <p:cNvPr id="1" name="Shape 10657"/>
        <p:cNvGrpSpPr/>
        <p:nvPr/>
      </p:nvGrpSpPr>
      <p:grpSpPr>
        <a:xfrm>
          <a:off x="0" y="0"/>
          <a:ext cx="0" cy="0"/>
          <a:chOff x="0" y="0"/>
          <a:chExt cx="0" cy="0"/>
        </a:xfrm>
      </p:grpSpPr>
      <p:sp>
        <p:nvSpPr>
          <p:cNvPr id="10658" name="Google Shape;10658;p146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659" name="Google Shape;10659;p146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660" name="Google Shape;10660;p146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61" name="Google Shape;10661;p14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662" name="Google Shape;10662;p14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63" name="Google Shape;10663;p14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664" name="Google Shape;10664;p1468"/>
          <p:cNvGrpSpPr/>
          <p:nvPr/>
        </p:nvGrpSpPr>
        <p:grpSpPr>
          <a:xfrm>
            <a:off x="7191542" y="1"/>
            <a:ext cx="5000459" cy="1425992"/>
            <a:chOff x="7191542" y="1"/>
            <a:chExt cx="5000459" cy="1425992"/>
          </a:xfrm>
        </p:grpSpPr>
        <p:pic>
          <p:nvPicPr>
            <p:cNvPr id="10665" name="Google Shape;10665;p14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66" name="Google Shape;10666;p1468"/>
            <p:cNvGrpSpPr/>
            <p:nvPr/>
          </p:nvGrpSpPr>
          <p:grpSpPr>
            <a:xfrm>
              <a:off x="7191542" y="1"/>
              <a:ext cx="5000459" cy="1425992"/>
              <a:chOff x="7186272" y="0"/>
              <a:chExt cx="5005729" cy="1427495"/>
            </a:xfrm>
          </p:grpSpPr>
          <p:sp>
            <p:nvSpPr>
              <p:cNvPr id="10667" name="Google Shape;10667;p14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668" name="Google Shape;10668;p14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669" name="Google Shape;10669;p146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640.xml><?xml version="1.0" encoding="utf-8"?>
<p:sldLayout xmlns:a="http://schemas.openxmlformats.org/drawingml/2006/main" xmlns:r="http://schemas.openxmlformats.org/officeDocument/2006/relationships" xmlns:p="http://schemas.openxmlformats.org/presentationml/2006/main" matchingName="12_Title Slide_Yale Blue">
  <p:cSld name="12_Title Slide_Yale Blue">
    <p:spTree>
      <p:nvGrpSpPr>
        <p:cNvPr id="1" name="Shape 4632"/>
        <p:cNvGrpSpPr/>
        <p:nvPr/>
      </p:nvGrpSpPr>
      <p:grpSpPr>
        <a:xfrm>
          <a:off x="0" y="0"/>
          <a:ext cx="0" cy="0"/>
          <a:chOff x="0" y="0"/>
          <a:chExt cx="0" cy="0"/>
        </a:xfrm>
      </p:grpSpPr>
      <p:sp>
        <p:nvSpPr>
          <p:cNvPr id="4633" name="Google Shape;4633;p5469"/>
          <p:cNvSpPr txBox="1">
            <a:spLocks noGrp="1"/>
          </p:cNvSpPr>
          <p:nvPr>
            <p:ph type="body" idx="1"/>
          </p:nvPr>
        </p:nvSpPr>
        <p:spPr>
          <a:xfrm>
            <a:off x="2826557" y="5400857"/>
            <a:ext cx="8178613" cy="348899"/>
          </a:xfrm>
          <a:prstGeom prst="rect">
            <a:avLst/>
          </a:prstGeom>
          <a:noFill/>
          <a:ln>
            <a:noFill/>
          </a:ln>
        </p:spPr>
        <p:txBody>
          <a:bodyPr spcFirstLastPara="1" wrap="square" lIns="91425" tIns="45700" rIns="91425" bIns="45700" anchor="t" anchorCtr="0">
            <a:spAutoFit/>
          </a:bodyPr>
          <a:lstStyle>
            <a:lvl1pPr marL="304815" lvl="0" indent="-152408" algn="r">
              <a:lnSpc>
                <a:spcPct val="100000"/>
              </a:lnSpc>
              <a:spcBef>
                <a:spcPts val="1000"/>
              </a:spcBef>
              <a:spcAft>
                <a:spcPts val="0"/>
              </a:spcAft>
              <a:buSzPts val="2801"/>
              <a:buNone/>
              <a:defRPr sz="1867">
                <a:solidFill>
                  <a:srgbClr val="616364"/>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634" name="Google Shape;4634;p5469"/>
          <p:cNvSpPr txBox="1">
            <a:spLocks noGrp="1"/>
          </p:cNvSpPr>
          <p:nvPr>
            <p:ph type="ctrTitle"/>
          </p:nvPr>
        </p:nvSpPr>
        <p:spPr>
          <a:xfrm>
            <a:off x="2826557"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8001"/>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35" name="Google Shape;4635;p5469"/>
          <p:cNvSpPr txBox="1">
            <a:spLocks noGrp="1"/>
          </p:cNvSpPr>
          <p:nvPr>
            <p:ph type="dt" idx="10"/>
          </p:nvPr>
        </p:nvSpPr>
        <p:spPr>
          <a:xfrm>
            <a:off x="0" y="0"/>
            <a:ext cx="2000000" cy="2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9pPr>
          </a:lstStyle>
          <a:p>
            <a:endParaRPr/>
          </a:p>
        </p:txBody>
      </p:sp>
      <p:sp>
        <p:nvSpPr>
          <p:cNvPr id="4636" name="Google Shape;4636;p546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37" name="Google Shape;4637;p546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4638" name="Google Shape;4638;p5469"/>
          <p:cNvSpPr/>
          <p:nvPr/>
        </p:nvSpPr>
        <p:spPr>
          <a:xfrm rot="10800000">
            <a:off x="1" y="2000250"/>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4639" name="Google Shape;4639;p5469"/>
          <p:cNvSpPr/>
          <p:nvPr/>
        </p:nvSpPr>
        <p:spPr>
          <a:xfrm>
            <a:off x="0" y="6115053"/>
            <a:ext cx="12192000" cy="742949"/>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4640" name="Google Shape;4640;p5469"/>
          <p:cNvSpPr txBox="1">
            <a:spLocks noGrp="1"/>
          </p:cNvSpPr>
          <p:nvPr>
            <p:ph type="body" idx="2"/>
          </p:nvPr>
        </p:nvSpPr>
        <p:spPr>
          <a:xfrm>
            <a:off x="2826557" y="3447401"/>
            <a:ext cx="8178613" cy="713317"/>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4800"/>
              <a:buNone/>
              <a:defRPr sz="3200" b="0" i="0">
                <a:solidFill>
                  <a:srgbClr val="00314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4641" name="Google Shape;4641;p5469"/>
          <p:cNvPicPr preferRelativeResize="0"/>
          <p:nvPr/>
        </p:nvPicPr>
        <p:blipFill rotWithShape="1">
          <a:blip r:embed="rId2">
            <a:alphaModFix/>
          </a:blip>
          <a:srcRect/>
          <a:stretch/>
        </p:blipFill>
        <p:spPr>
          <a:xfrm>
            <a:off x="2829836" y="4178331"/>
            <a:ext cx="4395959" cy="1140163"/>
          </a:xfrm>
          <a:prstGeom prst="rect">
            <a:avLst/>
          </a:prstGeom>
          <a:noFill/>
          <a:ln>
            <a:noFill/>
          </a:ln>
        </p:spPr>
      </p:pic>
    </p:spTree>
    <p:extLst>
      <p:ext uri="{BB962C8B-B14F-4D97-AF65-F5344CB8AC3E}">
        <p14:creationId xmlns:p14="http://schemas.microsoft.com/office/powerpoint/2010/main" val="2991203393"/>
      </p:ext>
    </p:extLst>
  </p:cSld>
  <p:clrMapOvr>
    <a:masterClrMapping/>
  </p:clrMapOvr>
</p:sldLayout>
</file>

<file path=ppt/slideLayouts/slideLayout1641.xml><?xml version="1.0" encoding="utf-8"?>
<p:sldLayout xmlns:a="http://schemas.openxmlformats.org/drawingml/2006/main" xmlns:r="http://schemas.openxmlformats.org/officeDocument/2006/relationships" xmlns:p="http://schemas.openxmlformats.org/presentationml/2006/main" matchingName="5_Title and Bullets Layout">
  <p:cSld name="5_Title and Bullets Layout">
    <p:spTree>
      <p:nvGrpSpPr>
        <p:cNvPr id="1" name="Shape 4642"/>
        <p:cNvGrpSpPr/>
        <p:nvPr/>
      </p:nvGrpSpPr>
      <p:grpSpPr>
        <a:xfrm>
          <a:off x="0" y="0"/>
          <a:ext cx="0" cy="0"/>
          <a:chOff x="0" y="0"/>
          <a:chExt cx="0" cy="0"/>
        </a:xfrm>
      </p:grpSpPr>
      <p:sp>
        <p:nvSpPr>
          <p:cNvPr id="4643" name="Google Shape;4643;p5470"/>
          <p:cNvSpPr txBox="1">
            <a:spLocks noGrp="1"/>
          </p:cNvSpPr>
          <p:nvPr>
            <p:ph type="title"/>
          </p:nvPr>
        </p:nvSpPr>
        <p:spPr>
          <a:xfrm>
            <a:off x="848992" y="783847"/>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44" name="Google Shape;4644;p5470"/>
          <p:cNvSpPr/>
          <p:nvPr/>
        </p:nvSpPr>
        <p:spPr>
          <a:xfrm>
            <a:off x="0" y="6313119"/>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4645" name="Google Shape;4645;p5470"/>
          <p:cNvSpPr/>
          <p:nvPr/>
        </p:nvSpPr>
        <p:spPr>
          <a:xfrm>
            <a:off x="0" y="6301516"/>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4646" name="Google Shape;4646;p5470"/>
          <p:cNvSpPr txBox="1">
            <a:spLocks noGrp="1"/>
          </p:cNvSpPr>
          <p:nvPr>
            <p:ph type="body" idx="1"/>
          </p:nvPr>
        </p:nvSpPr>
        <p:spPr>
          <a:xfrm>
            <a:off x="848786" y="1615018"/>
            <a:ext cx="10176933" cy="3812116"/>
          </a:xfrm>
          <a:prstGeom prst="rect">
            <a:avLst/>
          </a:prstGeom>
          <a:noFill/>
          <a:ln>
            <a:noFill/>
          </a:ln>
        </p:spPr>
        <p:txBody>
          <a:bodyPr spcFirstLastPara="1" wrap="square" lIns="91425" tIns="45700" rIns="91425" bIns="45700" anchor="t" anchorCtr="0">
            <a:noAutofit/>
          </a:bodyPr>
          <a:lstStyle>
            <a:lvl1pPr marL="304815" lvl="0" indent="-287881" algn="l">
              <a:lnSpc>
                <a:spcPct val="100000"/>
              </a:lnSpc>
              <a:spcBef>
                <a:spcPts val="1000"/>
              </a:spcBef>
              <a:spcAft>
                <a:spcPts val="0"/>
              </a:spcAft>
              <a:buSzPts val="3200"/>
              <a:buFont typeface="Arial"/>
              <a:buChar char="•"/>
              <a:defRPr sz="2133" b="0">
                <a:solidFill>
                  <a:schemeClr val="dk1"/>
                </a:solidFill>
                <a:latin typeface="Verdana"/>
                <a:ea typeface="Verdana"/>
                <a:cs typeface="Verdana"/>
                <a:sym typeface="Verdana"/>
              </a:defRPr>
            </a:lvl1pPr>
            <a:lvl2pPr marL="609630" lvl="1" indent="-287881" algn="l">
              <a:lnSpc>
                <a:spcPct val="100000"/>
              </a:lnSpc>
              <a:spcBef>
                <a:spcPts val="1000"/>
              </a:spcBef>
              <a:spcAft>
                <a:spcPts val="0"/>
              </a:spcAft>
              <a:buSzPts val="3200"/>
              <a:buChar char="•"/>
              <a:defRPr sz="2133">
                <a:latin typeface="Verdana"/>
                <a:ea typeface="Verdana"/>
                <a:cs typeface="Verdana"/>
                <a:sym typeface="Verdana"/>
              </a:defRPr>
            </a:lvl2pPr>
            <a:lvl3pPr marL="914446" lvl="2" indent="-287881" algn="l">
              <a:lnSpc>
                <a:spcPct val="100000"/>
              </a:lnSpc>
              <a:spcBef>
                <a:spcPts val="1000"/>
              </a:spcBef>
              <a:spcAft>
                <a:spcPts val="0"/>
              </a:spcAft>
              <a:buSzPts val="3200"/>
              <a:buChar char="•"/>
              <a:defRPr sz="2133">
                <a:latin typeface="Verdana"/>
                <a:ea typeface="Verdana"/>
                <a:cs typeface="Verdana"/>
                <a:sym typeface="Verdana"/>
              </a:defRPr>
            </a:lvl3pPr>
            <a:lvl4pPr marL="1219261" lvl="3" indent="-287881" algn="l">
              <a:lnSpc>
                <a:spcPct val="100000"/>
              </a:lnSpc>
              <a:spcBef>
                <a:spcPts val="1000"/>
              </a:spcBef>
              <a:spcAft>
                <a:spcPts val="0"/>
              </a:spcAft>
              <a:buSzPts val="3200"/>
              <a:buChar char="•"/>
              <a:defRPr sz="2133">
                <a:latin typeface="Verdana"/>
                <a:ea typeface="Verdana"/>
                <a:cs typeface="Verdana"/>
                <a:sym typeface="Verdana"/>
              </a:defRPr>
            </a:lvl4pPr>
            <a:lvl5pPr marL="1524076" lvl="4" indent="-287881" algn="l">
              <a:lnSpc>
                <a:spcPct val="100000"/>
              </a:lnSpc>
              <a:spcBef>
                <a:spcPts val="1000"/>
              </a:spcBef>
              <a:spcAft>
                <a:spcPts val="0"/>
              </a:spcAft>
              <a:buSzPts val="3200"/>
              <a:buChar char="•"/>
              <a:defRPr sz="2133">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4647" name="Google Shape;4647;p547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193346649"/>
      </p:ext>
    </p:extLst>
  </p:cSld>
  <p:clrMapOvr>
    <a:masterClrMapping/>
  </p:clrMapOvr>
</p:sldLayout>
</file>

<file path=ppt/slideLayouts/slideLayout1642.xml><?xml version="1.0" encoding="utf-8"?>
<p:sldLayout xmlns:a="http://schemas.openxmlformats.org/drawingml/2006/main" xmlns:r="http://schemas.openxmlformats.org/officeDocument/2006/relationships" xmlns:p="http://schemas.openxmlformats.org/presentationml/2006/main" matchingName="24_Title and Content">
  <p:cSld name="24_Title and Content">
    <p:spTree>
      <p:nvGrpSpPr>
        <p:cNvPr id="1" name="Shape 4648"/>
        <p:cNvGrpSpPr/>
        <p:nvPr/>
      </p:nvGrpSpPr>
      <p:grpSpPr>
        <a:xfrm>
          <a:off x="0" y="0"/>
          <a:ext cx="0" cy="0"/>
          <a:chOff x="0" y="0"/>
          <a:chExt cx="0" cy="0"/>
        </a:xfrm>
      </p:grpSpPr>
      <p:sp>
        <p:nvSpPr>
          <p:cNvPr id="4649" name="Google Shape;4649;p5471"/>
          <p:cNvSpPr/>
          <p:nvPr/>
        </p:nvSpPr>
        <p:spPr>
          <a:xfrm>
            <a:off x="0" y="6313119"/>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4650" name="Google Shape;4650;p5471"/>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651" name="Google Shape;4651;p5471"/>
          <p:cNvSpPr/>
          <p:nvPr/>
        </p:nvSpPr>
        <p:spPr>
          <a:xfrm>
            <a:off x="0" y="6301516"/>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4652" name="Google Shape;4652;p5471"/>
          <p:cNvSpPr txBox="1">
            <a:spLocks noGrp="1"/>
          </p:cNvSpPr>
          <p:nvPr>
            <p:ph type="title"/>
          </p:nvPr>
        </p:nvSpPr>
        <p:spPr>
          <a:xfrm>
            <a:off x="848991" y="806858"/>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53" name="Google Shape;4653;p5471"/>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a:latin typeface="Verdana"/>
                <a:ea typeface="Verdana"/>
                <a:cs typeface="Verdana"/>
                <a:sym typeface="Verdana"/>
              </a:defRPr>
            </a:lvl1pPr>
            <a:lvl2pPr marL="609630" lvl="1" indent="-270990" algn="l">
              <a:lnSpc>
                <a:spcPct val="100000"/>
              </a:lnSpc>
              <a:spcBef>
                <a:spcPts val="500"/>
              </a:spcBef>
              <a:spcAft>
                <a:spcPts val="0"/>
              </a:spcAft>
              <a:buSzPts val="2801"/>
              <a:buChar char="•"/>
              <a:defRPr sz="1867">
                <a:latin typeface="Verdana"/>
                <a:ea typeface="Verdana"/>
                <a:cs typeface="Verdana"/>
                <a:sym typeface="Verdana"/>
              </a:defRPr>
            </a:lvl2pPr>
            <a:lvl3pPr marL="914446" lvl="2" indent="-270989" algn="l">
              <a:lnSpc>
                <a:spcPct val="100000"/>
              </a:lnSpc>
              <a:spcBef>
                <a:spcPts val="1000"/>
              </a:spcBef>
              <a:spcAft>
                <a:spcPts val="0"/>
              </a:spcAft>
              <a:buSzPts val="2801"/>
              <a:buChar char="•"/>
              <a:defRPr sz="1867">
                <a:latin typeface="Verdana"/>
                <a:ea typeface="Verdana"/>
                <a:cs typeface="Verdana"/>
                <a:sym typeface="Verdana"/>
              </a:defRPr>
            </a:lvl3pPr>
            <a:lvl4pPr marL="1219261" lvl="3" indent="-270989" algn="l">
              <a:lnSpc>
                <a:spcPct val="100000"/>
              </a:lnSpc>
              <a:spcBef>
                <a:spcPts val="1000"/>
              </a:spcBef>
              <a:spcAft>
                <a:spcPts val="0"/>
              </a:spcAft>
              <a:buSzPts val="2801"/>
              <a:buChar char="•"/>
              <a:defRPr sz="1867">
                <a:latin typeface="Verdana"/>
                <a:ea typeface="Verdana"/>
                <a:cs typeface="Verdana"/>
                <a:sym typeface="Verdana"/>
              </a:defRPr>
            </a:lvl4pPr>
            <a:lvl5pPr marL="1524076" lvl="4" indent="-270990" algn="l">
              <a:lnSpc>
                <a:spcPct val="100000"/>
              </a:lnSpc>
              <a:spcBef>
                <a:spcPts val="1000"/>
              </a:spcBef>
              <a:spcAft>
                <a:spcPts val="0"/>
              </a:spcAft>
              <a:buSzPts val="2801"/>
              <a:buChar char="•"/>
              <a:defRPr sz="1867">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153560278"/>
      </p:ext>
    </p:extLst>
  </p:cSld>
  <p:clrMapOvr>
    <a:masterClrMapping/>
  </p:clrMapOvr>
</p:sldLayout>
</file>

<file path=ppt/slideLayouts/slideLayout1643.xml><?xml version="1.0" encoding="utf-8"?>
<p:sldLayout xmlns:a="http://schemas.openxmlformats.org/drawingml/2006/main" xmlns:r="http://schemas.openxmlformats.org/officeDocument/2006/relationships" xmlns:p="http://schemas.openxmlformats.org/presentationml/2006/main" matchingName="5_Two Section | Picture and Copy Layout">
  <p:cSld name="5_Two Section | Picture and Copy Layout">
    <p:spTree>
      <p:nvGrpSpPr>
        <p:cNvPr id="1" name="Shape 4654"/>
        <p:cNvGrpSpPr/>
        <p:nvPr/>
      </p:nvGrpSpPr>
      <p:grpSpPr>
        <a:xfrm>
          <a:off x="0" y="0"/>
          <a:ext cx="0" cy="0"/>
          <a:chOff x="0" y="0"/>
          <a:chExt cx="0" cy="0"/>
        </a:xfrm>
      </p:grpSpPr>
      <p:sp>
        <p:nvSpPr>
          <p:cNvPr id="4655" name="Google Shape;4655;p5472"/>
          <p:cNvSpPr/>
          <p:nvPr/>
        </p:nvSpPr>
        <p:spPr>
          <a:xfrm>
            <a:off x="0" y="6313119"/>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4656" name="Google Shape;4656;p5472"/>
          <p:cNvSpPr/>
          <p:nvPr/>
        </p:nvSpPr>
        <p:spPr>
          <a:xfrm>
            <a:off x="0" y="6301516"/>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4657" name="Google Shape;4657;p5472"/>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1800"/>
              <a:buNone/>
              <a:defRPr sz="1200" b="0" i="1">
                <a:solidFill>
                  <a:srgbClr val="003B5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658" name="Google Shape;4658;p5472"/>
          <p:cNvSpPr txBox="1">
            <a:spLocks noGrp="1"/>
          </p:cNvSpPr>
          <p:nvPr>
            <p:ph type="body" idx="2"/>
          </p:nvPr>
        </p:nvSpPr>
        <p:spPr>
          <a:xfrm>
            <a:off x="5549395" y="1997129"/>
            <a:ext cx="5466561" cy="3085413"/>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b="0">
                <a:solidFill>
                  <a:schemeClr val="dk1"/>
                </a:solidFill>
                <a:latin typeface="Verdana"/>
                <a:ea typeface="Verdana"/>
                <a:cs typeface="Verdana"/>
                <a:sym typeface="Verdana"/>
              </a:defRPr>
            </a:lvl1pPr>
            <a:lvl2pPr marL="609630" lvl="1" indent="-270990" algn="l">
              <a:lnSpc>
                <a:spcPct val="100000"/>
              </a:lnSpc>
              <a:spcBef>
                <a:spcPts val="500"/>
              </a:spcBef>
              <a:spcAft>
                <a:spcPts val="0"/>
              </a:spcAft>
              <a:buSzPts val="2801"/>
              <a:buChar char="•"/>
              <a:defRPr sz="1867" b="0">
                <a:solidFill>
                  <a:srgbClr val="003B5C"/>
                </a:solidFill>
                <a:latin typeface="Verdana"/>
                <a:ea typeface="Verdana"/>
                <a:cs typeface="Verdana"/>
                <a:sym typeface="Verdana"/>
              </a:defRPr>
            </a:lvl2pPr>
            <a:lvl3pPr marL="914446" lvl="2" indent="-270989"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3pPr>
            <a:lvl4pPr marL="1219261" lvl="3" indent="-270989"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4pPr>
            <a:lvl5pPr marL="1524076" lvl="4" indent="-270990"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659" name="Google Shape;4659;p5472"/>
          <p:cNvSpPr txBox="1">
            <a:spLocks noGrp="1"/>
          </p:cNvSpPr>
          <p:nvPr>
            <p:ph type="title"/>
          </p:nvPr>
        </p:nvSpPr>
        <p:spPr>
          <a:xfrm>
            <a:off x="5549395" y="1154528"/>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660" name="Google Shape;4660;p547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368305390"/>
      </p:ext>
    </p:extLst>
  </p:cSld>
  <p:clrMapOvr>
    <a:masterClrMapping/>
  </p:clrMapOvr>
</p:sldLayout>
</file>

<file path=ppt/slideLayouts/slideLayout1644.xml><?xml version="1.0" encoding="utf-8"?>
<p:sldLayout xmlns:a="http://schemas.openxmlformats.org/drawingml/2006/main" xmlns:r="http://schemas.openxmlformats.org/officeDocument/2006/relationships" xmlns:p="http://schemas.openxmlformats.org/presentationml/2006/main" matchingName="7_Title and Bullets Layout">
  <p:cSld name="7_Title and Bullets Layout">
    <p:spTree>
      <p:nvGrpSpPr>
        <p:cNvPr id="1" name="Shape 4661"/>
        <p:cNvGrpSpPr/>
        <p:nvPr/>
      </p:nvGrpSpPr>
      <p:grpSpPr>
        <a:xfrm>
          <a:off x="0" y="0"/>
          <a:ext cx="0" cy="0"/>
          <a:chOff x="0" y="0"/>
          <a:chExt cx="0" cy="0"/>
        </a:xfrm>
      </p:grpSpPr>
      <p:sp>
        <p:nvSpPr>
          <p:cNvPr id="4662" name="Google Shape;4662;p5473"/>
          <p:cNvSpPr txBox="1">
            <a:spLocks noGrp="1"/>
          </p:cNvSpPr>
          <p:nvPr>
            <p:ph type="title"/>
          </p:nvPr>
        </p:nvSpPr>
        <p:spPr>
          <a:xfrm>
            <a:off x="848992" y="783847"/>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63" name="Google Shape;4663;p5473"/>
          <p:cNvSpPr/>
          <p:nvPr/>
        </p:nvSpPr>
        <p:spPr>
          <a:xfrm>
            <a:off x="0" y="6313119"/>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4664" name="Google Shape;4664;p5473"/>
          <p:cNvSpPr/>
          <p:nvPr/>
        </p:nvSpPr>
        <p:spPr>
          <a:xfrm>
            <a:off x="0" y="6301516"/>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4665" name="Google Shape;4665;p5473"/>
          <p:cNvSpPr txBox="1">
            <a:spLocks noGrp="1"/>
          </p:cNvSpPr>
          <p:nvPr>
            <p:ph type="body" idx="1"/>
          </p:nvPr>
        </p:nvSpPr>
        <p:spPr>
          <a:xfrm>
            <a:off x="848786" y="1615018"/>
            <a:ext cx="10176933" cy="3812116"/>
          </a:xfrm>
          <a:prstGeom prst="rect">
            <a:avLst/>
          </a:prstGeom>
          <a:noFill/>
          <a:ln>
            <a:noFill/>
          </a:ln>
        </p:spPr>
        <p:txBody>
          <a:bodyPr spcFirstLastPara="1" wrap="square" lIns="91425" tIns="45700" rIns="91425" bIns="45700" anchor="t" anchorCtr="0">
            <a:noAutofit/>
          </a:bodyPr>
          <a:lstStyle>
            <a:lvl1pPr marL="304815" lvl="0" indent="-287881" algn="l">
              <a:lnSpc>
                <a:spcPct val="100000"/>
              </a:lnSpc>
              <a:spcBef>
                <a:spcPts val="1000"/>
              </a:spcBef>
              <a:spcAft>
                <a:spcPts val="0"/>
              </a:spcAft>
              <a:buSzPts val="3200"/>
              <a:buFont typeface="Arial"/>
              <a:buChar char="•"/>
              <a:defRPr sz="2133" b="0">
                <a:solidFill>
                  <a:schemeClr val="dk1"/>
                </a:solidFill>
                <a:latin typeface="Verdana"/>
                <a:ea typeface="Verdana"/>
                <a:cs typeface="Verdana"/>
                <a:sym typeface="Verdana"/>
              </a:defRPr>
            </a:lvl1pPr>
            <a:lvl2pPr marL="609630" lvl="1" indent="-287881" algn="l">
              <a:lnSpc>
                <a:spcPct val="100000"/>
              </a:lnSpc>
              <a:spcBef>
                <a:spcPts val="1000"/>
              </a:spcBef>
              <a:spcAft>
                <a:spcPts val="0"/>
              </a:spcAft>
              <a:buSzPts val="3200"/>
              <a:buChar char="•"/>
              <a:defRPr sz="2133">
                <a:latin typeface="Verdana"/>
                <a:ea typeface="Verdana"/>
                <a:cs typeface="Verdana"/>
                <a:sym typeface="Verdana"/>
              </a:defRPr>
            </a:lvl2pPr>
            <a:lvl3pPr marL="914446" lvl="2" indent="-287881" algn="l">
              <a:lnSpc>
                <a:spcPct val="100000"/>
              </a:lnSpc>
              <a:spcBef>
                <a:spcPts val="1000"/>
              </a:spcBef>
              <a:spcAft>
                <a:spcPts val="0"/>
              </a:spcAft>
              <a:buSzPts val="3200"/>
              <a:buChar char="•"/>
              <a:defRPr sz="2133">
                <a:latin typeface="Verdana"/>
                <a:ea typeface="Verdana"/>
                <a:cs typeface="Verdana"/>
                <a:sym typeface="Verdana"/>
              </a:defRPr>
            </a:lvl3pPr>
            <a:lvl4pPr marL="1219261" lvl="3" indent="-287881" algn="l">
              <a:lnSpc>
                <a:spcPct val="100000"/>
              </a:lnSpc>
              <a:spcBef>
                <a:spcPts val="1000"/>
              </a:spcBef>
              <a:spcAft>
                <a:spcPts val="0"/>
              </a:spcAft>
              <a:buSzPts val="3200"/>
              <a:buChar char="•"/>
              <a:defRPr sz="2133">
                <a:latin typeface="Verdana"/>
                <a:ea typeface="Verdana"/>
                <a:cs typeface="Verdana"/>
                <a:sym typeface="Verdana"/>
              </a:defRPr>
            </a:lvl4pPr>
            <a:lvl5pPr marL="1524076" lvl="4" indent="-287881" algn="l">
              <a:lnSpc>
                <a:spcPct val="100000"/>
              </a:lnSpc>
              <a:spcBef>
                <a:spcPts val="1000"/>
              </a:spcBef>
              <a:spcAft>
                <a:spcPts val="0"/>
              </a:spcAft>
              <a:buSzPts val="3200"/>
              <a:buChar char="•"/>
              <a:defRPr sz="2133">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4666" name="Google Shape;4666;p547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707135846"/>
      </p:ext>
    </p:extLst>
  </p:cSld>
  <p:clrMapOvr>
    <a:masterClrMapping/>
  </p:clrMapOvr>
</p:sldLayout>
</file>

<file path=ppt/slideLayouts/slideLayout1645.xml><?xml version="1.0" encoding="utf-8"?>
<p:sldLayout xmlns:a="http://schemas.openxmlformats.org/drawingml/2006/main" xmlns:r="http://schemas.openxmlformats.org/officeDocument/2006/relationships" xmlns:p="http://schemas.openxmlformats.org/presentationml/2006/main" matchingName="7_Two Section | Picture and Copy Layout">
  <p:cSld name="7_Two Section | Picture and Copy Layout">
    <p:spTree>
      <p:nvGrpSpPr>
        <p:cNvPr id="1" name="Shape 4667"/>
        <p:cNvGrpSpPr/>
        <p:nvPr/>
      </p:nvGrpSpPr>
      <p:grpSpPr>
        <a:xfrm>
          <a:off x="0" y="0"/>
          <a:ext cx="0" cy="0"/>
          <a:chOff x="0" y="0"/>
          <a:chExt cx="0" cy="0"/>
        </a:xfrm>
      </p:grpSpPr>
      <p:sp>
        <p:nvSpPr>
          <p:cNvPr id="4668" name="Google Shape;4668;p5474"/>
          <p:cNvSpPr/>
          <p:nvPr/>
        </p:nvSpPr>
        <p:spPr>
          <a:xfrm>
            <a:off x="0" y="6313119"/>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4669" name="Google Shape;4669;p5474"/>
          <p:cNvSpPr/>
          <p:nvPr/>
        </p:nvSpPr>
        <p:spPr>
          <a:xfrm>
            <a:off x="0" y="6301516"/>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4670" name="Google Shape;4670;p5474"/>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1800"/>
              <a:buNone/>
              <a:defRPr sz="1200" b="0" i="1">
                <a:solidFill>
                  <a:srgbClr val="003B5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671" name="Google Shape;4671;p5474"/>
          <p:cNvSpPr txBox="1">
            <a:spLocks noGrp="1"/>
          </p:cNvSpPr>
          <p:nvPr>
            <p:ph type="body" idx="2"/>
          </p:nvPr>
        </p:nvSpPr>
        <p:spPr>
          <a:xfrm>
            <a:off x="5549395" y="1997129"/>
            <a:ext cx="5466561" cy="3085413"/>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b="0">
                <a:solidFill>
                  <a:schemeClr val="dk1"/>
                </a:solidFill>
                <a:latin typeface="Verdana"/>
                <a:ea typeface="Verdana"/>
                <a:cs typeface="Verdana"/>
                <a:sym typeface="Verdana"/>
              </a:defRPr>
            </a:lvl1pPr>
            <a:lvl2pPr marL="609630" lvl="1" indent="-270990" algn="l">
              <a:lnSpc>
                <a:spcPct val="100000"/>
              </a:lnSpc>
              <a:spcBef>
                <a:spcPts val="500"/>
              </a:spcBef>
              <a:spcAft>
                <a:spcPts val="0"/>
              </a:spcAft>
              <a:buSzPts val="2801"/>
              <a:buChar char="•"/>
              <a:defRPr sz="1867" b="0">
                <a:solidFill>
                  <a:srgbClr val="003B5C"/>
                </a:solidFill>
                <a:latin typeface="Verdana"/>
                <a:ea typeface="Verdana"/>
                <a:cs typeface="Verdana"/>
                <a:sym typeface="Verdana"/>
              </a:defRPr>
            </a:lvl2pPr>
            <a:lvl3pPr marL="914446" lvl="2" indent="-270989"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3pPr>
            <a:lvl4pPr marL="1219261" lvl="3" indent="-270989"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4pPr>
            <a:lvl5pPr marL="1524076" lvl="4" indent="-270990"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672" name="Google Shape;4672;p5474"/>
          <p:cNvSpPr txBox="1">
            <a:spLocks noGrp="1"/>
          </p:cNvSpPr>
          <p:nvPr>
            <p:ph type="title"/>
          </p:nvPr>
        </p:nvSpPr>
        <p:spPr>
          <a:xfrm>
            <a:off x="5549395" y="1154528"/>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673" name="Google Shape;4673;p547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582117647"/>
      </p:ext>
    </p:extLst>
  </p:cSld>
  <p:clrMapOvr>
    <a:masterClrMapping/>
  </p:clrMapOvr>
</p:sldLayout>
</file>

<file path=ppt/slideLayouts/slideLayout1646.xml><?xml version="1.0" encoding="utf-8"?>
<p:sldLayout xmlns:a="http://schemas.openxmlformats.org/drawingml/2006/main" xmlns:r="http://schemas.openxmlformats.org/officeDocument/2006/relationships" xmlns:p="http://schemas.openxmlformats.org/presentationml/2006/main" matchingName="8_Title and Bullets Layout">
  <p:cSld name="8_Title and Bullets Layout">
    <p:spTree>
      <p:nvGrpSpPr>
        <p:cNvPr id="1" name="Shape 4674"/>
        <p:cNvGrpSpPr/>
        <p:nvPr/>
      </p:nvGrpSpPr>
      <p:grpSpPr>
        <a:xfrm>
          <a:off x="0" y="0"/>
          <a:ext cx="0" cy="0"/>
          <a:chOff x="0" y="0"/>
          <a:chExt cx="0" cy="0"/>
        </a:xfrm>
      </p:grpSpPr>
      <p:sp>
        <p:nvSpPr>
          <p:cNvPr id="4675" name="Google Shape;4675;p5475"/>
          <p:cNvSpPr txBox="1">
            <a:spLocks noGrp="1"/>
          </p:cNvSpPr>
          <p:nvPr>
            <p:ph type="title"/>
          </p:nvPr>
        </p:nvSpPr>
        <p:spPr>
          <a:xfrm>
            <a:off x="848992" y="783847"/>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76" name="Google Shape;4676;p5475"/>
          <p:cNvSpPr/>
          <p:nvPr/>
        </p:nvSpPr>
        <p:spPr>
          <a:xfrm>
            <a:off x="0" y="6313119"/>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4677" name="Google Shape;4677;p5475"/>
          <p:cNvSpPr/>
          <p:nvPr/>
        </p:nvSpPr>
        <p:spPr>
          <a:xfrm>
            <a:off x="0" y="6301516"/>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4678" name="Google Shape;4678;p5475"/>
          <p:cNvSpPr txBox="1">
            <a:spLocks noGrp="1"/>
          </p:cNvSpPr>
          <p:nvPr>
            <p:ph type="body" idx="1"/>
          </p:nvPr>
        </p:nvSpPr>
        <p:spPr>
          <a:xfrm>
            <a:off x="848786" y="1615018"/>
            <a:ext cx="10176933" cy="3812116"/>
          </a:xfrm>
          <a:prstGeom prst="rect">
            <a:avLst/>
          </a:prstGeom>
          <a:noFill/>
          <a:ln>
            <a:noFill/>
          </a:ln>
        </p:spPr>
        <p:txBody>
          <a:bodyPr spcFirstLastPara="1" wrap="square" lIns="91425" tIns="45700" rIns="91425" bIns="45700" anchor="t" anchorCtr="0">
            <a:noAutofit/>
          </a:bodyPr>
          <a:lstStyle>
            <a:lvl1pPr marL="304815" lvl="0" indent="-287881" algn="l">
              <a:lnSpc>
                <a:spcPct val="100000"/>
              </a:lnSpc>
              <a:spcBef>
                <a:spcPts val="1000"/>
              </a:spcBef>
              <a:spcAft>
                <a:spcPts val="0"/>
              </a:spcAft>
              <a:buSzPts val="3200"/>
              <a:buFont typeface="Arial"/>
              <a:buChar char="•"/>
              <a:defRPr sz="2133" b="0">
                <a:solidFill>
                  <a:schemeClr val="dk1"/>
                </a:solidFill>
                <a:latin typeface="Verdana"/>
                <a:ea typeface="Verdana"/>
                <a:cs typeface="Verdana"/>
                <a:sym typeface="Verdana"/>
              </a:defRPr>
            </a:lvl1pPr>
            <a:lvl2pPr marL="609630" lvl="1" indent="-287881" algn="l">
              <a:lnSpc>
                <a:spcPct val="100000"/>
              </a:lnSpc>
              <a:spcBef>
                <a:spcPts val="1000"/>
              </a:spcBef>
              <a:spcAft>
                <a:spcPts val="0"/>
              </a:spcAft>
              <a:buSzPts val="3200"/>
              <a:buChar char="•"/>
              <a:defRPr sz="2133">
                <a:latin typeface="Verdana"/>
                <a:ea typeface="Verdana"/>
                <a:cs typeface="Verdana"/>
                <a:sym typeface="Verdana"/>
              </a:defRPr>
            </a:lvl2pPr>
            <a:lvl3pPr marL="914446" lvl="2" indent="-287881" algn="l">
              <a:lnSpc>
                <a:spcPct val="100000"/>
              </a:lnSpc>
              <a:spcBef>
                <a:spcPts val="1000"/>
              </a:spcBef>
              <a:spcAft>
                <a:spcPts val="0"/>
              </a:spcAft>
              <a:buSzPts val="3200"/>
              <a:buChar char="•"/>
              <a:defRPr sz="2133">
                <a:latin typeface="Verdana"/>
                <a:ea typeface="Verdana"/>
                <a:cs typeface="Verdana"/>
                <a:sym typeface="Verdana"/>
              </a:defRPr>
            </a:lvl3pPr>
            <a:lvl4pPr marL="1219261" lvl="3" indent="-287881" algn="l">
              <a:lnSpc>
                <a:spcPct val="100000"/>
              </a:lnSpc>
              <a:spcBef>
                <a:spcPts val="1000"/>
              </a:spcBef>
              <a:spcAft>
                <a:spcPts val="0"/>
              </a:spcAft>
              <a:buSzPts val="3200"/>
              <a:buChar char="•"/>
              <a:defRPr sz="2133">
                <a:latin typeface="Verdana"/>
                <a:ea typeface="Verdana"/>
                <a:cs typeface="Verdana"/>
                <a:sym typeface="Verdana"/>
              </a:defRPr>
            </a:lvl4pPr>
            <a:lvl5pPr marL="1524076" lvl="4" indent="-287881" algn="l">
              <a:lnSpc>
                <a:spcPct val="100000"/>
              </a:lnSpc>
              <a:spcBef>
                <a:spcPts val="1000"/>
              </a:spcBef>
              <a:spcAft>
                <a:spcPts val="0"/>
              </a:spcAft>
              <a:buSzPts val="3200"/>
              <a:buChar char="•"/>
              <a:defRPr sz="2133">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4679" name="Google Shape;4679;p547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902387190"/>
      </p:ext>
    </p:extLst>
  </p:cSld>
  <p:clrMapOvr>
    <a:masterClrMapping/>
  </p:clrMapOvr>
</p:sldLayout>
</file>

<file path=ppt/slideLayouts/slideLayout1647.xml><?xml version="1.0" encoding="utf-8"?>
<p:sldLayout xmlns:a="http://schemas.openxmlformats.org/drawingml/2006/main" xmlns:r="http://schemas.openxmlformats.org/officeDocument/2006/relationships" xmlns:p="http://schemas.openxmlformats.org/presentationml/2006/main" matchingName="26_Title and Content">
  <p:cSld name="26_Title and Content">
    <p:spTree>
      <p:nvGrpSpPr>
        <p:cNvPr id="1" name="Shape 4680"/>
        <p:cNvGrpSpPr/>
        <p:nvPr/>
      </p:nvGrpSpPr>
      <p:grpSpPr>
        <a:xfrm>
          <a:off x="0" y="0"/>
          <a:ext cx="0" cy="0"/>
          <a:chOff x="0" y="0"/>
          <a:chExt cx="0" cy="0"/>
        </a:xfrm>
      </p:grpSpPr>
      <p:sp>
        <p:nvSpPr>
          <p:cNvPr id="4681" name="Google Shape;4681;p5476"/>
          <p:cNvSpPr/>
          <p:nvPr/>
        </p:nvSpPr>
        <p:spPr>
          <a:xfrm>
            <a:off x="0" y="6313119"/>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4682" name="Google Shape;4682;p547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683" name="Google Shape;4683;p5476"/>
          <p:cNvSpPr/>
          <p:nvPr/>
        </p:nvSpPr>
        <p:spPr>
          <a:xfrm>
            <a:off x="0" y="6301516"/>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4684" name="Google Shape;4684;p5476"/>
          <p:cNvSpPr txBox="1">
            <a:spLocks noGrp="1"/>
          </p:cNvSpPr>
          <p:nvPr>
            <p:ph type="title"/>
          </p:nvPr>
        </p:nvSpPr>
        <p:spPr>
          <a:xfrm>
            <a:off x="848991" y="806858"/>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85" name="Google Shape;4685;p5476"/>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a:latin typeface="Verdana"/>
                <a:ea typeface="Verdana"/>
                <a:cs typeface="Verdana"/>
                <a:sym typeface="Verdana"/>
              </a:defRPr>
            </a:lvl1pPr>
            <a:lvl2pPr marL="609630" lvl="1" indent="-270990" algn="l">
              <a:lnSpc>
                <a:spcPct val="100000"/>
              </a:lnSpc>
              <a:spcBef>
                <a:spcPts val="500"/>
              </a:spcBef>
              <a:spcAft>
                <a:spcPts val="0"/>
              </a:spcAft>
              <a:buSzPts val="2801"/>
              <a:buChar char="•"/>
              <a:defRPr sz="1867">
                <a:latin typeface="Verdana"/>
                <a:ea typeface="Verdana"/>
                <a:cs typeface="Verdana"/>
                <a:sym typeface="Verdana"/>
              </a:defRPr>
            </a:lvl2pPr>
            <a:lvl3pPr marL="914446" lvl="2" indent="-270989" algn="l">
              <a:lnSpc>
                <a:spcPct val="100000"/>
              </a:lnSpc>
              <a:spcBef>
                <a:spcPts val="1000"/>
              </a:spcBef>
              <a:spcAft>
                <a:spcPts val="0"/>
              </a:spcAft>
              <a:buSzPts val="2801"/>
              <a:buChar char="•"/>
              <a:defRPr sz="1867">
                <a:latin typeface="Verdana"/>
                <a:ea typeface="Verdana"/>
                <a:cs typeface="Verdana"/>
                <a:sym typeface="Verdana"/>
              </a:defRPr>
            </a:lvl3pPr>
            <a:lvl4pPr marL="1219261" lvl="3" indent="-270989" algn="l">
              <a:lnSpc>
                <a:spcPct val="100000"/>
              </a:lnSpc>
              <a:spcBef>
                <a:spcPts val="1000"/>
              </a:spcBef>
              <a:spcAft>
                <a:spcPts val="0"/>
              </a:spcAft>
              <a:buSzPts val="2801"/>
              <a:buChar char="•"/>
              <a:defRPr sz="1867">
                <a:latin typeface="Verdana"/>
                <a:ea typeface="Verdana"/>
                <a:cs typeface="Verdana"/>
                <a:sym typeface="Verdana"/>
              </a:defRPr>
            </a:lvl4pPr>
            <a:lvl5pPr marL="1524076" lvl="4" indent="-270990" algn="l">
              <a:lnSpc>
                <a:spcPct val="100000"/>
              </a:lnSpc>
              <a:spcBef>
                <a:spcPts val="1000"/>
              </a:spcBef>
              <a:spcAft>
                <a:spcPts val="0"/>
              </a:spcAft>
              <a:buSzPts val="2801"/>
              <a:buChar char="•"/>
              <a:defRPr sz="1867">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417118179"/>
      </p:ext>
    </p:extLst>
  </p:cSld>
  <p:clrMapOvr>
    <a:masterClrMapping/>
  </p:clrMapOvr>
</p:sldLayout>
</file>

<file path=ppt/slideLayouts/slideLayout1648.xml><?xml version="1.0" encoding="utf-8"?>
<p:sldLayout xmlns:a="http://schemas.openxmlformats.org/drawingml/2006/main" xmlns:r="http://schemas.openxmlformats.org/officeDocument/2006/relationships" xmlns:p="http://schemas.openxmlformats.org/presentationml/2006/main" matchingName="8_Two Section | Picture and Copy Layout">
  <p:cSld name="8_Two Section | Picture and Copy Layout">
    <p:spTree>
      <p:nvGrpSpPr>
        <p:cNvPr id="1" name="Shape 4686"/>
        <p:cNvGrpSpPr/>
        <p:nvPr/>
      </p:nvGrpSpPr>
      <p:grpSpPr>
        <a:xfrm>
          <a:off x="0" y="0"/>
          <a:ext cx="0" cy="0"/>
          <a:chOff x="0" y="0"/>
          <a:chExt cx="0" cy="0"/>
        </a:xfrm>
      </p:grpSpPr>
      <p:sp>
        <p:nvSpPr>
          <p:cNvPr id="4687" name="Google Shape;4687;p5477"/>
          <p:cNvSpPr/>
          <p:nvPr/>
        </p:nvSpPr>
        <p:spPr>
          <a:xfrm>
            <a:off x="0" y="6313119"/>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4688" name="Google Shape;4688;p5477"/>
          <p:cNvSpPr/>
          <p:nvPr/>
        </p:nvSpPr>
        <p:spPr>
          <a:xfrm>
            <a:off x="0" y="6301516"/>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4689" name="Google Shape;4689;p5477"/>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1800"/>
              <a:buNone/>
              <a:defRPr sz="1200" b="0" i="1">
                <a:solidFill>
                  <a:srgbClr val="003B5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690" name="Google Shape;4690;p5477"/>
          <p:cNvSpPr txBox="1">
            <a:spLocks noGrp="1"/>
          </p:cNvSpPr>
          <p:nvPr>
            <p:ph type="body" idx="2"/>
          </p:nvPr>
        </p:nvSpPr>
        <p:spPr>
          <a:xfrm>
            <a:off x="5549395" y="1997129"/>
            <a:ext cx="5466561" cy="3085413"/>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b="0">
                <a:solidFill>
                  <a:schemeClr val="dk1"/>
                </a:solidFill>
                <a:latin typeface="Verdana"/>
                <a:ea typeface="Verdana"/>
                <a:cs typeface="Verdana"/>
                <a:sym typeface="Verdana"/>
              </a:defRPr>
            </a:lvl1pPr>
            <a:lvl2pPr marL="609630" lvl="1" indent="-270990" algn="l">
              <a:lnSpc>
                <a:spcPct val="100000"/>
              </a:lnSpc>
              <a:spcBef>
                <a:spcPts val="500"/>
              </a:spcBef>
              <a:spcAft>
                <a:spcPts val="0"/>
              </a:spcAft>
              <a:buSzPts val="2801"/>
              <a:buChar char="•"/>
              <a:defRPr sz="1867" b="0">
                <a:solidFill>
                  <a:srgbClr val="003B5C"/>
                </a:solidFill>
                <a:latin typeface="Verdana"/>
                <a:ea typeface="Verdana"/>
                <a:cs typeface="Verdana"/>
                <a:sym typeface="Verdana"/>
              </a:defRPr>
            </a:lvl2pPr>
            <a:lvl3pPr marL="914446" lvl="2" indent="-270989"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3pPr>
            <a:lvl4pPr marL="1219261" lvl="3" indent="-270989"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4pPr>
            <a:lvl5pPr marL="1524076" lvl="4" indent="-270990"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691" name="Google Shape;4691;p5477"/>
          <p:cNvSpPr txBox="1">
            <a:spLocks noGrp="1"/>
          </p:cNvSpPr>
          <p:nvPr>
            <p:ph type="title"/>
          </p:nvPr>
        </p:nvSpPr>
        <p:spPr>
          <a:xfrm>
            <a:off x="5549395" y="1154528"/>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692" name="Google Shape;4692;p547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508049146"/>
      </p:ext>
    </p:extLst>
  </p:cSld>
  <p:clrMapOvr>
    <a:masterClrMapping/>
  </p:clrMapOvr>
</p:sldLayout>
</file>

<file path=ppt/slideLayouts/slideLayout1649.xml><?xml version="1.0" encoding="utf-8"?>
<p:sldLayout xmlns:a="http://schemas.openxmlformats.org/drawingml/2006/main" xmlns:r="http://schemas.openxmlformats.org/officeDocument/2006/relationships" xmlns:p="http://schemas.openxmlformats.org/presentationml/2006/main" matchingName="18_Cover">
  <p:cSld name="18_Cover">
    <p:spTree>
      <p:nvGrpSpPr>
        <p:cNvPr id="1" name="Shape 4693"/>
        <p:cNvGrpSpPr/>
        <p:nvPr/>
      </p:nvGrpSpPr>
      <p:grpSpPr>
        <a:xfrm>
          <a:off x="0" y="0"/>
          <a:ext cx="0" cy="0"/>
          <a:chOff x="0" y="0"/>
          <a:chExt cx="0" cy="0"/>
        </a:xfrm>
      </p:grpSpPr>
      <p:sp>
        <p:nvSpPr>
          <p:cNvPr id="4694" name="Google Shape;4694;p5478"/>
          <p:cNvSpPr/>
          <p:nvPr/>
        </p:nvSpPr>
        <p:spPr>
          <a:xfrm>
            <a:off x="902368" y="1294415"/>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695" name="Google Shape;4695;p5478"/>
          <p:cNvSpPr txBox="1">
            <a:spLocks noGrp="1"/>
          </p:cNvSpPr>
          <p:nvPr>
            <p:ph type="ctrTitle"/>
          </p:nvPr>
        </p:nvSpPr>
        <p:spPr>
          <a:xfrm>
            <a:off x="1413312"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96" name="Google Shape;4696;p5478"/>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
        <p:nvSpPr>
          <p:cNvPr id="4697" name="Google Shape;4697;p5478"/>
          <p:cNvSpPr>
            <a:spLocks noGrp="1"/>
          </p:cNvSpPr>
          <p:nvPr>
            <p:ph type="pic" idx="2"/>
          </p:nvPr>
        </p:nvSpPr>
        <p:spPr>
          <a:xfrm>
            <a:off x="7118684" y="233915"/>
            <a:ext cx="5073316" cy="5943600"/>
          </a:xfrm>
          <a:prstGeom prst="rect">
            <a:avLst/>
          </a:prstGeom>
          <a:noFill/>
          <a:ln>
            <a:noFill/>
          </a:ln>
        </p:spPr>
      </p:sp>
      <p:grpSp>
        <p:nvGrpSpPr>
          <p:cNvPr id="4698" name="Google Shape;4698;p5478"/>
          <p:cNvGrpSpPr/>
          <p:nvPr/>
        </p:nvGrpSpPr>
        <p:grpSpPr>
          <a:xfrm>
            <a:off x="0" y="5020350"/>
            <a:ext cx="12192000" cy="1837653"/>
            <a:chOff x="0" y="5020348"/>
            <a:chExt cx="12192000" cy="1837653"/>
          </a:xfrm>
        </p:grpSpPr>
        <p:sp>
          <p:nvSpPr>
            <p:cNvPr id="4699" name="Google Shape;4699;p547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700" name="Google Shape;4700;p547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4701" name="Google Shape;4701;p547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85541086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matchingName="Title and Content">
  <p:cSld name="Title and Content 13 2">
    <p:spTree>
      <p:nvGrpSpPr>
        <p:cNvPr id="1" name="Shape 10670"/>
        <p:cNvGrpSpPr/>
        <p:nvPr/>
      </p:nvGrpSpPr>
      <p:grpSpPr>
        <a:xfrm>
          <a:off x="0" y="0"/>
          <a:ext cx="0" cy="0"/>
          <a:chOff x="0" y="0"/>
          <a:chExt cx="0" cy="0"/>
        </a:xfrm>
      </p:grpSpPr>
      <p:grpSp>
        <p:nvGrpSpPr>
          <p:cNvPr id="10671" name="Google Shape;10671;p1469"/>
          <p:cNvGrpSpPr/>
          <p:nvPr/>
        </p:nvGrpSpPr>
        <p:grpSpPr>
          <a:xfrm>
            <a:off x="7191542" y="1"/>
            <a:ext cx="5000459" cy="1425992"/>
            <a:chOff x="7191542" y="1"/>
            <a:chExt cx="5000459" cy="1425992"/>
          </a:xfrm>
        </p:grpSpPr>
        <p:pic>
          <p:nvPicPr>
            <p:cNvPr id="10672" name="Google Shape;10672;p14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73" name="Google Shape;10673;p1469"/>
            <p:cNvGrpSpPr/>
            <p:nvPr/>
          </p:nvGrpSpPr>
          <p:grpSpPr>
            <a:xfrm>
              <a:off x="7191542" y="1"/>
              <a:ext cx="5000459" cy="1425992"/>
              <a:chOff x="7186272" y="0"/>
              <a:chExt cx="5005729" cy="1427495"/>
            </a:xfrm>
          </p:grpSpPr>
          <p:sp>
            <p:nvSpPr>
              <p:cNvPr id="10674" name="Google Shape;10674;p14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675" name="Google Shape;10675;p14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676" name="Google Shape;10676;p146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677" name="Google Shape;10677;p146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78" name="Google Shape;10678;p14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679" name="Google Shape;10679;p14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80" name="Google Shape;10680;p14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650.xml><?xml version="1.0" encoding="utf-8"?>
<p:sldLayout xmlns:a="http://schemas.openxmlformats.org/drawingml/2006/main" xmlns:r="http://schemas.openxmlformats.org/officeDocument/2006/relationships" xmlns:p="http://schemas.openxmlformats.org/presentationml/2006/main" matchingName="18_Divider">
  <p:cSld name="18_Divider">
    <p:bg>
      <p:bgPr>
        <a:solidFill>
          <a:schemeClr val="lt2"/>
        </a:solidFill>
        <a:effectLst/>
      </p:bgPr>
    </p:bg>
    <p:spTree>
      <p:nvGrpSpPr>
        <p:cNvPr id="1" name="Shape 4702"/>
        <p:cNvGrpSpPr/>
        <p:nvPr/>
      </p:nvGrpSpPr>
      <p:grpSpPr>
        <a:xfrm>
          <a:off x="0" y="0"/>
          <a:ext cx="0" cy="0"/>
          <a:chOff x="0" y="0"/>
          <a:chExt cx="0" cy="0"/>
        </a:xfrm>
      </p:grpSpPr>
      <p:grpSp>
        <p:nvGrpSpPr>
          <p:cNvPr id="4703" name="Google Shape;4703;p5479"/>
          <p:cNvGrpSpPr/>
          <p:nvPr/>
        </p:nvGrpSpPr>
        <p:grpSpPr>
          <a:xfrm>
            <a:off x="0" y="5020349"/>
            <a:ext cx="12192000" cy="1837653"/>
            <a:chOff x="0" y="5020347"/>
            <a:chExt cx="12192000" cy="1837653"/>
          </a:xfrm>
        </p:grpSpPr>
        <p:sp>
          <p:nvSpPr>
            <p:cNvPr id="4704" name="Google Shape;4704;p547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705" name="Google Shape;4705;p547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706" name="Google Shape;4706;p547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4707" name="Google Shape;4707;p547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708" name="Google Shape;4708;p5479"/>
          <p:cNvSpPr txBox="1">
            <a:spLocks noGrp="1"/>
          </p:cNvSpPr>
          <p:nvPr>
            <p:ph type="title"/>
          </p:nvPr>
        </p:nvSpPr>
        <p:spPr>
          <a:xfrm>
            <a:off x="1413310"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09" name="Google Shape;4709;p5479"/>
          <p:cNvSpPr txBox="1">
            <a:spLocks noGrp="1"/>
          </p:cNvSpPr>
          <p:nvPr>
            <p:ph type="subTitle" idx="1"/>
          </p:nvPr>
        </p:nvSpPr>
        <p:spPr>
          <a:xfrm>
            <a:off x="1413310"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Tree>
    <p:extLst>
      <p:ext uri="{BB962C8B-B14F-4D97-AF65-F5344CB8AC3E}">
        <p14:creationId xmlns:p14="http://schemas.microsoft.com/office/powerpoint/2010/main" val="46683286"/>
      </p:ext>
    </p:extLst>
  </p:cSld>
  <p:clrMapOvr>
    <a:masterClrMapping/>
  </p:clrMapOvr>
</p:sldLayout>
</file>

<file path=ppt/slideLayouts/slideLayout1651.xml><?xml version="1.0" encoding="utf-8"?>
<p:sldLayout xmlns:a="http://schemas.openxmlformats.org/drawingml/2006/main" xmlns:r="http://schemas.openxmlformats.org/officeDocument/2006/relationships" xmlns:p="http://schemas.openxmlformats.org/presentationml/2006/main" matchingName="18_Photo Slide">
  <p:cSld name="18_Photo Slide">
    <p:spTree>
      <p:nvGrpSpPr>
        <p:cNvPr id="1" name="Shape 4710"/>
        <p:cNvGrpSpPr/>
        <p:nvPr/>
      </p:nvGrpSpPr>
      <p:grpSpPr>
        <a:xfrm>
          <a:off x="0" y="0"/>
          <a:ext cx="0" cy="0"/>
          <a:chOff x="0" y="0"/>
          <a:chExt cx="0" cy="0"/>
        </a:xfrm>
      </p:grpSpPr>
      <p:sp>
        <p:nvSpPr>
          <p:cNvPr id="4711" name="Google Shape;4711;p5480"/>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4712" name="Google Shape;4712;p548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713" name="Google Shape;4713;p5480"/>
          <p:cNvGrpSpPr/>
          <p:nvPr/>
        </p:nvGrpSpPr>
        <p:grpSpPr>
          <a:xfrm>
            <a:off x="0" y="5379428"/>
            <a:ext cx="2807368" cy="753891"/>
            <a:chOff x="0" y="5379426"/>
            <a:chExt cx="2807368" cy="753891"/>
          </a:xfrm>
        </p:grpSpPr>
        <p:sp>
          <p:nvSpPr>
            <p:cNvPr id="4714" name="Google Shape;4714;p548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715" name="Google Shape;4715;p548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4716" name="Google Shape;4716;p5480"/>
          <p:cNvSpPr>
            <a:spLocks noGrp="1"/>
          </p:cNvSpPr>
          <p:nvPr>
            <p:ph type="pic" idx="2"/>
          </p:nvPr>
        </p:nvSpPr>
        <p:spPr>
          <a:xfrm>
            <a:off x="2807368" y="457202"/>
            <a:ext cx="8915400" cy="5943598"/>
          </a:xfrm>
          <a:prstGeom prst="rect">
            <a:avLst/>
          </a:prstGeom>
          <a:noFill/>
          <a:ln>
            <a:noFill/>
          </a:ln>
        </p:spPr>
      </p:sp>
      <p:pic>
        <p:nvPicPr>
          <p:cNvPr id="4717" name="Google Shape;4717;p5480"/>
          <p:cNvPicPr preferRelativeResize="0"/>
          <p:nvPr/>
        </p:nvPicPr>
        <p:blipFill rotWithShape="1">
          <a:blip r:embed="rId2">
            <a:alphaModFix/>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793114237"/>
      </p:ext>
    </p:extLst>
  </p:cSld>
  <p:clrMapOvr>
    <a:masterClrMapping/>
  </p:clrMapOvr>
</p:sldLayout>
</file>

<file path=ppt/slideLayouts/slideLayout1652.xml><?xml version="1.0" encoding="utf-8"?>
<p:sldLayout xmlns:a="http://schemas.openxmlformats.org/drawingml/2006/main" xmlns:r="http://schemas.openxmlformats.org/officeDocument/2006/relationships" xmlns:p="http://schemas.openxmlformats.org/presentationml/2006/main" matchingName="45_Quotation">
  <p:cSld name="45_Quotation">
    <p:spTree>
      <p:nvGrpSpPr>
        <p:cNvPr id="1" name="Shape 4718"/>
        <p:cNvGrpSpPr/>
        <p:nvPr/>
      </p:nvGrpSpPr>
      <p:grpSpPr>
        <a:xfrm>
          <a:off x="0" y="0"/>
          <a:ext cx="0" cy="0"/>
          <a:chOff x="0" y="0"/>
          <a:chExt cx="0" cy="0"/>
        </a:xfrm>
      </p:grpSpPr>
      <p:sp>
        <p:nvSpPr>
          <p:cNvPr id="4719" name="Google Shape;4719;p5481"/>
          <p:cNvSpPr/>
          <p:nvPr/>
        </p:nvSpPr>
        <p:spPr>
          <a:xfrm>
            <a:off x="1427358"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720" name="Google Shape;4720;p5481"/>
          <p:cNvSpPr txBox="1">
            <a:spLocks noGrp="1"/>
          </p:cNvSpPr>
          <p:nvPr>
            <p:ph type="title"/>
          </p:nvPr>
        </p:nvSpPr>
        <p:spPr>
          <a:xfrm>
            <a:off x="1427358"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21" name="Google Shape;4721;p548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722" name="Google Shape;4722;p5481"/>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723" name="Google Shape;4723;p54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24" name="Google Shape;4724;p548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725" name="Google Shape;4725;p5481"/>
          <p:cNvGrpSpPr/>
          <p:nvPr/>
        </p:nvGrpSpPr>
        <p:grpSpPr>
          <a:xfrm>
            <a:off x="7191544" y="1"/>
            <a:ext cx="5000459" cy="1425992"/>
            <a:chOff x="7191542" y="1"/>
            <a:chExt cx="5000459" cy="1425992"/>
          </a:xfrm>
        </p:grpSpPr>
        <p:pic>
          <p:nvPicPr>
            <p:cNvPr id="4726" name="Google Shape;4726;p54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27" name="Google Shape;4727;p5481"/>
            <p:cNvGrpSpPr/>
            <p:nvPr/>
          </p:nvGrpSpPr>
          <p:grpSpPr>
            <a:xfrm>
              <a:off x="7191542" y="1"/>
              <a:ext cx="5000459" cy="1425992"/>
              <a:chOff x="7186272" y="0"/>
              <a:chExt cx="5005729" cy="1427495"/>
            </a:xfrm>
          </p:grpSpPr>
          <p:sp>
            <p:nvSpPr>
              <p:cNvPr id="4728" name="Google Shape;4728;p54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4729" name="Google Shape;4729;p54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4730" name="Google Shape;4730;p5481"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471698034"/>
      </p:ext>
    </p:extLst>
  </p:cSld>
  <p:clrMapOvr>
    <a:masterClrMapping/>
  </p:clrMapOvr>
</p:sldLayout>
</file>

<file path=ppt/slideLayouts/slideLayout1653.xml><?xml version="1.0" encoding="utf-8"?>
<p:sldLayout xmlns:a="http://schemas.openxmlformats.org/drawingml/2006/main" xmlns:r="http://schemas.openxmlformats.org/officeDocument/2006/relationships" xmlns:p="http://schemas.openxmlformats.org/presentationml/2006/main" matchingName="28_Title and Content">
  <p:cSld name="28_Title and Content">
    <p:spTree>
      <p:nvGrpSpPr>
        <p:cNvPr id="1" name="Shape 4731"/>
        <p:cNvGrpSpPr/>
        <p:nvPr/>
      </p:nvGrpSpPr>
      <p:grpSpPr>
        <a:xfrm>
          <a:off x="0" y="0"/>
          <a:ext cx="0" cy="0"/>
          <a:chOff x="0" y="0"/>
          <a:chExt cx="0" cy="0"/>
        </a:xfrm>
      </p:grpSpPr>
      <p:grpSp>
        <p:nvGrpSpPr>
          <p:cNvPr id="4732" name="Google Shape;4732;p5482"/>
          <p:cNvGrpSpPr/>
          <p:nvPr/>
        </p:nvGrpSpPr>
        <p:grpSpPr>
          <a:xfrm>
            <a:off x="7191544" y="1"/>
            <a:ext cx="5000459" cy="1425992"/>
            <a:chOff x="7191542" y="1"/>
            <a:chExt cx="5000459" cy="1425992"/>
          </a:xfrm>
        </p:grpSpPr>
        <p:pic>
          <p:nvPicPr>
            <p:cNvPr id="4733" name="Google Shape;4733;p54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34" name="Google Shape;4734;p5482"/>
            <p:cNvGrpSpPr/>
            <p:nvPr/>
          </p:nvGrpSpPr>
          <p:grpSpPr>
            <a:xfrm>
              <a:off x="7191542" y="1"/>
              <a:ext cx="5000459" cy="1425992"/>
              <a:chOff x="7186272" y="0"/>
              <a:chExt cx="5005729" cy="1427495"/>
            </a:xfrm>
          </p:grpSpPr>
          <p:sp>
            <p:nvSpPr>
              <p:cNvPr id="4735" name="Google Shape;4735;p54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4736" name="Google Shape;4736;p54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4737" name="Google Shape;4737;p5482"/>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38" name="Google Shape;4738;p5482"/>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739" name="Google Shape;4739;p548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740" name="Google Shape;4740;p54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41" name="Google Shape;4741;p548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737199474"/>
      </p:ext>
    </p:extLst>
  </p:cSld>
  <p:clrMapOvr>
    <a:masterClrMapping/>
  </p:clrMapOvr>
</p:sldLayout>
</file>

<file path=ppt/slideLayouts/slideLayout1654.xml><?xml version="1.0" encoding="utf-8"?>
<p:sldLayout xmlns:a="http://schemas.openxmlformats.org/drawingml/2006/main" xmlns:r="http://schemas.openxmlformats.org/officeDocument/2006/relationships" xmlns:p="http://schemas.openxmlformats.org/presentationml/2006/main" matchingName="18_Two Content">
  <p:cSld name="18_Two Content">
    <p:spTree>
      <p:nvGrpSpPr>
        <p:cNvPr id="1" name="Shape 4742"/>
        <p:cNvGrpSpPr/>
        <p:nvPr/>
      </p:nvGrpSpPr>
      <p:grpSpPr>
        <a:xfrm>
          <a:off x="0" y="0"/>
          <a:ext cx="0" cy="0"/>
          <a:chOff x="0" y="0"/>
          <a:chExt cx="0" cy="0"/>
        </a:xfrm>
      </p:grpSpPr>
      <p:sp>
        <p:nvSpPr>
          <p:cNvPr id="4743" name="Google Shape;4743;p5483"/>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44" name="Google Shape;4744;p5483"/>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4745" name="Google Shape;4745;p5483"/>
          <p:cNvGrpSpPr/>
          <p:nvPr/>
        </p:nvGrpSpPr>
        <p:grpSpPr>
          <a:xfrm>
            <a:off x="7191544" y="1"/>
            <a:ext cx="5000459" cy="1425992"/>
            <a:chOff x="7191542" y="1"/>
            <a:chExt cx="5000459" cy="1425992"/>
          </a:xfrm>
        </p:grpSpPr>
        <p:pic>
          <p:nvPicPr>
            <p:cNvPr id="4746" name="Google Shape;4746;p54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47" name="Google Shape;4747;p5483"/>
            <p:cNvGrpSpPr/>
            <p:nvPr/>
          </p:nvGrpSpPr>
          <p:grpSpPr>
            <a:xfrm>
              <a:off x="7191542" y="1"/>
              <a:ext cx="5000459" cy="1425992"/>
              <a:chOff x="7186272" y="0"/>
              <a:chExt cx="5005729" cy="1427495"/>
            </a:xfrm>
          </p:grpSpPr>
          <p:sp>
            <p:nvSpPr>
              <p:cNvPr id="4748" name="Google Shape;4748;p54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4749" name="Google Shape;4749;p54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4750" name="Google Shape;4750;p5483"/>
          <p:cNvSpPr txBox="1">
            <a:spLocks noGrp="1"/>
          </p:cNvSpPr>
          <p:nvPr>
            <p:ph type="body" idx="2"/>
          </p:nvPr>
        </p:nvSpPr>
        <p:spPr>
          <a:xfrm>
            <a:off x="6172201"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751" name="Google Shape;4751;p5483"/>
          <p:cNvSpPr txBox="1">
            <a:spLocks noGrp="1"/>
          </p:cNvSpPr>
          <p:nvPr>
            <p:ph type="sldNum" idx="12"/>
          </p:nvPr>
        </p:nvSpPr>
        <p:spPr>
          <a:xfrm>
            <a:off x="8839198"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752" name="Google Shape;4752;p54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53" name="Google Shape;4753;p548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074594963"/>
      </p:ext>
    </p:extLst>
  </p:cSld>
  <p:clrMapOvr>
    <a:masterClrMapping/>
  </p:clrMapOvr>
</p:sldLayout>
</file>

<file path=ppt/slideLayouts/slideLayout1655.xml><?xml version="1.0" encoding="utf-8"?>
<p:sldLayout xmlns:a="http://schemas.openxmlformats.org/drawingml/2006/main" xmlns:r="http://schemas.openxmlformats.org/officeDocument/2006/relationships" xmlns:p="http://schemas.openxmlformats.org/presentationml/2006/main" matchingName="18_Comparison">
  <p:cSld name="18_Comparison">
    <p:spTree>
      <p:nvGrpSpPr>
        <p:cNvPr id="1" name="Shape 4754"/>
        <p:cNvGrpSpPr/>
        <p:nvPr/>
      </p:nvGrpSpPr>
      <p:grpSpPr>
        <a:xfrm>
          <a:off x="0" y="0"/>
          <a:ext cx="0" cy="0"/>
          <a:chOff x="0" y="0"/>
          <a:chExt cx="0" cy="0"/>
        </a:xfrm>
      </p:grpSpPr>
      <p:grpSp>
        <p:nvGrpSpPr>
          <p:cNvPr id="4755" name="Google Shape;4755;p5484"/>
          <p:cNvGrpSpPr/>
          <p:nvPr/>
        </p:nvGrpSpPr>
        <p:grpSpPr>
          <a:xfrm>
            <a:off x="7191544" y="1"/>
            <a:ext cx="5000459" cy="1425992"/>
            <a:chOff x="7191542" y="1"/>
            <a:chExt cx="5000459" cy="1425992"/>
          </a:xfrm>
        </p:grpSpPr>
        <p:pic>
          <p:nvPicPr>
            <p:cNvPr id="4756" name="Google Shape;4756;p54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57" name="Google Shape;4757;p5484"/>
            <p:cNvGrpSpPr/>
            <p:nvPr/>
          </p:nvGrpSpPr>
          <p:grpSpPr>
            <a:xfrm>
              <a:off x="7191542" y="1"/>
              <a:ext cx="5000459" cy="1425992"/>
              <a:chOff x="7186272" y="0"/>
              <a:chExt cx="5005729" cy="1427495"/>
            </a:xfrm>
          </p:grpSpPr>
          <p:sp>
            <p:nvSpPr>
              <p:cNvPr id="4758" name="Google Shape;4758;p54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4759" name="Google Shape;4759;p54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4760" name="Google Shape;4760;p5484"/>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61" name="Google Shape;4761;p5484"/>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4762" name="Google Shape;4762;p5484"/>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763" name="Google Shape;4763;p548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4764" name="Google Shape;4764;p548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765" name="Google Shape;4765;p548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766" name="Google Shape;4766;p54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67" name="Google Shape;4767;p548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468867451"/>
      </p:ext>
    </p:extLst>
  </p:cSld>
  <p:clrMapOvr>
    <a:masterClrMapping/>
  </p:clrMapOvr>
</p:sldLayout>
</file>

<file path=ppt/slideLayouts/slideLayout1656.xml><?xml version="1.0" encoding="utf-8"?>
<p:sldLayout xmlns:a="http://schemas.openxmlformats.org/drawingml/2006/main" xmlns:r="http://schemas.openxmlformats.org/officeDocument/2006/relationships" xmlns:p="http://schemas.openxmlformats.org/presentationml/2006/main" matchingName="18_Title Only">
  <p:cSld name="18_Title Only">
    <p:spTree>
      <p:nvGrpSpPr>
        <p:cNvPr id="1" name="Shape 4768"/>
        <p:cNvGrpSpPr/>
        <p:nvPr/>
      </p:nvGrpSpPr>
      <p:grpSpPr>
        <a:xfrm>
          <a:off x="0" y="0"/>
          <a:ext cx="0" cy="0"/>
          <a:chOff x="0" y="0"/>
          <a:chExt cx="0" cy="0"/>
        </a:xfrm>
      </p:grpSpPr>
      <p:grpSp>
        <p:nvGrpSpPr>
          <p:cNvPr id="4769" name="Google Shape;4769;p5485"/>
          <p:cNvGrpSpPr/>
          <p:nvPr/>
        </p:nvGrpSpPr>
        <p:grpSpPr>
          <a:xfrm>
            <a:off x="7191544" y="1"/>
            <a:ext cx="5000459" cy="1425992"/>
            <a:chOff x="7191542" y="1"/>
            <a:chExt cx="5000459" cy="1425992"/>
          </a:xfrm>
        </p:grpSpPr>
        <p:pic>
          <p:nvPicPr>
            <p:cNvPr id="4770" name="Google Shape;4770;p54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71" name="Google Shape;4771;p5485"/>
            <p:cNvGrpSpPr/>
            <p:nvPr/>
          </p:nvGrpSpPr>
          <p:grpSpPr>
            <a:xfrm>
              <a:off x="7191542" y="1"/>
              <a:ext cx="5000459" cy="1425992"/>
              <a:chOff x="7186272" y="0"/>
              <a:chExt cx="5005729" cy="1427495"/>
            </a:xfrm>
          </p:grpSpPr>
          <p:sp>
            <p:nvSpPr>
              <p:cNvPr id="4772" name="Google Shape;4772;p54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4773" name="Google Shape;4773;p54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4774" name="Google Shape;4774;p5485"/>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75" name="Google Shape;4775;p548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776" name="Google Shape;4776;p54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77" name="Google Shape;4777;p548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512112361"/>
      </p:ext>
    </p:extLst>
  </p:cSld>
  <p:clrMapOvr>
    <a:masterClrMapping/>
  </p:clrMapOvr>
</p:sldLayout>
</file>

<file path=ppt/slideLayouts/slideLayout1657.xml><?xml version="1.0" encoding="utf-8"?>
<p:sldLayout xmlns:a="http://schemas.openxmlformats.org/drawingml/2006/main" xmlns:r="http://schemas.openxmlformats.org/officeDocument/2006/relationships" xmlns:p="http://schemas.openxmlformats.org/presentationml/2006/main" matchingName="18_End">
  <p:cSld name="18_End">
    <p:spTree>
      <p:nvGrpSpPr>
        <p:cNvPr id="1" name="Shape 4778"/>
        <p:cNvGrpSpPr/>
        <p:nvPr/>
      </p:nvGrpSpPr>
      <p:grpSpPr>
        <a:xfrm>
          <a:off x="0" y="0"/>
          <a:ext cx="0" cy="0"/>
          <a:chOff x="0" y="0"/>
          <a:chExt cx="0" cy="0"/>
        </a:xfrm>
      </p:grpSpPr>
      <p:grpSp>
        <p:nvGrpSpPr>
          <p:cNvPr id="4779" name="Google Shape;4779;p5486"/>
          <p:cNvGrpSpPr/>
          <p:nvPr/>
        </p:nvGrpSpPr>
        <p:grpSpPr>
          <a:xfrm>
            <a:off x="0" y="0"/>
            <a:ext cx="12192000" cy="2148830"/>
            <a:chOff x="0" y="0"/>
            <a:chExt cx="12192000" cy="2148830"/>
          </a:xfrm>
        </p:grpSpPr>
        <p:sp>
          <p:nvSpPr>
            <p:cNvPr id="4780" name="Google Shape;4780;p548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4781" name="Google Shape;4781;p548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4782" name="Google Shape;4782;p5486"/>
          <p:cNvSpPr/>
          <p:nvPr/>
        </p:nvSpPr>
        <p:spPr>
          <a:xfrm>
            <a:off x="902368" y="1517699"/>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783" name="Google Shape;4783;p5486"/>
          <p:cNvSpPr txBox="1">
            <a:spLocks noGrp="1"/>
          </p:cNvSpPr>
          <p:nvPr>
            <p:ph type="body" idx="1"/>
          </p:nvPr>
        </p:nvSpPr>
        <p:spPr>
          <a:xfrm>
            <a:off x="1219201" y="3429002"/>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784" name="Google Shape;4784;p548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9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785" name="Google Shape;4785;p5486"/>
          <p:cNvPicPr preferRelativeResize="0"/>
          <p:nvPr/>
        </p:nvPicPr>
        <p:blipFill rotWithShape="1">
          <a:blip r:embed="rId2">
            <a:alphaModFix/>
          </a:blip>
          <a:srcRect/>
          <a:stretch/>
        </p:blipFill>
        <p:spPr>
          <a:xfrm>
            <a:off x="902370" y="228371"/>
            <a:ext cx="2025315" cy="911940"/>
          </a:xfrm>
          <a:prstGeom prst="rect">
            <a:avLst/>
          </a:prstGeom>
          <a:noFill/>
          <a:ln>
            <a:noFill/>
          </a:ln>
        </p:spPr>
      </p:pic>
      <p:sp>
        <p:nvSpPr>
          <p:cNvPr id="4786" name="Google Shape;4786;p5486"/>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130669451"/>
      </p:ext>
    </p:extLst>
  </p:cSld>
  <p:clrMapOvr>
    <a:masterClrMapping/>
  </p:clrMapOvr>
</p:sldLayout>
</file>

<file path=ppt/slideLayouts/slideLayout1658.xml><?xml version="1.0" encoding="utf-8"?>
<p:sldLayout xmlns:a="http://schemas.openxmlformats.org/drawingml/2006/main" xmlns:r="http://schemas.openxmlformats.org/officeDocument/2006/relationships" xmlns:p="http://schemas.openxmlformats.org/presentationml/2006/main" matchingName="17_Blank">
  <p:cSld name="17_Blank">
    <p:spTree>
      <p:nvGrpSpPr>
        <p:cNvPr id="1" name="Shape 4787"/>
        <p:cNvGrpSpPr/>
        <p:nvPr/>
      </p:nvGrpSpPr>
      <p:grpSpPr>
        <a:xfrm>
          <a:off x="0" y="0"/>
          <a:ext cx="0" cy="0"/>
          <a:chOff x="0" y="0"/>
          <a:chExt cx="0" cy="0"/>
        </a:xfrm>
      </p:grpSpPr>
      <p:sp>
        <p:nvSpPr>
          <p:cNvPr id="4788" name="Google Shape;4788;p5487"/>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789" name="Google Shape;4789;p54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90" name="Google Shape;4790;p548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791" name="Google Shape;4791;p5487"/>
          <p:cNvGrpSpPr/>
          <p:nvPr/>
        </p:nvGrpSpPr>
        <p:grpSpPr>
          <a:xfrm>
            <a:off x="7191544" y="1"/>
            <a:ext cx="5000459" cy="1425992"/>
            <a:chOff x="7191542" y="1"/>
            <a:chExt cx="5000459" cy="1425992"/>
          </a:xfrm>
        </p:grpSpPr>
        <p:pic>
          <p:nvPicPr>
            <p:cNvPr id="4792" name="Google Shape;4792;p54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93" name="Google Shape;4793;p5487"/>
            <p:cNvGrpSpPr/>
            <p:nvPr/>
          </p:nvGrpSpPr>
          <p:grpSpPr>
            <a:xfrm>
              <a:off x="7191542" y="1"/>
              <a:ext cx="5000459" cy="1425992"/>
              <a:chOff x="7186272" y="0"/>
              <a:chExt cx="5005729" cy="1427495"/>
            </a:xfrm>
          </p:grpSpPr>
          <p:sp>
            <p:nvSpPr>
              <p:cNvPr id="4794" name="Google Shape;4794;p54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4795" name="Google Shape;4795;p54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extLst>
      <p:ext uri="{BB962C8B-B14F-4D97-AF65-F5344CB8AC3E}">
        <p14:creationId xmlns:p14="http://schemas.microsoft.com/office/powerpoint/2010/main" val="1432536610"/>
      </p:ext>
    </p:extLst>
  </p:cSld>
  <p:clrMapOvr>
    <a:masterClrMapping/>
  </p:clrMapOvr>
</p:sldLayout>
</file>

<file path=ppt/slideLayouts/slideLayout1659.xml><?xml version="1.0" encoding="utf-8"?>
<p:sldLayout xmlns:a="http://schemas.openxmlformats.org/drawingml/2006/main" xmlns:r="http://schemas.openxmlformats.org/officeDocument/2006/relationships" xmlns:p="http://schemas.openxmlformats.org/presentationml/2006/main" showMasterSp="0" matchingName="3_Title Slide">
  <p:cSld name="3_Title Slide">
    <p:spTree>
      <p:nvGrpSpPr>
        <p:cNvPr id="1" name="Shape 4796"/>
        <p:cNvGrpSpPr/>
        <p:nvPr/>
      </p:nvGrpSpPr>
      <p:grpSpPr>
        <a:xfrm>
          <a:off x="0" y="0"/>
          <a:ext cx="0" cy="0"/>
          <a:chOff x="0" y="0"/>
          <a:chExt cx="0" cy="0"/>
        </a:xfrm>
      </p:grpSpPr>
      <p:sp>
        <p:nvSpPr>
          <p:cNvPr id="4797" name="Google Shape;4797;p5488"/>
          <p:cNvSpPr/>
          <p:nvPr/>
        </p:nvSpPr>
        <p:spPr>
          <a:xfrm>
            <a:off x="-21166" y="6629400"/>
            <a:ext cx="12213167" cy="228600"/>
          </a:xfrm>
          <a:prstGeom prst="rect">
            <a:avLst/>
          </a:prstGeom>
          <a:solidFill>
            <a:srgbClr val="767676"/>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pic>
        <p:nvPicPr>
          <p:cNvPr id="4798" name="Google Shape;4798;p5488"/>
          <p:cNvPicPr preferRelativeResize="0"/>
          <p:nvPr/>
        </p:nvPicPr>
        <p:blipFill rotWithShape="1">
          <a:blip r:embed="rId2">
            <a:alphaModFix/>
          </a:blip>
          <a:srcRect/>
          <a:stretch/>
        </p:blipFill>
        <p:spPr>
          <a:xfrm>
            <a:off x="7945967" y="408520"/>
            <a:ext cx="3706284" cy="1813983"/>
          </a:xfrm>
          <a:prstGeom prst="rect">
            <a:avLst/>
          </a:prstGeom>
          <a:noFill/>
          <a:ln>
            <a:noFill/>
          </a:ln>
        </p:spPr>
      </p:pic>
      <p:grpSp>
        <p:nvGrpSpPr>
          <p:cNvPr id="4799" name="Google Shape;4799;p5488"/>
          <p:cNvGrpSpPr/>
          <p:nvPr/>
        </p:nvGrpSpPr>
        <p:grpSpPr>
          <a:xfrm>
            <a:off x="2" y="0"/>
            <a:ext cx="1862667" cy="6629400"/>
            <a:chOff x="-15876" y="0"/>
            <a:chExt cx="1927803" cy="6858000"/>
          </a:xfrm>
        </p:grpSpPr>
        <p:sp>
          <p:nvSpPr>
            <p:cNvPr id="4800" name="Google Shape;4800;p5488"/>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pic>
          <p:nvPicPr>
            <p:cNvPr id="4801" name="Google Shape;4801;p5488"/>
            <p:cNvPicPr preferRelativeResize="0"/>
            <p:nvPr/>
          </p:nvPicPr>
          <p:blipFill rotWithShape="1">
            <a:blip r:embed="rId3">
              <a:alphaModFix/>
            </a:blip>
            <a:srcRect l="7219" t="16937" r="72250" b="20589"/>
            <a:stretch/>
          </p:blipFill>
          <p:spPr>
            <a:xfrm>
              <a:off x="-15876" y="0"/>
              <a:ext cx="1927803" cy="6858000"/>
            </a:xfrm>
            <a:prstGeom prst="rect">
              <a:avLst/>
            </a:prstGeom>
            <a:solidFill>
              <a:schemeClr val="dk2"/>
            </a:solidFill>
            <a:ln>
              <a:noFill/>
            </a:ln>
          </p:spPr>
        </p:pic>
      </p:grpSp>
      <p:sp>
        <p:nvSpPr>
          <p:cNvPr id="4802" name="Google Shape;4802;p5488"/>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801"/>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4803" name="Google Shape;4803;p5488"/>
          <p:cNvSpPr txBox="1">
            <a:spLocks noGrp="1"/>
          </p:cNvSpPr>
          <p:nvPr>
            <p:ph type="ctrTitle"/>
          </p:nvPr>
        </p:nvSpPr>
        <p:spPr>
          <a:xfrm>
            <a:off x="1621874" y="1806431"/>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8001"/>
              <a:buFont typeface="Calibri"/>
              <a:buNone/>
              <a:defRPr sz="5334">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04" name="Google Shape;4804;p5488"/>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304815" lvl="0" indent="-270990" algn="l">
              <a:lnSpc>
                <a:spcPct val="100000"/>
              </a:lnSpc>
              <a:spcBef>
                <a:spcPts val="1000"/>
              </a:spcBef>
              <a:spcAft>
                <a:spcPts val="0"/>
              </a:spcAft>
              <a:buSzPts val="2801"/>
              <a:buChar char="•"/>
              <a:defRPr sz="1867"/>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805" name="Google Shape;4805;p5488"/>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304815" lvl="0" indent="-270990" algn="l">
              <a:lnSpc>
                <a:spcPct val="100000"/>
              </a:lnSpc>
              <a:spcBef>
                <a:spcPts val="1000"/>
              </a:spcBef>
              <a:spcAft>
                <a:spcPts val="0"/>
              </a:spcAft>
              <a:buSzPts val="2801"/>
              <a:buChar char="•"/>
              <a:defRPr sz="1867"/>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52680616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matchingName="Two Content">
  <p:cSld name="Two Content 9 2">
    <p:spTree>
      <p:nvGrpSpPr>
        <p:cNvPr id="1" name="Shape 10681"/>
        <p:cNvGrpSpPr/>
        <p:nvPr/>
      </p:nvGrpSpPr>
      <p:grpSpPr>
        <a:xfrm>
          <a:off x="0" y="0"/>
          <a:ext cx="0" cy="0"/>
          <a:chOff x="0" y="0"/>
          <a:chExt cx="0" cy="0"/>
        </a:xfrm>
      </p:grpSpPr>
      <p:sp>
        <p:nvSpPr>
          <p:cNvPr id="10682" name="Google Shape;10682;p147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683" name="Google Shape;10683;p1470"/>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684" name="Google Shape;10684;p1470"/>
          <p:cNvGrpSpPr/>
          <p:nvPr/>
        </p:nvGrpSpPr>
        <p:grpSpPr>
          <a:xfrm>
            <a:off x="7191542" y="1"/>
            <a:ext cx="5000459" cy="1425992"/>
            <a:chOff x="7191542" y="1"/>
            <a:chExt cx="5000459" cy="1425992"/>
          </a:xfrm>
        </p:grpSpPr>
        <p:pic>
          <p:nvPicPr>
            <p:cNvPr id="10685" name="Google Shape;10685;p14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86" name="Google Shape;10686;p1470"/>
            <p:cNvGrpSpPr/>
            <p:nvPr/>
          </p:nvGrpSpPr>
          <p:grpSpPr>
            <a:xfrm>
              <a:off x="7191542" y="1"/>
              <a:ext cx="5000459" cy="1425992"/>
              <a:chOff x="7186272" y="0"/>
              <a:chExt cx="5005729" cy="1427495"/>
            </a:xfrm>
          </p:grpSpPr>
          <p:sp>
            <p:nvSpPr>
              <p:cNvPr id="10687" name="Google Shape;10687;p14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688" name="Google Shape;10688;p14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689" name="Google Shape;10689;p1470"/>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90" name="Google Shape;10690;p1470"/>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691" name="Google Shape;10691;p14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92" name="Google Shape;10692;p14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660.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4806"/>
        <p:cNvGrpSpPr/>
        <p:nvPr/>
      </p:nvGrpSpPr>
      <p:grpSpPr>
        <a:xfrm>
          <a:off x="0" y="0"/>
          <a:ext cx="0" cy="0"/>
          <a:chOff x="0" y="0"/>
          <a:chExt cx="0" cy="0"/>
        </a:xfrm>
      </p:grpSpPr>
      <p:sp>
        <p:nvSpPr>
          <p:cNvPr id="4807" name="Google Shape;4807;p5489"/>
          <p:cNvSpPr/>
          <p:nvPr/>
        </p:nvSpPr>
        <p:spPr>
          <a:xfrm>
            <a:off x="-10584" y="6620935"/>
            <a:ext cx="12213168" cy="237067"/>
          </a:xfrm>
          <a:prstGeom prst="rect">
            <a:avLst/>
          </a:prstGeom>
          <a:solidFill>
            <a:srgbClr val="767676"/>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4808" name="Google Shape;4808;p5489"/>
          <p:cNvSpPr txBox="1">
            <a:spLocks noGrp="1"/>
          </p:cNvSpPr>
          <p:nvPr>
            <p:ph type="title"/>
          </p:nvPr>
        </p:nvSpPr>
        <p:spPr>
          <a:xfrm>
            <a:off x="218116" y="224842"/>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4400"/>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09" name="Google Shape;4809;p5489"/>
          <p:cNvSpPr txBox="1">
            <a:spLocks noGrp="1"/>
          </p:cNvSpPr>
          <p:nvPr>
            <p:ph type="body" idx="1"/>
          </p:nvPr>
        </p:nvSpPr>
        <p:spPr>
          <a:xfrm>
            <a:off x="218116" y="917199"/>
            <a:ext cx="11715725" cy="4958671"/>
          </a:xfrm>
          <a:prstGeom prst="rect">
            <a:avLst/>
          </a:prstGeom>
          <a:noFill/>
          <a:ln>
            <a:noFill/>
          </a:ln>
        </p:spPr>
        <p:txBody>
          <a:bodyPr spcFirstLastPara="1" wrap="square" lIns="91425" tIns="45700" rIns="91425" bIns="45700" anchor="t" anchorCtr="0">
            <a:noAutofit/>
          </a:bodyPr>
          <a:lstStyle>
            <a:lvl1pPr marL="304815" lvl="0" indent="-270990" algn="l">
              <a:lnSpc>
                <a:spcPct val="100000"/>
              </a:lnSpc>
              <a:spcBef>
                <a:spcPts val="1000"/>
              </a:spcBef>
              <a:spcAft>
                <a:spcPts val="0"/>
              </a:spcAft>
              <a:buSzPts val="2801"/>
              <a:buFont typeface="Noto Sans Symbols"/>
              <a:buChar char="▪"/>
              <a:defRPr sz="1867" b="1"/>
            </a:lvl1pPr>
            <a:lvl2pPr marL="609630" lvl="1" indent="-270990" algn="l">
              <a:lnSpc>
                <a:spcPct val="100000"/>
              </a:lnSpc>
              <a:spcBef>
                <a:spcPts val="1000"/>
              </a:spcBef>
              <a:spcAft>
                <a:spcPts val="0"/>
              </a:spcAft>
              <a:buSzPts val="2801"/>
              <a:buFont typeface="Arial"/>
              <a:buChar char="̶"/>
              <a:defRPr sz="1867"/>
            </a:lvl2pPr>
            <a:lvl3pPr marL="914446" lvl="2" indent="-270989" algn="l">
              <a:lnSpc>
                <a:spcPct val="100000"/>
              </a:lnSpc>
              <a:spcBef>
                <a:spcPts val="1000"/>
              </a:spcBef>
              <a:spcAft>
                <a:spcPts val="0"/>
              </a:spcAft>
              <a:buSzPts val="2801"/>
              <a:buFont typeface="Arial"/>
              <a:buChar char="•"/>
              <a:defRPr sz="1867"/>
            </a:lvl3pPr>
            <a:lvl4pPr marL="1219261" lvl="3" indent="-270989" algn="l">
              <a:lnSpc>
                <a:spcPct val="100000"/>
              </a:lnSpc>
              <a:spcBef>
                <a:spcPts val="1000"/>
              </a:spcBef>
              <a:spcAft>
                <a:spcPts val="0"/>
              </a:spcAft>
              <a:buSzPts val="2801"/>
              <a:buFont typeface="Noto Sans Symbols"/>
              <a:buChar char="✔"/>
              <a:defRPr sz="1867"/>
            </a:lvl4pPr>
            <a:lvl5pPr marL="1524076" lvl="4" indent="-270990" algn="l">
              <a:lnSpc>
                <a:spcPct val="100000"/>
              </a:lnSpc>
              <a:spcBef>
                <a:spcPts val="1000"/>
              </a:spcBef>
              <a:spcAft>
                <a:spcPts val="0"/>
              </a:spcAft>
              <a:buSzPts val="2801"/>
              <a:buChar char="•"/>
              <a:defRPr sz="1867"/>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810" name="Google Shape;4810;p5489"/>
          <p:cNvSpPr txBox="1">
            <a:spLocks noGrp="1"/>
          </p:cNvSpPr>
          <p:nvPr>
            <p:ph type="body" idx="2"/>
          </p:nvPr>
        </p:nvSpPr>
        <p:spPr>
          <a:xfrm>
            <a:off x="3858939" y="5969003"/>
            <a:ext cx="8074903" cy="649817"/>
          </a:xfrm>
          <a:prstGeom prst="rect">
            <a:avLst/>
          </a:prstGeom>
          <a:noFill/>
          <a:ln>
            <a:noFill/>
          </a:ln>
        </p:spPr>
        <p:txBody>
          <a:bodyPr spcFirstLastPara="1" wrap="square" lIns="91425" tIns="45700" rIns="91425" bIns="45700" anchor="b" anchorCtr="0">
            <a:noAutofit/>
          </a:bodyPr>
          <a:lstStyle>
            <a:lvl1pPr marL="304815" lvl="0" indent="-237079" algn="l">
              <a:lnSpc>
                <a:spcPct val="100000"/>
              </a:lnSpc>
              <a:spcBef>
                <a:spcPts val="1000"/>
              </a:spcBef>
              <a:spcAft>
                <a:spcPts val="0"/>
              </a:spcAft>
              <a:buSzPts val="2000"/>
              <a:buChar char="•"/>
              <a:defRPr sz="1333" b="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811" name="Google Shape;4811;p548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4812" name="Google Shape;4812;p5489"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3" y="5969002"/>
            <a:ext cx="3704343" cy="651933"/>
          </a:xfrm>
          <a:prstGeom prst="rect">
            <a:avLst/>
          </a:prstGeom>
          <a:noFill/>
          <a:ln>
            <a:noFill/>
          </a:ln>
        </p:spPr>
      </p:pic>
    </p:spTree>
    <p:extLst>
      <p:ext uri="{BB962C8B-B14F-4D97-AF65-F5344CB8AC3E}">
        <p14:creationId xmlns:p14="http://schemas.microsoft.com/office/powerpoint/2010/main" val="1535487259"/>
      </p:ext>
    </p:extLst>
  </p:cSld>
  <p:clrMapOvr>
    <a:masterClrMapping/>
  </p:clrMapOvr>
</p:sldLayout>
</file>

<file path=ppt/slideLayouts/slideLayout1661.xml><?xml version="1.0" encoding="utf-8"?>
<p:sldLayout xmlns:a="http://schemas.openxmlformats.org/drawingml/2006/main" xmlns:r="http://schemas.openxmlformats.org/officeDocument/2006/relationships" xmlns:p="http://schemas.openxmlformats.org/presentationml/2006/main" matchingName="27_Title and Content">
  <p:cSld name="27_Title and Content">
    <p:spTree>
      <p:nvGrpSpPr>
        <p:cNvPr id="1" name="Shape 4813"/>
        <p:cNvGrpSpPr/>
        <p:nvPr/>
      </p:nvGrpSpPr>
      <p:grpSpPr>
        <a:xfrm>
          <a:off x="0" y="0"/>
          <a:ext cx="0" cy="0"/>
          <a:chOff x="0" y="0"/>
          <a:chExt cx="0" cy="0"/>
        </a:xfrm>
      </p:grpSpPr>
      <p:sp>
        <p:nvSpPr>
          <p:cNvPr id="4814" name="Google Shape;4814;p5490"/>
          <p:cNvSpPr/>
          <p:nvPr/>
        </p:nvSpPr>
        <p:spPr>
          <a:xfrm>
            <a:off x="0" y="6313119"/>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4815" name="Google Shape;4815;p5490"/>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816" name="Google Shape;4816;p5490"/>
          <p:cNvSpPr/>
          <p:nvPr/>
        </p:nvSpPr>
        <p:spPr>
          <a:xfrm>
            <a:off x="0" y="6301516"/>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4817" name="Google Shape;4817;p5490"/>
          <p:cNvSpPr txBox="1">
            <a:spLocks noGrp="1"/>
          </p:cNvSpPr>
          <p:nvPr>
            <p:ph type="title"/>
          </p:nvPr>
        </p:nvSpPr>
        <p:spPr>
          <a:xfrm>
            <a:off x="848991" y="806858"/>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18" name="Google Shape;4818;p5490"/>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a:latin typeface="Verdana"/>
                <a:ea typeface="Verdana"/>
                <a:cs typeface="Verdana"/>
                <a:sym typeface="Verdana"/>
              </a:defRPr>
            </a:lvl1pPr>
            <a:lvl2pPr marL="609630" lvl="1" indent="-270990" algn="l">
              <a:lnSpc>
                <a:spcPct val="100000"/>
              </a:lnSpc>
              <a:spcBef>
                <a:spcPts val="500"/>
              </a:spcBef>
              <a:spcAft>
                <a:spcPts val="0"/>
              </a:spcAft>
              <a:buSzPts val="2801"/>
              <a:buChar char="•"/>
              <a:defRPr sz="1867">
                <a:latin typeface="Verdana"/>
                <a:ea typeface="Verdana"/>
                <a:cs typeface="Verdana"/>
                <a:sym typeface="Verdana"/>
              </a:defRPr>
            </a:lvl2pPr>
            <a:lvl3pPr marL="914446" lvl="2" indent="-270989" algn="l">
              <a:lnSpc>
                <a:spcPct val="100000"/>
              </a:lnSpc>
              <a:spcBef>
                <a:spcPts val="1000"/>
              </a:spcBef>
              <a:spcAft>
                <a:spcPts val="0"/>
              </a:spcAft>
              <a:buSzPts val="2801"/>
              <a:buChar char="•"/>
              <a:defRPr sz="1867">
                <a:latin typeface="Verdana"/>
                <a:ea typeface="Verdana"/>
                <a:cs typeface="Verdana"/>
                <a:sym typeface="Verdana"/>
              </a:defRPr>
            </a:lvl3pPr>
            <a:lvl4pPr marL="1219261" lvl="3" indent="-270989" algn="l">
              <a:lnSpc>
                <a:spcPct val="100000"/>
              </a:lnSpc>
              <a:spcBef>
                <a:spcPts val="1000"/>
              </a:spcBef>
              <a:spcAft>
                <a:spcPts val="0"/>
              </a:spcAft>
              <a:buSzPts val="2801"/>
              <a:buChar char="•"/>
              <a:defRPr sz="1867">
                <a:latin typeface="Verdana"/>
                <a:ea typeface="Verdana"/>
                <a:cs typeface="Verdana"/>
                <a:sym typeface="Verdana"/>
              </a:defRPr>
            </a:lvl4pPr>
            <a:lvl5pPr marL="1524076" lvl="4" indent="-270990" algn="l">
              <a:lnSpc>
                <a:spcPct val="100000"/>
              </a:lnSpc>
              <a:spcBef>
                <a:spcPts val="1000"/>
              </a:spcBef>
              <a:spcAft>
                <a:spcPts val="0"/>
              </a:spcAft>
              <a:buSzPts val="2801"/>
              <a:buChar char="•"/>
              <a:defRPr sz="1867">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932640429"/>
      </p:ext>
    </p:extLst>
  </p:cSld>
  <p:clrMapOvr>
    <a:masterClrMapping/>
  </p:clrMapOvr>
</p:sldLayout>
</file>

<file path=ppt/slideLayouts/slideLayout1662.xml><?xml version="1.0" encoding="utf-8"?>
<p:sldLayout xmlns:a="http://schemas.openxmlformats.org/drawingml/2006/main" xmlns:r="http://schemas.openxmlformats.org/officeDocument/2006/relationships" xmlns:p="http://schemas.openxmlformats.org/presentationml/2006/main" matchingName="38_Quotation">
  <p:cSld name="38_Quotation">
    <p:spTree>
      <p:nvGrpSpPr>
        <p:cNvPr id="1" name="Shape 4819"/>
        <p:cNvGrpSpPr/>
        <p:nvPr/>
      </p:nvGrpSpPr>
      <p:grpSpPr>
        <a:xfrm>
          <a:off x="0" y="0"/>
          <a:ext cx="0" cy="0"/>
          <a:chOff x="0" y="0"/>
          <a:chExt cx="0" cy="0"/>
        </a:xfrm>
      </p:grpSpPr>
      <p:sp>
        <p:nvSpPr>
          <p:cNvPr id="4820" name="Google Shape;4820;p5491"/>
          <p:cNvSpPr/>
          <p:nvPr/>
        </p:nvSpPr>
        <p:spPr>
          <a:xfrm>
            <a:off x="1427358"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821" name="Google Shape;4821;p5491"/>
          <p:cNvSpPr txBox="1">
            <a:spLocks noGrp="1"/>
          </p:cNvSpPr>
          <p:nvPr>
            <p:ph type="title"/>
          </p:nvPr>
        </p:nvSpPr>
        <p:spPr>
          <a:xfrm>
            <a:off x="1427358"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22" name="Google Shape;4822;p549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823" name="Google Shape;4823;p5491"/>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824" name="Google Shape;4824;p54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25" name="Google Shape;4825;p549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826" name="Google Shape;4826;p5491"/>
          <p:cNvGrpSpPr/>
          <p:nvPr/>
        </p:nvGrpSpPr>
        <p:grpSpPr>
          <a:xfrm>
            <a:off x="7191544" y="1"/>
            <a:ext cx="5000459" cy="1425992"/>
            <a:chOff x="7191542" y="1"/>
            <a:chExt cx="5000459" cy="1425992"/>
          </a:xfrm>
        </p:grpSpPr>
        <p:pic>
          <p:nvPicPr>
            <p:cNvPr id="4827" name="Google Shape;4827;p54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28" name="Google Shape;4828;p5491"/>
            <p:cNvGrpSpPr/>
            <p:nvPr/>
          </p:nvGrpSpPr>
          <p:grpSpPr>
            <a:xfrm>
              <a:off x="7191542" y="1"/>
              <a:ext cx="5000459" cy="1425992"/>
              <a:chOff x="7186272" y="0"/>
              <a:chExt cx="5005729" cy="1427495"/>
            </a:xfrm>
          </p:grpSpPr>
          <p:sp>
            <p:nvSpPr>
              <p:cNvPr id="4829" name="Google Shape;4829;p54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4830" name="Google Shape;4830;p54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4831" name="Google Shape;4831;p5491"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2770789710"/>
      </p:ext>
    </p:extLst>
  </p:cSld>
  <p:clrMapOvr>
    <a:masterClrMapping/>
  </p:clrMapOvr>
</p:sldLayout>
</file>

<file path=ppt/slideLayouts/slideLayout1663.xml><?xml version="1.0" encoding="utf-8"?>
<p:sldLayout xmlns:a="http://schemas.openxmlformats.org/drawingml/2006/main" xmlns:r="http://schemas.openxmlformats.org/officeDocument/2006/relationships" xmlns:p="http://schemas.openxmlformats.org/presentationml/2006/main" matchingName="8_Cover">
  <p:cSld name="8_Cover">
    <p:spTree>
      <p:nvGrpSpPr>
        <p:cNvPr id="1" name="Shape 4832"/>
        <p:cNvGrpSpPr/>
        <p:nvPr/>
      </p:nvGrpSpPr>
      <p:grpSpPr>
        <a:xfrm>
          <a:off x="0" y="0"/>
          <a:ext cx="0" cy="0"/>
          <a:chOff x="0" y="0"/>
          <a:chExt cx="0" cy="0"/>
        </a:xfrm>
      </p:grpSpPr>
      <p:sp>
        <p:nvSpPr>
          <p:cNvPr id="4833" name="Google Shape;4833;p5492"/>
          <p:cNvSpPr/>
          <p:nvPr/>
        </p:nvSpPr>
        <p:spPr>
          <a:xfrm>
            <a:off x="902368" y="1294414"/>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4834" name="Google Shape;4834;p5492"/>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35" name="Google Shape;4835;p5492"/>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
        <p:nvSpPr>
          <p:cNvPr id="4836" name="Google Shape;4836;p5492"/>
          <p:cNvSpPr>
            <a:spLocks noGrp="1"/>
          </p:cNvSpPr>
          <p:nvPr>
            <p:ph type="pic" idx="2"/>
          </p:nvPr>
        </p:nvSpPr>
        <p:spPr>
          <a:xfrm>
            <a:off x="7118684" y="233915"/>
            <a:ext cx="5073316" cy="5943600"/>
          </a:xfrm>
          <a:prstGeom prst="rect">
            <a:avLst/>
          </a:prstGeom>
          <a:noFill/>
          <a:ln>
            <a:noFill/>
          </a:ln>
        </p:spPr>
      </p:sp>
      <p:grpSp>
        <p:nvGrpSpPr>
          <p:cNvPr id="4837" name="Google Shape;4837;p5492"/>
          <p:cNvGrpSpPr/>
          <p:nvPr/>
        </p:nvGrpSpPr>
        <p:grpSpPr>
          <a:xfrm>
            <a:off x="0" y="5020349"/>
            <a:ext cx="12192000" cy="1837653"/>
            <a:chOff x="0" y="5020348"/>
            <a:chExt cx="12192000" cy="1837653"/>
          </a:xfrm>
        </p:grpSpPr>
        <p:sp>
          <p:nvSpPr>
            <p:cNvPr id="4838" name="Google Shape;4838;p549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4839" name="Google Shape;4839;p549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4840" name="Google Shape;4840;p549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102978108"/>
      </p:ext>
    </p:extLst>
  </p:cSld>
  <p:clrMapOvr>
    <a:masterClrMapping/>
  </p:clrMapOvr>
</p:sldLayout>
</file>

<file path=ppt/slideLayouts/slideLayout1664.xml><?xml version="1.0" encoding="utf-8"?>
<p:sldLayout xmlns:a="http://schemas.openxmlformats.org/drawingml/2006/main" xmlns:r="http://schemas.openxmlformats.org/officeDocument/2006/relationships" xmlns:p="http://schemas.openxmlformats.org/presentationml/2006/main" matchingName="8_Divider">
  <p:cSld name="8_Divider">
    <p:bg>
      <p:bgPr>
        <a:solidFill>
          <a:schemeClr val="lt2"/>
        </a:solidFill>
        <a:effectLst/>
      </p:bgPr>
    </p:bg>
    <p:spTree>
      <p:nvGrpSpPr>
        <p:cNvPr id="1" name="Shape 4841"/>
        <p:cNvGrpSpPr/>
        <p:nvPr/>
      </p:nvGrpSpPr>
      <p:grpSpPr>
        <a:xfrm>
          <a:off x="0" y="0"/>
          <a:ext cx="0" cy="0"/>
          <a:chOff x="0" y="0"/>
          <a:chExt cx="0" cy="0"/>
        </a:xfrm>
      </p:grpSpPr>
      <p:grpSp>
        <p:nvGrpSpPr>
          <p:cNvPr id="4842" name="Google Shape;4842;p5493"/>
          <p:cNvGrpSpPr/>
          <p:nvPr/>
        </p:nvGrpSpPr>
        <p:grpSpPr>
          <a:xfrm>
            <a:off x="0" y="5020348"/>
            <a:ext cx="12192000" cy="1837653"/>
            <a:chOff x="0" y="5020347"/>
            <a:chExt cx="12192000" cy="1837653"/>
          </a:xfrm>
        </p:grpSpPr>
        <p:sp>
          <p:nvSpPr>
            <p:cNvPr id="4843" name="Google Shape;4843;p549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4844" name="Google Shape;4844;p549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4845" name="Google Shape;4845;p549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4846" name="Google Shape;4846;p549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847" name="Google Shape;4847;p5493"/>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48" name="Google Shape;4848;p5493"/>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Tree>
    <p:extLst>
      <p:ext uri="{BB962C8B-B14F-4D97-AF65-F5344CB8AC3E}">
        <p14:creationId xmlns:p14="http://schemas.microsoft.com/office/powerpoint/2010/main" val="2090244703"/>
      </p:ext>
    </p:extLst>
  </p:cSld>
  <p:clrMapOvr>
    <a:masterClrMapping/>
  </p:clrMapOvr>
</p:sldLayout>
</file>

<file path=ppt/slideLayouts/slideLayout1665.xml><?xml version="1.0" encoding="utf-8"?>
<p:sldLayout xmlns:a="http://schemas.openxmlformats.org/drawingml/2006/main" xmlns:r="http://schemas.openxmlformats.org/officeDocument/2006/relationships" xmlns:p="http://schemas.openxmlformats.org/presentationml/2006/main" matchingName="14_Quotation">
  <p:cSld name="14_Quotation">
    <p:spTree>
      <p:nvGrpSpPr>
        <p:cNvPr id="1" name="Shape 4849"/>
        <p:cNvGrpSpPr/>
        <p:nvPr/>
      </p:nvGrpSpPr>
      <p:grpSpPr>
        <a:xfrm>
          <a:off x="0" y="0"/>
          <a:ext cx="0" cy="0"/>
          <a:chOff x="0" y="0"/>
          <a:chExt cx="0" cy="0"/>
        </a:xfrm>
      </p:grpSpPr>
      <p:sp>
        <p:nvSpPr>
          <p:cNvPr id="4850" name="Google Shape;4850;p5494"/>
          <p:cNvSpPr/>
          <p:nvPr/>
        </p:nvSpPr>
        <p:spPr>
          <a:xfrm>
            <a:off x="1427357"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4851" name="Google Shape;4851;p549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52" name="Google Shape;4852;p549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853" name="Google Shape;4853;p549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854" name="Google Shape;4854;p54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55" name="Google Shape;4855;p549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856" name="Google Shape;4856;p5494"/>
          <p:cNvGrpSpPr/>
          <p:nvPr/>
        </p:nvGrpSpPr>
        <p:grpSpPr>
          <a:xfrm>
            <a:off x="7191543" y="1"/>
            <a:ext cx="5000459" cy="1425992"/>
            <a:chOff x="7191542" y="1"/>
            <a:chExt cx="5000459" cy="1425992"/>
          </a:xfrm>
        </p:grpSpPr>
        <p:pic>
          <p:nvPicPr>
            <p:cNvPr id="4857" name="Google Shape;4857;p54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58" name="Google Shape;4858;p5494"/>
            <p:cNvGrpSpPr/>
            <p:nvPr/>
          </p:nvGrpSpPr>
          <p:grpSpPr>
            <a:xfrm>
              <a:off x="7191542" y="1"/>
              <a:ext cx="5000459" cy="1425992"/>
              <a:chOff x="7186272" y="0"/>
              <a:chExt cx="5005729" cy="1427495"/>
            </a:xfrm>
          </p:grpSpPr>
          <p:sp>
            <p:nvSpPr>
              <p:cNvPr id="4859" name="Google Shape;4859;p54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4860" name="Google Shape;4860;p54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4861" name="Google Shape;4861;p5494"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729735009"/>
      </p:ext>
    </p:extLst>
  </p:cSld>
  <p:clrMapOvr>
    <a:masterClrMapping/>
  </p:clrMapOvr>
</p:sldLayout>
</file>

<file path=ppt/slideLayouts/slideLayout1666.xml><?xml version="1.0" encoding="utf-8"?>
<p:sldLayout xmlns:a="http://schemas.openxmlformats.org/drawingml/2006/main" xmlns:r="http://schemas.openxmlformats.org/officeDocument/2006/relationships" xmlns:p="http://schemas.openxmlformats.org/presentationml/2006/main" matchingName="7_Photo Slide">
  <p:cSld name="7_Photo Slide">
    <p:spTree>
      <p:nvGrpSpPr>
        <p:cNvPr id="1" name="Shape 4862"/>
        <p:cNvGrpSpPr/>
        <p:nvPr/>
      </p:nvGrpSpPr>
      <p:grpSpPr>
        <a:xfrm>
          <a:off x="0" y="0"/>
          <a:ext cx="0" cy="0"/>
          <a:chOff x="0" y="0"/>
          <a:chExt cx="0" cy="0"/>
        </a:xfrm>
      </p:grpSpPr>
      <p:sp>
        <p:nvSpPr>
          <p:cNvPr id="4863" name="Google Shape;4863;p5495"/>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4864" name="Google Shape;4864;p549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865" name="Google Shape;4865;p5495"/>
          <p:cNvGrpSpPr/>
          <p:nvPr/>
        </p:nvGrpSpPr>
        <p:grpSpPr>
          <a:xfrm>
            <a:off x="0" y="5379427"/>
            <a:ext cx="2807368" cy="753891"/>
            <a:chOff x="0" y="5379426"/>
            <a:chExt cx="2807368" cy="753891"/>
          </a:xfrm>
        </p:grpSpPr>
        <p:sp>
          <p:nvSpPr>
            <p:cNvPr id="4866" name="Google Shape;4866;p549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4867" name="Google Shape;4867;p549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4868" name="Google Shape;4868;p5495"/>
          <p:cNvSpPr>
            <a:spLocks noGrp="1"/>
          </p:cNvSpPr>
          <p:nvPr>
            <p:ph type="pic" idx="2"/>
          </p:nvPr>
        </p:nvSpPr>
        <p:spPr>
          <a:xfrm>
            <a:off x="2807368" y="457202"/>
            <a:ext cx="8915400" cy="5943598"/>
          </a:xfrm>
          <a:prstGeom prst="rect">
            <a:avLst/>
          </a:prstGeom>
          <a:noFill/>
          <a:ln>
            <a:noFill/>
          </a:ln>
        </p:spPr>
      </p:sp>
      <p:pic>
        <p:nvPicPr>
          <p:cNvPr id="4869" name="Google Shape;4869;p5495"/>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279148451"/>
      </p:ext>
    </p:extLst>
  </p:cSld>
  <p:clrMapOvr>
    <a:masterClrMapping/>
  </p:clrMapOvr>
</p:sldLayout>
</file>

<file path=ppt/slideLayouts/slideLayout1667.xml><?xml version="1.0" encoding="utf-8"?>
<p:sldLayout xmlns:a="http://schemas.openxmlformats.org/drawingml/2006/main" xmlns:r="http://schemas.openxmlformats.org/officeDocument/2006/relationships" xmlns:p="http://schemas.openxmlformats.org/presentationml/2006/main" matchingName="15_Quotation">
  <p:cSld name="15_Quotation">
    <p:spTree>
      <p:nvGrpSpPr>
        <p:cNvPr id="1" name="Shape 4870"/>
        <p:cNvGrpSpPr/>
        <p:nvPr/>
      </p:nvGrpSpPr>
      <p:grpSpPr>
        <a:xfrm>
          <a:off x="0" y="0"/>
          <a:ext cx="0" cy="0"/>
          <a:chOff x="0" y="0"/>
          <a:chExt cx="0" cy="0"/>
        </a:xfrm>
      </p:grpSpPr>
      <p:sp>
        <p:nvSpPr>
          <p:cNvPr id="4871" name="Google Shape;4871;p5496"/>
          <p:cNvSpPr/>
          <p:nvPr/>
        </p:nvSpPr>
        <p:spPr>
          <a:xfrm>
            <a:off x="1427357"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4872" name="Google Shape;4872;p549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73" name="Google Shape;4873;p549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874" name="Google Shape;4874;p549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875" name="Google Shape;4875;p54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76" name="Google Shape;4876;p549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877" name="Google Shape;4877;p5496"/>
          <p:cNvGrpSpPr/>
          <p:nvPr/>
        </p:nvGrpSpPr>
        <p:grpSpPr>
          <a:xfrm>
            <a:off x="7191543" y="1"/>
            <a:ext cx="5000459" cy="1425992"/>
            <a:chOff x="7191542" y="1"/>
            <a:chExt cx="5000459" cy="1425992"/>
          </a:xfrm>
        </p:grpSpPr>
        <p:pic>
          <p:nvPicPr>
            <p:cNvPr id="4878" name="Google Shape;4878;p54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79" name="Google Shape;4879;p5496"/>
            <p:cNvGrpSpPr/>
            <p:nvPr/>
          </p:nvGrpSpPr>
          <p:grpSpPr>
            <a:xfrm>
              <a:off x="7191542" y="1"/>
              <a:ext cx="5000459" cy="1425992"/>
              <a:chOff x="7186272" y="0"/>
              <a:chExt cx="5005729" cy="1427495"/>
            </a:xfrm>
          </p:grpSpPr>
          <p:sp>
            <p:nvSpPr>
              <p:cNvPr id="4880" name="Google Shape;4880;p54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4881" name="Google Shape;4881;p54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4882" name="Google Shape;4882;p5496"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413021682"/>
      </p:ext>
    </p:extLst>
  </p:cSld>
  <p:clrMapOvr>
    <a:masterClrMapping/>
  </p:clrMapOvr>
</p:sldLayout>
</file>

<file path=ppt/slideLayouts/slideLayout1668.xml><?xml version="1.0" encoding="utf-8"?>
<p:sldLayout xmlns:a="http://schemas.openxmlformats.org/drawingml/2006/main" xmlns:r="http://schemas.openxmlformats.org/officeDocument/2006/relationships" xmlns:p="http://schemas.openxmlformats.org/presentationml/2006/main" matchingName="7_Title and Content">
  <p:cSld name="7_Title and Content">
    <p:spTree>
      <p:nvGrpSpPr>
        <p:cNvPr id="1" name="Shape 4883"/>
        <p:cNvGrpSpPr/>
        <p:nvPr/>
      </p:nvGrpSpPr>
      <p:grpSpPr>
        <a:xfrm>
          <a:off x="0" y="0"/>
          <a:ext cx="0" cy="0"/>
          <a:chOff x="0" y="0"/>
          <a:chExt cx="0" cy="0"/>
        </a:xfrm>
      </p:grpSpPr>
      <p:grpSp>
        <p:nvGrpSpPr>
          <p:cNvPr id="4884" name="Google Shape;4884;p5497"/>
          <p:cNvGrpSpPr/>
          <p:nvPr/>
        </p:nvGrpSpPr>
        <p:grpSpPr>
          <a:xfrm>
            <a:off x="7191543" y="1"/>
            <a:ext cx="5000459" cy="1425992"/>
            <a:chOff x="7191542" y="1"/>
            <a:chExt cx="5000459" cy="1425992"/>
          </a:xfrm>
        </p:grpSpPr>
        <p:pic>
          <p:nvPicPr>
            <p:cNvPr id="4885" name="Google Shape;4885;p54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86" name="Google Shape;4886;p5497"/>
            <p:cNvGrpSpPr/>
            <p:nvPr/>
          </p:nvGrpSpPr>
          <p:grpSpPr>
            <a:xfrm>
              <a:off x="7191542" y="1"/>
              <a:ext cx="5000459" cy="1425992"/>
              <a:chOff x="7186272" y="0"/>
              <a:chExt cx="5005729" cy="1427495"/>
            </a:xfrm>
          </p:grpSpPr>
          <p:sp>
            <p:nvSpPr>
              <p:cNvPr id="4887" name="Google Shape;4887;p54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4888" name="Google Shape;4888;p54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4889" name="Google Shape;4889;p549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90" name="Google Shape;4890;p5497"/>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891" name="Google Shape;4891;p549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892" name="Google Shape;4892;p54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93" name="Google Shape;4893;p549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29917595"/>
      </p:ext>
    </p:extLst>
  </p:cSld>
  <p:clrMapOvr>
    <a:masterClrMapping/>
  </p:clrMapOvr>
</p:sldLayout>
</file>

<file path=ppt/slideLayouts/slideLayout1669.xml><?xml version="1.0" encoding="utf-8"?>
<p:sldLayout xmlns:a="http://schemas.openxmlformats.org/drawingml/2006/main" xmlns:r="http://schemas.openxmlformats.org/officeDocument/2006/relationships" xmlns:p="http://schemas.openxmlformats.org/presentationml/2006/main" matchingName="7_Two Content">
  <p:cSld name="7_Two Content">
    <p:spTree>
      <p:nvGrpSpPr>
        <p:cNvPr id="1" name="Shape 4894"/>
        <p:cNvGrpSpPr/>
        <p:nvPr/>
      </p:nvGrpSpPr>
      <p:grpSpPr>
        <a:xfrm>
          <a:off x="0" y="0"/>
          <a:ext cx="0" cy="0"/>
          <a:chOff x="0" y="0"/>
          <a:chExt cx="0" cy="0"/>
        </a:xfrm>
      </p:grpSpPr>
      <p:sp>
        <p:nvSpPr>
          <p:cNvPr id="4895" name="Google Shape;4895;p549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96" name="Google Shape;4896;p5498"/>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4897" name="Google Shape;4897;p5498"/>
          <p:cNvGrpSpPr/>
          <p:nvPr/>
        </p:nvGrpSpPr>
        <p:grpSpPr>
          <a:xfrm>
            <a:off x="7191543" y="1"/>
            <a:ext cx="5000459" cy="1425992"/>
            <a:chOff x="7191542" y="1"/>
            <a:chExt cx="5000459" cy="1425992"/>
          </a:xfrm>
        </p:grpSpPr>
        <p:pic>
          <p:nvPicPr>
            <p:cNvPr id="4898" name="Google Shape;4898;p54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99" name="Google Shape;4899;p5498"/>
            <p:cNvGrpSpPr/>
            <p:nvPr/>
          </p:nvGrpSpPr>
          <p:grpSpPr>
            <a:xfrm>
              <a:off x="7191542" y="1"/>
              <a:ext cx="5000459" cy="1425992"/>
              <a:chOff x="7186272" y="0"/>
              <a:chExt cx="5005729" cy="1427495"/>
            </a:xfrm>
          </p:grpSpPr>
          <p:sp>
            <p:nvSpPr>
              <p:cNvPr id="4900" name="Google Shape;4900;p54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4901" name="Google Shape;4901;p54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4902" name="Google Shape;4902;p5498"/>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903" name="Google Shape;4903;p5498"/>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904" name="Google Shape;4904;p54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05" name="Google Shape;4905;p549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95283123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matchingName="Comparison">
  <p:cSld name="Comparison 8 2">
    <p:spTree>
      <p:nvGrpSpPr>
        <p:cNvPr id="1" name="Shape 10693"/>
        <p:cNvGrpSpPr/>
        <p:nvPr/>
      </p:nvGrpSpPr>
      <p:grpSpPr>
        <a:xfrm>
          <a:off x="0" y="0"/>
          <a:ext cx="0" cy="0"/>
          <a:chOff x="0" y="0"/>
          <a:chExt cx="0" cy="0"/>
        </a:xfrm>
      </p:grpSpPr>
      <p:grpSp>
        <p:nvGrpSpPr>
          <p:cNvPr id="10694" name="Google Shape;10694;p1471"/>
          <p:cNvGrpSpPr/>
          <p:nvPr/>
        </p:nvGrpSpPr>
        <p:grpSpPr>
          <a:xfrm>
            <a:off x="7191542" y="1"/>
            <a:ext cx="5000459" cy="1425992"/>
            <a:chOff x="7191542" y="1"/>
            <a:chExt cx="5000459" cy="1425992"/>
          </a:xfrm>
        </p:grpSpPr>
        <p:pic>
          <p:nvPicPr>
            <p:cNvPr id="10695" name="Google Shape;10695;p14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96" name="Google Shape;10696;p1471"/>
            <p:cNvGrpSpPr/>
            <p:nvPr/>
          </p:nvGrpSpPr>
          <p:grpSpPr>
            <a:xfrm>
              <a:off x="7191542" y="1"/>
              <a:ext cx="5000459" cy="1425992"/>
              <a:chOff x="7186272" y="0"/>
              <a:chExt cx="5005729" cy="1427495"/>
            </a:xfrm>
          </p:grpSpPr>
          <p:sp>
            <p:nvSpPr>
              <p:cNvPr id="10697" name="Google Shape;10697;p14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698" name="Google Shape;10698;p14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699" name="Google Shape;10699;p14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700" name="Google Shape;10700;p1471"/>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701" name="Google Shape;10701;p1471"/>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02" name="Google Shape;10702;p147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703" name="Google Shape;10703;p147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04" name="Google Shape;10704;p14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705" name="Google Shape;10705;p14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06" name="Google Shape;10706;p14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670.xml><?xml version="1.0" encoding="utf-8"?>
<p:sldLayout xmlns:a="http://schemas.openxmlformats.org/drawingml/2006/main" xmlns:r="http://schemas.openxmlformats.org/officeDocument/2006/relationships" xmlns:p="http://schemas.openxmlformats.org/presentationml/2006/main" matchingName="7_Comparison">
  <p:cSld name="7_Comparison">
    <p:spTree>
      <p:nvGrpSpPr>
        <p:cNvPr id="1" name="Shape 4906"/>
        <p:cNvGrpSpPr/>
        <p:nvPr/>
      </p:nvGrpSpPr>
      <p:grpSpPr>
        <a:xfrm>
          <a:off x="0" y="0"/>
          <a:ext cx="0" cy="0"/>
          <a:chOff x="0" y="0"/>
          <a:chExt cx="0" cy="0"/>
        </a:xfrm>
      </p:grpSpPr>
      <p:grpSp>
        <p:nvGrpSpPr>
          <p:cNvPr id="4907" name="Google Shape;4907;p5499"/>
          <p:cNvGrpSpPr/>
          <p:nvPr/>
        </p:nvGrpSpPr>
        <p:grpSpPr>
          <a:xfrm>
            <a:off x="7191543" y="1"/>
            <a:ext cx="5000459" cy="1425992"/>
            <a:chOff x="7191542" y="1"/>
            <a:chExt cx="5000459" cy="1425992"/>
          </a:xfrm>
        </p:grpSpPr>
        <p:pic>
          <p:nvPicPr>
            <p:cNvPr id="4908" name="Google Shape;4908;p54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909" name="Google Shape;4909;p5499"/>
            <p:cNvGrpSpPr/>
            <p:nvPr/>
          </p:nvGrpSpPr>
          <p:grpSpPr>
            <a:xfrm>
              <a:off x="7191542" y="1"/>
              <a:ext cx="5000459" cy="1425992"/>
              <a:chOff x="7186272" y="0"/>
              <a:chExt cx="5005729" cy="1427495"/>
            </a:xfrm>
          </p:grpSpPr>
          <p:sp>
            <p:nvSpPr>
              <p:cNvPr id="4910" name="Google Shape;4910;p54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4911" name="Google Shape;4911;p54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4912" name="Google Shape;4912;p5499"/>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13" name="Google Shape;4913;p5499"/>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4914" name="Google Shape;4914;p5499"/>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915" name="Google Shape;4915;p549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4916" name="Google Shape;4916;p549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917" name="Google Shape;4917;p549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918" name="Google Shape;4918;p54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19" name="Google Shape;4919;p549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625707620"/>
      </p:ext>
    </p:extLst>
  </p:cSld>
  <p:clrMapOvr>
    <a:masterClrMapping/>
  </p:clrMapOvr>
</p:sldLayout>
</file>

<file path=ppt/slideLayouts/slideLayout1671.xml><?xml version="1.0" encoding="utf-8"?>
<p:sldLayout xmlns:a="http://schemas.openxmlformats.org/drawingml/2006/main" xmlns:r="http://schemas.openxmlformats.org/officeDocument/2006/relationships" xmlns:p="http://schemas.openxmlformats.org/presentationml/2006/main" matchingName="7_Title Only">
  <p:cSld name="7_Title Only">
    <p:spTree>
      <p:nvGrpSpPr>
        <p:cNvPr id="1" name="Shape 4920"/>
        <p:cNvGrpSpPr/>
        <p:nvPr/>
      </p:nvGrpSpPr>
      <p:grpSpPr>
        <a:xfrm>
          <a:off x="0" y="0"/>
          <a:ext cx="0" cy="0"/>
          <a:chOff x="0" y="0"/>
          <a:chExt cx="0" cy="0"/>
        </a:xfrm>
      </p:grpSpPr>
      <p:grpSp>
        <p:nvGrpSpPr>
          <p:cNvPr id="4921" name="Google Shape;4921;p5500"/>
          <p:cNvGrpSpPr/>
          <p:nvPr/>
        </p:nvGrpSpPr>
        <p:grpSpPr>
          <a:xfrm>
            <a:off x="7191543" y="1"/>
            <a:ext cx="5000459" cy="1425992"/>
            <a:chOff x="7191542" y="1"/>
            <a:chExt cx="5000459" cy="1425992"/>
          </a:xfrm>
        </p:grpSpPr>
        <p:pic>
          <p:nvPicPr>
            <p:cNvPr id="4922" name="Google Shape;4922;p55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923" name="Google Shape;4923;p5500"/>
            <p:cNvGrpSpPr/>
            <p:nvPr/>
          </p:nvGrpSpPr>
          <p:grpSpPr>
            <a:xfrm>
              <a:off x="7191542" y="1"/>
              <a:ext cx="5000459" cy="1425992"/>
              <a:chOff x="7186272" y="0"/>
              <a:chExt cx="5005729" cy="1427495"/>
            </a:xfrm>
          </p:grpSpPr>
          <p:sp>
            <p:nvSpPr>
              <p:cNvPr id="4924" name="Google Shape;4924;p55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4925" name="Google Shape;4925;p55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4926" name="Google Shape;4926;p550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27" name="Google Shape;4927;p550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928" name="Google Shape;4928;p55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29" name="Google Shape;4929;p550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985528902"/>
      </p:ext>
    </p:extLst>
  </p:cSld>
  <p:clrMapOvr>
    <a:masterClrMapping/>
  </p:clrMapOvr>
</p:sldLayout>
</file>

<file path=ppt/slideLayouts/slideLayout1672.xml><?xml version="1.0" encoding="utf-8"?>
<p:sldLayout xmlns:a="http://schemas.openxmlformats.org/drawingml/2006/main" xmlns:r="http://schemas.openxmlformats.org/officeDocument/2006/relationships" xmlns:p="http://schemas.openxmlformats.org/presentationml/2006/main" matchingName="11_Cover">
  <p:cSld name="11_Cover">
    <p:spTree>
      <p:nvGrpSpPr>
        <p:cNvPr id="1" name="Shape 4930"/>
        <p:cNvGrpSpPr/>
        <p:nvPr/>
      </p:nvGrpSpPr>
      <p:grpSpPr>
        <a:xfrm>
          <a:off x="0" y="0"/>
          <a:ext cx="0" cy="0"/>
          <a:chOff x="0" y="0"/>
          <a:chExt cx="0" cy="0"/>
        </a:xfrm>
      </p:grpSpPr>
      <p:sp>
        <p:nvSpPr>
          <p:cNvPr id="4931" name="Google Shape;4931;p5501"/>
          <p:cNvSpPr/>
          <p:nvPr/>
        </p:nvSpPr>
        <p:spPr>
          <a:xfrm>
            <a:off x="902368" y="1294414"/>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4932" name="Google Shape;4932;p5501"/>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33" name="Google Shape;4933;p5501"/>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
        <p:nvSpPr>
          <p:cNvPr id="4934" name="Google Shape;4934;p5501"/>
          <p:cNvSpPr>
            <a:spLocks noGrp="1"/>
          </p:cNvSpPr>
          <p:nvPr>
            <p:ph type="pic" idx="2"/>
          </p:nvPr>
        </p:nvSpPr>
        <p:spPr>
          <a:xfrm>
            <a:off x="7118684" y="233915"/>
            <a:ext cx="5073316" cy="5943600"/>
          </a:xfrm>
          <a:prstGeom prst="rect">
            <a:avLst/>
          </a:prstGeom>
          <a:noFill/>
          <a:ln>
            <a:noFill/>
          </a:ln>
        </p:spPr>
      </p:sp>
      <p:grpSp>
        <p:nvGrpSpPr>
          <p:cNvPr id="4935" name="Google Shape;4935;p5501"/>
          <p:cNvGrpSpPr/>
          <p:nvPr/>
        </p:nvGrpSpPr>
        <p:grpSpPr>
          <a:xfrm>
            <a:off x="0" y="5020349"/>
            <a:ext cx="12192000" cy="1837653"/>
            <a:chOff x="0" y="5020348"/>
            <a:chExt cx="12192000" cy="1837653"/>
          </a:xfrm>
        </p:grpSpPr>
        <p:sp>
          <p:nvSpPr>
            <p:cNvPr id="4936" name="Google Shape;4936;p550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4937" name="Google Shape;4937;p550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4938" name="Google Shape;4938;p550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158846960"/>
      </p:ext>
    </p:extLst>
  </p:cSld>
  <p:clrMapOvr>
    <a:masterClrMapping/>
  </p:clrMapOvr>
</p:sldLayout>
</file>

<file path=ppt/slideLayouts/slideLayout1673.xml><?xml version="1.0" encoding="utf-8"?>
<p:sldLayout xmlns:a="http://schemas.openxmlformats.org/drawingml/2006/main" xmlns:r="http://schemas.openxmlformats.org/officeDocument/2006/relationships" xmlns:p="http://schemas.openxmlformats.org/presentationml/2006/main" matchingName="11_Divider">
  <p:cSld name="11_Divider">
    <p:bg>
      <p:bgPr>
        <a:solidFill>
          <a:schemeClr val="lt2"/>
        </a:solidFill>
        <a:effectLst/>
      </p:bgPr>
    </p:bg>
    <p:spTree>
      <p:nvGrpSpPr>
        <p:cNvPr id="1" name="Shape 4939"/>
        <p:cNvGrpSpPr/>
        <p:nvPr/>
      </p:nvGrpSpPr>
      <p:grpSpPr>
        <a:xfrm>
          <a:off x="0" y="0"/>
          <a:ext cx="0" cy="0"/>
          <a:chOff x="0" y="0"/>
          <a:chExt cx="0" cy="0"/>
        </a:xfrm>
      </p:grpSpPr>
      <p:grpSp>
        <p:nvGrpSpPr>
          <p:cNvPr id="4940" name="Google Shape;4940;p5502"/>
          <p:cNvGrpSpPr/>
          <p:nvPr/>
        </p:nvGrpSpPr>
        <p:grpSpPr>
          <a:xfrm>
            <a:off x="0" y="5020348"/>
            <a:ext cx="12192000" cy="1837653"/>
            <a:chOff x="0" y="5020347"/>
            <a:chExt cx="12192000" cy="1837653"/>
          </a:xfrm>
        </p:grpSpPr>
        <p:sp>
          <p:nvSpPr>
            <p:cNvPr id="4941" name="Google Shape;4941;p550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4942" name="Google Shape;4942;p550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4943" name="Google Shape;4943;p550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4944" name="Google Shape;4944;p550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945" name="Google Shape;4945;p5502"/>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46" name="Google Shape;4946;p5502"/>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Tree>
    <p:extLst>
      <p:ext uri="{BB962C8B-B14F-4D97-AF65-F5344CB8AC3E}">
        <p14:creationId xmlns:p14="http://schemas.microsoft.com/office/powerpoint/2010/main" val="1447815903"/>
      </p:ext>
    </p:extLst>
  </p:cSld>
  <p:clrMapOvr>
    <a:masterClrMapping/>
  </p:clrMapOvr>
</p:sldLayout>
</file>

<file path=ppt/slideLayouts/slideLayout1674.xml><?xml version="1.0" encoding="utf-8"?>
<p:sldLayout xmlns:a="http://schemas.openxmlformats.org/drawingml/2006/main" xmlns:r="http://schemas.openxmlformats.org/officeDocument/2006/relationships" xmlns:p="http://schemas.openxmlformats.org/presentationml/2006/main" matchingName="11_Photo Slide">
  <p:cSld name="11_Photo Slide">
    <p:spTree>
      <p:nvGrpSpPr>
        <p:cNvPr id="1" name="Shape 4947"/>
        <p:cNvGrpSpPr/>
        <p:nvPr/>
      </p:nvGrpSpPr>
      <p:grpSpPr>
        <a:xfrm>
          <a:off x="0" y="0"/>
          <a:ext cx="0" cy="0"/>
          <a:chOff x="0" y="0"/>
          <a:chExt cx="0" cy="0"/>
        </a:xfrm>
      </p:grpSpPr>
      <p:sp>
        <p:nvSpPr>
          <p:cNvPr id="4948" name="Google Shape;4948;p5503"/>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4949" name="Google Shape;4949;p550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950" name="Google Shape;4950;p5503"/>
          <p:cNvGrpSpPr/>
          <p:nvPr/>
        </p:nvGrpSpPr>
        <p:grpSpPr>
          <a:xfrm>
            <a:off x="0" y="5379427"/>
            <a:ext cx="2807368" cy="753891"/>
            <a:chOff x="0" y="5379426"/>
            <a:chExt cx="2807368" cy="753891"/>
          </a:xfrm>
        </p:grpSpPr>
        <p:sp>
          <p:nvSpPr>
            <p:cNvPr id="4951" name="Google Shape;4951;p550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4952" name="Google Shape;4952;p550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4953" name="Google Shape;4953;p5503"/>
          <p:cNvSpPr>
            <a:spLocks noGrp="1"/>
          </p:cNvSpPr>
          <p:nvPr>
            <p:ph type="pic" idx="2"/>
          </p:nvPr>
        </p:nvSpPr>
        <p:spPr>
          <a:xfrm>
            <a:off x="2807368" y="457202"/>
            <a:ext cx="8915400" cy="5943598"/>
          </a:xfrm>
          <a:prstGeom prst="rect">
            <a:avLst/>
          </a:prstGeom>
          <a:noFill/>
          <a:ln>
            <a:noFill/>
          </a:ln>
        </p:spPr>
      </p:sp>
      <p:pic>
        <p:nvPicPr>
          <p:cNvPr id="4954" name="Google Shape;4954;p5503"/>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848184511"/>
      </p:ext>
    </p:extLst>
  </p:cSld>
  <p:clrMapOvr>
    <a:masterClrMapping/>
  </p:clrMapOvr>
</p:sldLayout>
</file>

<file path=ppt/slideLayouts/slideLayout1675.xml><?xml version="1.0" encoding="utf-8"?>
<p:sldLayout xmlns:a="http://schemas.openxmlformats.org/drawingml/2006/main" xmlns:r="http://schemas.openxmlformats.org/officeDocument/2006/relationships" xmlns:p="http://schemas.openxmlformats.org/presentationml/2006/main" matchingName="18_Quotation">
  <p:cSld name="18_Quotation">
    <p:spTree>
      <p:nvGrpSpPr>
        <p:cNvPr id="1" name="Shape 4955"/>
        <p:cNvGrpSpPr/>
        <p:nvPr/>
      </p:nvGrpSpPr>
      <p:grpSpPr>
        <a:xfrm>
          <a:off x="0" y="0"/>
          <a:ext cx="0" cy="0"/>
          <a:chOff x="0" y="0"/>
          <a:chExt cx="0" cy="0"/>
        </a:xfrm>
      </p:grpSpPr>
      <p:sp>
        <p:nvSpPr>
          <p:cNvPr id="4956" name="Google Shape;4956;p5504"/>
          <p:cNvSpPr/>
          <p:nvPr/>
        </p:nvSpPr>
        <p:spPr>
          <a:xfrm>
            <a:off x="1427357"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4957" name="Google Shape;4957;p550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58" name="Google Shape;4958;p550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959" name="Google Shape;4959;p550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960" name="Google Shape;4960;p55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61" name="Google Shape;4961;p550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962" name="Google Shape;4962;p5504"/>
          <p:cNvGrpSpPr/>
          <p:nvPr/>
        </p:nvGrpSpPr>
        <p:grpSpPr>
          <a:xfrm>
            <a:off x="7191543" y="1"/>
            <a:ext cx="5000459" cy="1425992"/>
            <a:chOff x="7191542" y="1"/>
            <a:chExt cx="5000459" cy="1425992"/>
          </a:xfrm>
        </p:grpSpPr>
        <p:pic>
          <p:nvPicPr>
            <p:cNvPr id="4963" name="Google Shape;4963;p55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964" name="Google Shape;4964;p5504"/>
            <p:cNvGrpSpPr/>
            <p:nvPr/>
          </p:nvGrpSpPr>
          <p:grpSpPr>
            <a:xfrm>
              <a:off x="7191542" y="1"/>
              <a:ext cx="5000459" cy="1425992"/>
              <a:chOff x="7186272" y="0"/>
              <a:chExt cx="5005729" cy="1427495"/>
            </a:xfrm>
          </p:grpSpPr>
          <p:sp>
            <p:nvSpPr>
              <p:cNvPr id="4965" name="Google Shape;4965;p55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4966" name="Google Shape;4966;p55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4967" name="Google Shape;4967;p5504"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2100762"/>
      </p:ext>
    </p:extLst>
  </p:cSld>
  <p:clrMapOvr>
    <a:masterClrMapping/>
  </p:clrMapOvr>
</p:sldLayout>
</file>

<file path=ppt/slideLayouts/slideLayout1676.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spTree>
      <p:nvGrpSpPr>
        <p:cNvPr id="1" name="Shape 4968"/>
        <p:cNvGrpSpPr/>
        <p:nvPr/>
      </p:nvGrpSpPr>
      <p:grpSpPr>
        <a:xfrm>
          <a:off x="0" y="0"/>
          <a:ext cx="0" cy="0"/>
          <a:chOff x="0" y="0"/>
          <a:chExt cx="0" cy="0"/>
        </a:xfrm>
      </p:grpSpPr>
      <p:grpSp>
        <p:nvGrpSpPr>
          <p:cNvPr id="4969" name="Google Shape;4969;p5505"/>
          <p:cNvGrpSpPr/>
          <p:nvPr/>
        </p:nvGrpSpPr>
        <p:grpSpPr>
          <a:xfrm>
            <a:off x="7191543" y="1"/>
            <a:ext cx="5000459" cy="1425992"/>
            <a:chOff x="7191542" y="1"/>
            <a:chExt cx="5000459" cy="1425992"/>
          </a:xfrm>
        </p:grpSpPr>
        <p:pic>
          <p:nvPicPr>
            <p:cNvPr id="4970" name="Google Shape;4970;p55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971" name="Google Shape;4971;p5505"/>
            <p:cNvGrpSpPr/>
            <p:nvPr/>
          </p:nvGrpSpPr>
          <p:grpSpPr>
            <a:xfrm>
              <a:off x="7191542" y="1"/>
              <a:ext cx="5000459" cy="1425992"/>
              <a:chOff x="7186272" y="0"/>
              <a:chExt cx="5005729" cy="1427495"/>
            </a:xfrm>
          </p:grpSpPr>
          <p:sp>
            <p:nvSpPr>
              <p:cNvPr id="4972" name="Google Shape;4972;p55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4973" name="Google Shape;4973;p55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4974" name="Google Shape;4974;p5505"/>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75" name="Google Shape;4975;p5505"/>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976" name="Google Shape;4976;p550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977" name="Google Shape;4977;p55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78" name="Google Shape;4978;p550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57214526"/>
      </p:ext>
    </p:extLst>
  </p:cSld>
  <p:clrMapOvr>
    <a:masterClrMapping/>
  </p:clrMapOvr>
</p:sldLayout>
</file>

<file path=ppt/slideLayouts/slideLayout1677.xml><?xml version="1.0" encoding="utf-8"?>
<p:sldLayout xmlns:a="http://schemas.openxmlformats.org/drawingml/2006/main" xmlns:r="http://schemas.openxmlformats.org/officeDocument/2006/relationships" xmlns:p="http://schemas.openxmlformats.org/presentationml/2006/main" matchingName="11_Two Content">
  <p:cSld name="11_Two Content">
    <p:spTree>
      <p:nvGrpSpPr>
        <p:cNvPr id="1" name="Shape 4979"/>
        <p:cNvGrpSpPr/>
        <p:nvPr/>
      </p:nvGrpSpPr>
      <p:grpSpPr>
        <a:xfrm>
          <a:off x="0" y="0"/>
          <a:ext cx="0" cy="0"/>
          <a:chOff x="0" y="0"/>
          <a:chExt cx="0" cy="0"/>
        </a:xfrm>
      </p:grpSpPr>
      <p:sp>
        <p:nvSpPr>
          <p:cNvPr id="4980" name="Google Shape;4980;p550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81" name="Google Shape;4981;p5506"/>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4982" name="Google Shape;4982;p5506"/>
          <p:cNvGrpSpPr/>
          <p:nvPr/>
        </p:nvGrpSpPr>
        <p:grpSpPr>
          <a:xfrm>
            <a:off x="7191543" y="1"/>
            <a:ext cx="5000459" cy="1425992"/>
            <a:chOff x="7191542" y="1"/>
            <a:chExt cx="5000459" cy="1425992"/>
          </a:xfrm>
        </p:grpSpPr>
        <p:pic>
          <p:nvPicPr>
            <p:cNvPr id="4983" name="Google Shape;4983;p55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984" name="Google Shape;4984;p5506"/>
            <p:cNvGrpSpPr/>
            <p:nvPr/>
          </p:nvGrpSpPr>
          <p:grpSpPr>
            <a:xfrm>
              <a:off x="7191542" y="1"/>
              <a:ext cx="5000459" cy="1425992"/>
              <a:chOff x="7186272" y="0"/>
              <a:chExt cx="5005729" cy="1427495"/>
            </a:xfrm>
          </p:grpSpPr>
          <p:sp>
            <p:nvSpPr>
              <p:cNvPr id="4985" name="Google Shape;4985;p55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4986" name="Google Shape;4986;p55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4987" name="Google Shape;4987;p5506"/>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988" name="Google Shape;4988;p5506"/>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989" name="Google Shape;4989;p55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90" name="Google Shape;4990;p550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941810732"/>
      </p:ext>
    </p:extLst>
  </p:cSld>
  <p:clrMapOvr>
    <a:masterClrMapping/>
  </p:clrMapOvr>
</p:sldLayout>
</file>

<file path=ppt/slideLayouts/slideLayout1678.xml><?xml version="1.0" encoding="utf-8"?>
<p:sldLayout xmlns:a="http://schemas.openxmlformats.org/drawingml/2006/main" xmlns:r="http://schemas.openxmlformats.org/officeDocument/2006/relationships" xmlns:p="http://schemas.openxmlformats.org/presentationml/2006/main" matchingName="11_Comparison">
  <p:cSld name="11_Comparison">
    <p:spTree>
      <p:nvGrpSpPr>
        <p:cNvPr id="1" name="Shape 4991"/>
        <p:cNvGrpSpPr/>
        <p:nvPr/>
      </p:nvGrpSpPr>
      <p:grpSpPr>
        <a:xfrm>
          <a:off x="0" y="0"/>
          <a:ext cx="0" cy="0"/>
          <a:chOff x="0" y="0"/>
          <a:chExt cx="0" cy="0"/>
        </a:xfrm>
      </p:grpSpPr>
      <p:grpSp>
        <p:nvGrpSpPr>
          <p:cNvPr id="4992" name="Google Shape;4992;p5507"/>
          <p:cNvGrpSpPr/>
          <p:nvPr/>
        </p:nvGrpSpPr>
        <p:grpSpPr>
          <a:xfrm>
            <a:off x="7191543" y="1"/>
            <a:ext cx="5000459" cy="1425992"/>
            <a:chOff x="7191542" y="1"/>
            <a:chExt cx="5000459" cy="1425992"/>
          </a:xfrm>
        </p:grpSpPr>
        <p:pic>
          <p:nvPicPr>
            <p:cNvPr id="4993" name="Google Shape;4993;p55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994" name="Google Shape;4994;p5507"/>
            <p:cNvGrpSpPr/>
            <p:nvPr/>
          </p:nvGrpSpPr>
          <p:grpSpPr>
            <a:xfrm>
              <a:off x="7191542" y="1"/>
              <a:ext cx="5000459" cy="1425992"/>
              <a:chOff x="7186272" y="0"/>
              <a:chExt cx="5005729" cy="1427495"/>
            </a:xfrm>
          </p:grpSpPr>
          <p:sp>
            <p:nvSpPr>
              <p:cNvPr id="4995" name="Google Shape;4995;p55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4996" name="Google Shape;4996;p55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4997" name="Google Shape;4997;p550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98" name="Google Shape;4998;p5507"/>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4999" name="Google Shape;4999;p5507"/>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000" name="Google Shape;5000;p550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5001" name="Google Shape;5001;p550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002" name="Google Shape;5002;p550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003" name="Google Shape;5003;p55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04" name="Google Shape;5004;p550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70612634"/>
      </p:ext>
    </p:extLst>
  </p:cSld>
  <p:clrMapOvr>
    <a:masterClrMapping/>
  </p:clrMapOvr>
</p:sldLayout>
</file>

<file path=ppt/slideLayouts/slideLayout1679.xml><?xml version="1.0" encoding="utf-8"?>
<p:sldLayout xmlns:a="http://schemas.openxmlformats.org/drawingml/2006/main" xmlns:r="http://schemas.openxmlformats.org/officeDocument/2006/relationships" xmlns:p="http://schemas.openxmlformats.org/presentationml/2006/main" matchingName="11_Title Only">
  <p:cSld name="11_Title Only">
    <p:spTree>
      <p:nvGrpSpPr>
        <p:cNvPr id="1" name="Shape 5005"/>
        <p:cNvGrpSpPr/>
        <p:nvPr/>
      </p:nvGrpSpPr>
      <p:grpSpPr>
        <a:xfrm>
          <a:off x="0" y="0"/>
          <a:ext cx="0" cy="0"/>
          <a:chOff x="0" y="0"/>
          <a:chExt cx="0" cy="0"/>
        </a:xfrm>
      </p:grpSpPr>
      <p:grpSp>
        <p:nvGrpSpPr>
          <p:cNvPr id="5006" name="Google Shape;5006;p5508"/>
          <p:cNvGrpSpPr/>
          <p:nvPr/>
        </p:nvGrpSpPr>
        <p:grpSpPr>
          <a:xfrm>
            <a:off x="7191543" y="1"/>
            <a:ext cx="5000459" cy="1425992"/>
            <a:chOff x="7191542" y="1"/>
            <a:chExt cx="5000459" cy="1425992"/>
          </a:xfrm>
        </p:grpSpPr>
        <p:pic>
          <p:nvPicPr>
            <p:cNvPr id="5007" name="Google Shape;5007;p55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08" name="Google Shape;5008;p5508"/>
            <p:cNvGrpSpPr/>
            <p:nvPr/>
          </p:nvGrpSpPr>
          <p:grpSpPr>
            <a:xfrm>
              <a:off x="7191542" y="1"/>
              <a:ext cx="5000459" cy="1425992"/>
              <a:chOff x="7186272" y="0"/>
              <a:chExt cx="5005729" cy="1427495"/>
            </a:xfrm>
          </p:grpSpPr>
          <p:sp>
            <p:nvSpPr>
              <p:cNvPr id="5009" name="Google Shape;5009;p55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010" name="Google Shape;5010;p55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011" name="Google Shape;5011;p550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12" name="Google Shape;5012;p550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013" name="Google Shape;5013;p55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14" name="Google Shape;5014;p550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39313987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matchingName="Title Only">
  <p:cSld name="Title Only 8 2">
    <p:spTree>
      <p:nvGrpSpPr>
        <p:cNvPr id="1" name="Shape 10707"/>
        <p:cNvGrpSpPr/>
        <p:nvPr/>
      </p:nvGrpSpPr>
      <p:grpSpPr>
        <a:xfrm>
          <a:off x="0" y="0"/>
          <a:ext cx="0" cy="0"/>
          <a:chOff x="0" y="0"/>
          <a:chExt cx="0" cy="0"/>
        </a:xfrm>
      </p:grpSpPr>
      <p:grpSp>
        <p:nvGrpSpPr>
          <p:cNvPr id="10708" name="Google Shape;10708;p1472"/>
          <p:cNvGrpSpPr/>
          <p:nvPr/>
        </p:nvGrpSpPr>
        <p:grpSpPr>
          <a:xfrm>
            <a:off x="7191542" y="1"/>
            <a:ext cx="5000459" cy="1425992"/>
            <a:chOff x="7191542" y="1"/>
            <a:chExt cx="5000459" cy="1425992"/>
          </a:xfrm>
        </p:grpSpPr>
        <p:pic>
          <p:nvPicPr>
            <p:cNvPr id="10709" name="Google Shape;10709;p14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710" name="Google Shape;10710;p1472"/>
            <p:cNvGrpSpPr/>
            <p:nvPr/>
          </p:nvGrpSpPr>
          <p:grpSpPr>
            <a:xfrm>
              <a:off x="7191542" y="1"/>
              <a:ext cx="5000459" cy="1425992"/>
              <a:chOff x="7186272" y="0"/>
              <a:chExt cx="5005729" cy="1427495"/>
            </a:xfrm>
          </p:grpSpPr>
          <p:sp>
            <p:nvSpPr>
              <p:cNvPr id="10711" name="Google Shape;10711;p14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712" name="Google Shape;10712;p14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713" name="Google Shape;10713;p147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714" name="Google Shape;10714;p14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715" name="Google Shape;10715;p14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16" name="Google Shape;10716;p14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680.xml><?xml version="1.0" encoding="utf-8"?>
<p:sldLayout xmlns:a="http://schemas.openxmlformats.org/drawingml/2006/main" xmlns:r="http://schemas.openxmlformats.org/officeDocument/2006/relationships" xmlns:p="http://schemas.openxmlformats.org/presentationml/2006/main" matchingName="10_End">
  <p:cSld name="10_End">
    <p:spTree>
      <p:nvGrpSpPr>
        <p:cNvPr id="1" name="Shape 5015"/>
        <p:cNvGrpSpPr/>
        <p:nvPr/>
      </p:nvGrpSpPr>
      <p:grpSpPr>
        <a:xfrm>
          <a:off x="0" y="0"/>
          <a:ext cx="0" cy="0"/>
          <a:chOff x="0" y="0"/>
          <a:chExt cx="0" cy="0"/>
        </a:xfrm>
      </p:grpSpPr>
      <p:grpSp>
        <p:nvGrpSpPr>
          <p:cNvPr id="5016" name="Google Shape;5016;p5509"/>
          <p:cNvGrpSpPr/>
          <p:nvPr/>
        </p:nvGrpSpPr>
        <p:grpSpPr>
          <a:xfrm>
            <a:off x="0" y="0"/>
            <a:ext cx="12192000" cy="2148830"/>
            <a:chOff x="0" y="0"/>
            <a:chExt cx="12192000" cy="2148830"/>
          </a:xfrm>
        </p:grpSpPr>
        <p:sp>
          <p:nvSpPr>
            <p:cNvPr id="5017" name="Google Shape;5017;p550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018" name="Google Shape;5018;p550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5019" name="Google Shape;5019;p5509"/>
          <p:cNvSpPr/>
          <p:nvPr/>
        </p:nvSpPr>
        <p:spPr>
          <a:xfrm>
            <a:off x="902368" y="1517698"/>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020" name="Google Shape;5020;p5509"/>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021" name="Google Shape;5021;p550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9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022" name="Google Shape;5022;p5509"/>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5023" name="Google Shape;5023;p550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418100991"/>
      </p:ext>
    </p:extLst>
  </p:cSld>
  <p:clrMapOvr>
    <a:masterClrMapping/>
  </p:clrMapOvr>
</p:sldLayout>
</file>

<file path=ppt/slideLayouts/slideLayout1681.xml><?xml version="1.0" encoding="utf-8"?>
<p:sldLayout xmlns:a="http://schemas.openxmlformats.org/drawingml/2006/main" xmlns:r="http://schemas.openxmlformats.org/officeDocument/2006/relationships" xmlns:p="http://schemas.openxmlformats.org/presentationml/2006/main" matchingName="21_Quotation">
  <p:cSld name="21_Quotation">
    <p:spTree>
      <p:nvGrpSpPr>
        <p:cNvPr id="1" name="Shape 5024"/>
        <p:cNvGrpSpPr/>
        <p:nvPr/>
      </p:nvGrpSpPr>
      <p:grpSpPr>
        <a:xfrm>
          <a:off x="0" y="0"/>
          <a:ext cx="0" cy="0"/>
          <a:chOff x="0" y="0"/>
          <a:chExt cx="0" cy="0"/>
        </a:xfrm>
      </p:grpSpPr>
      <p:sp>
        <p:nvSpPr>
          <p:cNvPr id="5025" name="Google Shape;5025;p5510"/>
          <p:cNvSpPr/>
          <p:nvPr/>
        </p:nvSpPr>
        <p:spPr>
          <a:xfrm>
            <a:off x="1427357"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026" name="Google Shape;5026;p551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27" name="Google Shape;5027;p551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028" name="Google Shape;5028;p551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029" name="Google Shape;5029;p55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30" name="Google Shape;5030;p551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031" name="Google Shape;5031;p5510"/>
          <p:cNvGrpSpPr/>
          <p:nvPr/>
        </p:nvGrpSpPr>
        <p:grpSpPr>
          <a:xfrm>
            <a:off x="7191543" y="1"/>
            <a:ext cx="5000459" cy="1425992"/>
            <a:chOff x="7191542" y="1"/>
            <a:chExt cx="5000459" cy="1425992"/>
          </a:xfrm>
        </p:grpSpPr>
        <p:pic>
          <p:nvPicPr>
            <p:cNvPr id="5032" name="Google Shape;5032;p55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33" name="Google Shape;5033;p5510"/>
            <p:cNvGrpSpPr/>
            <p:nvPr/>
          </p:nvGrpSpPr>
          <p:grpSpPr>
            <a:xfrm>
              <a:off x="7191542" y="1"/>
              <a:ext cx="5000459" cy="1425992"/>
              <a:chOff x="7186272" y="0"/>
              <a:chExt cx="5005729" cy="1427495"/>
            </a:xfrm>
          </p:grpSpPr>
          <p:sp>
            <p:nvSpPr>
              <p:cNvPr id="5034" name="Google Shape;5034;p55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035" name="Google Shape;5035;p55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036" name="Google Shape;5036;p5510"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2025329151"/>
      </p:ext>
    </p:extLst>
  </p:cSld>
  <p:clrMapOvr>
    <a:masterClrMapping/>
  </p:clrMapOvr>
</p:sldLayout>
</file>

<file path=ppt/slideLayouts/slideLayout1682.xml><?xml version="1.0" encoding="utf-8"?>
<p:sldLayout xmlns:a="http://schemas.openxmlformats.org/drawingml/2006/main" xmlns:r="http://schemas.openxmlformats.org/officeDocument/2006/relationships" xmlns:p="http://schemas.openxmlformats.org/presentationml/2006/main" matchingName="9_Blank">
  <p:cSld name="9_Blank">
    <p:spTree>
      <p:nvGrpSpPr>
        <p:cNvPr id="1" name="Shape 5037"/>
        <p:cNvGrpSpPr/>
        <p:nvPr/>
      </p:nvGrpSpPr>
      <p:grpSpPr>
        <a:xfrm>
          <a:off x="0" y="0"/>
          <a:ext cx="0" cy="0"/>
          <a:chOff x="0" y="0"/>
          <a:chExt cx="0" cy="0"/>
        </a:xfrm>
      </p:grpSpPr>
      <p:sp>
        <p:nvSpPr>
          <p:cNvPr id="5038" name="Google Shape;5038;p551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039" name="Google Shape;5039;p55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40" name="Google Shape;5040;p551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041" name="Google Shape;5041;p5511"/>
          <p:cNvGrpSpPr/>
          <p:nvPr/>
        </p:nvGrpSpPr>
        <p:grpSpPr>
          <a:xfrm>
            <a:off x="7191543" y="1"/>
            <a:ext cx="5000459" cy="1425992"/>
            <a:chOff x="7191542" y="1"/>
            <a:chExt cx="5000459" cy="1425992"/>
          </a:xfrm>
        </p:grpSpPr>
        <p:pic>
          <p:nvPicPr>
            <p:cNvPr id="5042" name="Google Shape;5042;p55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43" name="Google Shape;5043;p5511"/>
            <p:cNvGrpSpPr/>
            <p:nvPr/>
          </p:nvGrpSpPr>
          <p:grpSpPr>
            <a:xfrm>
              <a:off x="7191542" y="1"/>
              <a:ext cx="5000459" cy="1425992"/>
              <a:chOff x="7186272" y="0"/>
              <a:chExt cx="5005729" cy="1427495"/>
            </a:xfrm>
          </p:grpSpPr>
          <p:sp>
            <p:nvSpPr>
              <p:cNvPr id="5044" name="Google Shape;5044;p55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045" name="Google Shape;5045;p55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extLst>
      <p:ext uri="{BB962C8B-B14F-4D97-AF65-F5344CB8AC3E}">
        <p14:creationId xmlns:p14="http://schemas.microsoft.com/office/powerpoint/2010/main" val="2978226625"/>
      </p:ext>
    </p:extLst>
  </p:cSld>
  <p:clrMapOvr>
    <a:masterClrMapping/>
  </p:clrMapOvr>
</p:sldLayout>
</file>

<file path=ppt/slideLayouts/slideLayout1683.xml><?xml version="1.0" encoding="utf-8"?>
<p:sldLayout xmlns:a="http://schemas.openxmlformats.org/drawingml/2006/main" xmlns:r="http://schemas.openxmlformats.org/officeDocument/2006/relationships" xmlns:p="http://schemas.openxmlformats.org/presentationml/2006/main" matchingName="11_End">
  <p:cSld name="11_End">
    <p:spTree>
      <p:nvGrpSpPr>
        <p:cNvPr id="1" name="Shape 5046"/>
        <p:cNvGrpSpPr/>
        <p:nvPr/>
      </p:nvGrpSpPr>
      <p:grpSpPr>
        <a:xfrm>
          <a:off x="0" y="0"/>
          <a:ext cx="0" cy="0"/>
          <a:chOff x="0" y="0"/>
          <a:chExt cx="0" cy="0"/>
        </a:xfrm>
      </p:grpSpPr>
      <p:grpSp>
        <p:nvGrpSpPr>
          <p:cNvPr id="5047" name="Google Shape;5047;p5512"/>
          <p:cNvGrpSpPr/>
          <p:nvPr/>
        </p:nvGrpSpPr>
        <p:grpSpPr>
          <a:xfrm>
            <a:off x="0" y="0"/>
            <a:ext cx="12192000" cy="2148830"/>
            <a:chOff x="0" y="0"/>
            <a:chExt cx="12192000" cy="2148830"/>
          </a:xfrm>
        </p:grpSpPr>
        <p:sp>
          <p:nvSpPr>
            <p:cNvPr id="5048" name="Google Shape;5048;p551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049" name="Google Shape;5049;p551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5050" name="Google Shape;5050;p5512"/>
          <p:cNvSpPr/>
          <p:nvPr/>
        </p:nvSpPr>
        <p:spPr>
          <a:xfrm>
            <a:off x="902368" y="1517698"/>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051" name="Google Shape;5051;p5512"/>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052" name="Google Shape;5052;p551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9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053" name="Google Shape;5053;p5512"/>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5054" name="Google Shape;5054;p551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579135942"/>
      </p:ext>
    </p:extLst>
  </p:cSld>
  <p:clrMapOvr>
    <a:masterClrMapping/>
  </p:clrMapOvr>
</p:sldLayout>
</file>

<file path=ppt/slideLayouts/slideLayout1684.xml><?xml version="1.0" encoding="utf-8"?>
<p:sldLayout xmlns:a="http://schemas.openxmlformats.org/drawingml/2006/main" xmlns:r="http://schemas.openxmlformats.org/officeDocument/2006/relationships" xmlns:p="http://schemas.openxmlformats.org/presentationml/2006/main" matchingName="10_Blank">
  <p:cSld name="10_Blank">
    <p:spTree>
      <p:nvGrpSpPr>
        <p:cNvPr id="1" name="Shape 5055"/>
        <p:cNvGrpSpPr/>
        <p:nvPr/>
      </p:nvGrpSpPr>
      <p:grpSpPr>
        <a:xfrm>
          <a:off x="0" y="0"/>
          <a:ext cx="0" cy="0"/>
          <a:chOff x="0" y="0"/>
          <a:chExt cx="0" cy="0"/>
        </a:xfrm>
      </p:grpSpPr>
      <p:sp>
        <p:nvSpPr>
          <p:cNvPr id="5056" name="Google Shape;5056;p551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057" name="Google Shape;5057;p55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58" name="Google Shape;5058;p551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059" name="Google Shape;5059;p5513"/>
          <p:cNvGrpSpPr/>
          <p:nvPr/>
        </p:nvGrpSpPr>
        <p:grpSpPr>
          <a:xfrm>
            <a:off x="7191543" y="1"/>
            <a:ext cx="5000459" cy="1425992"/>
            <a:chOff x="7191542" y="1"/>
            <a:chExt cx="5000459" cy="1425992"/>
          </a:xfrm>
        </p:grpSpPr>
        <p:pic>
          <p:nvPicPr>
            <p:cNvPr id="5060" name="Google Shape;5060;p55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61" name="Google Shape;5061;p5513"/>
            <p:cNvGrpSpPr/>
            <p:nvPr/>
          </p:nvGrpSpPr>
          <p:grpSpPr>
            <a:xfrm>
              <a:off x="7191542" y="1"/>
              <a:ext cx="5000459" cy="1425992"/>
              <a:chOff x="7186272" y="0"/>
              <a:chExt cx="5005729" cy="1427495"/>
            </a:xfrm>
          </p:grpSpPr>
          <p:sp>
            <p:nvSpPr>
              <p:cNvPr id="5062" name="Google Shape;5062;p55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063" name="Google Shape;5063;p55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extLst>
      <p:ext uri="{BB962C8B-B14F-4D97-AF65-F5344CB8AC3E}">
        <p14:creationId xmlns:p14="http://schemas.microsoft.com/office/powerpoint/2010/main" val="1504313799"/>
      </p:ext>
    </p:extLst>
  </p:cSld>
  <p:clrMapOvr>
    <a:masterClrMapping/>
  </p:clrMapOvr>
</p:sldLayout>
</file>

<file path=ppt/slideLayouts/slideLayout1685.xml><?xml version="1.0" encoding="utf-8"?>
<p:sldLayout xmlns:a="http://schemas.openxmlformats.org/drawingml/2006/main" xmlns:r="http://schemas.openxmlformats.org/officeDocument/2006/relationships" xmlns:p="http://schemas.openxmlformats.org/presentationml/2006/main" matchingName="12_Cover">
  <p:cSld name="12_Cover">
    <p:spTree>
      <p:nvGrpSpPr>
        <p:cNvPr id="1" name="Shape 5064"/>
        <p:cNvGrpSpPr/>
        <p:nvPr/>
      </p:nvGrpSpPr>
      <p:grpSpPr>
        <a:xfrm>
          <a:off x="0" y="0"/>
          <a:ext cx="0" cy="0"/>
          <a:chOff x="0" y="0"/>
          <a:chExt cx="0" cy="0"/>
        </a:xfrm>
      </p:grpSpPr>
      <p:sp>
        <p:nvSpPr>
          <p:cNvPr id="5065" name="Google Shape;5065;p5514"/>
          <p:cNvSpPr/>
          <p:nvPr/>
        </p:nvSpPr>
        <p:spPr>
          <a:xfrm>
            <a:off x="902368" y="1294414"/>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066" name="Google Shape;5066;p5514"/>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67" name="Google Shape;5067;p5514"/>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
        <p:nvSpPr>
          <p:cNvPr id="5068" name="Google Shape;5068;p5514"/>
          <p:cNvSpPr>
            <a:spLocks noGrp="1"/>
          </p:cNvSpPr>
          <p:nvPr>
            <p:ph type="pic" idx="2"/>
          </p:nvPr>
        </p:nvSpPr>
        <p:spPr>
          <a:xfrm>
            <a:off x="7118684" y="233915"/>
            <a:ext cx="5073316" cy="5943600"/>
          </a:xfrm>
          <a:prstGeom prst="rect">
            <a:avLst/>
          </a:prstGeom>
          <a:noFill/>
          <a:ln>
            <a:noFill/>
          </a:ln>
        </p:spPr>
      </p:sp>
      <p:grpSp>
        <p:nvGrpSpPr>
          <p:cNvPr id="5069" name="Google Shape;5069;p5514"/>
          <p:cNvGrpSpPr/>
          <p:nvPr/>
        </p:nvGrpSpPr>
        <p:grpSpPr>
          <a:xfrm>
            <a:off x="0" y="5020349"/>
            <a:ext cx="12192000" cy="1837653"/>
            <a:chOff x="0" y="5020348"/>
            <a:chExt cx="12192000" cy="1837653"/>
          </a:xfrm>
        </p:grpSpPr>
        <p:sp>
          <p:nvSpPr>
            <p:cNvPr id="5070" name="Google Shape;5070;p551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071" name="Google Shape;5071;p551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5072" name="Google Shape;5072;p551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719096070"/>
      </p:ext>
    </p:extLst>
  </p:cSld>
  <p:clrMapOvr>
    <a:masterClrMapping/>
  </p:clrMapOvr>
</p:sldLayout>
</file>

<file path=ppt/slideLayouts/slideLayout1686.xml><?xml version="1.0" encoding="utf-8"?>
<p:sldLayout xmlns:a="http://schemas.openxmlformats.org/drawingml/2006/main" xmlns:r="http://schemas.openxmlformats.org/officeDocument/2006/relationships" xmlns:p="http://schemas.openxmlformats.org/presentationml/2006/main" matchingName="12_Divider">
  <p:cSld name="12_Divider">
    <p:bg>
      <p:bgPr>
        <a:solidFill>
          <a:schemeClr val="lt2"/>
        </a:solidFill>
        <a:effectLst/>
      </p:bgPr>
    </p:bg>
    <p:spTree>
      <p:nvGrpSpPr>
        <p:cNvPr id="1" name="Shape 5073"/>
        <p:cNvGrpSpPr/>
        <p:nvPr/>
      </p:nvGrpSpPr>
      <p:grpSpPr>
        <a:xfrm>
          <a:off x="0" y="0"/>
          <a:ext cx="0" cy="0"/>
          <a:chOff x="0" y="0"/>
          <a:chExt cx="0" cy="0"/>
        </a:xfrm>
      </p:grpSpPr>
      <p:grpSp>
        <p:nvGrpSpPr>
          <p:cNvPr id="5074" name="Google Shape;5074;p5515"/>
          <p:cNvGrpSpPr/>
          <p:nvPr/>
        </p:nvGrpSpPr>
        <p:grpSpPr>
          <a:xfrm>
            <a:off x="0" y="5020348"/>
            <a:ext cx="12192000" cy="1837653"/>
            <a:chOff x="0" y="5020347"/>
            <a:chExt cx="12192000" cy="1837653"/>
          </a:xfrm>
        </p:grpSpPr>
        <p:sp>
          <p:nvSpPr>
            <p:cNvPr id="5075" name="Google Shape;5075;p551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076" name="Google Shape;5076;p551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077" name="Google Shape;5077;p551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5078" name="Google Shape;5078;p551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079" name="Google Shape;5079;p5515"/>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80" name="Google Shape;5080;p5515"/>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Tree>
    <p:extLst>
      <p:ext uri="{BB962C8B-B14F-4D97-AF65-F5344CB8AC3E}">
        <p14:creationId xmlns:p14="http://schemas.microsoft.com/office/powerpoint/2010/main" val="2248897427"/>
      </p:ext>
    </p:extLst>
  </p:cSld>
  <p:clrMapOvr>
    <a:masterClrMapping/>
  </p:clrMapOvr>
</p:sldLayout>
</file>

<file path=ppt/slideLayouts/slideLayout1687.xml><?xml version="1.0" encoding="utf-8"?>
<p:sldLayout xmlns:a="http://schemas.openxmlformats.org/drawingml/2006/main" xmlns:r="http://schemas.openxmlformats.org/officeDocument/2006/relationships" xmlns:p="http://schemas.openxmlformats.org/presentationml/2006/main" matchingName="12_Photo Slide">
  <p:cSld name="12_Photo Slide">
    <p:spTree>
      <p:nvGrpSpPr>
        <p:cNvPr id="1" name="Shape 5081"/>
        <p:cNvGrpSpPr/>
        <p:nvPr/>
      </p:nvGrpSpPr>
      <p:grpSpPr>
        <a:xfrm>
          <a:off x="0" y="0"/>
          <a:ext cx="0" cy="0"/>
          <a:chOff x="0" y="0"/>
          <a:chExt cx="0" cy="0"/>
        </a:xfrm>
      </p:grpSpPr>
      <p:sp>
        <p:nvSpPr>
          <p:cNvPr id="5082" name="Google Shape;5082;p5516"/>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5083" name="Google Shape;5083;p551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084" name="Google Shape;5084;p5516"/>
          <p:cNvGrpSpPr/>
          <p:nvPr/>
        </p:nvGrpSpPr>
        <p:grpSpPr>
          <a:xfrm>
            <a:off x="0" y="5379427"/>
            <a:ext cx="2807368" cy="753891"/>
            <a:chOff x="0" y="5379426"/>
            <a:chExt cx="2807368" cy="753891"/>
          </a:xfrm>
        </p:grpSpPr>
        <p:sp>
          <p:nvSpPr>
            <p:cNvPr id="5085" name="Google Shape;5085;p551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086" name="Google Shape;5086;p551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5087" name="Google Shape;5087;p5516"/>
          <p:cNvSpPr>
            <a:spLocks noGrp="1"/>
          </p:cNvSpPr>
          <p:nvPr>
            <p:ph type="pic" idx="2"/>
          </p:nvPr>
        </p:nvSpPr>
        <p:spPr>
          <a:xfrm>
            <a:off x="2807368" y="457202"/>
            <a:ext cx="8915400" cy="5943598"/>
          </a:xfrm>
          <a:prstGeom prst="rect">
            <a:avLst/>
          </a:prstGeom>
          <a:noFill/>
          <a:ln>
            <a:noFill/>
          </a:ln>
        </p:spPr>
      </p:sp>
      <p:pic>
        <p:nvPicPr>
          <p:cNvPr id="5088" name="Google Shape;5088;p5516"/>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546552781"/>
      </p:ext>
    </p:extLst>
  </p:cSld>
  <p:clrMapOvr>
    <a:masterClrMapping/>
  </p:clrMapOvr>
</p:sldLayout>
</file>

<file path=ppt/slideLayouts/slideLayout1688.xml><?xml version="1.0" encoding="utf-8"?>
<p:sldLayout xmlns:a="http://schemas.openxmlformats.org/drawingml/2006/main" xmlns:r="http://schemas.openxmlformats.org/officeDocument/2006/relationships" xmlns:p="http://schemas.openxmlformats.org/presentationml/2006/main" matchingName="22_Quotation">
  <p:cSld name="22_Quotation">
    <p:spTree>
      <p:nvGrpSpPr>
        <p:cNvPr id="1" name="Shape 5089"/>
        <p:cNvGrpSpPr/>
        <p:nvPr/>
      </p:nvGrpSpPr>
      <p:grpSpPr>
        <a:xfrm>
          <a:off x="0" y="0"/>
          <a:ext cx="0" cy="0"/>
          <a:chOff x="0" y="0"/>
          <a:chExt cx="0" cy="0"/>
        </a:xfrm>
      </p:grpSpPr>
      <p:sp>
        <p:nvSpPr>
          <p:cNvPr id="5090" name="Google Shape;5090;p5517"/>
          <p:cNvSpPr/>
          <p:nvPr/>
        </p:nvSpPr>
        <p:spPr>
          <a:xfrm>
            <a:off x="1427357"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091" name="Google Shape;5091;p551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92" name="Google Shape;5092;p551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093" name="Google Shape;5093;p551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094" name="Google Shape;5094;p55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95" name="Google Shape;5095;p551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096" name="Google Shape;5096;p5517"/>
          <p:cNvGrpSpPr/>
          <p:nvPr/>
        </p:nvGrpSpPr>
        <p:grpSpPr>
          <a:xfrm>
            <a:off x="7191543" y="1"/>
            <a:ext cx="5000459" cy="1425992"/>
            <a:chOff x="7191542" y="1"/>
            <a:chExt cx="5000459" cy="1425992"/>
          </a:xfrm>
        </p:grpSpPr>
        <p:pic>
          <p:nvPicPr>
            <p:cNvPr id="5097" name="Google Shape;5097;p55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98" name="Google Shape;5098;p5517"/>
            <p:cNvGrpSpPr/>
            <p:nvPr/>
          </p:nvGrpSpPr>
          <p:grpSpPr>
            <a:xfrm>
              <a:off x="7191542" y="1"/>
              <a:ext cx="5000459" cy="1425992"/>
              <a:chOff x="7186272" y="0"/>
              <a:chExt cx="5005729" cy="1427495"/>
            </a:xfrm>
          </p:grpSpPr>
          <p:sp>
            <p:nvSpPr>
              <p:cNvPr id="5099" name="Google Shape;5099;p55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100" name="Google Shape;5100;p55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101" name="Google Shape;5101;p5517"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1704332522"/>
      </p:ext>
    </p:extLst>
  </p:cSld>
  <p:clrMapOvr>
    <a:masterClrMapping/>
  </p:clrMapOvr>
</p:sldLayout>
</file>

<file path=ppt/slideLayouts/slideLayout1689.xml><?xml version="1.0" encoding="utf-8"?>
<p:sldLayout xmlns:a="http://schemas.openxmlformats.org/drawingml/2006/main" xmlns:r="http://schemas.openxmlformats.org/officeDocument/2006/relationships" xmlns:p="http://schemas.openxmlformats.org/presentationml/2006/main" matchingName="23_Quotation">
  <p:cSld name="23_Quotation">
    <p:spTree>
      <p:nvGrpSpPr>
        <p:cNvPr id="1" name="Shape 5102"/>
        <p:cNvGrpSpPr/>
        <p:nvPr/>
      </p:nvGrpSpPr>
      <p:grpSpPr>
        <a:xfrm>
          <a:off x="0" y="0"/>
          <a:ext cx="0" cy="0"/>
          <a:chOff x="0" y="0"/>
          <a:chExt cx="0" cy="0"/>
        </a:xfrm>
      </p:grpSpPr>
      <p:sp>
        <p:nvSpPr>
          <p:cNvPr id="5103" name="Google Shape;5103;p5518"/>
          <p:cNvSpPr/>
          <p:nvPr/>
        </p:nvSpPr>
        <p:spPr>
          <a:xfrm>
            <a:off x="1427357"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104" name="Google Shape;5104;p551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05" name="Google Shape;5105;p551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106" name="Google Shape;5106;p551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107" name="Google Shape;5107;p55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08" name="Google Shape;5108;p551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109" name="Google Shape;5109;p5518"/>
          <p:cNvGrpSpPr/>
          <p:nvPr/>
        </p:nvGrpSpPr>
        <p:grpSpPr>
          <a:xfrm>
            <a:off x="7191543" y="1"/>
            <a:ext cx="5000459" cy="1425992"/>
            <a:chOff x="7191542" y="1"/>
            <a:chExt cx="5000459" cy="1425992"/>
          </a:xfrm>
        </p:grpSpPr>
        <p:pic>
          <p:nvPicPr>
            <p:cNvPr id="5110" name="Google Shape;5110;p55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111" name="Google Shape;5111;p5518"/>
            <p:cNvGrpSpPr/>
            <p:nvPr/>
          </p:nvGrpSpPr>
          <p:grpSpPr>
            <a:xfrm>
              <a:off x="7191542" y="1"/>
              <a:ext cx="5000459" cy="1425992"/>
              <a:chOff x="7186272" y="0"/>
              <a:chExt cx="5005729" cy="1427495"/>
            </a:xfrm>
          </p:grpSpPr>
          <p:sp>
            <p:nvSpPr>
              <p:cNvPr id="5112" name="Google Shape;5112;p55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113" name="Google Shape;5113;p55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114" name="Google Shape;5114;p5518"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44486497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matchingName="End">
  <p:cSld name="End 9 2">
    <p:spTree>
      <p:nvGrpSpPr>
        <p:cNvPr id="1" name="Shape 10717"/>
        <p:cNvGrpSpPr/>
        <p:nvPr/>
      </p:nvGrpSpPr>
      <p:grpSpPr>
        <a:xfrm>
          <a:off x="0" y="0"/>
          <a:ext cx="0" cy="0"/>
          <a:chOff x="0" y="0"/>
          <a:chExt cx="0" cy="0"/>
        </a:xfrm>
      </p:grpSpPr>
      <p:grpSp>
        <p:nvGrpSpPr>
          <p:cNvPr id="10718" name="Google Shape;10718;p1473"/>
          <p:cNvGrpSpPr/>
          <p:nvPr/>
        </p:nvGrpSpPr>
        <p:grpSpPr>
          <a:xfrm>
            <a:off x="0" y="0"/>
            <a:ext cx="12192000" cy="2148830"/>
            <a:chOff x="0" y="0"/>
            <a:chExt cx="12192000" cy="2148830"/>
          </a:xfrm>
        </p:grpSpPr>
        <p:sp>
          <p:nvSpPr>
            <p:cNvPr id="10719" name="Google Shape;10719;p147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720" name="Google Shape;10720;p147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0721" name="Google Shape;10721;p1473"/>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722" name="Google Shape;10722;p1473"/>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23" name="Google Shape;10723;p1473"/>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0724" name="Google Shape;10724;p1473"/>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725" name="Google Shape;10725;p1473"/>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690.xml><?xml version="1.0" encoding="utf-8"?>
<p:sldLayout xmlns:a="http://schemas.openxmlformats.org/drawingml/2006/main" xmlns:r="http://schemas.openxmlformats.org/officeDocument/2006/relationships" xmlns:p="http://schemas.openxmlformats.org/presentationml/2006/main" matchingName="24_Quotation">
  <p:cSld name="24_Quotation">
    <p:spTree>
      <p:nvGrpSpPr>
        <p:cNvPr id="1" name="Shape 5115"/>
        <p:cNvGrpSpPr/>
        <p:nvPr/>
      </p:nvGrpSpPr>
      <p:grpSpPr>
        <a:xfrm>
          <a:off x="0" y="0"/>
          <a:ext cx="0" cy="0"/>
          <a:chOff x="0" y="0"/>
          <a:chExt cx="0" cy="0"/>
        </a:xfrm>
      </p:grpSpPr>
      <p:sp>
        <p:nvSpPr>
          <p:cNvPr id="5116" name="Google Shape;5116;p5519"/>
          <p:cNvSpPr/>
          <p:nvPr/>
        </p:nvSpPr>
        <p:spPr>
          <a:xfrm>
            <a:off x="1427357"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117" name="Google Shape;5117;p551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18" name="Google Shape;5118;p551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119" name="Google Shape;5119;p551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120" name="Google Shape;5120;p55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21" name="Google Shape;5121;p551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122" name="Google Shape;5122;p5519"/>
          <p:cNvGrpSpPr/>
          <p:nvPr/>
        </p:nvGrpSpPr>
        <p:grpSpPr>
          <a:xfrm>
            <a:off x="7191543" y="1"/>
            <a:ext cx="5000459" cy="1425992"/>
            <a:chOff x="7191542" y="1"/>
            <a:chExt cx="5000459" cy="1425992"/>
          </a:xfrm>
        </p:grpSpPr>
        <p:pic>
          <p:nvPicPr>
            <p:cNvPr id="5123" name="Google Shape;5123;p55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124" name="Google Shape;5124;p5519"/>
            <p:cNvGrpSpPr/>
            <p:nvPr/>
          </p:nvGrpSpPr>
          <p:grpSpPr>
            <a:xfrm>
              <a:off x="7191542" y="1"/>
              <a:ext cx="5000459" cy="1425992"/>
              <a:chOff x="7186272" y="0"/>
              <a:chExt cx="5005729" cy="1427495"/>
            </a:xfrm>
          </p:grpSpPr>
          <p:sp>
            <p:nvSpPr>
              <p:cNvPr id="5125" name="Google Shape;5125;p55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126" name="Google Shape;5126;p55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127" name="Google Shape;5127;p5519"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4018627720"/>
      </p:ext>
    </p:extLst>
  </p:cSld>
  <p:clrMapOvr>
    <a:masterClrMapping/>
  </p:clrMapOvr>
</p:sldLayout>
</file>

<file path=ppt/slideLayouts/slideLayout1691.xml><?xml version="1.0" encoding="utf-8"?>
<p:sldLayout xmlns:a="http://schemas.openxmlformats.org/drawingml/2006/main" xmlns:r="http://schemas.openxmlformats.org/officeDocument/2006/relationships" xmlns:p="http://schemas.openxmlformats.org/presentationml/2006/main" matchingName="11_Blank">
  <p:cSld name="11_Blank">
    <p:spTree>
      <p:nvGrpSpPr>
        <p:cNvPr id="1" name="Shape 5128"/>
        <p:cNvGrpSpPr/>
        <p:nvPr/>
      </p:nvGrpSpPr>
      <p:grpSpPr>
        <a:xfrm>
          <a:off x="0" y="0"/>
          <a:ext cx="0" cy="0"/>
          <a:chOff x="0" y="0"/>
          <a:chExt cx="0" cy="0"/>
        </a:xfrm>
      </p:grpSpPr>
      <p:sp>
        <p:nvSpPr>
          <p:cNvPr id="5129" name="Google Shape;5129;p552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130" name="Google Shape;5130;p55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31" name="Google Shape;5131;p552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132" name="Google Shape;5132;p5520"/>
          <p:cNvGrpSpPr/>
          <p:nvPr/>
        </p:nvGrpSpPr>
        <p:grpSpPr>
          <a:xfrm>
            <a:off x="7191543" y="1"/>
            <a:ext cx="5000459" cy="1425992"/>
            <a:chOff x="7191542" y="1"/>
            <a:chExt cx="5000459" cy="1425992"/>
          </a:xfrm>
        </p:grpSpPr>
        <p:pic>
          <p:nvPicPr>
            <p:cNvPr id="5133" name="Google Shape;5133;p55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134" name="Google Shape;5134;p5520"/>
            <p:cNvGrpSpPr/>
            <p:nvPr/>
          </p:nvGrpSpPr>
          <p:grpSpPr>
            <a:xfrm>
              <a:off x="7191542" y="1"/>
              <a:ext cx="5000459" cy="1425992"/>
              <a:chOff x="7186272" y="0"/>
              <a:chExt cx="5005729" cy="1427495"/>
            </a:xfrm>
          </p:grpSpPr>
          <p:sp>
            <p:nvSpPr>
              <p:cNvPr id="5135" name="Google Shape;5135;p55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136" name="Google Shape;5136;p55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extLst>
      <p:ext uri="{BB962C8B-B14F-4D97-AF65-F5344CB8AC3E}">
        <p14:creationId xmlns:p14="http://schemas.microsoft.com/office/powerpoint/2010/main" val="1209038439"/>
      </p:ext>
    </p:extLst>
  </p:cSld>
  <p:clrMapOvr>
    <a:masterClrMapping/>
  </p:clrMapOvr>
</p:sldLayout>
</file>

<file path=ppt/slideLayouts/slideLayout1692.xml><?xml version="1.0" encoding="utf-8"?>
<p:sldLayout xmlns:a="http://schemas.openxmlformats.org/drawingml/2006/main" xmlns:r="http://schemas.openxmlformats.org/officeDocument/2006/relationships" xmlns:p="http://schemas.openxmlformats.org/presentationml/2006/main" matchingName="25_Quotation">
  <p:cSld name="25_Quotation">
    <p:spTree>
      <p:nvGrpSpPr>
        <p:cNvPr id="1" name="Shape 5137"/>
        <p:cNvGrpSpPr/>
        <p:nvPr/>
      </p:nvGrpSpPr>
      <p:grpSpPr>
        <a:xfrm>
          <a:off x="0" y="0"/>
          <a:ext cx="0" cy="0"/>
          <a:chOff x="0" y="0"/>
          <a:chExt cx="0" cy="0"/>
        </a:xfrm>
      </p:grpSpPr>
      <p:sp>
        <p:nvSpPr>
          <p:cNvPr id="5138" name="Google Shape;5138;p5521"/>
          <p:cNvSpPr/>
          <p:nvPr/>
        </p:nvSpPr>
        <p:spPr>
          <a:xfrm>
            <a:off x="1427357"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139" name="Google Shape;5139;p552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40" name="Google Shape;5140;p552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141" name="Google Shape;5141;p552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142" name="Google Shape;5142;p55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43" name="Google Shape;5143;p552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144" name="Google Shape;5144;p5521"/>
          <p:cNvGrpSpPr/>
          <p:nvPr/>
        </p:nvGrpSpPr>
        <p:grpSpPr>
          <a:xfrm>
            <a:off x="7191543" y="1"/>
            <a:ext cx="5000459" cy="1425992"/>
            <a:chOff x="7191542" y="1"/>
            <a:chExt cx="5000459" cy="1425992"/>
          </a:xfrm>
        </p:grpSpPr>
        <p:pic>
          <p:nvPicPr>
            <p:cNvPr id="5145" name="Google Shape;5145;p55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146" name="Google Shape;5146;p5521"/>
            <p:cNvGrpSpPr/>
            <p:nvPr/>
          </p:nvGrpSpPr>
          <p:grpSpPr>
            <a:xfrm>
              <a:off x="7191542" y="1"/>
              <a:ext cx="5000459" cy="1425992"/>
              <a:chOff x="7186272" y="0"/>
              <a:chExt cx="5005729" cy="1427495"/>
            </a:xfrm>
          </p:grpSpPr>
          <p:sp>
            <p:nvSpPr>
              <p:cNvPr id="5147" name="Google Shape;5147;p55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148" name="Google Shape;5148;p55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149" name="Google Shape;5149;p5521"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3657736081"/>
      </p:ext>
    </p:extLst>
  </p:cSld>
  <p:clrMapOvr>
    <a:masterClrMapping/>
  </p:clrMapOvr>
</p:sldLayout>
</file>

<file path=ppt/slideLayouts/slideLayout1693.xml><?xml version="1.0" encoding="utf-8"?>
<p:sldLayout xmlns:a="http://schemas.openxmlformats.org/drawingml/2006/main" xmlns:r="http://schemas.openxmlformats.org/officeDocument/2006/relationships" xmlns:p="http://schemas.openxmlformats.org/presentationml/2006/main" matchingName="27_Quotation">
  <p:cSld name="27_Quotation">
    <p:spTree>
      <p:nvGrpSpPr>
        <p:cNvPr id="1" name="Shape 5150"/>
        <p:cNvGrpSpPr/>
        <p:nvPr/>
      </p:nvGrpSpPr>
      <p:grpSpPr>
        <a:xfrm>
          <a:off x="0" y="0"/>
          <a:ext cx="0" cy="0"/>
          <a:chOff x="0" y="0"/>
          <a:chExt cx="0" cy="0"/>
        </a:xfrm>
      </p:grpSpPr>
      <p:sp>
        <p:nvSpPr>
          <p:cNvPr id="5151" name="Google Shape;5151;p5522"/>
          <p:cNvSpPr/>
          <p:nvPr/>
        </p:nvSpPr>
        <p:spPr>
          <a:xfrm>
            <a:off x="1427357"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152" name="Google Shape;5152;p552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53" name="Google Shape;5153;p552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154" name="Google Shape;5154;p552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155" name="Google Shape;5155;p55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56" name="Google Shape;5156;p552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157" name="Google Shape;5157;p5522"/>
          <p:cNvGrpSpPr/>
          <p:nvPr/>
        </p:nvGrpSpPr>
        <p:grpSpPr>
          <a:xfrm>
            <a:off x="7191543" y="1"/>
            <a:ext cx="5000459" cy="1425992"/>
            <a:chOff x="7191542" y="1"/>
            <a:chExt cx="5000459" cy="1425992"/>
          </a:xfrm>
        </p:grpSpPr>
        <p:pic>
          <p:nvPicPr>
            <p:cNvPr id="5158" name="Google Shape;5158;p55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159" name="Google Shape;5159;p5522"/>
            <p:cNvGrpSpPr/>
            <p:nvPr/>
          </p:nvGrpSpPr>
          <p:grpSpPr>
            <a:xfrm>
              <a:off x="7191542" y="1"/>
              <a:ext cx="5000459" cy="1425992"/>
              <a:chOff x="7186272" y="0"/>
              <a:chExt cx="5005729" cy="1427495"/>
            </a:xfrm>
          </p:grpSpPr>
          <p:sp>
            <p:nvSpPr>
              <p:cNvPr id="5160" name="Google Shape;5160;p55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161" name="Google Shape;5161;p55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162" name="Google Shape;5162;p5522"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590035888"/>
      </p:ext>
    </p:extLst>
  </p:cSld>
  <p:clrMapOvr>
    <a:masterClrMapping/>
  </p:clrMapOvr>
</p:sldLayout>
</file>

<file path=ppt/slideLayouts/slideLayout1694.xml><?xml version="1.0" encoding="utf-8"?>
<p:sldLayout xmlns:a="http://schemas.openxmlformats.org/drawingml/2006/main" xmlns:r="http://schemas.openxmlformats.org/officeDocument/2006/relationships" xmlns:p="http://schemas.openxmlformats.org/presentationml/2006/main" matchingName="29_Quotation">
  <p:cSld name="29_Quotation">
    <p:spTree>
      <p:nvGrpSpPr>
        <p:cNvPr id="1" name="Shape 5163"/>
        <p:cNvGrpSpPr/>
        <p:nvPr/>
      </p:nvGrpSpPr>
      <p:grpSpPr>
        <a:xfrm>
          <a:off x="0" y="0"/>
          <a:ext cx="0" cy="0"/>
          <a:chOff x="0" y="0"/>
          <a:chExt cx="0" cy="0"/>
        </a:xfrm>
      </p:grpSpPr>
      <p:sp>
        <p:nvSpPr>
          <p:cNvPr id="5164" name="Google Shape;5164;p5523"/>
          <p:cNvSpPr/>
          <p:nvPr/>
        </p:nvSpPr>
        <p:spPr>
          <a:xfrm>
            <a:off x="1427357"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165" name="Google Shape;5165;p552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66" name="Google Shape;5166;p552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167" name="Google Shape;5167;p552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168" name="Google Shape;5168;p55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69" name="Google Shape;5169;p552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170" name="Google Shape;5170;p5523"/>
          <p:cNvGrpSpPr/>
          <p:nvPr/>
        </p:nvGrpSpPr>
        <p:grpSpPr>
          <a:xfrm>
            <a:off x="7191543" y="1"/>
            <a:ext cx="5000459" cy="1425992"/>
            <a:chOff x="7191542" y="1"/>
            <a:chExt cx="5000459" cy="1425992"/>
          </a:xfrm>
        </p:grpSpPr>
        <p:pic>
          <p:nvPicPr>
            <p:cNvPr id="5171" name="Google Shape;5171;p55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172" name="Google Shape;5172;p5523"/>
            <p:cNvGrpSpPr/>
            <p:nvPr/>
          </p:nvGrpSpPr>
          <p:grpSpPr>
            <a:xfrm>
              <a:off x="7191542" y="1"/>
              <a:ext cx="5000459" cy="1425992"/>
              <a:chOff x="7186272" y="0"/>
              <a:chExt cx="5005729" cy="1427495"/>
            </a:xfrm>
          </p:grpSpPr>
          <p:sp>
            <p:nvSpPr>
              <p:cNvPr id="5173" name="Google Shape;5173;p55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174" name="Google Shape;5174;p55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175" name="Google Shape;5175;p5523"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2082956042"/>
      </p:ext>
    </p:extLst>
  </p:cSld>
  <p:clrMapOvr>
    <a:masterClrMapping/>
  </p:clrMapOvr>
</p:sldLayout>
</file>

<file path=ppt/slideLayouts/slideLayout1695.xml><?xml version="1.0" encoding="utf-8"?>
<p:sldLayout xmlns:a="http://schemas.openxmlformats.org/drawingml/2006/main" xmlns:r="http://schemas.openxmlformats.org/officeDocument/2006/relationships" xmlns:p="http://schemas.openxmlformats.org/presentationml/2006/main" matchingName="32_Quotation">
  <p:cSld name="32_Quotation">
    <p:spTree>
      <p:nvGrpSpPr>
        <p:cNvPr id="1" name="Shape 5176"/>
        <p:cNvGrpSpPr/>
        <p:nvPr/>
      </p:nvGrpSpPr>
      <p:grpSpPr>
        <a:xfrm>
          <a:off x="0" y="0"/>
          <a:ext cx="0" cy="0"/>
          <a:chOff x="0" y="0"/>
          <a:chExt cx="0" cy="0"/>
        </a:xfrm>
      </p:grpSpPr>
      <p:sp>
        <p:nvSpPr>
          <p:cNvPr id="5177" name="Google Shape;5177;p5524"/>
          <p:cNvSpPr/>
          <p:nvPr/>
        </p:nvSpPr>
        <p:spPr>
          <a:xfrm>
            <a:off x="1427357"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178" name="Google Shape;5178;p552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79" name="Google Shape;5179;p55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180" name="Google Shape;5180;p552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181" name="Google Shape;5181;p55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82" name="Google Shape;5182;p552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183" name="Google Shape;5183;p5524"/>
          <p:cNvGrpSpPr/>
          <p:nvPr/>
        </p:nvGrpSpPr>
        <p:grpSpPr>
          <a:xfrm>
            <a:off x="7191543" y="1"/>
            <a:ext cx="5000459" cy="1425992"/>
            <a:chOff x="7191542" y="1"/>
            <a:chExt cx="5000459" cy="1425992"/>
          </a:xfrm>
        </p:grpSpPr>
        <p:pic>
          <p:nvPicPr>
            <p:cNvPr id="5184" name="Google Shape;5184;p55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185" name="Google Shape;5185;p5524"/>
            <p:cNvGrpSpPr/>
            <p:nvPr/>
          </p:nvGrpSpPr>
          <p:grpSpPr>
            <a:xfrm>
              <a:off x="7191542" y="1"/>
              <a:ext cx="5000459" cy="1425992"/>
              <a:chOff x="7186272" y="0"/>
              <a:chExt cx="5005729" cy="1427495"/>
            </a:xfrm>
          </p:grpSpPr>
          <p:sp>
            <p:nvSpPr>
              <p:cNvPr id="5186" name="Google Shape;5186;p55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187" name="Google Shape;5187;p55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188" name="Google Shape;5188;p5524"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3939962370"/>
      </p:ext>
    </p:extLst>
  </p:cSld>
  <p:clrMapOvr>
    <a:masterClrMapping/>
  </p:clrMapOvr>
</p:sldLayout>
</file>

<file path=ppt/slideLayouts/slideLayout1696.xml><?xml version="1.0" encoding="utf-8"?>
<p:sldLayout xmlns:a="http://schemas.openxmlformats.org/drawingml/2006/main" xmlns:r="http://schemas.openxmlformats.org/officeDocument/2006/relationships" xmlns:p="http://schemas.openxmlformats.org/presentationml/2006/main" matchingName="33_Quotation">
  <p:cSld name="33_Quotation">
    <p:spTree>
      <p:nvGrpSpPr>
        <p:cNvPr id="1" name="Shape 5189"/>
        <p:cNvGrpSpPr/>
        <p:nvPr/>
      </p:nvGrpSpPr>
      <p:grpSpPr>
        <a:xfrm>
          <a:off x="0" y="0"/>
          <a:ext cx="0" cy="0"/>
          <a:chOff x="0" y="0"/>
          <a:chExt cx="0" cy="0"/>
        </a:xfrm>
      </p:grpSpPr>
      <p:sp>
        <p:nvSpPr>
          <p:cNvPr id="5190" name="Google Shape;5190;p5525"/>
          <p:cNvSpPr/>
          <p:nvPr/>
        </p:nvSpPr>
        <p:spPr>
          <a:xfrm>
            <a:off x="1427357"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191" name="Google Shape;5191;p552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92" name="Google Shape;5192;p552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193" name="Google Shape;5193;p552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194" name="Google Shape;5194;p55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95" name="Google Shape;5195;p552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196" name="Google Shape;5196;p5525"/>
          <p:cNvGrpSpPr/>
          <p:nvPr/>
        </p:nvGrpSpPr>
        <p:grpSpPr>
          <a:xfrm>
            <a:off x="7191543" y="1"/>
            <a:ext cx="5000459" cy="1425992"/>
            <a:chOff x="7191542" y="1"/>
            <a:chExt cx="5000459" cy="1425992"/>
          </a:xfrm>
        </p:grpSpPr>
        <p:pic>
          <p:nvPicPr>
            <p:cNvPr id="5197" name="Google Shape;5197;p55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198" name="Google Shape;5198;p5525"/>
            <p:cNvGrpSpPr/>
            <p:nvPr/>
          </p:nvGrpSpPr>
          <p:grpSpPr>
            <a:xfrm>
              <a:off x="7191542" y="1"/>
              <a:ext cx="5000459" cy="1425992"/>
              <a:chOff x="7186272" y="0"/>
              <a:chExt cx="5005729" cy="1427495"/>
            </a:xfrm>
          </p:grpSpPr>
          <p:sp>
            <p:nvSpPr>
              <p:cNvPr id="5199" name="Google Shape;5199;p55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200" name="Google Shape;5200;p55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201" name="Google Shape;5201;p5525"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3135687629"/>
      </p:ext>
    </p:extLst>
  </p:cSld>
  <p:clrMapOvr>
    <a:masterClrMapping/>
  </p:clrMapOvr>
</p:sldLayout>
</file>

<file path=ppt/slideLayouts/slideLayout1697.xml><?xml version="1.0" encoding="utf-8"?>
<p:sldLayout xmlns:a="http://schemas.openxmlformats.org/drawingml/2006/main" xmlns:r="http://schemas.openxmlformats.org/officeDocument/2006/relationships" xmlns:p="http://schemas.openxmlformats.org/presentationml/2006/main" matchingName="12_Title and Content">
  <p:cSld name="12_Title and Content">
    <p:spTree>
      <p:nvGrpSpPr>
        <p:cNvPr id="1" name="Shape 5202"/>
        <p:cNvGrpSpPr/>
        <p:nvPr/>
      </p:nvGrpSpPr>
      <p:grpSpPr>
        <a:xfrm>
          <a:off x="0" y="0"/>
          <a:ext cx="0" cy="0"/>
          <a:chOff x="0" y="0"/>
          <a:chExt cx="0" cy="0"/>
        </a:xfrm>
      </p:grpSpPr>
      <p:grpSp>
        <p:nvGrpSpPr>
          <p:cNvPr id="5203" name="Google Shape;5203;p5526"/>
          <p:cNvGrpSpPr/>
          <p:nvPr/>
        </p:nvGrpSpPr>
        <p:grpSpPr>
          <a:xfrm>
            <a:off x="7191543" y="1"/>
            <a:ext cx="5000459" cy="1425992"/>
            <a:chOff x="7191542" y="1"/>
            <a:chExt cx="5000459" cy="1425992"/>
          </a:xfrm>
        </p:grpSpPr>
        <p:pic>
          <p:nvPicPr>
            <p:cNvPr id="5204" name="Google Shape;5204;p55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205" name="Google Shape;5205;p5526"/>
            <p:cNvGrpSpPr/>
            <p:nvPr/>
          </p:nvGrpSpPr>
          <p:grpSpPr>
            <a:xfrm>
              <a:off x="7191542" y="1"/>
              <a:ext cx="5000459" cy="1425992"/>
              <a:chOff x="7186272" y="0"/>
              <a:chExt cx="5005729" cy="1427495"/>
            </a:xfrm>
          </p:grpSpPr>
          <p:sp>
            <p:nvSpPr>
              <p:cNvPr id="5206" name="Google Shape;5206;p55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207" name="Google Shape;5207;p55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208" name="Google Shape;5208;p552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09" name="Google Shape;5209;p552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210" name="Google Shape;5210;p552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211" name="Google Shape;5211;p55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12" name="Google Shape;5212;p552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4645288"/>
      </p:ext>
    </p:extLst>
  </p:cSld>
  <p:clrMapOvr>
    <a:masterClrMapping/>
  </p:clrMapOvr>
</p:sldLayout>
</file>

<file path=ppt/slideLayouts/slideLayout1698.xml><?xml version="1.0" encoding="utf-8"?>
<p:sldLayout xmlns:a="http://schemas.openxmlformats.org/drawingml/2006/main" xmlns:r="http://schemas.openxmlformats.org/officeDocument/2006/relationships" xmlns:p="http://schemas.openxmlformats.org/presentationml/2006/main" matchingName="12_Two Content">
  <p:cSld name="12_Two Content">
    <p:spTree>
      <p:nvGrpSpPr>
        <p:cNvPr id="1" name="Shape 5213"/>
        <p:cNvGrpSpPr/>
        <p:nvPr/>
      </p:nvGrpSpPr>
      <p:grpSpPr>
        <a:xfrm>
          <a:off x="0" y="0"/>
          <a:ext cx="0" cy="0"/>
          <a:chOff x="0" y="0"/>
          <a:chExt cx="0" cy="0"/>
        </a:xfrm>
      </p:grpSpPr>
      <p:sp>
        <p:nvSpPr>
          <p:cNvPr id="5214" name="Google Shape;5214;p552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15" name="Google Shape;5215;p5527"/>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5216" name="Google Shape;5216;p5527"/>
          <p:cNvGrpSpPr/>
          <p:nvPr/>
        </p:nvGrpSpPr>
        <p:grpSpPr>
          <a:xfrm>
            <a:off x="7191543" y="1"/>
            <a:ext cx="5000459" cy="1425992"/>
            <a:chOff x="7191542" y="1"/>
            <a:chExt cx="5000459" cy="1425992"/>
          </a:xfrm>
        </p:grpSpPr>
        <p:pic>
          <p:nvPicPr>
            <p:cNvPr id="5217" name="Google Shape;5217;p55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218" name="Google Shape;5218;p5527"/>
            <p:cNvGrpSpPr/>
            <p:nvPr/>
          </p:nvGrpSpPr>
          <p:grpSpPr>
            <a:xfrm>
              <a:off x="7191542" y="1"/>
              <a:ext cx="5000459" cy="1425992"/>
              <a:chOff x="7186272" y="0"/>
              <a:chExt cx="5005729" cy="1427495"/>
            </a:xfrm>
          </p:grpSpPr>
          <p:sp>
            <p:nvSpPr>
              <p:cNvPr id="5219" name="Google Shape;5219;p55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220" name="Google Shape;5220;p55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221" name="Google Shape;5221;p5527"/>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222" name="Google Shape;5222;p5527"/>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223" name="Google Shape;5223;p55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24" name="Google Shape;5224;p552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801445058"/>
      </p:ext>
    </p:extLst>
  </p:cSld>
  <p:clrMapOvr>
    <a:masterClrMapping/>
  </p:clrMapOvr>
</p:sldLayout>
</file>

<file path=ppt/slideLayouts/slideLayout1699.xml><?xml version="1.0" encoding="utf-8"?>
<p:sldLayout xmlns:a="http://schemas.openxmlformats.org/drawingml/2006/main" xmlns:r="http://schemas.openxmlformats.org/officeDocument/2006/relationships" xmlns:p="http://schemas.openxmlformats.org/presentationml/2006/main" matchingName="12_Comparison">
  <p:cSld name="12_Comparison">
    <p:spTree>
      <p:nvGrpSpPr>
        <p:cNvPr id="1" name="Shape 5225"/>
        <p:cNvGrpSpPr/>
        <p:nvPr/>
      </p:nvGrpSpPr>
      <p:grpSpPr>
        <a:xfrm>
          <a:off x="0" y="0"/>
          <a:ext cx="0" cy="0"/>
          <a:chOff x="0" y="0"/>
          <a:chExt cx="0" cy="0"/>
        </a:xfrm>
      </p:grpSpPr>
      <p:grpSp>
        <p:nvGrpSpPr>
          <p:cNvPr id="5226" name="Google Shape;5226;p5528"/>
          <p:cNvGrpSpPr/>
          <p:nvPr/>
        </p:nvGrpSpPr>
        <p:grpSpPr>
          <a:xfrm>
            <a:off x="7191543" y="1"/>
            <a:ext cx="5000459" cy="1425992"/>
            <a:chOff x="7191542" y="1"/>
            <a:chExt cx="5000459" cy="1425992"/>
          </a:xfrm>
        </p:grpSpPr>
        <p:pic>
          <p:nvPicPr>
            <p:cNvPr id="5227" name="Google Shape;5227;p55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228" name="Google Shape;5228;p5528"/>
            <p:cNvGrpSpPr/>
            <p:nvPr/>
          </p:nvGrpSpPr>
          <p:grpSpPr>
            <a:xfrm>
              <a:off x="7191542" y="1"/>
              <a:ext cx="5000459" cy="1425992"/>
              <a:chOff x="7186272" y="0"/>
              <a:chExt cx="5005729" cy="1427495"/>
            </a:xfrm>
          </p:grpSpPr>
          <p:sp>
            <p:nvSpPr>
              <p:cNvPr id="5229" name="Google Shape;5229;p55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230" name="Google Shape;5230;p55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231" name="Google Shape;5231;p552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32" name="Google Shape;5232;p5528"/>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5233" name="Google Shape;5233;p5528"/>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234" name="Google Shape;5234;p552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5235" name="Google Shape;5235;p552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236" name="Google Shape;5236;p552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237" name="Google Shape;5237;p55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38" name="Google Shape;5238;p552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21336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and Content">
  <p:cSld name="OBJECT 2">
    <p:spTree>
      <p:nvGrpSpPr>
        <p:cNvPr id="1" name="Shape 9083"/>
        <p:cNvGrpSpPr/>
        <p:nvPr/>
      </p:nvGrpSpPr>
      <p:grpSpPr>
        <a:xfrm>
          <a:off x="0" y="0"/>
          <a:ext cx="0" cy="0"/>
          <a:chOff x="0" y="0"/>
          <a:chExt cx="0" cy="0"/>
        </a:xfrm>
      </p:grpSpPr>
      <p:grpSp>
        <p:nvGrpSpPr>
          <p:cNvPr id="9084" name="Google Shape;9084;p1323"/>
          <p:cNvGrpSpPr/>
          <p:nvPr/>
        </p:nvGrpSpPr>
        <p:grpSpPr>
          <a:xfrm>
            <a:off x="7191542" y="1"/>
            <a:ext cx="5000459" cy="1425992"/>
            <a:chOff x="7191542" y="1"/>
            <a:chExt cx="5000459" cy="1425992"/>
          </a:xfrm>
        </p:grpSpPr>
        <p:pic>
          <p:nvPicPr>
            <p:cNvPr id="9085" name="Google Shape;9085;p13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086" name="Google Shape;9086;p1323"/>
            <p:cNvGrpSpPr/>
            <p:nvPr/>
          </p:nvGrpSpPr>
          <p:grpSpPr>
            <a:xfrm>
              <a:off x="7191542" y="1"/>
              <a:ext cx="5000459" cy="1425992"/>
              <a:chOff x="7186272" y="0"/>
              <a:chExt cx="5005729" cy="1427495"/>
            </a:xfrm>
          </p:grpSpPr>
          <p:sp>
            <p:nvSpPr>
              <p:cNvPr id="9087" name="Google Shape;9087;p13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088" name="Google Shape;9088;p13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089" name="Google Shape;9089;p13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090" name="Google Shape;9090;p132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91" name="Google Shape;9091;p13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092" name="Google Shape;9092;p13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93" name="Google Shape;9093;p13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matchingName="Blank">
  <p:cSld name="Blank 7 2">
    <p:spTree>
      <p:nvGrpSpPr>
        <p:cNvPr id="1" name="Shape 10726"/>
        <p:cNvGrpSpPr/>
        <p:nvPr/>
      </p:nvGrpSpPr>
      <p:grpSpPr>
        <a:xfrm>
          <a:off x="0" y="0"/>
          <a:ext cx="0" cy="0"/>
          <a:chOff x="0" y="0"/>
          <a:chExt cx="0" cy="0"/>
        </a:xfrm>
      </p:grpSpPr>
      <p:sp>
        <p:nvSpPr>
          <p:cNvPr id="10727" name="Google Shape;10727;p14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728" name="Google Shape;10728;p14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29" name="Google Shape;10729;p14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730" name="Google Shape;10730;p1474"/>
          <p:cNvGrpSpPr/>
          <p:nvPr/>
        </p:nvGrpSpPr>
        <p:grpSpPr>
          <a:xfrm>
            <a:off x="7191542" y="1"/>
            <a:ext cx="5000459" cy="1425992"/>
            <a:chOff x="7191542" y="1"/>
            <a:chExt cx="5000459" cy="1425992"/>
          </a:xfrm>
        </p:grpSpPr>
        <p:pic>
          <p:nvPicPr>
            <p:cNvPr id="10731" name="Google Shape;10731;p14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732" name="Google Shape;10732;p1474"/>
            <p:cNvGrpSpPr/>
            <p:nvPr/>
          </p:nvGrpSpPr>
          <p:grpSpPr>
            <a:xfrm>
              <a:off x="7191542" y="1"/>
              <a:ext cx="5000459" cy="1425992"/>
              <a:chOff x="7186272" y="0"/>
              <a:chExt cx="5005729" cy="1427495"/>
            </a:xfrm>
          </p:grpSpPr>
          <p:sp>
            <p:nvSpPr>
              <p:cNvPr id="10733" name="Google Shape;10733;p14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734" name="Google Shape;10734;p14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700.xml><?xml version="1.0" encoding="utf-8"?>
<p:sldLayout xmlns:a="http://schemas.openxmlformats.org/drawingml/2006/main" xmlns:r="http://schemas.openxmlformats.org/officeDocument/2006/relationships" xmlns:p="http://schemas.openxmlformats.org/presentationml/2006/main" matchingName="12_Title Only">
  <p:cSld name="12_Title Only">
    <p:spTree>
      <p:nvGrpSpPr>
        <p:cNvPr id="1" name="Shape 5239"/>
        <p:cNvGrpSpPr/>
        <p:nvPr/>
      </p:nvGrpSpPr>
      <p:grpSpPr>
        <a:xfrm>
          <a:off x="0" y="0"/>
          <a:ext cx="0" cy="0"/>
          <a:chOff x="0" y="0"/>
          <a:chExt cx="0" cy="0"/>
        </a:xfrm>
      </p:grpSpPr>
      <p:grpSp>
        <p:nvGrpSpPr>
          <p:cNvPr id="5240" name="Google Shape;5240;p5529"/>
          <p:cNvGrpSpPr/>
          <p:nvPr/>
        </p:nvGrpSpPr>
        <p:grpSpPr>
          <a:xfrm>
            <a:off x="7191543" y="1"/>
            <a:ext cx="5000459" cy="1425992"/>
            <a:chOff x="7191542" y="1"/>
            <a:chExt cx="5000459" cy="1425992"/>
          </a:xfrm>
        </p:grpSpPr>
        <p:pic>
          <p:nvPicPr>
            <p:cNvPr id="5241" name="Google Shape;5241;p55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242" name="Google Shape;5242;p5529"/>
            <p:cNvGrpSpPr/>
            <p:nvPr/>
          </p:nvGrpSpPr>
          <p:grpSpPr>
            <a:xfrm>
              <a:off x="7191542" y="1"/>
              <a:ext cx="5000459" cy="1425992"/>
              <a:chOff x="7186272" y="0"/>
              <a:chExt cx="5005729" cy="1427495"/>
            </a:xfrm>
          </p:grpSpPr>
          <p:sp>
            <p:nvSpPr>
              <p:cNvPr id="5243" name="Google Shape;5243;p55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244" name="Google Shape;5244;p55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245" name="Google Shape;5245;p5529"/>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46" name="Google Shape;5246;p552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247" name="Google Shape;5247;p55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48" name="Google Shape;5248;p552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665779568"/>
      </p:ext>
    </p:extLst>
  </p:cSld>
  <p:clrMapOvr>
    <a:masterClrMapping/>
  </p:clrMapOvr>
</p:sldLayout>
</file>

<file path=ppt/slideLayouts/slideLayout1701.xml><?xml version="1.0" encoding="utf-8"?>
<p:sldLayout xmlns:a="http://schemas.openxmlformats.org/drawingml/2006/main" xmlns:r="http://schemas.openxmlformats.org/officeDocument/2006/relationships" xmlns:p="http://schemas.openxmlformats.org/presentationml/2006/main" matchingName="12_End">
  <p:cSld name="12_End">
    <p:spTree>
      <p:nvGrpSpPr>
        <p:cNvPr id="1" name="Shape 5249"/>
        <p:cNvGrpSpPr/>
        <p:nvPr/>
      </p:nvGrpSpPr>
      <p:grpSpPr>
        <a:xfrm>
          <a:off x="0" y="0"/>
          <a:ext cx="0" cy="0"/>
          <a:chOff x="0" y="0"/>
          <a:chExt cx="0" cy="0"/>
        </a:xfrm>
      </p:grpSpPr>
      <p:grpSp>
        <p:nvGrpSpPr>
          <p:cNvPr id="5250" name="Google Shape;5250;p5530"/>
          <p:cNvGrpSpPr/>
          <p:nvPr/>
        </p:nvGrpSpPr>
        <p:grpSpPr>
          <a:xfrm>
            <a:off x="0" y="0"/>
            <a:ext cx="12192000" cy="2148830"/>
            <a:chOff x="0" y="0"/>
            <a:chExt cx="12192000" cy="2148830"/>
          </a:xfrm>
        </p:grpSpPr>
        <p:sp>
          <p:nvSpPr>
            <p:cNvPr id="5251" name="Google Shape;5251;p553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252" name="Google Shape;5252;p553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5253" name="Google Shape;5253;p5530"/>
          <p:cNvSpPr/>
          <p:nvPr/>
        </p:nvSpPr>
        <p:spPr>
          <a:xfrm>
            <a:off x="902368" y="1517698"/>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254" name="Google Shape;5254;p5530"/>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255" name="Google Shape;5255;p553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9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256" name="Google Shape;5256;p5530"/>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5257" name="Google Shape;5257;p5530"/>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594706800"/>
      </p:ext>
    </p:extLst>
  </p:cSld>
  <p:clrMapOvr>
    <a:masterClrMapping/>
  </p:clrMapOvr>
</p:sldLayout>
</file>

<file path=ppt/slideLayouts/slideLayout1702.xml><?xml version="1.0" encoding="utf-8"?>
<p:sldLayout xmlns:a="http://schemas.openxmlformats.org/drawingml/2006/main" xmlns:r="http://schemas.openxmlformats.org/officeDocument/2006/relationships" xmlns:p="http://schemas.openxmlformats.org/presentationml/2006/main" matchingName="39_Quotation">
  <p:cSld name="39_Quotation">
    <p:spTree>
      <p:nvGrpSpPr>
        <p:cNvPr id="1" name="Shape 5258"/>
        <p:cNvGrpSpPr/>
        <p:nvPr/>
      </p:nvGrpSpPr>
      <p:grpSpPr>
        <a:xfrm>
          <a:off x="0" y="0"/>
          <a:ext cx="0" cy="0"/>
          <a:chOff x="0" y="0"/>
          <a:chExt cx="0" cy="0"/>
        </a:xfrm>
      </p:grpSpPr>
      <p:sp>
        <p:nvSpPr>
          <p:cNvPr id="5259" name="Google Shape;5259;p5531"/>
          <p:cNvSpPr/>
          <p:nvPr/>
        </p:nvSpPr>
        <p:spPr>
          <a:xfrm>
            <a:off x="1427357"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260" name="Google Shape;5260;p553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61" name="Google Shape;5261;p55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262" name="Google Shape;5262;p553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263" name="Google Shape;5263;p55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64" name="Google Shape;5264;p553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265" name="Google Shape;5265;p5531"/>
          <p:cNvGrpSpPr/>
          <p:nvPr/>
        </p:nvGrpSpPr>
        <p:grpSpPr>
          <a:xfrm>
            <a:off x="7191543" y="1"/>
            <a:ext cx="5000459" cy="1425992"/>
            <a:chOff x="7191542" y="1"/>
            <a:chExt cx="5000459" cy="1425992"/>
          </a:xfrm>
        </p:grpSpPr>
        <p:pic>
          <p:nvPicPr>
            <p:cNvPr id="5266" name="Google Shape;5266;p55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267" name="Google Shape;5267;p5531"/>
            <p:cNvGrpSpPr/>
            <p:nvPr/>
          </p:nvGrpSpPr>
          <p:grpSpPr>
            <a:xfrm>
              <a:off x="7191542" y="1"/>
              <a:ext cx="5000459" cy="1425992"/>
              <a:chOff x="7186272" y="0"/>
              <a:chExt cx="5005729" cy="1427495"/>
            </a:xfrm>
          </p:grpSpPr>
          <p:sp>
            <p:nvSpPr>
              <p:cNvPr id="5268" name="Google Shape;5268;p55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269" name="Google Shape;5269;p55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270" name="Google Shape;5270;p5531"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1079694855"/>
      </p:ext>
    </p:extLst>
  </p:cSld>
  <p:clrMapOvr>
    <a:masterClrMapping/>
  </p:clrMapOvr>
</p:sldLayout>
</file>

<file path=ppt/slideLayouts/slideLayout1703.xml><?xml version="1.0" encoding="utf-8"?>
<p:sldLayout xmlns:a="http://schemas.openxmlformats.org/drawingml/2006/main" xmlns:r="http://schemas.openxmlformats.org/officeDocument/2006/relationships" xmlns:p="http://schemas.openxmlformats.org/presentationml/2006/main" matchingName="1_Cover B">
  <p:cSld name="1_Cover B">
    <p:spTree>
      <p:nvGrpSpPr>
        <p:cNvPr id="1" name="Shape 5271"/>
        <p:cNvGrpSpPr/>
        <p:nvPr/>
      </p:nvGrpSpPr>
      <p:grpSpPr>
        <a:xfrm>
          <a:off x="0" y="0"/>
          <a:ext cx="0" cy="0"/>
          <a:chOff x="0" y="0"/>
          <a:chExt cx="0" cy="0"/>
        </a:xfrm>
      </p:grpSpPr>
      <p:sp>
        <p:nvSpPr>
          <p:cNvPr id="5272" name="Google Shape;5272;p5532"/>
          <p:cNvSpPr txBox="1">
            <a:spLocks noGrp="1"/>
          </p:cNvSpPr>
          <p:nvPr>
            <p:ph type="ctrTitle"/>
          </p:nvPr>
        </p:nvSpPr>
        <p:spPr>
          <a:xfrm>
            <a:off x="513349"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73" name="Google Shape;5273;p5532"/>
          <p:cNvSpPr txBox="1">
            <a:spLocks noGrp="1"/>
          </p:cNvSpPr>
          <p:nvPr>
            <p:ph type="subTitle" idx="1"/>
          </p:nvPr>
        </p:nvSpPr>
        <p:spPr>
          <a:xfrm>
            <a:off x="513349" y="5400326"/>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grpSp>
        <p:nvGrpSpPr>
          <p:cNvPr id="5274" name="Google Shape;5274;p5532"/>
          <p:cNvGrpSpPr/>
          <p:nvPr/>
        </p:nvGrpSpPr>
        <p:grpSpPr>
          <a:xfrm flipH="1">
            <a:off x="-1" y="2"/>
            <a:ext cx="6418725" cy="1509822"/>
            <a:chOff x="7522541" y="1"/>
            <a:chExt cx="4669459" cy="1098357"/>
          </a:xfrm>
        </p:grpSpPr>
        <p:sp>
          <p:nvSpPr>
            <p:cNvPr id="5275" name="Google Shape;5275;p5532"/>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276" name="Google Shape;5276;p5532"/>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pic>
        <p:nvPicPr>
          <p:cNvPr id="5277" name="Google Shape;5277;p5532"/>
          <p:cNvPicPr preferRelativeResize="0"/>
          <p:nvPr/>
        </p:nvPicPr>
        <p:blipFill rotWithShape="1">
          <a:blip r:embed="rId2">
            <a:alphaModFix/>
          </a:blip>
          <a:srcRect/>
          <a:stretch/>
        </p:blipFill>
        <p:spPr>
          <a:xfrm>
            <a:off x="513348" y="136526"/>
            <a:ext cx="1945206" cy="879974"/>
          </a:xfrm>
          <a:prstGeom prst="rect">
            <a:avLst/>
          </a:prstGeom>
          <a:noFill/>
          <a:ln>
            <a:noFill/>
          </a:ln>
        </p:spPr>
      </p:pic>
    </p:spTree>
    <p:extLst>
      <p:ext uri="{BB962C8B-B14F-4D97-AF65-F5344CB8AC3E}">
        <p14:creationId xmlns:p14="http://schemas.microsoft.com/office/powerpoint/2010/main" val="527504132"/>
      </p:ext>
    </p:extLst>
  </p:cSld>
  <p:clrMapOvr>
    <a:masterClrMapping/>
  </p:clrMapOvr>
</p:sldLayout>
</file>

<file path=ppt/slideLayouts/slideLayout1704.xml><?xml version="1.0" encoding="utf-8"?>
<p:sldLayout xmlns:a="http://schemas.openxmlformats.org/drawingml/2006/main" xmlns:r="http://schemas.openxmlformats.org/officeDocument/2006/relationships" xmlns:p="http://schemas.openxmlformats.org/presentationml/2006/main" matchingName="13_Cover">
  <p:cSld name="13_Cover">
    <p:spTree>
      <p:nvGrpSpPr>
        <p:cNvPr id="1" name="Shape 5278"/>
        <p:cNvGrpSpPr/>
        <p:nvPr/>
      </p:nvGrpSpPr>
      <p:grpSpPr>
        <a:xfrm>
          <a:off x="0" y="0"/>
          <a:ext cx="0" cy="0"/>
          <a:chOff x="0" y="0"/>
          <a:chExt cx="0" cy="0"/>
        </a:xfrm>
      </p:grpSpPr>
      <p:sp>
        <p:nvSpPr>
          <p:cNvPr id="5279" name="Google Shape;5279;p5533"/>
          <p:cNvSpPr/>
          <p:nvPr/>
        </p:nvSpPr>
        <p:spPr>
          <a:xfrm>
            <a:off x="902368" y="1294414"/>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280" name="Google Shape;5280;p5533"/>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81" name="Google Shape;5281;p5533"/>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
        <p:nvSpPr>
          <p:cNvPr id="5282" name="Google Shape;5282;p5533"/>
          <p:cNvSpPr>
            <a:spLocks noGrp="1"/>
          </p:cNvSpPr>
          <p:nvPr>
            <p:ph type="pic" idx="2"/>
          </p:nvPr>
        </p:nvSpPr>
        <p:spPr>
          <a:xfrm>
            <a:off x="7118684" y="233915"/>
            <a:ext cx="5073316" cy="5943600"/>
          </a:xfrm>
          <a:prstGeom prst="rect">
            <a:avLst/>
          </a:prstGeom>
          <a:noFill/>
          <a:ln>
            <a:noFill/>
          </a:ln>
        </p:spPr>
      </p:sp>
      <p:grpSp>
        <p:nvGrpSpPr>
          <p:cNvPr id="5283" name="Google Shape;5283;p5533"/>
          <p:cNvGrpSpPr/>
          <p:nvPr/>
        </p:nvGrpSpPr>
        <p:grpSpPr>
          <a:xfrm>
            <a:off x="0" y="5020349"/>
            <a:ext cx="12192000" cy="1837653"/>
            <a:chOff x="0" y="5020348"/>
            <a:chExt cx="12192000" cy="1837653"/>
          </a:xfrm>
        </p:grpSpPr>
        <p:sp>
          <p:nvSpPr>
            <p:cNvPr id="5284" name="Google Shape;5284;p553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285" name="Google Shape;5285;p553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5286" name="Google Shape;5286;p553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915042790"/>
      </p:ext>
    </p:extLst>
  </p:cSld>
  <p:clrMapOvr>
    <a:masterClrMapping/>
  </p:clrMapOvr>
</p:sldLayout>
</file>

<file path=ppt/slideLayouts/slideLayout1705.xml><?xml version="1.0" encoding="utf-8"?>
<p:sldLayout xmlns:a="http://schemas.openxmlformats.org/drawingml/2006/main" xmlns:r="http://schemas.openxmlformats.org/officeDocument/2006/relationships" xmlns:p="http://schemas.openxmlformats.org/presentationml/2006/main" matchingName="13_Divider">
  <p:cSld name="13_Divider">
    <p:bg>
      <p:bgPr>
        <a:solidFill>
          <a:schemeClr val="lt2"/>
        </a:solidFill>
        <a:effectLst/>
      </p:bgPr>
    </p:bg>
    <p:spTree>
      <p:nvGrpSpPr>
        <p:cNvPr id="1" name="Shape 5287"/>
        <p:cNvGrpSpPr/>
        <p:nvPr/>
      </p:nvGrpSpPr>
      <p:grpSpPr>
        <a:xfrm>
          <a:off x="0" y="0"/>
          <a:ext cx="0" cy="0"/>
          <a:chOff x="0" y="0"/>
          <a:chExt cx="0" cy="0"/>
        </a:xfrm>
      </p:grpSpPr>
      <p:grpSp>
        <p:nvGrpSpPr>
          <p:cNvPr id="5288" name="Google Shape;5288;p5534"/>
          <p:cNvGrpSpPr/>
          <p:nvPr/>
        </p:nvGrpSpPr>
        <p:grpSpPr>
          <a:xfrm>
            <a:off x="0" y="5020348"/>
            <a:ext cx="12192000" cy="1837653"/>
            <a:chOff x="0" y="5020347"/>
            <a:chExt cx="12192000" cy="1837653"/>
          </a:xfrm>
        </p:grpSpPr>
        <p:sp>
          <p:nvSpPr>
            <p:cNvPr id="5289" name="Google Shape;5289;p553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290" name="Google Shape;5290;p553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291" name="Google Shape;5291;p553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5292" name="Google Shape;5292;p553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293" name="Google Shape;5293;p5534"/>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94" name="Google Shape;5294;p5534"/>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Tree>
    <p:extLst>
      <p:ext uri="{BB962C8B-B14F-4D97-AF65-F5344CB8AC3E}">
        <p14:creationId xmlns:p14="http://schemas.microsoft.com/office/powerpoint/2010/main" val="2817054133"/>
      </p:ext>
    </p:extLst>
  </p:cSld>
  <p:clrMapOvr>
    <a:masterClrMapping/>
  </p:clrMapOvr>
</p:sldLayout>
</file>

<file path=ppt/slideLayouts/slideLayout1706.xml><?xml version="1.0" encoding="utf-8"?>
<p:sldLayout xmlns:a="http://schemas.openxmlformats.org/drawingml/2006/main" xmlns:r="http://schemas.openxmlformats.org/officeDocument/2006/relationships" xmlns:p="http://schemas.openxmlformats.org/presentationml/2006/main" matchingName="13_Photo Slide">
  <p:cSld name="13_Photo Slide">
    <p:spTree>
      <p:nvGrpSpPr>
        <p:cNvPr id="1" name="Shape 5295"/>
        <p:cNvGrpSpPr/>
        <p:nvPr/>
      </p:nvGrpSpPr>
      <p:grpSpPr>
        <a:xfrm>
          <a:off x="0" y="0"/>
          <a:ext cx="0" cy="0"/>
          <a:chOff x="0" y="0"/>
          <a:chExt cx="0" cy="0"/>
        </a:xfrm>
      </p:grpSpPr>
      <p:sp>
        <p:nvSpPr>
          <p:cNvPr id="5296" name="Google Shape;5296;p5535"/>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5297" name="Google Shape;5297;p553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298" name="Google Shape;5298;p5535"/>
          <p:cNvGrpSpPr/>
          <p:nvPr/>
        </p:nvGrpSpPr>
        <p:grpSpPr>
          <a:xfrm>
            <a:off x="0" y="5379427"/>
            <a:ext cx="2807368" cy="753891"/>
            <a:chOff x="0" y="5379426"/>
            <a:chExt cx="2807368" cy="753891"/>
          </a:xfrm>
        </p:grpSpPr>
        <p:sp>
          <p:nvSpPr>
            <p:cNvPr id="5299" name="Google Shape;5299;p553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300" name="Google Shape;5300;p553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5301" name="Google Shape;5301;p5535"/>
          <p:cNvSpPr>
            <a:spLocks noGrp="1"/>
          </p:cNvSpPr>
          <p:nvPr>
            <p:ph type="pic" idx="2"/>
          </p:nvPr>
        </p:nvSpPr>
        <p:spPr>
          <a:xfrm>
            <a:off x="2807368" y="457202"/>
            <a:ext cx="8915400" cy="5943598"/>
          </a:xfrm>
          <a:prstGeom prst="rect">
            <a:avLst/>
          </a:prstGeom>
          <a:noFill/>
          <a:ln>
            <a:noFill/>
          </a:ln>
        </p:spPr>
      </p:sp>
      <p:pic>
        <p:nvPicPr>
          <p:cNvPr id="5302" name="Google Shape;5302;p5535"/>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3862912789"/>
      </p:ext>
    </p:extLst>
  </p:cSld>
  <p:clrMapOvr>
    <a:masterClrMapping/>
  </p:clrMapOvr>
</p:sldLayout>
</file>

<file path=ppt/slideLayouts/slideLayout1707.xml><?xml version="1.0" encoding="utf-8"?>
<p:sldLayout xmlns:a="http://schemas.openxmlformats.org/drawingml/2006/main" xmlns:r="http://schemas.openxmlformats.org/officeDocument/2006/relationships" xmlns:p="http://schemas.openxmlformats.org/presentationml/2006/main" matchingName="40_Quotation">
  <p:cSld name="40_Quotation">
    <p:spTree>
      <p:nvGrpSpPr>
        <p:cNvPr id="1" name="Shape 5303"/>
        <p:cNvGrpSpPr/>
        <p:nvPr/>
      </p:nvGrpSpPr>
      <p:grpSpPr>
        <a:xfrm>
          <a:off x="0" y="0"/>
          <a:ext cx="0" cy="0"/>
          <a:chOff x="0" y="0"/>
          <a:chExt cx="0" cy="0"/>
        </a:xfrm>
      </p:grpSpPr>
      <p:sp>
        <p:nvSpPr>
          <p:cNvPr id="5304" name="Google Shape;5304;p5536"/>
          <p:cNvSpPr/>
          <p:nvPr/>
        </p:nvSpPr>
        <p:spPr>
          <a:xfrm>
            <a:off x="1427357"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305" name="Google Shape;5305;p553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06" name="Google Shape;5306;p553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307" name="Google Shape;5307;p553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308" name="Google Shape;5308;p55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09" name="Google Shape;5309;p553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310" name="Google Shape;5310;p5536"/>
          <p:cNvGrpSpPr/>
          <p:nvPr/>
        </p:nvGrpSpPr>
        <p:grpSpPr>
          <a:xfrm>
            <a:off x="7191543" y="1"/>
            <a:ext cx="5000459" cy="1425992"/>
            <a:chOff x="7191542" y="1"/>
            <a:chExt cx="5000459" cy="1425992"/>
          </a:xfrm>
        </p:grpSpPr>
        <p:pic>
          <p:nvPicPr>
            <p:cNvPr id="5311" name="Google Shape;5311;p55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12" name="Google Shape;5312;p5536"/>
            <p:cNvGrpSpPr/>
            <p:nvPr/>
          </p:nvGrpSpPr>
          <p:grpSpPr>
            <a:xfrm>
              <a:off x="7191542" y="1"/>
              <a:ext cx="5000459" cy="1425992"/>
              <a:chOff x="7186272" y="0"/>
              <a:chExt cx="5005729" cy="1427495"/>
            </a:xfrm>
          </p:grpSpPr>
          <p:sp>
            <p:nvSpPr>
              <p:cNvPr id="5313" name="Google Shape;5313;p55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314" name="Google Shape;5314;p55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315" name="Google Shape;5315;p5536"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2673678896"/>
      </p:ext>
    </p:extLst>
  </p:cSld>
  <p:clrMapOvr>
    <a:masterClrMapping/>
  </p:clrMapOvr>
</p:sldLayout>
</file>

<file path=ppt/slideLayouts/slideLayout1708.xml><?xml version="1.0" encoding="utf-8"?>
<p:sldLayout xmlns:a="http://schemas.openxmlformats.org/drawingml/2006/main" xmlns:r="http://schemas.openxmlformats.org/officeDocument/2006/relationships" xmlns:p="http://schemas.openxmlformats.org/presentationml/2006/main" matchingName="13_Title and Content">
  <p:cSld name="13_Title and Content">
    <p:spTree>
      <p:nvGrpSpPr>
        <p:cNvPr id="1" name="Shape 5316"/>
        <p:cNvGrpSpPr/>
        <p:nvPr/>
      </p:nvGrpSpPr>
      <p:grpSpPr>
        <a:xfrm>
          <a:off x="0" y="0"/>
          <a:ext cx="0" cy="0"/>
          <a:chOff x="0" y="0"/>
          <a:chExt cx="0" cy="0"/>
        </a:xfrm>
      </p:grpSpPr>
      <p:grpSp>
        <p:nvGrpSpPr>
          <p:cNvPr id="5317" name="Google Shape;5317;p5537"/>
          <p:cNvGrpSpPr/>
          <p:nvPr/>
        </p:nvGrpSpPr>
        <p:grpSpPr>
          <a:xfrm>
            <a:off x="7191543" y="1"/>
            <a:ext cx="5000459" cy="1425992"/>
            <a:chOff x="7191542" y="1"/>
            <a:chExt cx="5000459" cy="1425992"/>
          </a:xfrm>
        </p:grpSpPr>
        <p:pic>
          <p:nvPicPr>
            <p:cNvPr id="5318" name="Google Shape;5318;p55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19" name="Google Shape;5319;p5537"/>
            <p:cNvGrpSpPr/>
            <p:nvPr/>
          </p:nvGrpSpPr>
          <p:grpSpPr>
            <a:xfrm>
              <a:off x="7191542" y="1"/>
              <a:ext cx="5000459" cy="1425992"/>
              <a:chOff x="7186272" y="0"/>
              <a:chExt cx="5005729" cy="1427495"/>
            </a:xfrm>
          </p:grpSpPr>
          <p:sp>
            <p:nvSpPr>
              <p:cNvPr id="5320" name="Google Shape;5320;p55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321" name="Google Shape;5321;p55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322" name="Google Shape;5322;p553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23" name="Google Shape;5323;p5537"/>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324" name="Google Shape;5324;p553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325" name="Google Shape;5325;p55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26" name="Google Shape;5326;p553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328827090"/>
      </p:ext>
    </p:extLst>
  </p:cSld>
  <p:clrMapOvr>
    <a:masterClrMapping/>
  </p:clrMapOvr>
</p:sldLayout>
</file>

<file path=ppt/slideLayouts/slideLayout1709.xml><?xml version="1.0" encoding="utf-8"?>
<p:sldLayout xmlns:a="http://schemas.openxmlformats.org/drawingml/2006/main" xmlns:r="http://schemas.openxmlformats.org/officeDocument/2006/relationships" xmlns:p="http://schemas.openxmlformats.org/presentationml/2006/main" matchingName="13_Two Content">
  <p:cSld name="13_Two Content">
    <p:spTree>
      <p:nvGrpSpPr>
        <p:cNvPr id="1" name="Shape 5327"/>
        <p:cNvGrpSpPr/>
        <p:nvPr/>
      </p:nvGrpSpPr>
      <p:grpSpPr>
        <a:xfrm>
          <a:off x="0" y="0"/>
          <a:ext cx="0" cy="0"/>
          <a:chOff x="0" y="0"/>
          <a:chExt cx="0" cy="0"/>
        </a:xfrm>
      </p:grpSpPr>
      <p:sp>
        <p:nvSpPr>
          <p:cNvPr id="5328" name="Google Shape;5328;p553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29" name="Google Shape;5329;p5538"/>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5330" name="Google Shape;5330;p5538"/>
          <p:cNvGrpSpPr/>
          <p:nvPr/>
        </p:nvGrpSpPr>
        <p:grpSpPr>
          <a:xfrm>
            <a:off x="7191543" y="1"/>
            <a:ext cx="5000459" cy="1425992"/>
            <a:chOff x="7191542" y="1"/>
            <a:chExt cx="5000459" cy="1425992"/>
          </a:xfrm>
        </p:grpSpPr>
        <p:pic>
          <p:nvPicPr>
            <p:cNvPr id="5331" name="Google Shape;5331;p55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32" name="Google Shape;5332;p5538"/>
            <p:cNvGrpSpPr/>
            <p:nvPr/>
          </p:nvGrpSpPr>
          <p:grpSpPr>
            <a:xfrm>
              <a:off x="7191542" y="1"/>
              <a:ext cx="5000459" cy="1425992"/>
              <a:chOff x="7186272" y="0"/>
              <a:chExt cx="5005729" cy="1427495"/>
            </a:xfrm>
          </p:grpSpPr>
          <p:sp>
            <p:nvSpPr>
              <p:cNvPr id="5333" name="Google Shape;5333;p55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334" name="Google Shape;5334;p55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335" name="Google Shape;5335;p5538"/>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336" name="Google Shape;5336;p5538"/>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337" name="Google Shape;5337;p55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38" name="Google Shape;5338;p553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37602092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matchingName="3_Quotation">
  <p:cSld name="3_Quotation 3 2">
    <p:spTree>
      <p:nvGrpSpPr>
        <p:cNvPr id="1" name="Shape 10735"/>
        <p:cNvGrpSpPr/>
        <p:nvPr/>
      </p:nvGrpSpPr>
      <p:grpSpPr>
        <a:xfrm>
          <a:off x="0" y="0"/>
          <a:ext cx="0" cy="0"/>
          <a:chOff x="0" y="0"/>
          <a:chExt cx="0" cy="0"/>
        </a:xfrm>
      </p:grpSpPr>
      <p:sp>
        <p:nvSpPr>
          <p:cNvPr id="10736" name="Google Shape;10736;p147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737" name="Google Shape;10737;p147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738" name="Google Shape;10738;p147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39" name="Google Shape;10739;p14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740" name="Google Shape;10740;p14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41" name="Google Shape;10741;p14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742" name="Google Shape;10742;p1475"/>
          <p:cNvGrpSpPr/>
          <p:nvPr/>
        </p:nvGrpSpPr>
        <p:grpSpPr>
          <a:xfrm>
            <a:off x="7191542" y="1"/>
            <a:ext cx="5000459" cy="1425992"/>
            <a:chOff x="7191542" y="1"/>
            <a:chExt cx="5000459" cy="1425992"/>
          </a:xfrm>
        </p:grpSpPr>
        <p:pic>
          <p:nvPicPr>
            <p:cNvPr id="10743" name="Google Shape;10743;p14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744" name="Google Shape;10744;p1475"/>
            <p:cNvGrpSpPr/>
            <p:nvPr/>
          </p:nvGrpSpPr>
          <p:grpSpPr>
            <a:xfrm>
              <a:off x="7191542" y="1"/>
              <a:ext cx="5000459" cy="1425992"/>
              <a:chOff x="7186272" y="0"/>
              <a:chExt cx="5005729" cy="1427495"/>
            </a:xfrm>
          </p:grpSpPr>
          <p:sp>
            <p:nvSpPr>
              <p:cNvPr id="10745" name="Google Shape;10745;p14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746" name="Google Shape;10746;p14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747" name="Google Shape;10747;p147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710.xml><?xml version="1.0" encoding="utf-8"?>
<p:sldLayout xmlns:a="http://schemas.openxmlformats.org/drawingml/2006/main" xmlns:r="http://schemas.openxmlformats.org/officeDocument/2006/relationships" xmlns:p="http://schemas.openxmlformats.org/presentationml/2006/main" matchingName="13_Comparison">
  <p:cSld name="13_Comparison">
    <p:spTree>
      <p:nvGrpSpPr>
        <p:cNvPr id="1" name="Shape 5339"/>
        <p:cNvGrpSpPr/>
        <p:nvPr/>
      </p:nvGrpSpPr>
      <p:grpSpPr>
        <a:xfrm>
          <a:off x="0" y="0"/>
          <a:ext cx="0" cy="0"/>
          <a:chOff x="0" y="0"/>
          <a:chExt cx="0" cy="0"/>
        </a:xfrm>
      </p:grpSpPr>
      <p:grpSp>
        <p:nvGrpSpPr>
          <p:cNvPr id="5340" name="Google Shape;5340;p5539"/>
          <p:cNvGrpSpPr/>
          <p:nvPr/>
        </p:nvGrpSpPr>
        <p:grpSpPr>
          <a:xfrm>
            <a:off x="7191543" y="1"/>
            <a:ext cx="5000459" cy="1425992"/>
            <a:chOff x="7191542" y="1"/>
            <a:chExt cx="5000459" cy="1425992"/>
          </a:xfrm>
        </p:grpSpPr>
        <p:pic>
          <p:nvPicPr>
            <p:cNvPr id="5341" name="Google Shape;5341;p55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42" name="Google Shape;5342;p5539"/>
            <p:cNvGrpSpPr/>
            <p:nvPr/>
          </p:nvGrpSpPr>
          <p:grpSpPr>
            <a:xfrm>
              <a:off x="7191542" y="1"/>
              <a:ext cx="5000459" cy="1425992"/>
              <a:chOff x="7186272" y="0"/>
              <a:chExt cx="5005729" cy="1427495"/>
            </a:xfrm>
          </p:grpSpPr>
          <p:sp>
            <p:nvSpPr>
              <p:cNvPr id="5343" name="Google Shape;5343;p55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344" name="Google Shape;5344;p55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345" name="Google Shape;5345;p5539"/>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46" name="Google Shape;5346;p5539"/>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5347" name="Google Shape;5347;p5539"/>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348" name="Google Shape;5348;p553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5349" name="Google Shape;5349;p553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350" name="Google Shape;5350;p553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351" name="Google Shape;5351;p55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52" name="Google Shape;5352;p553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454732612"/>
      </p:ext>
    </p:extLst>
  </p:cSld>
  <p:clrMapOvr>
    <a:masterClrMapping/>
  </p:clrMapOvr>
</p:sldLayout>
</file>

<file path=ppt/slideLayouts/slideLayout1711.xml><?xml version="1.0" encoding="utf-8"?>
<p:sldLayout xmlns:a="http://schemas.openxmlformats.org/drawingml/2006/main" xmlns:r="http://schemas.openxmlformats.org/officeDocument/2006/relationships" xmlns:p="http://schemas.openxmlformats.org/presentationml/2006/main" matchingName="13_Title Only">
  <p:cSld name="13_Title Only">
    <p:spTree>
      <p:nvGrpSpPr>
        <p:cNvPr id="1" name="Shape 5353"/>
        <p:cNvGrpSpPr/>
        <p:nvPr/>
      </p:nvGrpSpPr>
      <p:grpSpPr>
        <a:xfrm>
          <a:off x="0" y="0"/>
          <a:ext cx="0" cy="0"/>
          <a:chOff x="0" y="0"/>
          <a:chExt cx="0" cy="0"/>
        </a:xfrm>
      </p:grpSpPr>
      <p:grpSp>
        <p:nvGrpSpPr>
          <p:cNvPr id="5354" name="Google Shape;5354;p5540"/>
          <p:cNvGrpSpPr/>
          <p:nvPr/>
        </p:nvGrpSpPr>
        <p:grpSpPr>
          <a:xfrm>
            <a:off x="7191543" y="1"/>
            <a:ext cx="5000459" cy="1425992"/>
            <a:chOff x="7191542" y="1"/>
            <a:chExt cx="5000459" cy="1425992"/>
          </a:xfrm>
        </p:grpSpPr>
        <p:pic>
          <p:nvPicPr>
            <p:cNvPr id="5355" name="Google Shape;5355;p554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56" name="Google Shape;5356;p5540"/>
            <p:cNvGrpSpPr/>
            <p:nvPr/>
          </p:nvGrpSpPr>
          <p:grpSpPr>
            <a:xfrm>
              <a:off x="7191542" y="1"/>
              <a:ext cx="5000459" cy="1425992"/>
              <a:chOff x="7186272" y="0"/>
              <a:chExt cx="5005729" cy="1427495"/>
            </a:xfrm>
          </p:grpSpPr>
          <p:sp>
            <p:nvSpPr>
              <p:cNvPr id="5357" name="Google Shape;5357;p55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358" name="Google Shape;5358;p55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359" name="Google Shape;5359;p554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60" name="Google Shape;5360;p554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361" name="Google Shape;5361;p55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62" name="Google Shape;5362;p554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540415243"/>
      </p:ext>
    </p:extLst>
  </p:cSld>
  <p:clrMapOvr>
    <a:masterClrMapping/>
  </p:clrMapOvr>
</p:sldLayout>
</file>

<file path=ppt/slideLayouts/slideLayout1712.xml><?xml version="1.0" encoding="utf-8"?>
<p:sldLayout xmlns:a="http://schemas.openxmlformats.org/drawingml/2006/main" xmlns:r="http://schemas.openxmlformats.org/officeDocument/2006/relationships" xmlns:p="http://schemas.openxmlformats.org/presentationml/2006/main" matchingName="14_End">
  <p:cSld name="14_End">
    <p:spTree>
      <p:nvGrpSpPr>
        <p:cNvPr id="1" name="Shape 5363"/>
        <p:cNvGrpSpPr/>
        <p:nvPr/>
      </p:nvGrpSpPr>
      <p:grpSpPr>
        <a:xfrm>
          <a:off x="0" y="0"/>
          <a:ext cx="0" cy="0"/>
          <a:chOff x="0" y="0"/>
          <a:chExt cx="0" cy="0"/>
        </a:xfrm>
      </p:grpSpPr>
      <p:grpSp>
        <p:nvGrpSpPr>
          <p:cNvPr id="5364" name="Google Shape;5364;p5541"/>
          <p:cNvGrpSpPr/>
          <p:nvPr/>
        </p:nvGrpSpPr>
        <p:grpSpPr>
          <a:xfrm>
            <a:off x="0" y="0"/>
            <a:ext cx="12192000" cy="2148830"/>
            <a:chOff x="0" y="0"/>
            <a:chExt cx="12192000" cy="2148830"/>
          </a:xfrm>
        </p:grpSpPr>
        <p:sp>
          <p:nvSpPr>
            <p:cNvPr id="5365" name="Google Shape;5365;p554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366" name="Google Shape;5366;p554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5367" name="Google Shape;5367;p5541"/>
          <p:cNvSpPr/>
          <p:nvPr/>
        </p:nvSpPr>
        <p:spPr>
          <a:xfrm>
            <a:off x="902368" y="1517698"/>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368" name="Google Shape;5368;p5541"/>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369" name="Google Shape;5369;p554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9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370" name="Google Shape;5370;p5541"/>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5371" name="Google Shape;5371;p5541"/>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541077849"/>
      </p:ext>
    </p:extLst>
  </p:cSld>
  <p:clrMapOvr>
    <a:masterClrMapping/>
  </p:clrMapOvr>
</p:sldLayout>
</file>

<file path=ppt/slideLayouts/slideLayout1713.xml><?xml version="1.0" encoding="utf-8"?>
<p:sldLayout xmlns:a="http://schemas.openxmlformats.org/drawingml/2006/main" xmlns:r="http://schemas.openxmlformats.org/officeDocument/2006/relationships" xmlns:p="http://schemas.openxmlformats.org/presentationml/2006/main" matchingName="15_Blank">
  <p:cSld name="15_Blank">
    <p:spTree>
      <p:nvGrpSpPr>
        <p:cNvPr id="1" name="Shape 5372"/>
        <p:cNvGrpSpPr/>
        <p:nvPr/>
      </p:nvGrpSpPr>
      <p:grpSpPr>
        <a:xfrm>
          <a:off x="0" y="0"/>
          <a:ext cx="0" cy="0"/>
          <a:chOff x="0" y="0"/>
          <a:chExt cx="0" cy="0"/>
        </a:xfrm>
      </p:grpSpPr>
      <p:sp>
        <p:nvSpPr>
          <p:cNvPr id="5373" name="Google Shape;5373;p554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374" name="Google Shape;5374;p55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75" name="Google Shape;5375;p554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376" name="Google Shape;5376;p5542"/>
          <p:cNvGrpSpPr/>
          <p:nvPr/>
        </p:nvGrpSpPr>
        <p:grpSpPr>
          <a:xfrm>
            <a:off x="7191543" y="1"/>
            <a:ext cx="5000459" cy="1425992"/>
            <a:chOff x="7191542" y="1"/>
            <a:chExt cx="5000459" cy="1425992"/>
          </a:xfrm>
        </p:grpSpPr>
        <p:pic>
          <p:nvPicPr>
            <p:cNvPr id="5377" name="Google Shape;5377;p55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78" name="Google Shape;5378;p5542"/>
            <p:cNvGrpSpPr/>
            <p:nvPr/>
          </p:nvGrpSpPr>
          <p:grpSpPr>
            <a:xfrm>
              <a:off x="7191542" y="1"/>
              <a:ext cx="5000459" cy="1425992"/>
              <a:chOff x="7186272" y="0"/>
              <a:chExt cx="5005729" cy="1427495"/>
            </a:xfrm>
          </p:grpSpPr>
          <p:sp>
            <p:nvSpPr>
              <p:cNvPr id="5379" name="Google Shape;5379;p55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380" name="Google Shape;5380;p55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extLst>
      <p:ext uri="{BB962C8B-B14F-4D97-AF65-F5344CB8AC3E}">
        <p14:creationId xmlns:p14="http://schemas.microsoft.com/office/powerpoint/2010/main" val="2261853746"/>
      </p:ext>
    </p:extLst>
  </p:cSld>
  <p:clrMapOvr>
    <a:masterClrMapping/>
  </p:clrMapOvr>
</p:sldLayout>
</file>

<file path=ppt/slideLayouts/slideLayout1714.xml><?xml version="1.0" encoding="utf-8"?>
<p:sldLayout xmlns:a="http://schemas.openxmlformats.org/drawingml/2006/main" xmlns:r="http://schemas.openxmlformats.org/officeDocument/2006/relationships" xmlns:p="http://schemas.openxmlformats.org/presentationml/2006/main" matchingName="16_Cover">
  <p:cSld name="16_Cover">
    <p:spTree>
      <p:nvGrpSpPr>
        <p:cNvPr id="1" name="Shape 5381"/>
        <p:cNvGrpSpPr/>
        <p:nvPr/>
      </p:nvGrpSpPr>
      <p:grpSpPr>
        <a:xfrm>
          <a:off x="0" y="0"/>
          <a:ext cx="0" cy="0"/>
          <a:chOff x="0" y="0"/>
          <a:chExt cx="0" cy="0"/>
        </a:xfrm>
      </p:grpSpPr>
      <p:sp>
        <p:nvSpPr>
          <p:cNvPr id="5382" name="Google Shape;5382;p5543"/>
          <p:cNvSpPr/>
          <p:nvPr/>
        </p:nvSpPr>
        <p:spPr>
          <a:xfrm>
            <a:off x="902368" y="1294414"/>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383" name="Google Shape;5383;p5543"/>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84" name="Google Shape;5384;p5543"/>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
        <p:nvSpPr>
          <p:cNvPr id="5385" name="Google Shape;5385;p5543"/>
          <p:cNvSpPr>
            <a:spLocks noGrp="1"/>
          </p:cNvSpPr>
          <p:nvPr>
            <p:ph type="pic" idx="2"/>
          </p:nvPr>
        </p:nvSpPr>
        <p:spPr>
          <a:xfrm>
            <a:off x="7118684" y="233915"/>
            <a:ext cx="5073316" cy="5943600"/>
          </a:xfrm>
          <a:prstGeom prst="rect">
            <a:avLst/>
          </a:prstGeom>
          <a:noFill/>
          <a:ln>
            <a:noFill/>
          </a:ln>
        </p:spPr>
      </p:sp>
      <p:grpSp>
        <p:nvGrpSpPr>
          <p:cNvPr id="5386" name="Google Shape;5386;p5543"/>
          <p:cNvGrpSpPr/>
          <p:nvPr/>
        </p:nvGrpSpPr>
        <p:grpSpPr>
          <a:xfrm>
            <a:off x="0" y="5020349"/>
            <a:ext cx="12192000" cy="1837653"/>
            <a:chOff x="0" y="5020348"/>
            <a:chExt cx="12192000" cy="1837653"/>
          </a:xfrm>
        </p:grpSpPr>
        <p:sp>
          <p:nvSpPr>
            <p:cNvPr id="5387" name="Google Shape;5387;p554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388" name="Google Shape;5388;p554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5389" name="Google Shape;5389;p554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46454746"/>
      </p:ext>
    </p:extLst>
  </p:cSld>
  <p:clrMapOvr>
    <a:masterClrMapping/>
  </p:clrMapOvr>
</p:sldLayout>
</file>

<file path=ppt/slideLayouts/slideLayout1715.xml><?xml version="1.0" encoding="utf-8"?>
<p:sldLayout xmlns:a="http://schemas.openxmlformats.org/drawingml/2006/main" xmlns:r="http://schemas.openxmlformats.org/officeDocument/2006/relationships" xmlns:p="http://schemas.openxmlformats.org/presentationml/2006/main" matchingName="16_Divider">
  <p:cSld name="16_Divider">
    <p:bg>
      <p:bgPr>
        <a:solidFill>
          <a:schemeClr val="lt2"/>
        </a:solidFill>
        <a:effectLst/>
      </p:bgPr>
    </p:bg>
    <p:spTree>
      <p:nvGrpSpPr>
        <p:cNvPr id="1" name="Shape 5390"/>
        <p:cNvGrpSpPr/>
        <p:nvPr/>
      </p:nvGrpSpPr>
      <p:grpSpPr>
        <a:xfrm>
          <a:off x="0" y="0"/>
          <a:ext cx="0" cy="0"/>
          <a:chOff x="0" y="0"/>
          <a:chExt cx="0" cy="0"/>
        </a:xfrm>
      </p:grpSpPr>
      <p:grpSp>
        <p:nvGrpSpPr>
          <p:cNvPr id="5391" name="Google Shape;5391;p5544"/>
          <p:cNvGrpSpPr/>
          <p:nvPr/>
        </p:nvGrpSpPr>
        <p:grpSpPr>
          <a:xfrm>
            <a:off x="0" y="5020348"/>
            <a:ext cx="12192000" cy="1837653"/>
            <a:chOff x="0" y="5020347"/>
            <a:chExt cx="12192000" cy="1837653"/>
          </a:xfrm>
        </p:grpSpPr>
        <p:sp>
          <p:nvSpPr>
            <p:cNvPr id="5392" name="Google Shape;5392;p554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393" name="Google Shape;5393;p554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394" name="Google Shape;5394;p554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5395" name="Google Shape;5395;p554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396" name="Google Shape;5396;p5544"/>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97" name="Google Shape;5397;p5544"/>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Tree>
    <p:extLst>
      <p:ext uri="{BB962C8B-B14F-4D97-AF65-F5344CB8AC3E}">
        <p14:creationId xmlns:p14="http://schemas.microsoft.com/office/powerpoint/2010/main" val="3176463092"/>
      </p:ext>
    </p:extLst>
  </p:cSld>
  <p:clrMapOvr>
    <a:masterClrMapping/>
  </p:clrMapOvr>
</p:sldLayout>
</file>

<file path=ppt/slideLayouts/slideLayout1716.xml><?xml version="1.0" encoding="utf-8"?>
<p:sldLayout xmlns:a="http://schemas.openxmlformats.org/drawingml/2006/main" xmlns:r="http://schemas.openxmlformats.org/officeDocument/2006/relationships" xmlns:p="http://schemas.openxmlformats.org/presentationml/2006/main" matchingName="43_Quotation">
  <p:cSld name="43_Quotation">
    <p:spTree>
      <p:nvGrpSpPr>
        <p:cNvPr id="1" name="Shape 5398"/>
        <p:cNvGrpSpPr/>
        <p:nvPr/>
      </p:nvGrpSpPr>
      <p:grpSpPr>
        <a:xfrm>
          <a:off x="0" y="0"/>
          <a:ext cx="0" cy="0"/>
          <a:chOff x="0" y="0"/>
          <a:chExt cx="0" cy="0"/>
        </a:xfrm>
      </p:grpSpPr>
      <p:sp>
        <p:nvSpPr>
          <p:cNvPr id="5399" name="Google Shape;5399;p5545"/>
          <p:cNvSpPr/>
          <p:nvPr/>
        </p:nvSpPr>
        <p:spPr>
          <a:xfrm>
            <a:off x="1427357"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400" name="Google Shape;5400;p554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01" name="Google Shape;5401;p554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402" name="Google Shape;5402;p554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403" name="Google Shape;5403;p55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04" name="Google Shape;5404;p554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405" name="Google Shape;5405;p5545"/>
          <p:cNvGrpSpPr/>
          <p:nvPr/>
        </p:nvGrpSpPr>
        <p:grpSpPr>
          <a:xfrm>
            <a:off x="7191543" y="1"/>
            <a:ext cx="5000459" cy="1425992"/>
            <a:chOff x="7191542" y="1"/>
            <a:chExt cx="5000459" cy="1425992"/>
          </a:xfrm>
        </p:grpSpPr>
        <p:pic>
          <p:nvPicPr>
            <p:cNvPr id="5406" name="Google Shape;5406;p55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07" name="Google Shape;5407;p5545"/>
            <p:cNvGrpSpPr/>
            <p:nvPr/>
          </p:nvGrpSpPr>
          <p:grpSpPr>
            <a:xfrm>
              <a:off x="7191542" y="1"/>
              <a:ext cx="5000459" cy="1425992"/>
              <a:chOff x="7186272" y="0"/>
              <a:chExt cx="5005729" cy="1427495"/>
            </a:xfrm>
          </p:grpSpPr>
          <p:sp>
            <p:nvSpPr>
              <p:cNvPr id="5408" name="Google Shape;5408;p55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409" name="Google Shape;5409;p55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410" name="Google Shape;5410;p5545"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489254049"/>
      </p:ext>
    </p:extLst>
  </p:cSld>
  <p:clrMapOvr>
    <a:masterClrMapping/>
  </p:clrMapOvr>
</p:sldLayout>
</file>

<file path=ppt/slideLayouts/slideLayout1717.xml><?xml version="1.0" encoding="utf-8"?>
<p:sldLayout xmlns:a="http://schemas.openxmlformats.org/drawingml/2006/main" xmlns:r="http://schemas.openxmlformats.org/officeDocument/2006/relationships" xmlns:p="http://schemas.openxmlformats.org/presentationml/2006/main" matchingName="16_Photo Slide">
  <p:cSld name="16_Photo Slide">
    <p:spTree>
      <p:nvGrpSpPr>
        <p:cNvPr id="1" name="Shape 5411"/>
        <p:cNvGrpSpPr/>
        <p:nvPr/>
      </p:nvGrpSpPr>
      <p:grpSpPr>
        <a:xfrm>
          <a:off x="0" y="0"/>
          <a:ext cx="0" cy="0"/>
          <a:chOff x="0" y="0"/>
          <a:chExt cx="0" cy="0"/>
        </a:xfrm>
      </p:grpSpPr>
      <p:sp>
        <p:nvSpPr>
          <p:cNvPr id="5412" name="Google Shape;5412;p5546"/>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5413" name="Google Shape;5413;p554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414" name="Google Shape;5414;p5546"/>
          <p:cNvGrpSpPr/>
          <p:nvPr/>
        </p:nvGrpSpPr>
        <p:grpSpPr>
          <a:xfrm>
            <a:off x="0" y="5379427"/>
            <a:ext cx="2807368" cy="753891"/>
            <a:chOff x="0" y="5379426"/>
            <a:chExt cx="2807368" cy="753891"/>
          </a:xfrm>
        </p:grpSpPr>
        <p:sp>
          <p:nvSpPr>
            <p:cNvPr id="5415" name="Google Shape;5415;p554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416" name="Google Shape;5416;p554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5417" name="Google Shape;5417;p5546"/>
          <p:cNvSpPr>
            <a:spLocks noGrp="1"/>
          </p:cNvSpPr>
          <p:nvPr>
            <p:ph type="pic" idx="2"/>
          </p:nvPr>
        </p:nvSpPr>
        <p:spPr>
          <a:xfrm>
            <a:off x="2807368" y="457202"/>
            <a:ext cx="8915400" cy="5943598"/>
          </a:xfrm>
          <a:prstGeom prst="rect">
            <a:avLst/>
          </a:prstGeom>
          <a:noFill/>
          <a:ln>
            <a:noFill/>
          </a:ln>
        </p:spPr>
      </p:sp>
      <p:pic>
        <p:nvPicPr>
          <p:cNvPr id="5418" name="Google Shape;5418;p5546"/>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278247404"/>
      </p:ext>
    </p:extLst>
  </p:cSld>
  <p:clrMapOvr>
    <a:masterClrMapping/>
  </p:clrMapOvr>
</p:sldLayout>
</file>

<file path=ppt/slideLayouts/slideLayout1718.xml><?xml version="1.0" encoding="utf-8"?>
<p:sldLayout xmlns:a="http://schemas.openxmlformats.org/drawingml/2006/main" xmlns:r="http://schemas.openxmlformats.org/officeDocument/2006/relationships" xmlns:p="http://schemas.openxmlformats.org/presentationml/2006/main" matchingName="44_Quotation">
  <p:cSld name="44_Quotation">
    <p:spTree>
      <p:nvGrpSpPr>
        <p:cNvPr id="1" name="Shape 5419"/>
        <p:cNvGrpSpPr/>
        <p:nvPr/>
      </p:nvGrpSpPr>
      <p:grpSpPr>
        <a:xfrm>
          <a:off x="0" y="0"/>
          <a:ext cx="0" cy="0"/>
          <a:chOff x="0" y="0"/>
          <a:chExt cx="0" cy="0"/>
        </a:xfrm>
      </p:grpSpPr>
      <p:sp>
        <p:nvSpPr>
          <p:cNvPr id="5420" name="Google Shape;5420;p5547"/>
          <p:cNvSpPr/>
          <p:nvPr/>
        </p:nvSpPr>
        <p:spPr>
          <a:xfrm>
            <a:off x="1427357"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421" name="Google Shape;5421;p554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22" name="Google Shape;5422;p554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423" name="Google Shape;5423;p554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424" name="Google Shape;5424;p55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25" name="Google Shape;5425;p554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426" name="Google Shape;5426;p5547"/>
          <p:cNvGrpSpPr/>
          <p:nvPr/>
        </p:nvGrpSpPr>
        <p:grpSpPr>
          <a:xfrm>
            <a:off x="7191543" y="1"/>
            <a:ext cx="5000459" cy="1425992"/>
            <a:chOff x="7191542" y="1"/>
            <a:chExt cx="5000459" cy="1425992"/>
          </a:xfrm>
        </p:grpSpPr>
        <p:pic>
          <p:nvPicPr>
            <p:cNvPr id="5427" name="Google Shape;5427;p55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28" name="Google Shape;5428;p5547"/>
            <p:cNvGrpSpPr/>
            <p:nvPr/>
          </p:nvGrpSpPr>
          <p:grpSpPr>
            <a:xfrm>
              <a:off x="7191542" y="1"/>
              <a:ext cx="5000459" cy="1425992"/>
              <a:chOff x="7186272" y="0"/>
              <a:chExt cx="5005729" cy="1427495"/>
            </a:xfrm>
          </p:grpSpPr>
          <p:sp>
            <p:nvSpPr>
              <p:cNvPr id="5429" name="Google Shape;5429;p55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430" name="Google Shape;5430;p55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431" name="Google Shape;5431;p5547"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404891469"/>
      </p:ext>
    </p:extLst>
  </p:cSld>
  <p:clrMapOvr>
    <a:masterClrMapping/>
  </p:clrMapOvr>
</p:sldLayout>
</file>

<file path=ppt/slideLayouts/slideLayout1719.xml><?xml version="1.0" encoding="utf-8"?>
<p:sldLayout xmlns:a="http://schemas.openxmlformats.org/drawingml/2006/main" xmlns:r="http://schemas.openxmlformats.org/officeDocument/2006/relationships" xmlns:p="http://schemas.openxmlformats.org/presentationml/2006/main" matchingName="17_Title and Content">
  <p:cSld name="17_Title and Content">
    <p:spTree>
      <p:nvGrpSpPr>
        <p:cNvPr id="1" name="Shape 5432"/>
        <p:cNvGrpSpPr/>
        <p:nvPr/>
      </p:nvGrpSpPr>
      <p:grpSpPr>
        <a:xfrm>
          <a:off x="0" y="0"/>
          <a:ext cx="0" cy="0"/>
          <a:chOff x="0" y="0"/>
          <a:chExt cx="0" cy="0"/>
        </a:xfrm>
      </p:grpSpPr>
      <p:grpSp>
        <p:nvGrpSpPr>
          <p:cNvPr id="5433" name="Google Shape;5433;p5548"/>
          <p:cNvGrpSpPr/>
          <p:nvPr/>
        </p:nvGrpSpPr>
        <p:grpSpPr>
          <a:xfrm>
            <a:off x="7191543" y="1"/>
            <a:ext cx="5000459" cy="1425992"/>
            <a:chOff x="7191542" y="1"/>
            <a:chExt cx="5000459" cy="1425992"/>
          </a:xfrm>
        </p:grpSpPr>
        <p:pic>
          <p:nvPicPr>
            <p:cNvPr id="5434" name="Google Shape;5434;p55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35" name="Google Shape;5435;p5548"/>
            <p:cNvGrpSpPr/>
            <p:nvPr/>
          </p:nvGrpSpPr>
          <p:grpSpPr>
            <a:xfrm>
              <a:off x="7191542" y="1"/>
              <a:ext cx="5000459" cy="1425992"/>
              <a:chOff x="7186272" y="0"/>
              <a:chExt cx="5005729" cy="1427495"/>
            </a:xfrm>
          </p:grpSpPr>
          <p:sp>
            <p:nvSpPr>
              <p:cNvPr id="5436" name="Google Shape;5436;p55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437" name="Google Shape;5437;p55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438" name="Google Shape;5438;p554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39" name="Google Shape;5439;p5548"/>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440" name="Google Shape;5440;p554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441" name="Google Shape;5441;p55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42" name="Google Shape;5442;p554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0504767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0748"/>
        <p:cNvGrpSpPr/>
        <p:nvPr/>
      </p:nvGrpSpPr>
      <p:grpSpPr>
        <a:xfrm>
          <a:off x="0" y="0"/>
          <a:ext cx="0" cy="0"/>
          <a:chOff x="0" y="0"/>
          <a:chExt cx="0" cy="0"/>
        </a:xfrm>
      </p:grpSpPr>
      <p:sp>
        <p:nvSpPr>
          <p:cNvPr id="10749" name="Google Shape;10749;p1476"/>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750" name="Google Shape;10750;p1476"/>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751" name="Google Shape;10751;p147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0752" name="Google Shape;10752;p14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753" name="Google Shape;10753;p14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720.xml><?xml version="1.0" encoding="utf-8"?>
<p:sldLayout xmlns:a="http://schemas.openxmlformats.org/drawingml/2006/main" xmlns:r="http://schemas.openxmlformats.org/officeDocument/2006/relationships" xmlns:p="http://schemas.openxmlformats.org/presentationml/2006/main" matchingName="16_Two Content">
  <p:cSld name="16_Two Content">
    <p:spTree>
      <p:nvGrpSpPr>
        <p:cNvPr id="1" name="Shape 5443"/>
        <p:cNvGrpSpPr/>
        <p:nvPr/>
      </p:nvGrpSpPr>
      <p:grpSpPr>
        <a:xfrm>
          <a:off x="0" y="0"/>
          <a:ext cx="0" cy="0"/>
          <a:chOff x="0" y="0"/>
          <a:chExt cx="0" cy="0"/>
        </a:xfrm>
      </p:grpSpPr>
      <p:sp>
        <p:nvSpPr>
          <p:cNvPr id="5444" name="Google Shape;5444;p5549"/>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45" name="Google Shape;5445;p5549"/>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5446" name="Google Shape;5446;p5549"/>
          <p:cNvGrpSpPr/>
          <p:nvPr/>
        </p:nvGrpSpPr>
        <p:grpSpPr>
          <a:xfrm>
            <a:off x="7191543" y="1"/>
            <a:ext cx="5000459" cy="1425992"/>
            <a:chOff x="7191542" y="1"/>
            <a:chExt cx="5000459" cy="1425992"/>
          </a:xfrm>
        </p:grpSpPr>
        <p:pic>
          <p:nvPicPr>
            <p:cNvPr id="5447" name="Google Shape;5447;p55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48" name="Google Shape;5448;p5549"/>
            <p:cNvGrpSpPr/>
            <p:nvPr/>
          </p:nvGrpSpPr>
          <p:grpSpPr>
            <a:xfrm>
              <a:off x="7191542" y="1"/>
              <a:ext cx="5000459" cy="1425992"/>
              <a:chOff x="7186272" y="0"/>
              <a:chExt cx="5005729" cy="1427495"/>
            </a:xfrm>
          </p:grpSpPr>
          <p:sp>
            <p:nvSpPr>
              <p:cNvPr id="5449" name="Google Shape;5449;p55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450" name="Google Shape;5450;p55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451" name="Google Shape;5451;p5549"/>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452" name="Google Shape;5452;p5549"/>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453" name="Google Shape;5453;p55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54" name="Google Shape;5454;p554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593469652"/>
      </p:ext>
    </p:extLst>
  </p:cSld>
  <p:clrMapOvr>
    <a:masterClrMapping/>
  </p:clrMapOvr>
</p:sldLayout>
</file>

<file path=ppt/slideLayouts/slideLayout1721.xml><?xml version="1.0" encoding="utf-8"?>
<p:sldLayout xmlns:a="http://schemas.openxmlformats.org/drawingml/2006/main" xmlns:r="http://schemas.openxmlformats.org/officeDocument/2006/relationships" xmlns:p="http://schemas.openxmlformats.org/presentationml/2006/main" matchingName="16_Comparison">
  <p:cSld name="16_Comparison">
    <p:spTree>
      <p:nvGrpSpPr>
        <p:cNvPr id="1" name="Shape 5455"/>
        <p:cNvGrpSpPr/>
        <p:nvPr/>
      </p:nvGrpSpPr>
      <p:grpSpPr>
        <a:xfrm>
          <a:off x="0" y="0"/>
          <a:ext cx="0" cy="0"/>
          <a:chOff x="0" y="0"/>
          <a:chExt cx="0" cy="0"/>
        </a:xfrm>
      </p:grpSpPr>
      <p:grpSp>
        <p:nvGrpSpPr>
          <p:cNvPr id="5456" name="Google Shape;5456;p5550"/>
          <p:cNvGrpSpPr/>
          <p:nvPr/>
        </p:nvGrpSpPr>
        <p:grpSpPr>
          <a:xfrm>
            <a:off x="7191543" y="1"/>
            <a:ext cx="5000459" cy="1425992"/>
            <a:chOff x="7191542" y="1"/>
            <a:chExt cx="5000459" cy="1425992"/>
          </a:xfrm>
        </p:grpSpPr>
        <p:pic>
          <p:nvPicPr>
            <p:cNvPr id="5457" name="Google Shape;5457;p55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58" name="Google Shape;5458;p5550"/>
            <p:cNvGrpSpPr/>
            <p:nvPr/>
          </p:nvGrpSpPr>
          <p:grpSpPr>
            <a:xfrm>
              <a:off x="7191542" y="1"/>
              <a:ext cx="5000459" cy="1425992"/>
              <a:chOff x="7186272" y="0"/>
              <a:chExt cx="5005729" cy="1427495"/>
            </a:xfrm>
          </p:grpSpPr>
          <p:sp>
            <p:nvSpPr>
              <p:cNvPr id="5459" name="Google Shape;5459;p55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460" name="Google Shape;5460;p55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461" name="Google Shape;5461;p555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62" name="Google Shape;5462;p5550"/>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5463" name="Google Shape;5463;p5550"/>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464" name="Google Shape;5464;p555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5465" name="Google Shape;5465;p555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466" name="Google Shape;5466;p555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467" name="Google Shape;5467;p55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68" name="Google Shape;5468;p555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062160011"/>
      </p:ext>
    </p:extLst>
  </p:cSld>
  <p:clrMapOvr>
    <a:masterClrMapping/>
  </p:clrMapOvr>
</p:sldLayout>
</file>

<file path=ppt/slideLayouts/slideLayout1722.xml><?xml version="1.0" encoding="utf-8"?>
<p:sldLayout xmlns:a="http://schemas.openxmlformats.org/drawingml/2006/main" xmlns:r="http://schemas.openxmlformats.org/officeDocument/2006/relationships" xmlns:p="http://schemas.openxmlformats.org/presentationml/2006/main" matchingName="16_Title Only">
  <p:cSld name="16_Title Only">
    <p:spTree>
      <p:nvGrpSpPr>
        <p:cNvPr id="1" name="Shape 5469"/>
        <p:cNvGrpSpPr/>
        <p:nvPr/>
      </p:nvGrpSpPr>
      <p:grpSpPr>
        <a:xfrm>
          <a:off x="0" y="0"/>
          <a:ext cx="0" cy="0"/>
          <a:chOff x="0" y="0"/>
          <a:chExt cx="0" cy="0"/>
        </a:xfrm>
      </p:grpSpPr>
      <p:grpSp>
        <p:nvGrpSpPr>
          <p:cNvPr id="5470" name="Google Shape;5470;p5551"/>
          <p:cNvGrpSpPr/>
          <p:nvPr/>
        </p:nvGrpSpPr>
        <p:grpSpPr>
          <a:xfrm>
            <a:off x="7191543" y="1"/>
            <a:ext cx="5000459" cy="1425992"/>
            <a:chOff x="7191542" y="1"/>
            <a:chExt cx="5000459" cy="1425992"/>
          </a:xfrm>
        </p:grpSpPr>
        <p:pic>
          <p:nvPicPr>
            <p:cNvPr id="5471" name="Google Shape;5471;p55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72" name="Google Shape;5472;p5551"/>
            <p:cNvGrpSpPr/>
            <p:nvPr/>
          </p:nvGrpSpPr>
          <p:grpSpPr>
            <a:xfrm>
              <a:off x="7191542" y="1"/>
              <a:ext cx="5000459" cy="1425992"/>
              <a:chOff x="7186272" y="0"/>
              <a:chExt cx="5005729" cy="1427495"/>
            </a:xfrm>
          </p:grpSpPr>
          <p:sp>
            <p:nvSpPr>
              <p:cNvPr id="5473" name="Google Shape;5473;p55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474" name="Google Shape;5474;p55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475" name="Google Shape;5475;p5551"/>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76" name="Google Shape;5476;p555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477" name="Google Shape;5477;p55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78" name="Google Shape;5478;p555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265136387"/>
      </p:ext>
    </p:extLst>
  </p:cSld>
  <p:clrMapOvr>
    <a:masterClrMapping/>
  </p:clrMapOvr>
</p:sldLayout>
</file>

<file path=ppt/slideLayouts/slideLayout1723.xml><?xml version="1.0" encoding="utf-8"?>
<p:sldLayout xmlns:a="http://schemas.openxmlformats.org/drawingml/2006/main" xmlns:r="http://schemas.openxmlformats.org/officeDocument/2006/relationships" xmlns:p="http://schemas.openxmlformats.org/presentationml/2006/main" matchingName="16_End">
  <p:cSld name="16_End">
    <p:spTree>
      <p:nvGrpSpPr>
        <p:cNvPr id="1" name="Shape 5479"/>
        <p:cNvGrpSpPr/>
        <p:nvPr/>
      </p:nvGrpSpPr>
      <p:grpSpPr>
        <a:xfrm>
          <a:off x="0" y="0"/>
          <a:ext cx="0" cy="0"/>
          <a:chOff x="0" y="0"/>
          <a:chExt cx="0" cy="0"/>
        </a:xfrm>
      </p:grpSpPr>
      <p:grpSp>
        <p:nvGrpSpPr>
          <p:cNvPr id="5480" name="Google Shape;5480;p5552"/>
          <p:cNvGrpSpPr/>
          <p:nvPr/>
        </p:nvGrpSpPr>
        <p:grpSpPr>
          <a:xfrm>
            <a:off x="0" y="0"/>
            <a:ext cx="12192000" cy="2148830"/>
            <a:chOff x="0" y="0"/>
            <a:chExt cx="12192000" cy="2148830"/>
          </a:xfrm>
        </p:grpSpPr>
        <p:sp>
          <p:nvSpPr>
            <p:cNvPr id="5481" name="Google Shape;5481;p555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482" name="Google Shape;5482;p555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5483" name="Google Shape;5483;p5552"/>
          <p:cNvSpPr/>
          <p:nvPr/>
        </p:nvSpPr>
        <p:spPr>
          <a:xfrm>
            <a:off x="902368" y="1517698"/>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484" name="Google Shape;5484;p5552"/>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485" name="Google Shape;5485;p555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9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486" name="Google Shape;5486;p5552"/>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5487" name="Google Shape;5487;p555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63696935"/>
      </p:ext>
    </p:extLst>
  </p:cSld>
  <p:clrMapOvr>
    <a:masterClrMapping/>
  </p:clrMapOvr>
</p:sldLayout>
</file>

<file path=ppt/slideLayouts/slideLayout1724.xml><?xml version="1.0" encoding="utf-8"?>
<p:sldLayout xmlns:a="http://schemas.openxmlformats.org/drawingml/2006/main" xmlns:r="http://schemas.openxmlformats.org/officeDocument/2006/relationships" xmlns:p="http://schemas.openxmlformats.org/presentationml/2006/main" matchingName="18_Blank">
  <p:cSld name="18_Blank">
    <p:spTree>
      <p:nvGrpSpPr>
        <p:cNvPr id="1" name="Shape 5488"/>
        <p:cNvGrpSpPr/>
        <p:nvPr/>
      </p:nvGrpSpPr>
      <p:grpSpPr>
        <a:xfrm>
          <a:off x="0" y="0"/>
          <a:ext cx="0" cy="0"/>
          <a:chOff x="0" y="0"/>
          <a:chExt cx="0" cy="0"/>
        </a:xfrm>
      </p:grpSpPr>
      <p:sp>
        <p:nvSpPr>
          <p:cNvPr id="5489" name="Google Shape;5489;p555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490" name="Google Shape;5490;p55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91" name="Google Shape;5491;p555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492" name="Google Shape;5492;p5553"/>
          <p:cNvGrpSpPr/>
          <p:nvPr/>
        </p:nvGrpSpPr>
        <p:grpSpPr>
          <a:xfrm>
            <a:off x="7191543" y="1"/>
            <a:ext cx="5000459" cy="1425992"/>
            <a:chOff x="7191542" y="1"/>
            <a:chExt cx="5000459" cy="1425992"/>
          </a:xfrm>
        </p:grpSpPr>
        <p:pic>
          <p:nvPicPr>
            <p:cNvPr id="5493" name="Google Shape;5493;p55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94" name="Google Shape;5494;p5553"/>
            <p:cNvGrpSpPr/>
            <p:nvPr/>
          </p:nvGrpSpPr>
          <p:grpSpPr>
            <a:xfrm>
              <a:off x="7191542" y="1"/>
              <a:ext cx="5000459" cy="1425992"/>
              <a:chOff x="7186272" y="0"/>
              <a:chExt cx="5005729" cy="1427495"/>
            </a:xfrm>
          </p:grpSpPr>
          <p:sp>
            <p:nvSpPr>
              <p:cNvPr id="5495" name="Google Shape;5495;p55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496" name="Google Shape;5496;p55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extLst>
      <p:ext uri="{BB962C8B-B14F-4D97-AF65-F5344CB8AC3E}">
        <p14:creationId xmlns:p14="http://schemas.microsoft.com/office/powerpoint/2010/main" val="2057974073"/>
      </p:ext>
    </p:extLst>
  </p:cSld>
  <p:clrMapOvr>
    <a:masterClrMapping/>
  </p:clrMapOvr>
</p:sldLayout>
</file>

<file path=ppt/slideLayouts/slideLayout1725.xml><?xml version="1.0" encoding="utf-8"?>
<p:sldLayout xmlns:a="http://schemas.openxmlformats.org/drawingml/2006/main" xmlns:r="http://schemas.openxmlformats.org/officeDocument/2006/relationships" xmlns:p="http://schemas.openxmlformats.org/presentationml/2006/main" matchingName="19_Cover">
  <p:cSld name="19_Cover">
    <p:spTree>
      <p:nvGrpSpPr>
        <p:cNvPr id="1" name="Shape 5497"/>
        <p:cNvGrpSpPr/>
        <p:nvPr/>
      </p:nvGrpSpPr>
      <p:grpSpPr>
        <a:xfrm>
          <a:off x="0" y="0"/>
          <a:ext cx="0" cy="0"/>
          <a:chOff x="0" y="0"/>
          <a:chExt cx="0" cy="0"/>
        </a:xfrm>
      </p:grpSpPr>
      <p:sp>
        <p:nvSpPr>
          <p:cNvPr id="5498" name="Google Shape;5498;p5554"/>
          <p:cNvSpPr/>
          <p:nvPr/>
        </p:nvSpPr>
        <p:spPr>
          <a:xfrm>
            <a:off x="902368" y="1294414"/>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499" name="Google Shape;5499;p5554"/>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00" name="Google Shape;5500;p5554"/>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
        <p:nvSpPr>
          <p:cNvPr id="5501" name="Google Shape;5501;p5554"/>
          <p:cNvSpPr>
            <a:spLocks noGrp="1"/>
          </p:cNvSpPr>
          <p:nvPr>
            <p:ph type="pic" idx="2"/>
          </p:nvPr>
        </p:nvSpPr>
        <p:spPr>
          <a:xfrm>
            <a:off x="7118684" y="233915"/>
            <a:ext cx="5073316" cy="5943600"/>
          </a:xfrm>
          <a:prstGeom prst="rect">
            <a:avLst/>
          </a:prstGeom>
          <a:noFill/>
          <a:ln>
            <a:noFill/>
          </a:ln>
        </p:spPr>
      </p:sp>
      <p:grpSp>
        <p:nvGrpSpPr>
          <p:cNvPr id="5502" name="Google Shape;5502;p5554"/>
          <p:cNvGrpSpPr/>
          <p:nvPr/>
        </p:nvGrpSpPr>
        <p:grpSpPr>
          <a:xfrm>
            <a:off x="0" y="5020349"/>
            <a:ext cx="12192000" cy="1837653"/>
            <a:chOff x="0" y="5020348"/>
            <a:chExt cx="12192000" cy="1837653"/>
          </a:xfrm>
        </p:grpSpPr>
        <p:sp>
          <p:nvSpPr>
            <p:cNvPr id="5503" name="Google Shape;5503;p555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504" name="Google Shape;5504;p555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5505" name="Google Shape;5505;p555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827826650"/>
      </p:ext>
    </p:extLst>
  </p:cSld>
  <p:clrMapOvr>
    <a:masterClrMapping/>
  </p:clrMapOvr>
</p:sldLayout>
</file>

<file path=ppt/slideLayouts/slideLayout1726.xml><?xml version="1.0" encoding="utf-8"?>
<p:sldLayout xmlns:a="http://schemas.openxmlformats.org/drawingml/2006/main" xmlns:r="http://schemas.openxmlformats.org/officeDocument/2006/relationships" xmlns:p="http://schemas.openxmlformats.org/presentationml/2006/main" matchingName="46_Quotation">
  <p:cSld name="46_Quotation">
    <p:spTree>
      <p:nvGrpSpPr>
        <p:cNvPr id="1" name="Shape 5506"/>
        <p:cNvGrpSpPr/>
        <p:nvPr/>
      </p:nvGrpSpPr>
      <p:grpSpPr>
        <a:xfrm>
          <a:off x="0" y="0"/>
          <a:ext cx="0" cy="0"/>
          <a:chOff x="0" y="0"/>
          <a:chExt cx="0" cy="0"/>
        </a:xfrm>
      </p:grpSpPr>
      <p:sp>
        <p:nvSpPr>
          <p:cNvPr id="5507" name="Google Shape;5507;p5555"/>
          <p:cNvSpPr/>
          <p:nvPr/>
        </p:nvSpPr>
        <p:spPr>
          <a:xfrm>
            <a:off x="1427357"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508" name="Google Shape;5508;p555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09" name="Google Shape;5509;p555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510" name="Google Shape;5510;p555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511" name="Google Shape;5511;p55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12" name="Google Shape;5512;p555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513" name="Google Shape;5513;p5555"/>
          <p:cNvGrpSpPr/>
          <p:nvPr/>
        </p:nvGrpSpPr>
        <p:grpSpPr>
          <a:xfrm>
            <a:off x="7191543" y="1"/>
            <a:ext cx="5000459" cy="1425992"/>
            <a:chOff x="7191542" y="1"/>
            <a:chExt cx="5000459" cy="1425992"/>
          </a:xfrm>
        </p:grpSpPr>
        <p:pic>
          <p:nvPicPr>
            <p:cNvPr id="5514" name="Google Shape;5514;p55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15" name="Google Shape;5515;p5555"/>
            <p:cNvGrpSpPr/>
            <p:nvPr/>
          </p:nvGrpSpPr>
          <p:grpSpPr>
            <a:xfrm>
              <a:off x="7191542" y="1"/>
              <a:ext cx="5000459" cy="1425992"/>
              <a:chOff x="7186272" y="0"/>
              <a:chExt cx="5005729" cy="1427495"/>
            </a:xfrm>
          </p:grpSpPr>
          <p:sp>
            <p:nvSpPr>
              <p:cNvPr id="5516" name="Google Shape;5516;p55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517" name="Google Shape;5517;p55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518" name="Google Shape;5518;p5555"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1855662625"/>
      </p:ext>
    </p:extLst>
  </p:cSld>
  <p:clrMapOvr>
    <a:masterClrMapping/>
  </p:clrMapOvr>
</p:sldLayout>
</file>

<file path=ppt/slideLayouts/slideLayout1727.xml><?xml version="1.0" encoding="utf-8"?>
<p:sldLayout xmlns:a="http://schemas.openxmlformats.org/drawingml/2006/main" xmlns:r="http://schemas.openxmlformats.org/officeDocument/2006/relationships" xmlns:p="http://schemas.openxmlformats.org/presentationml/2006/main" matchingName="19_Divider">
  <p:cSld name="19_Divider">
    <p:bg>
      <p:bgPr>
        <a:solidFill>
          <a:schemeClr val="lt2"/>
        </a:solidFill>
        <a:effectLst/>
      </p:bgPr>
    </p:bg>
    <p:spTree>
      <p:nvGrpSpPr>
        <p:cNvPr id="1" name="Shape 5519"/>
        <p:cNvGrpSpPr/>
        <p:nvPr/>
      </p:nvGrpSpPr>
      <p:grpSpPr>
        <a:xfrm>
          <a:off x="0" y="0"/>
          <a:ext cx="0" cy="0"/>
          <a:chOff x="0" y="0"/>
          <a:chExt cx="0" cy="0"/>
        </a:xfrm>
      </p:grpSpPr>
      <p:grpSp>
        <p:nvGrpSpPr>
          <p:cNvPr id="5520" name="Google Shape;5520;p5556"/>
          <p:cNvGrpSpPr/>
          <p:nvPr/>
        </p:nvGrpSpPr>
        <p:grpSpPr>
          <a:xfrm>
            <a:off x="0" y="5020348"/>
            <a:ext cx="12192000" cy="1837653"/>
            <a:chOff x="0" y="5020347"/>
            <a:chExt cx="12192000" cy="1837653"/>
          </a:xfrm>
        </p:grpSpPr>
        <p:sp>
          <p:nvSpPr>
            <p:cNvPr id="5521" name="Google Shape;5521;p555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522" name="Google Shape;5522;p555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523" name="Google Shape;5523;p555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5524" name="Google Shape;5524;p555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525" name="Google Shape;5525;p5556"/>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26" name="Google Shape;5526;p5556"/>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Tree>
    <p:extLst>
      <p:ext uri="{BB962C8B-B14F-4D97-AF65-F5344CB8AC3E}">
        <p14:creationId xmlns:p14="http://schemas.microsoft.com/office/powerpoint/2010/main" val="1483815223"/>
      </p:ext>
    </p:extLst>
  </p:cSld>
  <p:clrMapOvr>
    <a:masterClrMapping/>
  </p:clrMapOvr>
</p:sldLayout>
</file>

<file path=ppt/slideLayouts/slideLayout1728.xml><?xml version="1.0" encoding="utf-8"?>
<p:sldLayout xmlns:a="http://schemas.openxmlformats.org/drawingml/2006/main" xmlns:r="http://schemas.openxmlformats.org/officeDocument/2006/relationships" xmlns:p="http://schemas.openxmlformats.org/presentationml/2006/main" matchingName="47_Quotation">
  <p:cSld name="47_Quotation">
    <p:spTree>
      <p:nvGrpSpPr>
        <p:cNvPr id="1" name="Shape 5527"/>
        <p:cNvGrpSpPr/>
        <p:nvPr/>
      </p:nvGrpSpPr>
      <p:grpSpPr>
        <a:xfrm>
          <a:off x="0" y="0"/>
          <a:ext cx="0" cy="0"/>
          <a:chOff x="0" y="0"/>
          <a:chExt cx="0" cy="0"/>
        </a:xfrm>
      </p:grpSpPr>
      <p:sp>
        <p:nvSpPr>
          <p:cNvPr id="5528" name="Google Shape;5528;p5557"/>
          <p:cNvSpPr/>
          <p:nvPr/>
        </p:nvSpPr>
        <p:spPr>
          <a:xfrm>
            <a:off x="1427357"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529" name="Google Shape;5529;p555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30" name="Google Shape;5530;p555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531" name="Google Shape;5531;p555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532" name="Google Shape;5532;p55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33" name="Google Shape;5533;p555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534" name="Google Shape;5534;p5557"/>
          <p:cNvGrpSpPr/>
          <p:nvPr/>
        </p:nvGrpSpPr>
        <p:grpSpPr>
          <a:xfrm>
            <a:off x="7191543" y="1"/>
            <a:ext cx="5000459" cy="1425992"/>
            <a:chOff x="7191542" y="1"/>
            <a:chExt cx="5000459" cy="1425992"/>
          </a:xfrm>
        </p:grpSpPr>
        <p:pic>
          <p:nvPicPr>
            <p:cNvPr id="5535" name="Google Shape;5535;p55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36" name="Google Shape;5536;p5557"/>
            <p:cNvGrpSpPr/>
            <p:nvPr/>
          </p:nvGrpSpPr>
          <p:grpSpPr>
            <a:xfrm>
              <a:off x="7191542" y="1"/>
              <a:ext cx="5000459" cy="1425992"/>
              <a:chOff x="7186272" y="0"/>
              <a:chExt cx="5005729" cy="1427495"/>
            </a:xfrm>
          </p:grpSpPr>
          <p:sp>
            <p:nvSpPr>
              <p:cNvPr id="5537" name="Google Shape;5537;p55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538" name="Google Shape;5538;p55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539" name="Google Shape;5539;p5557"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2837594911"/>
      </p:ext>
    </p:extLst>
  </p:cSld>
  <p:clrMapOvr>
    <a:masterClrMapping/>
  </p:clrMapOvr>
</p:sldLayout>
</file>

<file path=ppt/slideLayouts/slideLayout1729.xml><?xml version="1.0" encoding="utf-8"?>
<p:sldLayout xmlns:a="http://schemas.openxmlformats.org/drawingml/2006/main" xmlns:r="http://schemas.openxmlformats.org/officeDocument/2006/relationships" xmlns:p="http://schemas.openxmlformats.org/presentationml/2006/main" matchingName="19_Photo Slide">
  <p:cSld name="19_Photo Slide">
    <p:spTree>
      <p:nvGrpSpPr>
        <p:cNvPr id="1" name="Shape 5540"/>
        <p:cNvGrpSpPr/>
        <p:nvPr/>
      </p:nvGrpSpPr>
      <p:grpSpPr>
        <a:xfrm>
          <a:off x="0" y="0"/>
          <a:ext cx="0" cy="0"/>
          <a:chOff x="0" y="0"/>
          <a:chExt cx="0" cy="0"/>
        </a:xfrm>
      </p:grpSpPr>
      <p:sp>
        <p:nvSpPr>
          <p:cNvPr id="5541" name="Google Shape;5541;p5558"/>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5542" name="Google Shape;5542;p555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543" name="Google Shape;5543;p5558"/>
          <p:cNvGrpSpPr/>
          <p:nvPr/>
        </p:nvGrpSpPr>
        <p:grpSpPr>
          <a:xfrm>
            <a:off x="0" y="5379427"/>
            <a:ext cx="2807368" cy="753891"/>
            <a:chOff x="0" y="5379426"/>
            <a:chExt cx="2807368" cy="753891"/>
          </a:xfrm>
        </p:grpSpPr>
        <p:sp>
          <p:nvSpPr>
            <p:cNvPr id="5544" name="Google Shape;5544;p555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545" name="Google Shape;5545;p555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5546" name="Google Shape;5546;p5558"/>
          <p:cNvSpPr>
            <a:spLocks noGrp="1"/>
          </p:cNvSpPr>
          <p:nvPr>
            <p:ph type="pic" idx="2"/>
          </p:nvPr>
        </p:nvSpPr>
        <p:spPr>
          <a:xfrm>
            <a:off x="2807368" y="457202"/>
            <a:ext cx="8915400" cy="5943598"/>
          </a:xfrm>
          <a:prstGeom prst="rect">
            <a:avLst/>
          </a:prstGeom>
          <a:noFill/>
          <a:ln>
            <a:noFill/>
          </a:ln>
        </p:spPr>
      </p:sp>
      <p:pic>
        <p:nvPicPr>
          <p:cNvPr id="5547" name="Google Shape;5547;p5558"/>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51935200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10754"/>
        <p:cNvGrpSpPr/>
        <p:nvPr/>
      </p:nvGrpSpPr>
      <p:grpSpPr>
        <a:xfrm>
          <a:off x="0" y="0"/>
          <a:ext cx="0" cy="0"/>
          <a:chOff x="0" y="0"/>
          <a:chExt cx="0" cy="0"/>
        </a:xfrm>
      </p:grpSpPr>
      <p:sp>
        <p:nvSpPr>
          <p:cNvPr id="10755" name="Google Shape;10755;p1477"/>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56" name="Google Shape;10756;p1477"/>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757" name="Google Shape;10757;p147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0758" name="Google Shape;10758;p14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759" name="Google Shape;10759;p14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0760" name="Google Shape;10760;p1477"/>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0761" name="Google Shape;10761;p1477"/>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0762" name="Google Shape;10762;p1477"/>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763" name="Google Shape;10763;p1477"/>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730.xml><?xml version="1.0" encoding="utf-8"?>
<p:sldLayout xmlns:a="http://schemas.openxmlformats.org/drawingml/2006/main" xmlns:r="http://schemas.openxmlformats.org/officeDocument/2006/relationships" xmlns:p="http://schemas.openxmlformats.org/presentationml/2006/main" matchingName="25_Title and Content">
  <p:cSld name="25_Title and Content">
    <p:spTree>
      <p:nvGrpSpPr>
        <p:cNvPr id="1" name="Shape 5548"/>
        <p:cNvGrpSpPr/>
        <p:nvPr/>
      </p:nvGrpSpPr>
      <p:grpSpPr>
        <a:xfrm>
          <a:off x="0" y="0"/>
          <a:ext cx="0" cy="0"/>
          <a:chOff x="0" y="0"/>
          <a:chExt cx="0" cy="0"/>
        </a:xfrm>
      </p:grpSpPr>
      <p:grpSp>
        <p:nvGrpSpPr>
          <p:cNvPr id="5549" name="Google Shape;5549;p5559"/>
          <p:cNvGrpSpPr/>
          <p:nvPr/>
        </p:nvGrpSpPr>
        <p:grpSpPr>
          <a:xfrm>
            <a:off x="7191543" y="1"/>
            <a:ext cx="5000459" cy="1425992"/>
            <a:chOff x="7191542" y="1"/>
            <a:chExt cx="5000459" cy="1425992"/>
          </a:xfrm>
        </p:grpSpPr>
        <p:pic>
          <p:nvPicPr>
            <p:cNvPr id="5550" name="Google Shape;5550;p55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51" name="Google Shape;5551;p5559"/>
            <p:cNvGrpSpPr/>
            <p:nvPr/>
          </p:nvGrpSpPr>
          <p:grpSpPr>
            <a:xfrm>
              <a:off x="7191542" y="1"/>
              <a:ext cx="5000459" cy="1425992"/>
              <a:chOff x="7186272" y="0"/>
              <a:chExt cx="5005729" cy="1427495"/>
            </a:xfrm>
          </p:grpSpPr>
          <p:sp>
            <p:nvSpPr>
              <p:cNvPr id="5552" name="Google Shape;5552;p55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553" name="Google Shape;5553;p55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554" name="Google Shape;5554;p5559"/>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55" name="Google Shape;5555;p5559"/>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556" name="Google Shape;5556;p555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557" name="Google Shape;5557;p55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58" name="Google Shape;5558;p555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52166944"/>
      </p:ext>
    </p:extLst>
  </p:cSld>
  <p:clrMapOvr>
    <a:masterClrMapping/>
  </p:clrMapOvr>
</p:sldLayout>
</file>

<file path=ppt/slideLayouts/slideLayout1731.xml><?xml version="1.0" encoding="utf-8"?>
<p:sldLayout xmlns:a="http://schemas.openxmlformats.org/drawingml/2006/main" xmlns:r="http://schemas.openxmlformats.org/officeDocument/2006/relationships" xmlns:p="http://schemas.openxmlformats.org/presentationml/2006/main" matchingName="19_Two Content">
  <p:cSld name="19_Two Content">
    <p:spTree>
      <p:nvGrpSpPr>
        <p:cNvPr id="1" name="Shape 5559"/>
        <p:cNvGrpSpPr/>
        <p:nvPr/>
      </p:nvGrpSpPr>
      <p:grpSpPr>
        <a:xfrm>
          <a:off x="0" y="0"/>
          <a:ext cx="0" cy="0"/>
          <a:chOff x="0" y="0"/>
          <a:chExt cx="0" cy="0"/>
        </a:xfrm>
      </p:grpSpPr>
      <p:sp>
        <p:nvSpPr>
          <p:cNvPr id="5560" name="Google Shape;5560;p556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61" name="Google Shape;5561;p5560"/>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5562" name="Google Shape;5562;p5560"/>
          <p:cNvGrpSpPr/>
          <p:nvPr/>
        </p:nvGrpSpPr>
        <p:grpSpPr>
          <a:xfrm>
            <a:off x="7191543" y="1"/>
            <a:ext cx="5000459" cy="1425992"/>
            <a:chOff x="7191542" y="1"/>
            <a:chExt cx="5000459" cy="1425992"/>
          </a:xfrm>
        </p:grpSpPr>
        <p:pic>
          <p:nvPicPr>
            <p:cNvPr id="5563" name="Google Shape;5563;p55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64" name="Google Shape;5564;p5560"/>
            <p:cNvGrpSpPr/>
            <p:nvPr/>
          </p:nvGrpSpPr>
          <p:grpSpPr>
            <a:xfrm>
              <a:off x="7191542" y="1"/>
              <a:ext cx="5000459" cy="1425992"/>
              <a:chOff x="7186272" y="0"/>
              <a:chExt cx="5005729" cy="1427495"/>
            </a:xfrm>
          </p:grpSpPr>
          <p:sp>
            <p:nvSpPr>
              <p:cNvPr id="5565" name="Google Shape;5565;p55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566" name="Google Shape;5566;p55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567" name="Google Shape;5567;p5560"/>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568" name="Google Shape;5568;p5560"/>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569" name="Google Shape;5569;p55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70" name="Google Shape;5570;p556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87452838"/>
      </p:ext>
    </p:extLst>
  </p:cSld>
  <p:clrMapOvr>
    <a:masterClrMapping/>
  </p:clrMapOvr>
</p:sldLayout>
</file>

<file path=ppt/slideLayouts/slideLayout1732.xml><?xml version="1.0" encoding="utf-8"?>
<p:sldLayout xmlns:a="http://schemas.openxmlformats.org/drawingml/2006/main" xmlns:r="http://schemas.openxmlformats.org/officeDocument/2006/relationships" xmlns:p="http://schemas.openxmlformats.org/presentationml/2006/main" matchingName="19_Comparison">
  <p:cSld name="19_Comparison">
    <p:spTree>
      <p:nvGrpSpPr>
        <p:cNvPr id="1" name="Shape 5571"/>
        <p:cNvGrpSpPr/>
        <p:nvPr/>
      </p:nvGrpSpPr>
      <p:grpSpPr>
        <a:xfrm>
          <a:off x="0" y="0"/>
          <a:ext cx="0" cy="0"/>
          <a:chOff x="0" y="0"/>
          <a:chExt cx="0" cy="0"/>
        </a:xfrm>
      </p:grpSpPr>
      <p:grpSp>
        <p:nvGrpSpPr>
          <p:cNvPr id="5572" name="Google Shape;5572;p5561"/>
          <p:cNvGrpSpPr/>
          <p:nvPr/>
        </p:nvGrpSpPr>
        <p:grpSpPr>
          <a:xfrm>
            <a:off x="7191543" y="1"/>
            <a:ext cx="5000459" cy="1425992"/>
            <a:chOff x="7191542" y="1"/>
            <a:chExt cx="5000459" cy="1425992"/>
          </a:xfrm>
        </p:grpSpPr>
        <p:pic>
          <p:nvPicPr>
            <p:cNvPr id="5573" name="Google Shape;5573;p55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74" name="Google Shape;5574;p5561"/>
            <p:cNvGrpSpPr/>
            <p:nvPr/>
          </p:nvGrpSpPr>
          <p:grpSpPr>
            <a:xfrm>
              <a:off x="7191542" y="1"/>
              <a:ext cx="5000459" cy="1425992"/>
              <a:chOff x="7186272" y="0"/>
              <a:chExt cx="5005729" cy="1427495"/>
            </a:xfrm>
          </p:grpSpPr>
          <p:sp>
            <p:nvSpPr>
              <p:cNvPr id="5575" name="Google Shape;5575;p55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576" name="Google Shape;5576;p55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577" name="Google Shape;5577;p5561"/>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78" name="Google Shape;5578;p5561"/>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5579" name="Google Shape;5579;p5561"/>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580" name="Google Shape;5580;p556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5581" name="Google Shape;5581;p556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582" name="Google Shape;5582;p556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583" name="Google Shape;5583;p55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84" name="Google Shape;5584;p556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745498550"/>
      </p:ext>
    </p:extLst>
  </p:cSld>
  <p:clrMapOvr>
    <a:masterClrMapping/>
  </p:clrMapOvr>
</p:sldLayout>
</file>

<file path=ppt/slideLayouts/slideLayout1733.xml><?xml version="1.0" encoding="utf-8"?>
<p:sldLayout xmlns:a="http://schemas.openxmlformats.org/drawingml/2006/main" xmlns:r="http://schemas.openxmlformats.org/officeDocument/2006/relationships" xmlns:p="http://schemas.openxmlformats.org/presentationml/2006/main" matchingName="19_Title Only">
  <p:cSld name="19_Title Only">
    <p:spTree>
      <p:nvGrpSpPr>
        <p:cNvPr id="1" name="Shape 5585"/>
        <p:cNvGrpSpPr/>
        <p:nvPr/>
      </p:nvGrpSpPr>
      <p:grpSpPr>
        <a:xfrm>
          <a:off x="0" y="0"/>
          <a:ext cx="0" cy="0"/>
          <a:chOff x="0" y="0"/>
          <a:chExt cx="0" cy="0"/>
        </a:xfrm>
      </p:grpSpPr>
      <p:grpSp>
        <p:nvGrpSpPr>
          <p:cNvPr id="5586" name="Google Shape;5586;p5562"/>
          <p:cNvGrpSpPr/>
          <p:nvPr/>
        </p:nvGrpSpPr>
        <p:grpSpPr>
          <a:xfrm>
            <a:off x="7191543" y="1"/>
            <a:ext cx="5000459" cy="1425992"/>
            <a:chOff x="7191542" y="1"/>
            <a:chExt cx="5000459" cy="1425992"/>
          </a:xfrm>
        </p:grpSpPr>
        <p:pic>
          <p:nvPicPr>
            <p:cNvPr id="5587" name="Google Shape;5587;p55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88" name="Google Shape;5588;p5562"/>
            <p:cNvGrpSpPr/>
            <p:nvPr/>
          </p:nvGrpSpPr>
          <p:grpSpPr>
            <a:xfrm>
              <a:off x="7191542" y="1"/>
              <a:ext cx="5000459" cy="1425992"/>
              <a:chOff x="7186272" y="0"/>
              <a:chExt cx="5005729" cy="1427495"/>
            </a:xfrm>
          </p:grpSpPr>
          <p:sp>
            <p:nvSpPr>
              <p:cNvPr id="5589" name="Google Shape;5589;p55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590" name="Google Shape;5590;p55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591" name="Google Shape;5591;p5562"/>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92" name="Google Shape;5592;p556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593" name="Google Shape;5593;p55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94" name="Google Shape;5594;p556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312591708"/>
      </p:ext>
    </p:extLst>
  </p:cSld>
  <p:clrMapOvr>
    <a:masterClrMapping/>
  </p:clrMapOvr>
</p:sldLayout>
</file>

<file path=ppt/slideLayouts/slideLayout1734.xml><?xml version="1.0" encoding="utf-8"?>
<p:sldLayout xmlns:a="http://schemas.openxmlformats.org/drawingml/2006/main" xmlns:r="http://schemas.openxmlformats.org/officeDocument/2006/relationships" xmlns:p="http://schemas.openxmlformats.org/presentationml/2006/main" matchingName="19_End">
  <p:cSld name="19_End">
    <p:spTree>
      <p:nvGrpSpPr>
        <p:cNvPr id="1" name="Shape 5595"/>
        <p:cNvGrpSpPr/>
        <p:nvPr/>
      </p:nvGrpSpPr>
      <p:grpSpPr>
        <a:xfrm>
          <a:off x="0" y="0"/>
          <a:ext cx="0" cy="0"/>
          <a:chOff x="0" y="0"/>
          <a:chExt cx="0" cy="0"/>
        </a:xfrm>
      </p:grpSpPr>
      <p:grpSp>
        <p:nvGrpSpPr>
          <p:cNvPr id="5596" name="Google Shape;5596;p5563"/>
          <p:cNvGrpSpPr/>
          <p:nvPr/>
        </p:nvGrpSpPr>
        <p:grpSpPr>
          <a:xfrm>
            <a:off x="0" y="0"/>
            <a:ext cx="12192000" cy="2148830"/>
            <a:chOff x="0" y="0"/>
            <a:chExt cx="12192000" cy="2148830"/>
          </a:xfrm>
        </p:grpSpPr>
        <p:sp>
          <p:nvSpPr>
            <p:cNvPr id="5597" name="Google Shape;5597;p556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598" name="Google Shape;5598;p556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5599" name="Google Shape;5599;p5563"/>
          <p:cNvSpPr/>
          <p:nvPr/>
        </p:nvSpPr>
        <p:spPr>
          <a:xfrm>
            <a:off x="902368" y="1517698"/>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600" name="Google Shape;5600;p5563"/>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601" name="Google Shape;5601;p5563"/>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9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602" name="Google Shape;5602;p5563"/>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5603" name="Google Shape;5603;p5563"/>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8682244"/>
      </p:ext>
    </p:extLst>
  </p:cSld>
  <p:clrMapOvr>
    <a:masterClrMapping/>
  </p:clrMapOvr>
</p:sldLayout>
</file>

<file path=ppt/slideLayouts/slideLayout1735.xml><?xml version="1.0" encoding="utf-8"?>
<p:sldLayout xmlns:a="http://schemas.openxmlformats.org/drawingml/2006/main" xmlns:r="http://schemas.openxmlformats.org/officeDocument/2006/relationships" xmlns:p="http://schemas.openxmlformats.org/presentationml/2006/main" matchingName="19_Blank">
  <p:cSld name="19_Blank">
    <p:spTree>
      <p:nvGrpSpPr>
        <p:cNvPr id="1" name="Shape 5604"/>
        <p:cNvGrpSpPr/>
        <p:nvPr/>
      </p:nvGrpSpPr>
      <p:grpSpPr>
        <a:xfrm>
          <a:off x="0" y="0"/>
          <a:ext cx="0" cy="0"/>
          <a:chOff x="0" y="0"/>
          <a:chExt cx="0" cy="0"/>
        </a:xfrm>
      </p:grpSpPr>
      <p:sp>
        <p:nvSpPr>
          <p:cNvPr id="5605" name="Google Shape;5605;p556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606" name="Google Shape;5606;p55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07" name="Google Shape;5607;p556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608" name="Google Shape;5608;p5564"/>
          <p:cNvGrpSpPr/>
          <p:nvPr/>
        </p:nvGrpSpPr>
        <p:grpSpPr>
          <a:xfrm>
            <a:off x="7191543" y="1"/>
            <a:ext cx="5000459" cy="1425992"/>
            <a:chOff x="7191542" y="1"/>
            <a:chExt cx="5000459" cy="1425992"/>
          </a:xfrm>
        </p:grpSpPr>
        <p:pic>
          <p:nvPicPr>
            <p:cNvPr id="5609" name="Google Shape;5609;p55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610" name="Google Shape;5610;p5564"/>
            <p:cNvGrpSpPr/>
            <p:nvPr/>
          </p:nvGrpSpPr>
          <p:grpSpPr>
            <a:xfrm>
              <a:off x="7191542" y="1"/>
              <a:ext cx="5000459" cy="1425992"/>
              <a:chOff x="7186272" y="0"/>
              <a:chExt cx="5005729" cy="1427495"/>
            </a:xfrm>
          </p:grpSpPr>
          <p:sp>
            <p:nvSpPr>
              <p:cNvPr id="5611" name="Google Shape;5611;p55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612" name="Google Shape;5612;p55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extLst>
      <p:ext uri="{BB962C8B-B14F-4D97-AF65-F5344CB8AC3E}">
        <p14:creationId xmlns:p14="http://schemas.microsoft.com/office/powerpoint/2010/main" val="2456666097"/>
      </p:ext>
    </p:extLst>
  </p:cSld>
  <p:clrMapOvr>
    <a:masterClrMapping/>
  </p:clrMapOvr>
</p:sldLayout>
</file>

<file path=ppt/slideLayouts/slideLayout1736.xml><?xml version="1.0" encoding="utf-8"?>
<p:sldLayout xmlns:a="http://schemas.openxmlformats.org/drawingml/2006/main" xmlns:r="http://schemas.openxmlformats.org/officeDocument/2006/relationships" xmlns:p="http://schemas.openxmlformats.org/presentationml/2006/main" matchingName="48_Quotation">
  <p:cSld name="48_Quotation">
    <p:spTree>
      <p:nvGrpSpPr>
        <p:cNvPr id="1" name="Shape 5613"/>
        <p:cNvGrpSpPr/>
        <p:nvPr/>
      </p:nvGrpSpPr>
      <p:grpSpPr>
        <a:xfrm>
          <a:off x="0" y="0"/>
          <a:ext cx="0" cy="0"/>
          <a:chOff x="0" y="0"/>
          <a:chExt cx="0" cy="0"/>
        </a:xfrm>
      </p:grpSpPr>
      <p:sp>
        <p:nvSpPr>
          <p:cNvPr id="5614" name="Google Shape;5614;p5565"/>
          <p:cNvSpPr/>
          <p:nvPr/>
        </p:nvSpPr>
        <p:spPr>
          <a:xfrm>
            <a:off x="1427357"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615" name="Google Shape;5615;p556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16" name="Google Shape;5616;p556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617" name="Google Shape;5617;p556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618" name="Google Shape;5618;p55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19" name="Google Shape;5619;p556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620" name="Google Shape;5620;p5565"/>
          <p:cNvGrpSpPr/>
          <p:nvPr/>
        </p:nvGrpSpPr>
        <p:grpSpPr>
          <a:xfrm>
            <a:off x="7191543" y="1"/>
            <a:ext cx="5000459" cy="1425992"/>
            <a:chOff x="7191542" y="1"/>
            <a:chExt cx="5000459" cy="1425992"/>
          </a:xfrm>
        </p:grpSpPr>
        <p:pic>
          <p:nvPicPr>
            <p:cNvPr id="5621" name="Google Shape;5621;p55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622" name="Google Shape;5622;p5565"/>
            <p:cNvGrpSpPr/>
            <p:nvPr/>
          </p:nvGrpSpPr>
          <p:grpSpPr>
            <a:xfrm>
              <a:off x="7191542" y="1"/>
              <a:ext cx="5000459" cy="1425992"/>
              <a:chOff x="7186272" y="0"/>
              <a:chExt cx="5005729" cy="1427495"/>
            </a:xfrm>
          </p:grpSpPr>
          <p:sp>
            <p:nvSpPr>
              <p:cNvPr id="5623" name="Google Shape;5623;p55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624" name="Google Shape;5624;p55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625" name="Google Shape;5625;p5565"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1844226433"/>
      </p:ext>
    </p:extLst>
  </p:cSld>
  <p:clrMapOvr>
    <a:masterClrMapping/>
  </p:clrMapOvr>
</p:sldLayout>
</file>

<file path=ppt/slideLayouts/slideLayout1737.xml><?xml version="1.0" encoding="utf-8"?>
<p:sldLayout xmlns:a="http://schemas.openxmlformats.org/drawingml/2006/main" xmlns:r="http://schemas.openxmlformats.org/officeDocument/2006/relationships" xmlns:p="http://schemas.openxmlformats.org/presentationml/2006/main" matchingName="20_Cover">
  <p:cSld name="20_Cover">
    <p:spTree>
      <p:nvGrpSpPr>
        <p:cNvPr id="1" name="Shape 5626"/>
        <p:cNvGrpSpPr/>
        <p:nvPr/>
      </p:nvGrpSpPr>
      <p:grpSpPr>
        <a:xfrm>
          <a:off x="0" y="0"/>
          <a:ext cx="0" cy="0"/>
          <a:chOff x="0" y="0"/>
          <a:chExt cx="0" cy="0"/>
        </a:xfrm>
      </p:grpSpPr>
      <p:sp>
        <p:nvSpPr>
          <p:cNvPr id="5627" name="Google Shape;5627;p5566"/>
          <p:cNvSpPr/>
          <p:nvPr/>
        </p:nvSpPr>
        <p:spPr>
          <a:xfrm>
            <a:off x="902368" y="1294414"/>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628" name="Google Shape;5628;p5566"/>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29" name="Google Shape;5629;p5566"/>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
        <p:nvSpPr>
          <p:cNvPr id="5630" name="Google Shape;5630;p5566"/>
          <p:cNvSpPr>
            <a:spLocks noGrp="1"/>
          </p:cNvSpPr>
          <p:nvPr>
            <p:ph type="pic" idx="2"/>
          </p:nvPr>
        </p:nvSpPr>
        <p:spPr>
          <a:xfrm>
            <a:off x="7118684" y="233915"/>
            <a:ext cx="5073316" cy="5943600"/>
          </a:xfrm>
          <a:prstGeom prst="rect">
            <a:avLst/>
          </a:prstGeom>
          <a:noFill/>
          <a:ln>
            <a:noFill/>
          </a:ln>
        </p:spPr>
      </p:sp>
      <p:grpSp>
        <p:nvGrpSpPr>
          <p:cNvPr id="5631" name="Google Shape;5631;p5566"/>
          <p:cNvGrpSpPr/>
          <p:nvPr/>
        </p:nvGrpSpPr>
        <p:grpSpPr>
          <a:xfrm>
            <a:off x="0" y="5020349"/>
            <a:ext cx="12192000" cy="1837653"/>
            <a:chOff x="0" y="5020348"/>
            <a:chExt cx="12192000" cy="1837653"/>
          </a:xfrm>
        </p:grpSpPr>
        <p:sp>
          <p:nvSpPr>
            <p:cNvPr id="5632" name="Google Shape;5632;p556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633" name="Google Shape;5633;p556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5634" name="Google Shape;5634;p556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852720586"/>
      </p:ext>
    </p:extLst>
  </p:cSld>
  <p:clrMapOvr>
    <a:masterClrMapping/>
  </p:clrMapOvr>
</p:sldLayout>
</file>

<file path=ppt/slideLayouts/slideLayout1738.xml><?xml version="1.0" encoding="utf-8"?>
<p:sldLayout xmlns:a="http://schemas.openxmlformats.org/drawingml/2006/main" xmlns:r="http://schemas.openxmlformats.org/officeDocument/2006/relationships" xmlns:p="http://schemas.openxmlformats.org/presentationml/2006/main" matchingName="20_Divider">
  <p:cSld name="20_Divider">
    <p:bg>
      <p:bgPr>
        <a:solidFill>
          <a:schemeClr val="lt2"/>
        </a:solidFill>
        <a:effectLst/>
      </p:bgPr>
    </p:bg>
    <p:spTree>
      <p:nvGrpSpPr>
        <p:cNvPr id="1" name="Shape 5635"/>
        <p:cNvGrpSpPr/>
        <p:nvPr/>
      </p:nvGrpSpPr>
      <p:grpSpPr>
        <a:xfrm>
          <a:off x="0" y="0"/>
          <a:ext cx="0" cy="0"/>
          <a:chOff x="0" y="0"/>
          <a:chExt cx="0" cy="0"/>
        </a:xfrm>
      </p:grpSpPr>
      <p:grpSp>
        <p:nvGrpSpPr>
          <p:cNvPr id="5636" name="Google Shape;5636;p5567"/>
          <p:cNvGrpSpPr/>
          <p:nvPr/>
        </p:nvGrpSpPr>
        <p:grpSpPr>
          <a:xfrm>
            <a:off x="0" y="5020348"/>
            <a:ext cx="12192000" cy="1837653"/>
            <a:chOff x="0" y="5020347"/>
            <a:chExt cx="12192000" cy="1837653"/>
          </a:xfrm>
        </p:grpSpPr>
        <p:sp>
          <p:nvSpPr>
            <p:cNvPr id="5637" name="Google Shape;5637;p556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638" name="Google Shape;5638;p556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639" name="Google Shape;5639;p556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5640" name="Google Shape;5640;p556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641" name="Google Shape;5641;p5567"/>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42" name="Google Shape;5642;p5567"/>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Tree>
    <p:extLst>
      <p:ext uri="{BB962C8B-B14F-4D97-AF65-F5344CB8AC3E}">
        <p14:creationId xmlns:p14="http://schemas.microsoft.com/office/powerpoint/2010/main" val="2371993011"/>
      </p:ext>
    </p:extLst>
  </p:cSld>
  <p:clrMapOvr>
    <a:masterClrMapping/>
  </p:clrMapOvr>
</p:sldLayout>
</file>

<file path=ppt/slideLayouts/slideLayout1739.xml><?xml version="1.0" encoding="utf-8"?>
<p:sldLayout xmlns:a="http://schemas.openxmlformats.org/drawingml/2006/main" xmlns:r="http://schemas.openxmlformats.org/officeDocument/2006/relationships" xmlns:p="http://schemas.openxmlformats.org/presentationml/2006/main" matchingName="20_Photo Slide">
  <p:cSld name="20_Photo Slide">
    <p:spTree>
      <p:nvGrpSpPr>
        <p:cNvPr id="1" name="Shape 5643"/>
        <p:cNvGrpSpPr/>
        <p:nvPr/>
      </p:nvGrpSpPr>
      <p:grpSpPr>
        <a:xfrm>
          <a:off x="0" y="0"/>
          <a:ext cx="0" cy="0"/>
          <a:chOff x="0" y="0"/>
          <a:chExt cx="0" cy="0"/>
        </a:xfrm>
      </p:grpSpPr>
      <p:sp>
        <p:nvSpPr>
          <p:cNvPr id="5644" name="Google Shape;5644;p5568"/>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5645" name="Google Shape;5645;p556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646" name="Google Shape;5646;p5568"/>
          <p:cNvGrpSpPr/>
          <p:nvPr/>
        </p:nvGrpSpPr>
        <p:grpSpPr>
          <a:xfrm>
            <a:off x="0" y="5379427"/>
            <a:ext cx="2807368" cy="753891"/>
            <a:chOff x="0" y="5379426"/>
            <a:chExt cx="2807368" cy="753891"/>
          </a:xfrm>
        </p:grpSpPr>
        <p:sp>
          <p:nvSpPr>
            <p:cNvPr id="5647" name="Google Shape;5647;p556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648" name="Google Shape;5648;p556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5649" name="Google Shape;5649;p5568"/>
          <p:cNvSpPr>
            <a:spLocks noGrp="1"/>
          </p:cNvSpPr>
          <p:nvPr>
            <p:ph type="pic" idx="2"/>
          </p:nvPr>
        </p:nvSpPr>
        <p:spPr>
          <a:xfrm>
            <a:off x="2807368" y="457202"/>
            <a:ext cx="8915400" cy="5943598"/>
          </a:xfrm>
          <a:prstGeom prst="rect">
            <a:avLst/>
          </a:prstGeom>
          <a:noFill/>
          <a:ln>
            <a:noFill/>
          </a:ln>
        </p:spPr>
      </p:sp>
      <p:pic>
        <p:nvPicPr>
          <p:cNvPr id="5650" name="Google Shape;5650;p5568"/>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98650587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2">
    <p:spTree>
      <p:nvGrpSpPr>
        <p:cNvPr id="1" name="Shape 10764"/>
        <p:cNvGrpSpPr/>
        <p:nvPr/>
      </p:nvGrpSpPr>
      <p:grpSpPr>
        <a:xfrm>
          <a:off x="0" y="0"/>
          <a:ext cx="0" cy="0"/>
          <a:chOff x="0" y="0"/>
          <a:chExt cx="0" cy="0"/>
        </a:xfrm>
      </p:grpSpPr>
      <p:sp>
        <p:nvSpPr>
          <p:cNvPr id="10765" name="Google Shape;10765;p1478"/>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66" name="Google Shape;10766;p1478"/>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767" name="Google Shape;10767;p147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0768" name="Google Shape;10768;p14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769" name="Google Shape;10769;p14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0770" name="Google Shape;10770;p1478"/>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0771" name="Google Shape;10771;p1478"/>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0772" name="Google Shape;10772;p1478"/>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773" name="Google Shape;10773;p1478"/>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740.xml><?xml version="1.0" encoding="utf-8"?>
<p:sldLayout xmlns:a="http://schemas.openxmlformats.org/drawingml/2006/main" xmlns:r="http://schemas.openxmlformats.org/officeDocument/2006/relationships" xmlns:p="http://schemas.openxmlformats.org/presentationml/2006/main" matchingName="49_Quotation">
  <p:cSld name="49_Quotation">
    <p:spTree>
      <p:nvGrpSpPr>
        <p:cNvPr id="1" name="Shape 5651"/>
        <p:cNvGrpSpPr/>
        <p:nvPr/>
      </p:nvGrpSpPr>
      <p:grpSpPr>
        <a:xfrm>
          <a:off x="0" y="0"/>
          <a:ext cx="0" cy="0"/>
          <a:chOff x="0" y="0"/>
          <a:chExt cx="0" cy="0"/>
        </a:xfrm>
      </p:grpSpPr>
      <p:sp>
        <p:nvSpPr>
          <p:cNvPr id="5652" name="Google Shape;5652;p5569"/>
          <p:cNvSpPr/>
          <p:nvPr/>
        </p:nvSpPr>
        <p:spPr>
          <a:xfrm>
            <a:off x="1427357"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653" name="Google Shape;5653;p556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54" name="Google Shape;5654;p556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655" name="Google Shape;5655;p556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656" name="Google Shape;5656;p55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57" name="Google Shape;5657;p556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658" name="Google Shape;5658;p5569"/>
          <p:cNvGrpSpPr/>
          <p:nvPr/>
        </p:nvGrpSpPr>
        <p:grpSpPr>
          <a:xfrm>
            <a:off x="7191543" y="1"/>
            <a:ext cx="5000459" cy="1425992"/>
            <a:chOff x="7191542" y="1"/>
            <a:chExt cx="5000459" cy="1425992"/>
          </a:xfrm>
        </p:grpSpPr>
        <p:pic>
          <p:nvPicPr>
            <p:cNvPr id="5659" name="Google Shape;5659;p55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660" name="Google Shape;5660;p5569"/>
            <p:cNvGrpSpPr/>
            <p:nvPr/>
          </p:nvGrpSpPr>
          <p:grpSpPr>
            <a:xfrm>
              <a:off x="7191542" y="1"/>
              <a:ext cx="5000459" cy="1425992"/>
              <a:chOff x="7186272" y="0"/>
              <a:chExt cx="5005729" cy="1427495"/>
            </a:xfrm>
          </p:grpSpPr>
          <p:sp>
            <p:nvSpPr>
              <p:cNvPr id="5661" name="Google Shape;5661;p55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662" name="Google Shape;5662;p55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663" name="Google Shape;5663;p5569"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4270195062"/>
      </p:ext>
    </p:extLst>
  </p:cSld>
  <p:clrMapOvr>
    <a:masterClrMapping/>
  </p:clrMapOvr>
</p:sldLayout>
</file>

<file path=ppt/slideLayouts/slideLayout1741.xml><?xml version="1.0" encoding="utf-8"?>
<p:sldLayout xmlns:a="http://schemas.openxmlformats.org/drawingml/2006/main" xmlns:r="http://schemas.openxmlformats.org/officeDocument/2006/relationships" xmlns:p="http://schemas.openxmlformats.org/presentationml/2006/main" matchingName="29_Title and Content">
  <p:cSld name="29_Title and Content">
    <p:spTree>
      <p:nvGrpSpPr>
        <p:cNvPr id="1" name="Shape 5664"/>
        <p:cNvGrpSpPr/>
        <p:nvPr/>
      </p:nvGrpSpPr>
      <p:grpSpPr>
        <a:xfrm>
          <a:off x="0" y="0"/>
          <a:ext cx="0" cy="0"/>
          <a:chOff x="0" y="0"/>
          <a:chExt cx="0" cy="0"/>
        </a:xfrm>
      </p:grpSpPr>
      <p:grpSp>
        <p:nvGrpSpPr>
          <p:cNvPr id="5665" name="Google Shape;5665;p5570"/>
          <p:cNvGrpSpPr/>
          <p:nvPr/>
        </p:nvGrpSpPr>
        <p:grpSpPr>
          <a:xfrm>
            <a:off x="7191543" y="1"/>
            <a:ext cx="5000459" cy="1425992"/>
            <a:chOff x="7191542" y="1"/>
            <a:chExt cx="5000459" cy="1425992"/>
          </a:xfrm>
        </p:grpSpPr>
        <p:pic>
          <p:nvPicPr>
            <p:cNvPr id="5666" name="Google Shape;5666;p55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667" name="Google Shape;5667;p5570"/>
            <p:cNvGrpSpPr/>
            <p:nvPr/>
          </p:nvGrpSpPr>
          <p:grpSpPr>
            <a:xfrm>
              <a:off x="7191542" y="1"/>
              <a:ext cx="5000459" cy="1425992"/>
              <a:chOff x="7186272" y="0"/>
              <a:chExt cx="5005729" cy="1427495"/>
            </a:xfrm>
          </p:grpSpPr>
          <p:sp>
            <p:nvSpPr>
              <p:cNvPr id="5668" name="Google Shape;5668;p55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669" name="Google Shape;5669;p55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670" name="Google Shape;5670;p557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71" name="Google Shape;5671;p5570"/>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672" name="Google Shape;5672;p557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673" name="Google Shape;5673;p55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74" name="Google Shape;5674;p557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537754222"/>
      </p:ext>
    </p:extLst>
  </p:cSld>
  <p:clrMapOvr>
    <a:masterClrMapping/>
  </p:clrMapOvr>
</p:sldLayout>
</file>

<file path=ppt/slideLayouts/slideLayout1742.xml><?xml version="1.0" encoding="utf-8"?>
<p:sldLayout xmlns:a="http://schemas.openxmlformats.org/drawingml/2006/main" xmlns:r="http://schemas.openxmlformats.org/officeDocument/2006/relationships" xmlns:p="http://schemas.openxmlformats.org/presentationml/2006/main" matchingName="20_Two Content">
  <p:cSld name="20_Two Content">
    <p:spTree>
      <p:nvGrpSpPr>
        <p:cNvPr id="1" name="Shape 5675"/>
        <p:cNvGrpSpPr/>
        <p:nvPr/>
      </p:nvGrpSpPr>
      <p:grpSpPr>
        <a:xfrm>
          <a:off x="0" y="0"/>
          <a:ext cx="0" cy="0"/>
          <a:chOff x="0" y="0"/>
          <a:chExt cx="0" cy="0"/>
        </a:xfrm>
      </p:grpSpPr>
      <p:sp>
        <p:nvSpPr>
          <p:cNvPr id="5676" name="Google Shape;5676;p5571"/>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77" name="Google Shape;5677;p5571"/>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5678" name="Google Shape;5678;p5571"/>
          <p:cNvGrpSpPr/>
          <p:nvPr/>
        </p:nvGrpSpPr>
        <p:grpSpPr>
          <a:xfrm>
            <a:off x="7191543" y="1"/>
            <a:ext cx="5000459" cy="1425992"/>
            <a:chOff x="7191542" y="1"/>
            <a:chExt cx="5000459" cy="1425992"/>
          </a:xfrm>
        </p:grpSpPr>
        <p:pic>
          <p:nvPicPr>
            <p:cNvPr id="5679" name="Google Shape;5679;p55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680" name="Google Shape;5680;p5571"/>
            <p:cNvGrpSpPr/>
            <p:nvPr/>
          </p:nvGrpSpPr>
          <p:grpSpPr>
            <a:xfrm>
              <a:off x="7191542" y="1"/>
              <a:ext cx="5000459" cy="1425992"/>
              <a:chOff x="7186272" y="0"/>
              <a:chExt cx="5005729" cy="1427495"/>
            </a:xfrm>
          </p:grpSpPr>
          <p:sp>
            <p:nvSpPr>
              <p:cNvPr id="5681" name="Google Shape;5681;p55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682" name="Google Shape;5682;p55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683" name="Google Shape;5683;p5571"/>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684" name="Google Shape;5684;p5571"/>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685" name="Google Shape;5685;p55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86" name="Google Shape;5686;p557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925284623"/>
      </p:ext>
    </p:extLst>
  </p:cSld>
  <p:clrMapOvr>
    <a:masterClrMapping/>
  </p:clrMapOvr>
</p:sldLayout>
</file>

<file path=ppt/slideLayouts/slideLayout1743.xml><?xml version="1.0" encoding="utf-8"?>
<p:sldLayout xmlns:a="http://schemas.openxmlformats.org/drawingml/2006/main" xmlns:r="http://schemas.openxmlformats.org/officeDocument/2006/relationships" xmlns:p="http://schemas.openxmlformats.org/presentationml/2006/main" matchingName="20_Comparison">
  <p:cSld name="20_Comparison">
    <p:spTree>
      <p:nvGrpSpPr>
        <p:cNvPr id="1" name="Shape 5687"/>
        <p:cNvGrpSpPr/>
        <p:nvPr/>
      </p:nvGrpSpPr>
      <p:grpSpPr>
        <a:xfrm>
          <a:off x="0" y="0"/>
          <a:ext cx="0" cy="0"/>
          <a:chOff x="0" y="0"/>
          <a:chExt cx="0" cy="0"/>
        </a:xfrm>
      </p:grpSpPr>
      <p:grpSp>
        <p:nvGrpSpPr>
          <p:cNvPr id="5688" name="Google Shape;5688;p5572"/>
          <p:cNvGrpSpPr/>
          <p:nvPr/>
        </p:nvGrpSpPr>
        <p:grpSpPr>
          <a:xfrm>
            <a:off x="7191543" y="1"/>
            <a:ext cx="5000459" cy="1425992"/>
            <a:chOff x="7191542" y="1"/>
            <a:chExt cx="5000459" cy="1425992"/>
          </a:xfrm>
        </p:grpSpPr>
        <p:pic>
          <p:nvPicPr>
            <p:cNvPr id="5689" name="Google Shape;5689;p55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690" name="Google Shape;5690;p5572"/>
            <p:cNvGrpSpPr/>
            <p:nvPr/>
          </p:nvGrpSpPr>
          <p:grpSpPr>
            <a:xfrm>
              <a:off x="7191542" y="1"/>
              <a:ext cx="5000459" cy="1425992"/>
              <a:chOff x="7186272" y="0"/>
              <a:chExt cx="5005729" cy="1427495"/>
            </a:xfrm>
          </p:grpSpPr>
          <p:sp>
            <p:nvSpPr>
              <p:cNvPr id="5691" name="Google Shape;5691;p55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692" name="Google Shape;5692;p55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693" name="Google Shape;5693;p5572"/>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94" name="Google Shape;5694;p5572"/>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5695" name="Google Shape;5695;p5572"/>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696" name="Google Shape;5696;p557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5697" name="Google Shape;5697;p557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698" name="Google Shape;5698;p557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699" name="Google Shape;5699;p55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700" name="Google Shape;5700;p557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988460920"/>
      </p:ext>
    </p:extLst>
  </p:cSld>
  <p:clrMapOvr>
    <a:masterClrMapping/>
  </p:clrMapOvr>
</p:sldLayout>
</file>

<file path=ppt/slideLayouts/slideLayout1744.xml><?xml version="1.0" encoding="utf-8"?>
<p:sldLayout xmlns:a="http://schemas.openxmlformats.org/drawingml/2006/main" xmlns:r="http://schemas.openxmlformats.org/officeDocument/2006/relationships" xmlns:p="http://schemas.openxmlformats.org/presentationml/2006/main" matchingName="20_Title Only">
  <p:cSld name="20_Title Only">
    <p:spTree>
      <p:nvGrpSpPr>
        <p:cNvPr id="1" name="Shape 5701"/>
        <p:cNvGrpSpPr/>
        <p:nvPr/>
      </p:nvGrpSpPr>
      <p:grpSpPr>
        <a:xfrm>
          <a:off x="0" y="0"/>
          <a:ext cx="0" cy="0"/>
          <a:chOff x="0" y="0"/>
          <a:chExt cx="0" cy="0"/>
        </a:xfrm>
      </p:grpSpPr>
      <p:grpSp>
        <p:nvGrpSpPr>
          <p:cNvPr id="5702" name="Google Shape;5702;p5573"/>
          <p:cNvGrpSpPr/>
          <p:nvPr/>
        </p:nvGrpSpPr>
        <p:grpSpPr>
          <a:xfrm>
            <a:off x="7191543" y="1"/>
            <a:ext cx="5000459" cy="1425992"/>
            <a:chOff x="7191542" y="1"/>
            <a:chExt cx="5000459" cy="1425992"/>
          </a:xfrm>
        </p:grpSpPr>
        <p:pic>
          <p:nvPicPr>
            <p:cNvPr id="5703" name="Google Shape;5703;p55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04" name="Google Shape;5704;p5573"/>
            <p:cNvGrpSpPr/>
            <p:nvPr/>
          </p:nvGrpSpPr>
          <p:grpSpPr>
            <a:xfrm>
              <a:off x="7191542" y="1"/>
              <a:ext cx="5000459" cy="1425992"/>
              <a:chOff x="7186272" y="0"/>
              <a:chExt cx="5005729" cy="1427495"/>
            </a:xfrm>
          </p:grpSpPr>
          <p:sp>
            <p:nvSpPr>
              <p:cNvPr id="5705" name="Google Shape;5705;p55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706" name="Google Shape;5706;p55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707" name="Google Shape;5707;p5573"/>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08" name="Google Shape;5708;p557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709" name="Google Shape;5709;p55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710" name="Google Shape;5710;p557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304140530"/>
      </p:ext>
    </p:extLst>
  </p:cSld>
  <p:clrMapOvr>
    <a:masterClrMapping/>
  </p:clrMapOvr>
</p:sldLayout>
</file>

<file path=ppt/slideLayouts/slideLayout1745.xml><?xml version="1.0" encoding="utf-8"?>
<p:sldLayout xmlns:a="http://schemas.openxmlformats.org/drawingml/2006/main" xmlns:r="http://schemas.openxmlformats.org/officeDocument/2006/relationships" xmlns:p="http://schemas.openxmlformats.org/presentationml/2006/main" matchingName="20_End">
  <p:cSld name="20_End">
    <p:spTree>
      <p:nvGrpSpPr>
        <p:cNvPr id="1" name="Shape 5711"/>
        <p:cNvGrpSpPr/>
        <p:nvPr/>
      </p:nvGrpSpPr>
      <p:grpSpPr>
        <a:xfrm>
          <a:off x="0" y="0"/>
          <a:ext cx="0" cy="0"/>
          <a:chOff x="0" y="0"/>
          <a:chExt cx="0" cy="0"/>
        </a:xfrm>
      </p:grpSpPr>
      <p:grpSp>
        <p:nvGrpSpPr>
          <p:cNvPr id="5712" name="Google Shape;5712;p5574"/>
          <p:cNvGrpSpPr/>
          <p:nvPr/>
        </p:nvGrpSpPr>
        <p:grpSpPr>
          <a:xfrm>
            <a:off x="0" y="0"/>
            <a:ext cx="12192000" cy="2148830"/>
            <a:chOff x="0" y="0"/>
            <a:chExt cx="12192000" cy="2148830"/>
          </a:xfrm>
        </p:grpSpPr>
        <p:sp>
          <p:nvSpPr>
            <p:cNvPr id="5713" name="Google Shape;5713;p557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714" name="Google Shape;5714;p557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5715" name="Google Shape;5715;p5574"/>
          <p:cNvSpPr/>
          <p:nvPr/>
        </p:nvSpPr>
        <p:spPr>
          <a:xfrm>
            <a:off x="902368" y="1517698"/>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716" name="Google Shape;5716;p5574"/>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717" name="Google Shape;5717;p557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9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718" name="Google Shape;5718;p5574"/>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5719" name="Google Shape;5719;p5574"/>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320857477"/>
      </p:ext>
    </p:extLst>
  </p:cSld>
  <p:clrMapOvr>
    <a:masterClrMapping/>
  </p:clrMapOvr>
</p:sldLayout>
</file>

<file path=ppt/slideLayouts/slideLayout1746.xml><?xml version="1.0" encoding="utf-8"?>
<p:sldLayout xmlns:a="http://schemas.openxmlformats.org/drawingml/2006/main" xmlns:r="http://schemas.openxmlformats.org/officeDocument/2006/relationships" xmlns:p="http://schemas.openxmlformats.org/presentationml/2006/main" matchingName="20_Blank">
  <p:cSld name="20_Blank">
    <p:spTree>
      <p:nvGrpSpPr>
        <p:cNvPr id="1" name="Shape 5720"/>
        <p:cNvGrpSpPr/>
        <p:nvPr/>
      </p:nvGrpSpPr>
      <p:grpSpPr>
        <a:xfrm>
          <a:off x="0" y="0"/>
          <a:ext cx="0" cy="0"/>
          <a:chOff x="0" y="0"/>
          <a:chExt cx="0" cy="0"/>
        </a:xfrm>
      </p:grpSpPr>
      <p:sp>
        <p:nvSpPr>
          <p:cNvPr id="5721" name="Google Shape;5721;p557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722" name="Google Shape;5722;p55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723" name="Google Shape;5723;p557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724" name="Google Shape;5724;p5575"/>
          <p:cNvGrpSpPr/>
          <p:nvPr/>
        </p:nvGrpSpPr>
        <p:grpSpPr>
          <a:xfrm>
            <a:off x="7191543" y="1"/>
            <a:ext cx="5000459" cy="1425992"/>
            <a:chOff x="7191542" y="1"/>
            <a:chExt cx="5000459" cy="1425992"/>
          </a:xfrm>
        </p:grpSpPr>
        <p:pic>
          <p:nvPicPr>
            <p:cNvPr id="5725" name="Google Shape;5725;p55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26" name="Google Shape;5726;p5575"/>
            <p:cNvGrpSpPr/>
            <p:nvPr/>
          </p:nvGrpSpPr>
          <p:grpSpPr>
            <a:xfrm>
              <a:off x="7191542" y="1"/>
              <a:ext cx="5000459" cy="1425992"/>
              <a:chOff x="7186272" y="0"/>
              <a:chExt cx="5005729" cy="1427495"/>
            </a:xfrm>
          </p:grpSpPr>
          <p:sp>
            <p:nvSpPr>
              <p:cNvPr id="5727" name="Google Shape;5727;p55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728" name="Google Shape;5728;p55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extLst>
      <p:ext uri="{BB962C8B-B14F-4D97-AF65-F5344CB8AC3E}">
        <p14:creationId xmlns:p14="http://schemas.microsoft.com/office/powerpoint/2010/main" val="385123309"/>
      </p:ext>
    </p:extLst>
  </p:cSld>
  <p:clrMapOvr>
    <a:masterClrMapping/>
  </p:clrMapOvr>
</p:sldLayout>
</file>

<file path=ppt/slideLayouts/slideLayout1747.xml><?xml version="1.0" encoding="utf-8"?>
<p:sldLayout xmlns:a="http://schemas.openxmlformats.org/drawingml/2006/main" xmlns:r="http://schemas.openxmlformats.org/officeDocument/2006/relationships" xmlns:p="http://schemas.openxmlformats.org/presentationml/2006/main" matchingName="21_Cover">
  <p:cSld name="21_Cover">
    <p:spTree>
      <p:nvGrpSpPr>
        <p:cNvPr id="1" name="Shape 5729"/>
        <p:cNvGrpSpPr/>
        <p:nvPr/>
      </p:nvGrpSpPr>
      <p:grpSpPr>
        <a:xfrm>
          <a:off x="0" y="0"/>
          <a:ext cx="0" cy="0"/>
          <a:chOff x="0" y="0"/>
          <a:chExt cx="0" cy="0"/>
        </a:xfrm>
      </p:grpSpPr>
      <p:sp>
        <p:nvSpPr>
          <p:cNvPr id="5730" name="Google Shape;5730;p5576"/>
          <p:cNvSpPr/>
          <p:nvPr/>
        </p:nvSpPr>
        <p:spPr>
          <a:xfrm>
            <a:off x="902368" y="1294414"/>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731" name="Google Shape;5731;p5576"/>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32" name="Google Shape;5732;p5576"/>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
        <p:nvSpPr>
          <p:cNvPr id="5733" name="Google Shape;5733;p5576"/>
          <p:cNvSpPr>
            <a:spLocks noGrp="1"/>
          </p:cNvSpPr>
          <p:nvPr>
            <p:ph type="pic" idx="2"/>
          </p:nvPr>
        </p:nvSpPr>
        <p:spPr>
          <a:xfrm>
            <a:off x="7118684" y="233915"/>
            <a:ext cx="5073316" cy="5943600"/>
          </a:xfrm>
          <a:prstGeom prst="rect">
            <a:avLst/>
          </a:prstGeom>
          <a:noFill/>
          <a:ln>
            <a:noFill/>
          </a:ln>
        </p:spPr>
      </p:sp>
      <p:grpSp>
        <p:nvGrpSpPr>
          <p:cNvPr id="5734" name="Google Shape;5734;p5576"/>
          <p:cNvGrpSpPr/>
          <p:nvPr/>
        </p:nvGrpSpPr>
        <p:grpSpPr>
          <a:xfrm>
            <a:off x="0" y="5020349"/>
            <a:ext cx="12192000" cy="1837653"/>
            <a:chOff x="0" y="5020348"/>
            <a:chExt cx="12192000" cy="1837653"/>
          </a:xfrm>
        </p:grpSpPr>
        <p:sp>
          <p:nvSpPr>
            <p:cNvPr id="5735" name="Google Shape;5735;p557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736" name="Google Shape;5736;p557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5737" name="Google Shape;5737;p557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103850402"/>
      </p:ext>
    </p:extLst>
  </p:cSld>
  <p:clrMapOvr>
    <a:masterClrMapping/>
  </p:clrMapOvr>
</p:sldLayout>
</file>

<file path=ppt/slideLayouts/slideLayout1748.xml><?xml version="1.0" encoding="utf-8"?>
<p:sldLayout xmlns:a="http://schemas.openxmlformats.org/drawingml/2006/main" xmlns:r="http://schemas.openxmlformats.org/officeDocument/2006/relationships" xmlns:p="http://schemas.openxmlformats.org/presentationml/2006/main" matchingName="21_Divider">
  <p:cSld name="21_Divider">
    <p:bg>
      <p:bgPr>
        <a:solidFill>
          <a:schemeClr val="lt2"/>
        </a:solidFill>
        <a:effectLst/>
      </p:bgPr>
    </p:bg>
    <p:spTree>
      <p:nvGrpSpPr>
        <p:cNvPr id="1" name="Shape 5738"/>
        <p:cNvGrpSpPr/>
        <p:nvPr/>
      </p:nvGrpSpPr>
      <p:grpSpPr>
        <a:xfrm>
          <a:off x="0" y="0"/>
          <a:ext cx="0" cy="0"/>
          <a:chOff x="0" y="0"/>
          <a:chExt cx="0" cy="0"/>
        </a:xfrm>
      </p:grpSpPr>
      <p:grpSp>
        <p:nvGrpSpPr>
          <p:cNvPr id="5739" name="Google Shape;5739;p5577"/>
          <p:cNvGrpSpPr/>
          <p:nvPr/>
        </p:nvGrpSpPr>
        <p:grpSpPr>
          <a:xfrm>
            <a:off x="0" y="5020348"/>
            <a:ext cx="12192000" cy="1837653"/>
            <a:chOff x="0" y="5020347"/>
            <a:chExt cx="12192000" cy="1837653"/>
          </a:xfrm>
        </p:grpSpPr>
        <p:sp>
          <p:nvSpPr>
            <p:cNvPr id="5740" name="Google Shape;5740;p557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741" name="Google Shape;5741;p557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742" name="Google Shape;5742;p557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5743" name="Google Shape;5743;p557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744" name="Google Shape;5744;p5577"/>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45" name="Google Shape;5745;p5577"/>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Tree>
    <p:extLst>
      <p:ext uri="{BB962C8B-B14F-4D97-AF65-F5344CB8AC3E}">
        <p14:creationId xmlns:p14="http://schemas.microsoft.com/office/powerpoint/2010/main" val="4145455728"/>
      </p:ext>
    </p:extLst>
  </p:cSld>
  <p:clrMapOvr>
    <a:masterClrMapping/>
  </p:clrMapOvr>
</p:sldLayout>
</file>

<file path=ppt/slideLayouts/slideLayout1749.xml><?xml version="1.0" encoding="utf-8"?>
<p:sldLayout xmlns:a="http://schemas.openxmlformats.org/drawingml/2006/main" xmlns:r="http://schemas.openxmlformats.org/officeDocument/2006/relationships" xmlns:p="http://schemas.openxmlformats.org/presentationml/2006/main" matchingName="50_Quotation">
  <p:cSld name="50_Quotation">
    <p:spTree>
      <p:nvGrpSpPr>
        <p:cNvPr id="1" name="Shape 5746"/>
        <p:cNvGrpSpPr/>
        <p:nvPr/>
      </p:nvGrpSpPr>
      <p:grpSpPr>
        <a:xfrm>
          <a:off x="0" y="0"/>
          <a:ext cx="0" cy="0"/>
          <a:chOff x="0" y="0"/>
          <a:chExt cx="0" cy="0"/>
        </a:xfrm>
      </p:grpSpPr>
      <p:sp>
        <p:nvSpPr>
          <p:cNvPr id="5747" name="Google Shape;5747;p5578"/>
          <p:cNvSpPr/>
          <p:nvPr/>
        </p:nvSpPr>
        <p:spPr>
          <a:xfrm>
            <a:off x="1427357"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748" name="Google Shape;5748;p557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49" name="Google Shape;5749;p557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750" name="Google Shape;5750;p557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751" name="Google Shape;5751;p55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752" name="Google Shape;5752;p557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753" name="Google Shape;5753;p5578"/>
          <p:cNvGrpSpPr/>
          <p:nvPr/>
        </p:nvGrpSpPr>
        <p:grpSpPr>
          <a:xfrm>
            <a:off x="7191543" y="1"/>
            <a:ext cx="5000459" cy="1425992"/>
            <a:chOff x="7191542" y="1"/>
            <a:chExt cx="5000459" cy="1425992"/>
          </a:xfrm>
        </p:grpSpPr>
        <p:pic>
          <p:nvPicPr>
            <p:cNvPr id="5754" name="Google Shape;5754;p55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55" name="Google Shape;5755;p5578"/>
            <p:cNvGrpSpPr/>
            <p:nvPr/>
          </p:nvGrpSpPr>
          <p:grpSpPr>
            <a:xfrm>
              <a:off x="7191542" y="1"/>
              <a:ext cx="5000459" cy="1425992"/>
              <a:chOff x="7186272" y="0"/>
              <a:chExt cx="5005729" cy="1427495"/>
            </a:xfrm>
          </p:grpSpPr>
          <p:sp>
            <p:nvSpPr>
              <p:cNvPr id="5756" name="Google Shape;5756;p55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757" name="Google Shape;5757;p55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758" name="Google Shape;5758;p5578"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185150724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10774"/>
        <p:cNvGrpSpPr/>
        <p:nvPr/>
      </p:nvGrpSpPr>
      <p:grpSpPr>
        <a:xfrm>
          <a:off x="0" y="0"/>
          <a:ext cx="0" cy="0"/>
          <a:chOff x="0" y="0"/>
          <a:chExt cx="0" cy="0"/>
        </a:xfrm>
      </p:grpSpPr>
      <p:sp>
        <p:nvSpPr>
          <p:cNvPr id="10775" name="Google Shape;10775;p1479"/>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776" name="Google Shape;10776;p147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777" name="Google Shape;10777;p147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778" name="Google Shape;10778;p1479"/>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779" name="Google Shape;10779;p147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750.xml><?xml version="1.0" encoding="utf-8"?>
<p:sldLayout xmlns:a="http://schemas.openxmlformats.org/drawingml/2006/main" xmlns:r="http://schemas.openxmlformats.org/officeDocument/2006/relationships" xmlns:p="http://schemas.openxmlformats.org/presentationml/2006/main" matchingName="21_Photo Slide">
  <p:cSld name="21_Photo Slide">
    <p:spTree>
      <p:nvGrpSpPr>
        <p:cNvPr id="1" name="Shape 5759"/>
        <p:cNvGrpSpPr/>
        <p:nvPr/>
      </p:nvGrpSpPr>
      <p:grpSpPr>
        <a:xfrm>
          <a:off x="0" y="0"/>
          <a:ext cx="0" cy="0"/>
          <a:chOff x="0" y="0"/>
          <a:chExt cx="0" cy="0"/>
        </a:xfrm>
      </p:grpSpPr>
      <p:sp>
        <p:nvSpPr>
          <p:cNvPr id="5760" name="Google Shape;5760;p5579"/>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5761" name="Google Shape;5761;p557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762" name="Google Shape;5762;p5579"/>
          <p:cNvGrpSpPr/>
          <p:nvPr/>
        </p:nvGrpSpPr>
        <p:grpSpPr>
          <a:xfrm>
            <a:off x="0" y="5379427"/>
            <a:ext cx="2807368" cy="753891"/>
            <a:chOff x="0" y="5379426"/>
            <a:chExt cx="2807368" cy="753891"/>
          </a:xfrm>
        </p:grpSpPr>
        <p:sp>
          <p:nvSpPr>
            <p:cNvPr id="5763" name="Google Shape;5763;p557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764" name="Google Shape;5764;p557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5765" name="Google Shape;5765;p5579"/>
          <p:cNvSpPr>
            <a:spLocks noGrp="1"/>
          </p:cNvSpPr>
          <p:nvPr>
            <p:ph type="pic" idx="2"/>
          </p:nvPr>
        </p:nvSpPr>
        <p:spPr>
          <a:xfrm>
            <a:off x="2807368" y="457202"/>
            <a:ext cx="8915400" cy="5943598"/>
          </a:xfrm>
          <a:prstGeom prst="rect">
            <a:avLst/>
          </a:prstGeom>
          <a:noFill/>
          <a:ln>
            <a:noFill/>
          </a:ln>
        </p:spPr>
      </p:sp>
      <p:pic>
        <p:nvPicPr>
          <p:cNvPr id="5766" name="Google Shape;5766;p5579"/>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87367385"/>
      </p:ext>
    </p:extLst>
  </p:cSld>
  <p:clrMapOvr>
    <a:masterClrMapping/>
  </p:clrMapOvr>
</p:sldLayout>
</file>

<file path=ppt/slideLayouts/slideLayout1751.xml><?xml version="1.0" encoding="utf-8"?>
<p:sldLayout xmlns:a="http://schemas.openxmlformats.org/drawingml/2006/main" xmlns:r="http://schemas.openxmlformats.org/officeDocument/2006/relationships" xmlns:p="http://schemas.openxmlformats.org/presentationml/2006/main" matchingName="51_Quotation">
  <p:cSld name="51_Quotation">
    <p:spTree>
      <p:nvGrpSpPr>
        <p:cNvPr id="1" name="Shape 5767"/>
        <p:cNvGrpSpPr/>
        <p:nvPr/>
      </p:nvGrpSpPr>
      <p:grpSpPr>
        <a:xfrm>
          <a:off x="0" y="0"/>
          <a:ext cx="0" cy="0"/>
          <a:chOff x="0" y="0"/>
          <a:chExt cx="0" cy="0"/>
        </a:xfrm>
      </p:grpSpPr>
      <p:sp>
        <p:nvSpPr>
          <p:cNvPr id="5768" name="Google Shape;5768;p5580"/>
          <p:cNvSpPr/>
          <p:nvPr/>
        </p:nvSpPr>
        <p:spPr>
          <a:xfrm>
            <a:off x="1427357"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769" name="Google Shape;5769;p558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70" name="Google Shape;5770;p558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771" name="Google Shape;5771;p558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772" name="Google Shape;5772;p55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773" name="Google Shape;5773;p558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774" name="Google Shape;5774;p5580"/>
          <p:cNvGrpSpPr/>
          <p:nvPr/>
        </p:nvGrpSpPr>
        <p:grpSpPr>
          <a:xfrm>
            <a:off x="7191543" y="1"/>
            <a:ext cx="5000459" cy="1425992"/>
            <a:chOff x="7191542" y="1"/>
            <a:chExt cx="5000459" cy="1425992"/>
          </a:xfrm>
        </p:grpSpPr>
        <p:pic>
          <p:nvPicPr>
            <p:cNvPr id="5775" name="Google Shape;5775;p55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76" name="Google Shape;5776;p5580"/>
            <p:cNvGrpSpPr/>
            <p:nvPr/>
          </p:nvGrpSpPr>
          <p:grpSpPr>
            <a:xfrm>
              <a:off x="7191542" y="1"/>
              <a:ext cx="5000459" cy="1425992"/>
              <a:chOff x="7186272" y="0"/>
              <a:chExt cx="5005729" cy="1427495"/>
            </a:xfrm>
          </p:grpSpPr>
          <p:sp>
            <p:nvSpPr>
              <p:cNvPr id="5777" name="Google Shape;5777;p55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778" name="Google Shape;5778;p55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779" name="Google Shape;5779;p5580"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1991710917"/>
      </p:ext>
    </p:extLst>
  </p:cSld>
  <p:clrMapOvr>
    <a:masterClrMapping/>
  </p:clrMapOvr>
</p:sldLayout>
</file>

<file path=ppt/slideLayouts/slideLayout1752.xml><?xml version="1.0" encoding="utf-8"?>
<p:sldLayout xmlns:a="http://schemas.openxmlformats.org/drawingml/2006/main" xmlns:r="http://schemas.openxmlformats.org/officeDocument/2006/relationships" xmlns:p="http://schemas.openxmlformats.org/presentationml/2006/main" matchingName="30_Title and Content">
  <p:cSld name="30_Title and Content">
    <p:spTree>
      <p:nvGrpSpPr>
        <p:cNvPr id="1" name="Shape 5780"/>
        <p:cNvGrpSpPr/>
        <p:nvPr/>
      </p:nvGrpSpPr>
      <p:grpSpPr>
        <a:xfrm>
          <a:off x="0" y="0"/>
          <a:ext cx="0" cy="0"/>
          <a:chOff x="0" y="0"/>
          <a:chExt cx="0" cy="0"/>
        </a:xfrm>
      </p:grpSpPr>
      <p:grpSp>
        <p:nvGrpSpPr>
          <p:cNvPr id="5781" name="Google Shape;5781;p5581"/>
          <p:cNvGrpSpPr/>
          <p:nvPr/>
        </p:nvGrpSpPr>
        <p:grpSpPr>
          <a:xfrm>
            <a:off x="7191543" y="1"/>
            <a:ext cx="5000459" cy="1425992"/>
            <a:chOff x="7191542" y="1"/>
            <a:chExt cx="5000459" cy="1425992"/>
          </a:xfrm>
        </p:grpSpPr>
        <p:pic>
          <p:nvPicPr>
            <p:cNvPr id="5782" name="Google Shape;5782;p55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83" name="Google Shape;5783;p5581"/>
            <p:cNvGrpSpPr/>
            <p:nvPr/>
          </p:nvGrpSpPr>
          <p:grpSpPr>
            <a:xfrm>
              <a:off x="7191542" y="1"/>
              <a:ext cx="5000459" cy="1425992"/>
              <a:chOff x="7186272" y="0"/>
              <a:chExt cx="5005729" cy="1427495"/>
            </a:xfrm>
          </p:grpSpPr>
          <p:sp>
            <p:nvSpPr>
              <p:cNvPr id="5784" name="Google Shape;5784;p55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785" name="Google Shape;5785;p55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786" name="Google Shape;5786;p5581"/>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87" name="Google Shape;5787;p5581"/>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788" name="Google Shape;5788;p558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789" name="Google Shape;5789;p55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790" name="Google Shape;5790;p558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12122278"/>
      </p:ext>
    </p:extLst>
  </p:cSld>
  <p:clrMapOvr>
    <a:masterClrMapping/>
  </p:clrMapOvr>
</p:sldLayout>
</file>

<file path=ppt/slideLayouts/slideLayout1753.xml><?xml version="1.0" encoding="utf-8"?>
<p:sldLayout xmlns:a="http://schemas.openxmlformats.org/drawingml/2006/main" xmlns:r="http://schemas.openxmlformats.org/officeDocument/2006/relationships" xmlns:p="http://schemas.openxmlformats.org/presentationml/2006/main" matchingName="21_Two Content">
  <p:cSld name="21_Two Content">
    <p:spTree>
      <p:nvGrpSpPr>
        <p:cNvPr id="1" name="Shape 5791"/>
        <p:cNvGrpSpPr/>
        <p:nvPr/>
      </p:nvGrpSpPr>
      <p:grpSpPr>
        <a:xfrm>
          <a:off x="0" y="0"/>
          <a:ext cx="0" cy="0"/>
          <a:chOff x="0" y="0"/>
          <a:chExt cx="0" cy="0"/>
        </a:xfrm>
      </p:grpSpPr>
      <p:sp>
        <p:nvSpPr>
          <p:cNvPr id="5792" name="Google Shape;5792;p5582"/>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93" name="Google Shape;5793;p5582"/>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5794" name="Google Shape;5794;p5582"/>
          <p:cNvGrpSpPr/>
          <p:nvPr/>
        </p:nvGrpSpPr>
        <p:grpSpPr>
          <a:xfrm>
            <a:off x="7191543" y="1"/>
            <a:ext cx="5000459" cy="1425992"/>
            <a:chOff x="7191542" y="1"/>
            <a:chExt cx="5000459" cy="1425992"/>
          </a:xfrm>
        </p:grpSpPr>
        <p:pic>
          <p:nvPicPr>
            <p:cNvPr id="5795" name="Google Shape;5795;p55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96" name="Google Shape;5796;p5582"/>
            <p:cNvGrpSpPr/>
            <p:nvPr/>
          </p:nvGrpSpPr>
          <p:grpSpPr>
            <a:xfrm>
              <a:off x="7191542" y="1"/>
              <a:ext cx="5000459" cy="1425992"/>
              <a:chOff x="7186272" y="0"/>
              <a:chExt cx="5005729" cy="1427495"/>
            </a:xfrm>
          </p:grpSpPr>
          <p:sp>
            <p:nvSpPr>
              <p:cNvPr id="5797" name="Google Shape;5797;p55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798" name="Google Shape;5798;p55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799" name="Google Shape;5799;p5582"/>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800" name="Google Shape;5800;p5582"/>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801" name="Google Shape;5801;p55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02" name="Google Shape;5802;p558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892278416"/>
      </p:ext>
    </p:extLst>
  </p:cSld>
  <p:clrMapOvr>
    <a:masterClrMapping/>
  </p:clrMapOvr>
</p:sldLayout>
</file>

<file path=ppt/slideLayouts/slideLayout1754.xml><?xml version="1.0" encoding="utf-8"?>
<p:sldLayout xmlns:a="http://schemas.openxmlformats.org/drawingml/2006/main" xmlns:r="http://schemas.openxmlformats.org/officeDocument/2006/relationships" xmlns:p="http://schemas.openxmlformats.org/presentationml/2006/main" matchingName="21_Comparison">
  <p:cSld name="21_Comparison">
    <p:spTree>
      <p:nvGrpSpPr>
        <p:cNvPr id="1" name="Shape 5803"/>
        <p:cNvGrpSpPr/>
        <p:nvPr/>
      </p:nvGrpSpPr>
      <p:grpSpPr>
        <a:xfrm>
          <a:off x="0" y="0"/>
          <a:ext cx="0" cy="0"/>
          <a:chOff x="0" y="0"/>
          <a:chExt cx="0" cy="0"/>
        </a:xfrm>
      </p:grpSpPr>
      <p:grpSp>
        <p:nvGrpSpPr>
          <p:cNvPr id="5804" name="Google Shape;5804;p5583"/>
          <p:cNvGrpSpPr/>
          <p:nvPr/>
        </p:nvGrpSpPr>
        <p:grpSpPr>
          <a:xfrm>
            <a:off x="7191543" y="1"/>
            <a:ext cx="5000459" cy="1425992"/>
            <a:chOff x="7191542" y="1"/>
            <a:chExt cx="5000459" cy="1425992"/>
          </a:xfrm>
        </p:grpSpPr>
        <p:pic>
          <p:nvPicPr>
            <p:cNvPr id="5805" name="Google Shape;5805;p55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06" name="Google Shape;5806;p5583"/>
            <p:cNvGrpSpPr/>
            <p:nvPr/>
          </p:nvGrpSpPr>
          <p:grpSpPr>
            <a:xfrm>
              <a:off x="7191542" y="1"/>
              <a:ext cx="5000459" cy="1425992"/>
              <a:chOff x="7186272" y="0"/>
              <a:chExt cx="5005729" cy="1427495"/>
            </a:xfrm>
          </p:grpSpPr>
          <p:sp>
            <p:nvSpPr>
              <p:cNvPr id="5807" name="Google Shape;5807;p55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808" name="Google Shape;5808;p55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809" name="Google Shape;5809;p5583"/>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10" name="Google Shape;5810;p5583"/>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5811" name="Google Shape;5811;p5583"/>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812" name="Google Shape;5812;p558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5813" name="Google Shape;5813;p558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814" name="Google Shape;5814;p558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815" name="Google Shape;5815;p55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16" name="Google Shape;5816;p558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451672528"/>
      </p:ext>
    </p:extLst>
  </p:cSld>
  <p:clrMapOvr>
    <a:masterClrMapping/>
  </p:clrMapOvr>
</p:sldLayout>
</file>

<file path=ppt/slideLayouts/slideLayout1755.xml><?xml version="1.0" encoding="utf-8"?>
<p:sldLayout xmlns:a="http://schemas.openxmlformats.org/drawingml/2006/main" xmlns:r="http://schemas.openxmlformats.org/officeDocument/2006/relationships" xmlns:p="http://schemas.openxmlformats.org/presentationml/2006/main" matchingName="21_Title Only">
  <p:cSld name="21_Title Only">
    <p:spTree>
      <p:nvGrpSpPr>
        <p:cNvPr id="1" name="Shape 5817"/>
        <p:cNvGrpSpPr/>
        <p:nvPr/>
      </p:nvGrpSpPr>
      <p:grpSpPr>
        <a:xfrm>
          <a:off x="0" y="0"/>
          <a:ext cx="0" cy="0"/>
          <a:chOff x="0" y="0"/>
          <a:chExt cx="0" cy="0"/>
        </a:xfrm>
      </p:grpSpPr>
      <p:grpSp>
        <p:nvGrpSpPr>
          <p:cNvPr id="5818" name="Google Shape;5818;p5584"/>
          <p:cNvGrpSpPr/>
          <p:nvPr/>
        </p:nvGrpSpPr>
        <p:grpSpPr>
          <a:xfrm>
            <a:off x="7191543" y="1"/>
            <a:ext cx="5000459" cy="1425992"/>
            <a:chOff x="7191542" y="1"/>
            <a:chExt cx="5000459" cy="1425992"/>
          </a:xfrm>
        </p:grpSpPr>
        <p:pic>
          <p:nvPicPr>
            <p:cNvPr id="5819" name="Google Shape;5819;p55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20" name="Google Shape;5820;p5584"/>
            <p:cNvGrpSpPr/>
            <p:nvPr/>
          </p:nvGrpSpPr>
          <p:grpSpPr>
            <a:xfrm>
              <a:off x="7191542" y="1"/>
              <a:ext cx="5000459" cy="1425992"/>
              <a:chOff x="7186272" y="0"/>
              <a:chExt cx="5005729" cy="1427495"/>
            </a:xfrm>
          </p:grpSpPr>
          <p:sp>
            <p:nvSpPr>
              <p:cNvPr id="5821" name="Google Shape;5821;p55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822" name="Google Shape;5822;p55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823" name="Google Shape;5823;p558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24" name="Google Shape;5824;p558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825" name="Google Shape;5825;p55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26" name="Google Shape;5826;p558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84616426"/>
      </p:ext>
    </p:extLst>
  </p:cSld>
  <p:clrMapOvr>
    <a:masterClrMapping/>
  </p:clrMapOvr>
</p:sldLayout>
</file>

<file path=ppt/slideLayouts/slideLayout1756.xml><?xml version="1.0" encoding="utf-8"?>
<p:sldLayout xmlns:a="http://schemas.openxmlformats.org/drawingml/2006/main" xmlns:r="http://schemas.openxmlformats.org/officeDocument/2006/relationships" xmlns:p="http://schemas.openxmlformats.org/presentationml/2006/main" matchingName="21_End">
  <p:cSld name="21_End">
    <p:spTree>
      <p:nvGrpSpPr>
        <p:cNvPr id="1" name="Shape 5827"/>
        <p:cNvGrpSpPr/>
        <p:nvPr/>
      </p:nvGrpSpPr>
      <p:grpSpPr>
        <a:xfrm>
          <a:off x="0" y="0"/>
          <a:ext cx="0" cy="0"/>
          <a:chOff x="0" y="0"/>
          <a:chExt cx="0" cy="0"/>
        </a:xfrm>
      </p:grpSpPr>
      <p:grpSp>
        <p:nvGrpSpPr>
          <p:cNvPr id="5828" name="Google Shape;5828;p5585"/>
          <p:cNvGrpSpPr/>
          <p:nvPr/>
        </p:nvGrpSpPr>
        <p:grpSpPr>
          <a:xfrm>
            <a:off x="0" y="0"/>
            <a:ext cx="12192000" cy="2148830"/>
            <a:chOff x="0" y="0"/>
            <a:chExt cx="12192000" cy="2148830"/>
          </a:xfrm>
        </p:grpSpPr>
        <p:sp>
          <p:nvSpPr>
            <p:cNvPr id="5829" name="Google Shape;5829;p558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830" name="Google Shape;5830;p558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5831" name="Google Shape;5831;p5585"/>
          <p:cNvSpPr/>
          <p:nvPr/>
        </p:nvSpPr>
        <p:spPr>
          <a:xfrm>
            <a:off x="902368" y="1517698"/>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832" name="Google Shape;5832;p5585"/>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833" name="Google Shape;5833;p558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9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834" name="Google Shape;5834;p5585"/>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5835" name="Google Shape;5835;p558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224574595"/>
      </p:ext>
    </p:extLst>
  </p:cSld>
  <p:clrMapOvr>
    <a:masterClrMapping/>
  </p:clrMapOvr>
</p:sldLayout>
</file>

<file path=ppt/slideLayouts/slideLayout1757.xml><?xml version="1.0" encoding="utf-8"?>
<p:sldLayout xmlns:a="http://schemas.openxmlformats.org/drawingml/2006/main" xmlns:r="http://schemas.openxmlformats.org/officeDocument/2006/relationships" xmlns:p="http://schemas.openxmlformats.org/presentationml/2006/main" matchingName="21_Blank">
  <p:cSld name="21_Blank">
    <p:spTree>
      <p:nvGrpSpPr>
        <p:cNvPr id="1" name="Shape 5836"/>
        <p:cNvGrpSpPr/>
        <p:nvPr/>
      </p:nvGrpSpPr>
      <p:grpSpPr>
        <a:xfrm>
          <a:off x="0" y="0"/>
          <a:ext cx="0" cy="0"/>
          <a:chOff x="0" y="0"/>
          <a:chExt cx="0" cy="0"/>
        </a:xfrm>
      </p:grpSpPr>
      <p:sp>
        <p:nvSpPr>
          <p:cNvPr id="5837" name="Google Shape;5837;p558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838" name="Google Shape;5838;p55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39" name="Google Shape;5839;p558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840" name="Google Shape;5840;p5586"/>
          <p:cNvGrpSpPr/>
          <p:nvPr/>
        </p:nvGrpSpPr>
        <p:grpSpPr>
          <a:xfrm>
            <a:off x="7191543" y="1"/>
            <a:ext cx="5000459" cy="1425992"/>
            <a:chOff x="7191542" y="1"/>
            <a:chExt cx="5000459" cy="1425992"/>
          </a:xfrm>
        </p:grpSpPr>
        <p:pic>
          <p:nvPicPr>
            <p:cNvPr id="5841" name="Google Shape;5841;p55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42" name="Google Shape;5842;p5586"/>
            <p:cNvGrpSpPr/>
            <p:nvPr/>
          </p:nvGrpSpPr>
          <p:grpSpPr>
            <a:xfrm>
              <a:off x="7191542" y="1"/>
              <a:ext cx="5000459" cy="1425992"/>
              <a:chOff x="7186272" y="0"/>
              <a:chExt cx="5005729" cy="1427495"/>
            </a:xfrm>
          </p:grpSpPr>
          <p:sp>
            <p:nvSpPr>
              <p:cNvPr id="5843" name="Google Shape;5843;p55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844" name="Google Shape;5844;p55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extLst>
      <p:ext uri="{BB962C8B-B14F-4D97-AF65-F5344CB8AC3E}">
        <p14:creationId xmlns:p14="http://schemas.microsoft.com/office/powerpoint/2010/main" val="1875860752"/>
      </p:ext>
    </p:extLst>
  </p:cSld>
  <p:clrMapOvr>
    <a:masterClrMapping/>
  </p:clrMapOvr>
</p:sldLayout>
</file>

<file path=ppt/slideLayouts/slideLayout1758.xml><?xml version="1.0" encoding="utf-8"?>
<p:sldLayout xmlns:a="http://schemas.openxmlformats.org/drawingml/2006/main" xmlns:r="http://schemas.openxmlformats.org/officeDocument/2006/relationships" xmlns:p="http://schemas.openxmlformats.org/presentationml/2006/main" matchingName="22_Cover">
  <p:cSld name="22_Cover">
    <p:spTree>
      <p:nvGrpSpPr>
        <p:cNvPr id="1" name="Shape 5845"/>
        <p:cNvGrpSpPr/>
        <p:nvPr/>
      </p:nvGrpSpPr>
      <p:grpSpPr>
        <a:xfrm>
          <a:off x="0" y="0"/>
          <a:ext cx="0" cy="0"/>
          <a:chOff x="0" y="0"/>
          <a:chExt cx="0" cy="0"/>
        </a:xfrm>
      </p:grpSpPr>
      <p:sp>
        <p:nvSpPr>
          <p:cNvPr id="5846" name="Google Shape;5846;p5587"/>
          <p:cNvSpPr/>
          <p:nvPr/>
        </p:nvSpPr>
        <p:spPr>
          <a:xfrm>
            <a:off x="902368" y="1294414"/>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847" name="Google Shape;5847;p5587"/>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48" name="Google Shape;5848;p5587"/>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
        <p:nvSpPr>
          <p:cNvPr id="5849" name="Google Shape;5849;p5587"/>
          <p:cNvSpPr>
            <a:spLocks noGrp="1"/>
          </p:cNvSpPr>
          <p:nvPr>
            <p:ph type="pic" idx="2"/>
          </p:nvPr>
        </p:nvSpPr>
        <p:spPr>
          <a:xfrm>
            <a:off x="7118684" y="233915"/>
            <a:ext cx="5073316" cy="5943600"/>
          </a:xfrm>
          <a:prstGeom prst="rect">
            <a:avLst/>
          </a:prstGeom>
          <a:noFill/>
          <a:ln>
            <a:noFill/>
          </a:ln>
        </p:spPr>
      </p:sp>
      <p:grpSp>
        <p:nvGrpSpPr>
          <p:cNvPr id="5850" name="Google Shape;5850;p5587"/>
          <p:cNvGrpSpPr/>
          <p:nvPr/>
        </p:nvGrpSpPr>
        <p:grpSpPr>
          <a:xfrm>
            <a:off x="0" y="5020349"/>
            <a:ext cx="12192000" cy="1837653"/>
            <a:chOff x="0" y="5020348"/>
            <a:chExt cx="12192000" cy="1837653"/>
          </a:xfrm>
        </p:grpSpPr>
        <p:sp>
          <p:nvSpPr>
            <p:cNvPr id="5851" name="Google Shape;5851;p558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852" name="Google Shape;5852;p558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5853" name="Google Shape;5853;p558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281255504"/>
      </p:ext>
    </p:extLst>
  </p:cSld>
  <p:clrMapOvr>
    <a:masterClrMapping/>
  </p:clrMapOvr>
</p:sldLayout>
</file>

<file path=ppt/slideLayouts/slideLayout1759.xml><?xml version="1.0" encoding="utf-8"?>
<p:sldLayout xmlns:a="http://schemas.openxmlformats.org/drawingml/2006/main" xmlns:r="http://schemas.openxmlformats.org/officeDocument/2006/relationships" xmlns:p="http://schemas.openxmlformats.org/presentationml/2006/main" matchingName="22_Divider">
  <p:cSld name="22_Divider">
    <p:bg>
      <p:bgPr>
        <a:solidFill>
          <a:schemeClr val="lt2"/>
        </a:solidFill>
        <a:effectLst/>
      </p:bgPr>
    </p:bg>
    <p:spTree>
      <p:nvGrpSpPr>
        <p:cNvPr id="1" name="Shape 5854"/>
        <p:cNvGrpSpPr/>
        <p:nvPr/>
      </p:nvGrpSpPr>
      <p:grpSpPr>
        <a:xfrm>
          <a:off x="0" y="0"/>
          <a:ext cx="0" cy="0"/>
          <a:chOff x="0" y="0"/>
          <a:chExt cx="0" cy="0"/>
        </a:xfrm>
      </p:grpSpPr>
      <p:grpSp>
        <p:nvGrpSpPr>
          <p:cNvPr id="5855" name="Google Shape;5855;p5588"/>
          <p:cNvGrpSpPr/>
          <p:nvPr/>
        </p:nvGrpSpPr>
        <p:grpSpPr>
          <a:xfrm>
            <a:off x="0" y="5020348"/>
            <a:ext cx="12192000" cy="1837653"/>
            <a:chOff x="0" y="5020347"/>
            <a:chExt cx="12192000" cy="1837653"/>
          </a:xfrm>
        </p:grpSpPr>
        <p:sp>
          <p:nvSpPr>
            <p:cNvPr id="5856" name="Google Shape;5856;p558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857" name="Google Shape;5857;p558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858" name="Google Shape;5858;p558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5859" name="Google Shape;5859;p558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860" name="Google Shape;5860;p5588"/>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61" name="Google Shape;5861;p5588"/>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Tree>
    <p:extLst>
      <p:ext uri="{BB962C8B-B14F-4D97-AF65-F5344CB8AC3E}">
        <p14:creationId xmlns:p14="http://schemas.microsoft.com/office/powerpoint/2010/main" val="389125537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10780"/>
        <p:cNvGrpSpPr/>
        <p:nvPr/>
      </p:nvGrpSpPr>
      <p:grpSpPr>
        <a:xfrm>
          <a:off x="0" y="0"/>
          <a:ext cx="0" cy="0"/>
          <a:chOff x="0" y="0"/>
          <a:chExt cx="0" cy="0"/>
        </a:xfrm>
      </p:grpSpPr>
      <p:sp>
        <p:nvSpPr>
          <p:cNvPr id="10781" name="Google Shape;10781;p148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0782" name="Google Shape;10782;p148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0783" name="Google Shape;10783;p148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784" name="Google Shape;10784;p1480"/>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785" name="Google Shape;10785;p1480"/>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760.xml><?xml version="1.0" encoding="utf-8"?>
<p:sldLayout xmlns:a="http://schemas.openxmlformats.org/drawingml/2006/main" xmlns:r="http://schemas.openxmlformats.org/officeDocument/2006/relationships" xmlns:p="http://schemas.openxmlformats.org/presentationml/2006/main" matchingName="52_Quotation">
  <p:cSld name="52_Quotation">
    <p:spTree>
      <p:nvGrpSpPr>
        <p:cNvPr id="1" name="Shape 5862"/>
        <p:cNvGrpSpPr/>
        <p:nvPr/>
      </p:nvGrpSpPr>
      <p:grpSpPr>
        <a:xfrm>
          <a:off x="0" y="0"/>
          <a:ext cx="0" cy="0"/>
          <a:chOff x="0" y="0"/>
          <a:chExt cx="0" cy="0"/>
        </a:xfrm>
      </p:grpSpPr>
      <p:sp>
        <p:nvSpPr>
          <p:cNvPr id="5863" name="Google Shape;5863;p5589"/>
          <p:cNvSpPr/>
          <p:nvPr/>
        </p:nvSpPr>
        <p:spPr>
          <a:xfrm>
            <a:off x="1427357"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864" name="Google Shape;5864;p558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65" name="Google Shape;5865;p55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866" name="Google Shape;5866;p558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867" name="Google Shape;5867;p55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68" name="Google Shape;5868;p558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869" name="Google Shape;5869;p5589"/>
          <p:cNvGrpSpPr/>
          <p:nvPr/>
        </p:nvGrpSpPr>
        <p:grpSpPr>
          <a:xfrm>
            <a:off x="7191543" y="1"/>
            <a:ext cx="5000459" cy="1425992"/>
            <a:chOff x="7191542" y="1"/>
            <a:chExt cx="5000459" cy="1425992"/>
          </a:xfrm>
        </p:grpSpPr>
        <p:pic>
          <p:nvPicPr>
            <p:cNvPr id="5870" name="Google Shape;5870;p55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71" name="Google Shape;5871;p5589"/>
            <p:cNvGrpSpPr/>
            <p:nvPr/>
          </p:nvGrpSpPr>
          <p:grpSpPr>
            <a:xfrm>
              <a:off x="7191542" y="1"/>
              <a:ext cx="5000459" cy="1425992"/>
              <a:chOff x="7186272" y="0"/>
              <a:chExt cx="5005729" cy="1427495"/>
            </a:xfrm>
          </p:grpSpPr>
          <p:sp>
            <p:nvSpPr>
              <p:cNvPr id="5872" name="Google Shape;5872;p55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873" name="Google Shape;5873;p55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874" name="Google Shape;5874;p5589"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3663390527"/>
      </p:ext>
    </p:extLst>
  </p:cSld>
  <p:clrMapOvr>
    <a:masterClrMapping/>
  </p:clrMapOvr>
</p:sldLayout>
</file>

<file path=ppt/slideLayouts/slideLayout1761.xml><?xml version="1.0" encoding="utf-8"?>
<p:sldLayout xmlns:a="http://schemas.openxmlformats.org/drawingml/2006/main" xmlns:r="http://schemas.openxmlformats.org/officeDocument/2006/relationships" xmlns:p="http://schemas.openxmlformats.org/presentationml/2006/main" matchingName="31_Title and Content">
  <p:cSld name="31_Title and Content">
    <p:spTree>
      <p:nvGrpSpPr>
        <p:cNvPr id="1" name="Shape 5875"/>
        <p:cNvGrpSpPr/>
        <p:nvPr/>
      </p:nvGrpSpPr>
      <p:grpSpPr>
        <a:xfrm>
          <a:off x="0" y="0"/>
          <a:ext cx="0" cy="0"/>
          <a:chOff x="0" y="0"/>
          <a:chExt cx="0" cy="0"/>
        </a:xfrm>
      </p:grpSpPr>
      <p:grpSp>
        <p:nvGrpSpPr>
          <p:cNvPr id="5876" name="Google Shape;5876;p5590"/>
          <p:cNvGrpSpPr/>
          <p:nvPr/>
        </p:nvGrpSpPr>
        <p:grpSpPr>
          <a:xfrm>
            <a:off x="7191543" y="1"/>
            <a:ext cx="5000459" cy="1425992"/>
            <a:chOff x="7191542" y="1"/>
            <a:chExt cx="5000459" cy="1425992"/>
          </a:xfrm>
        </p:grpSpPr>
        <p:pic>
          <p:nvPicPr>
            <p:cNvPr id="5877" name="Google Shape;5877;p55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78" name="Google Shape;5878;p5590"/>
            <p:cNvGrpSpPr/>
            <p:nvPr/>
          </p:nvGrpSpPr>
          <p:grpSpPr>
            <a:xfrm>
              <a:off x="7191542" y="1"/>
              <a:ext cx="5000459" cy="1425992"/>
              <a:chOff x="7186272" y="0"/>
              <a:chExt cx="5005729" cy="1427495"/>
            </a:xfrm>
          </p:grpSpPr>
          <p:sp>
            <p:nvSpPr>
              <p:cNvPr id="5879" name="Google Shape;5879;p55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880" name="Google Shape;5880;p55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881" name="Google Shape;5881;p559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82" name="Google Shape;5882;p5590"/>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883" name="Google Shape;5883;p559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884" name="Google Shape;5884;p55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85" name="Google Shape;5885;p559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220966859"/>
      </p:ext>
    </p:extLst>
  </p:cSld>
  <p:clrMapOvr>
    <a:masterClrMapping/>
  </p:clrMapOvr>
</p:sldLayout>
</file>

<file path=ppt/slideLayouts/slideLayout1762.xml><?xml version="1.0" encoding="utf-8"?>
<p:sldLayout xmlns:a="http://schemas.openxmlformats.org/drawingml/2006/main" xmlns:r="http://schemas.openxmlformats.org/officeDocument/2006/relationships" xmlns:p="http://schemas.openxmlformats.org/presentationml/2006/main" matchingName="22_Two Content">
  <p:cSld name="22_Two Content">
    <p:spTree>
      <p:nvGrpSpPr>
        <p:cNvPr id="1" name="Shape 5886"/>
        <p:cNvGrpSpPr/>
        <p:nvPr/>
      </p:nvGrpSpPr>
      <p:grpSpPr>
        <a:xfrm>
          <a:off x="0" y="0"/>
          <a:ext cx="0" cy="0"/>
          <a:chOff x="0" y="0"/>
          <a:chExt cx="0" cy="0"/>
        </a:xfrm>
      </p:grpSpPr>
      <p:sp>
        <p:nvSpPr>
          <p:cNvPr id="5887" name="Google Shape;5887;p5591"/>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88" name="Google Shape;5888;p5591"/>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5889" name="Google Shape;5889;p5591"/>
          <p:cNvGrpSpPr/>
          <p:nvPr/>
        </p:nvGrpSpPr>
        <p:grpSpPr>
          <a:xfrm>
            <a:off x="7191543" y="1"/>
            <a:ext cx="5000459" cy="1425992"/>
            <a:chOff x="7191542" y="1"/>
            <a:chExt cx="5000459" cy="1425992"/>
          </a:xfrm>
        </p:grpSpPr>
        <p:pic>
          <p:nvPicPr>
            <p:cNvPr id="5890" name="Google Shape;5890;p55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91" name="Google Shape;5891;p5591"/>
            <p:cNvGrpSpPr/>
            <p:nvPr/>
          </p:nvGrpSpPr>
          <p:grpSpPr>
            <a:xfrm>
              <a:off x="7191542" y="1"/>
              <a:ext cx="5000459" cy="1425992"/>
              <a:chOff x="7186272" y="0"/>
              <a:chExt cx="5005729" cy="1427495"/>
            </a:xfrm>
          </p:grpSpPr>
          <p:sp>
            <p:nvSpPr>
              <p:cNvPr id="5892" name="Google Shape;5892;p55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893" name="Google Shape;5893;p55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894" name="Google Shape;5894;p5591"/>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895" name="Google Shape;5895;p5591"/>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896" name="Google Shape;5896;p55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97" name="Google Shape;5897;p559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833653156"/>
      </p:ext>
    </p:extLst>
  </p:cSld>
  <p:clrMapOvr>
    <a:masterClrMapping/>
  </p:clrMapOvr>
</p:sldLayout>
</file>

<file path=ppt/slideLayouts/slideLayout1763.xml><?xml version="1.0" encoding="utf-8"?>
<p:sldLayout xmlns:a="http://schemas.openxmlformats.org/drawingml/2006/main" xmlns:r="http://schemas.openxmlformats.org/officeDocument/2006/relationships" xmlns:p="http://schemas.openxmlformats.org/presentationml/2006/main" matchingName="22_Comparison">
  <p:cSld name="22_Comparison">
    <p:spTree>
      <p:nvGrpSpPr>
        <p:cNvPr id="1" name="Shape 5898"/>
        <p:cNvGrpSpPr/>
        <p:nvPr/>
      </p:nvGrpSpPr>
      <p:grpSpPr>
        <a:xfrm>
          <a:off x="0" y="0"/>
          <a:ext cx="0" cy="0"/>
          <a:chOff x="0" y="0"/>
          <a:chExt cx="0" cy="0"/>
        </a:xfrm>
      </p:grpSpPr>
      <p:grpSp>
        <p:nvGrpSpPr>
          <p:cNvPr id="5899" name="Google Shape;5899;p5592"/>
          <p:cNvGrpSpPr/>
          <p:nvPr/>
        </p:nvGrpSpPr>
        <p:grpSpPr>
          <a:xfrm>
            <a:off x="7191543" y="1"/>
            <a:ext cx="5000459" cy="1425992"/>
            <a:chOff x="7191542" y="1"/>
            <a:chExt cx="5000459" cy="1425992"/>
          </a:xfrm>
        </p:grpSpPr>
        <p:pic>
          <p:nvPicPr>
            <p:cNvPr id="5900" name="Google Shape;5900;p55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01" name="Google Shape;5901;p5592"/>
            <p:cNvGrpSpPr/>
            <p:nvPr/>
          </p:nvGrpSpPr>
          <p:grpSpPr>
            <a:xfrm>
              <a:off x="7191542" y="1"/>
              <a:ext cx="5000459" cy="1425992"/>
              <a:chOff x="7186272" y="0"/>
              <a:chExt cx="5005729" cy="1427495"/>
            </a:xfrm>
          </p:grpSpPr>
          <p:sp>
            <p:nvSpPr>
              <p:cNvPr id="5902" name="Google Shape;5902;p55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903" name="Google Shape;5903;p55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904" name="Google Shape;5904;p5592"/>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05" name="Google Shape;5905;p5592"/>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5906" name="Google Shape;5906;p5592"/>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907" name="Google Shape;5907;p559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5908" name="Google Shape;5908;p559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909" name="Google Shape;5909;p559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910" name="Google Shape;5910;p55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11" name="Google Shape;5911;p559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130652935"/>
      </p:ext>
    </p:extLst>
  </p:cSld>
  <p:clrMapOvr>
    <a:masterClrMapping/>
  </p:clrMapOvr>
</p:sldLayout>
</file>

<file path=ppt/slideLayouts/slideLayout1764.xml><?xml version="1.0" encoding="utf-8"?>
<p:sldLayout xmlns:a="http://schemas.openxmlformats.org/drawingml/2006/main" xmlns:r="http://schemas.openxmlformats.org/officeDocument/2006/relationships" xmlns:p="http://schemas.openxmlformats.org/presentationml/2006/main" matchingName="22_Photo Slide">
  <p:cSld name="22_Photo Slide">
    <p:spTree>
      <p:nvGrpSpPr>
        <p:cNvPr id="1" name="Shape 5912"/>
        <p:cNvGrpSpPr/>
        <p:nvPr/>
      </p:nvGrpSpPr>
      <p:grpSpPr>
        <a:xfrm>
          <a:off x="0" y="0"/>
          <a:ext cx="0" cy="0"/>
          <a:chOff x="0" y="0"/>
          <a:chExt cx="0" cy="0"/>
        </a:xfrm>
      </p:grpSpPr>
      <p:sp>
        <p:nvSpPr>
          <p:cNvPr id="5913" name="Google Shape;5913;p5593"/>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5914" name="Google Shape;5914;p559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915" name="Google Shape;5915;p5593"/>
          <p:cNvGrpSpPr/>
          <p:nvPr/>
        </p:nvGrpSpPr>
        <p:grpSpPr>
          <a:xfrm>
            <a:off x="0" y="5379427"/>
            <a:ext cx="2807368" cy="753891"/>
            <a:chOff x="0" y="5379426"/>
            <a:chExt cx="2807368" cy="753891"/>
          </a:xfrm>
        </p:grpSpPr>
        <p:sp>
          <p:nvSpPr>
            <p:cNvPr id="5916" name="Google Shape;5916;p559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917" name="Google Shape;5917;p559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5918" name="Google Shape;5918;p5593"/>
          <p:cNvSpPr>
            <a:spLocks noGrp="1"/>
          </p:cNvSpPr>
          <p:nvPr>
            <p:ph type="pic" idx="2"/>
          </p:nvPr>
        </p:nvSpPr>
        <p:spPr>
          <a:xfrm>
            <a:off x="2807368" y="457202"/>
            <a:ext cx="8915400" cy="5943598"/>
          </a:xfrm>
          <a:prstGeom prst="rect">
            <a:avLst/>
          </a:prstGeom>
          <a:noFill/>
          <a:ln>
            <a:noFill/>
          </a:ln>
        </p:spPr>
      </p:sp>
      <p:pic>
        <p:nvPicPr>
          <p:cNvPr id="5919" name="Google Shape;5919;p5593"/>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3387669291"/>
      </p:ext>
    </p:extLst>
  </p:cSld>
  <p:clrMapOvr>
    <a:masterClrMapping/>
  </p:clrMapOvr>
</p:sldLayout>
</file>

<file path=ppt/slideLayouts/slideLayout1765.xml><?xml version="1.0" encoding="utf-8"?>
<p:sldLayout xmlns:a="http://schemas.openxmlformats.org/drawingml/2006/main" xmlns:r="http://schemas.openxmlformats.org/officeDocument/2006/relationships" xmlns:p="http://schemas.openxmlformats.org/presentationml/2006/main" matchingName="22_End">
  <p:cSld name="22_End">
    <p:spTree>
      <p:nvGrpSpPr>
        <p:cNvPr id="1" name="Shape 5920"/>
        <p:cNvGrpSpPr/>
        <p:nvPr/>
      </p:nvGrpSpPr>
      <p:grpSpPr>
        <a:xfrm>
          <a:off x="0" y="0"/>
          <a:ext cx="0" cy="0"/>
          <a:chOff x="0" y="0"/>
          <a:chExt cx="0" cy="0"/>
        </a:xfrm>
      </p:grpSpPr>
      <p:grpSp>
        <p:nvGrpSpPr>
          <p:cNvPr id="5921" name="Google Shape;5921;p5594"/>
          <p:cNvGrpSpPr/>
          <p:nvPr/>
        </p:nvGrpSpPr>
        <p:grpSpPr>
          <a:xfrm>
            <a:off x="0" y="0"/>
            <a:ext cx="12192000" cy="2148830"/>
            <a:chOff x="0" y="0"/>
            <a:chExt cx="12192000" cy="2148830"/>
          </a:xfrm>
        </p:grpSpPr>
        <p:sp>
          <p:nvSpPr>
            <p:cNvPr id="5922" name="Google Shape;5922;p559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923" name="Google Shape;5923;p559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5924" name="Google Shape;5924;p5594"/>
          <p:cNvSpPr/>
          <p:nvPr/>
        </p:nvSpPr>
        <p:spPr>
          <a:xfrm>
            <a:off x="902368" y="1517698"/>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925" name="Google Shape;5925;p5594"/>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926" name="Google Shape;5926;p559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9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927" name="Google Shape;5927;p5594"/>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5928" name="Google Shape;5928;p5594"/>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161837134"/>
      </p:ext>
    </p:extLst>
  </p:cSld>
  <p:clrMapOvr>
    <a:masterClrMapping/>
  </p:clrMapOvr>
</p:sldLayout>
</file>

<file path=ppt/slideLayouts/slideLayout1766.xml><?xml version="1.0" encoding="utf-8"?>
<p:sldLayout xmlns:a="http://schemas.openxmlformats.org/drawingml/2006/main" xmlns:r="http://schemas.openxmlformats.org/officeDocument/2006/relationships" xmlns:p="http://schemas.openxmlformats.org/presentationml/2006/main" matchingName="22_Blank">
  <p:cSld name="22_Blank">
    <p:spTree>
      <p:nvGrpSpPr>
        <p:cNvPr id="1" name="Shape 5929"/>
        <p:cNvGrpSpPr/>
        <p:nvPr/>
      </p:nvGrpSpPr>
      <p:grpSpPr>
        <a:xfrm>
          <a:off x="0" y="0"/>
          <a:ext cx="0" cy="0"/>
          <a:chOff x="0" y="0"/>
          <a:chExt cx="0" cy="0"/>
        </a:xfrm>
      </p:grpSpPr>
      <p:sp>
        <p:nvSpPr>
          <p:cNvPr id="5930" name="Google Shape;5930;p559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931" name="Google Shape;5931;p55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32" name="Google Shape;5932;p559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933" name="Google Shape;5933;p5595"/>
          <p:cNvGrpSpPr/>
          <p:nvPr/>
        </p:nvGrpSpPr>
        <p:grpSpPr>
          <a:xfrm>
            <a:off x="7191543" y="1"/>
            <a:ext cx="5000459" cy="1425992"/>
            <a:chOff x="7191542" y="1"/>
            <a:chExt cx="5000459" cy="1425992"/>
          </a:xfrm>
        </p:grpSpPr>
        <p:pic>
          <p:nvPicPr>
            <p:cNvPr id="5934" name="Google Shape;5934;p55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35" name="Google Shape;5935;p5595"/>
            <p:cNvGrpSpPr/>
            <p:nvPr/>
          </p:nvGrpSpPr>
          <p:grpSpPr>
            <a:xfrm>
              <a:off x="7191542" y="1"/>
              <a:ext cx="5000459" cy="1425992"/>
              <a:chOff x="7186272" y="0"/>
              <a:chExt cx="5005729" cy="1427495"/>
            </a:xfrm>
          </p:grpSpPr>
          <p:sp>
            <p:nvSpPr>
              <p:cNvPr id="5936" name="Google Shape;5936;p55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937" name="Google Shape;5937;p55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extLst>
      <p:ext uri="{BB962C8B-B14F-4D97-AF65-F5344CB8AC3E}">
        <p14:creationId xmlns:p14="http://schemas.microsoft.com/office/powerpoint/2010/main" val="2247524542"/>
      </p:ext>
    </p:extLst>
  </p:cSld>
  <p:clrMapOvr>
    <a:masterClrMapping/>
  </p:clrMapOvr>
</p:sldLayout>
</file>

<file path=ppt/slideLayouts/slideLayout1767.xml><?xml version="1.0" encoding="utf-8"?>
<p:sldLayout xmlns:a="http://schemas.openxmlformats.org/drawingml/2006/main" xmlns:r="http://schemas.openxmlformats.org/officeDocument/2006/relationships" xmlns:p="http://schemas.openxmlformats.org/presentationml/2006/main" matchingName="22_Title Only">
  <p:cSld name="22_Title Only">
    <p:spTree>
      <p:nvGrpSpPr>
        <p:cNvPr id="1" name="Shape 5938"/>
        <p:cNvGrpSpPr/>
        <p:nvPr/>
      </p:nvGrpSpPr>
      <p:grpSpPr>
        <a:xfrm>
          <a:off x="0" y="0"/>
          <a:ext cx="0" cy="0"/>
          <a:chOff x="0" y="0"/>
          <a:chExt cx="0" cy="0"/>
        </a:xfrm>
      </p:grpSpPr>
      <p:grpSp>
        <p:nvGrpSpPr>
          <p:cNvPr id="5939" name="Google Shape;5939;p5596"/>
          <p:cNvGrpSpPr/>
          <p:nvPr/>
        </p:nvGrpSpPr>
        <p:grpSpPr>
          <a:xfrm>
            <a:off x="7191543" y="1"/>
            <a:ext cx="5000459" cy="1425992"/>
            <a:chOff x="7191542" y="1"/>
            <a:chExt cx="5000459" cy="1425992"/>
          </a:xfrm>
        </p:grpSpPr>
        <p:pic>
          <p:nvPicPr>
            <p:cNvPr id="5940" name="Google Shape;5940;p55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41" name="Google Shape;5941;p5596"/>
            <p:cNvGrpSpPr/>
            <p:nvPr/>
          </p:nvGrpSpPr>
          <p:grpSpPr>
            <a:xfrm>
              <a:off x="7191542" y="1"/>
              <a:ext cx="5000459" cy="1425992"/>
              <a:chOff x="7186272" y="0"/>
              <a:chExt cx="5005729" cy="1427495"/>
            </a:xfrm>
          </p:grpSpPr>
          <p:sp>
            <p:nvSpPr>
              <p:cNvPr id="5942" name="Google Shape;5942;p55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943" name="Google Shape;5943;p55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5944" name="Google Shape;5944;p559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45" name="Google Shape;5945;p559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946" name="Google Shape;5946;p55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47" name="Google Shape;5947;p559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369298428"/>
      </p:ext>
    </p:extLst>
  </p:cSld>
  <p:clrMapOvr>
    <a:masterClrMapping/>
  </p:clrMapOvr>
</p:sldLayout>
</file>

<file path=ppt/slideLayouts/slideLayout1768.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5948"/>
        <p:cNvGrpSpPr/>
        <p:nvPr/>
      </p:nvGrpSpPr>
      <p:grpSpPr>
        <a:xfrm>
          <a:off x="0" y="0"/>
          <a:ext cx="0" cy="0"/>
          <a:chOff x="0" y="0"/>
          <a:chExt cx="0" cy="0"/>
        </a:xfrm>
      </p:grpSpPr>
      <p:sp>
        <p:nvSpPr>
          <p:cNvPr id="5949" name="Google Shape;5949;p5597"/>
          <p:cNvSpPr/>
          <p:nvPr/>
        </p:nvSpPr>
        <p:spPr>
          <a:xfrm>
            <a:off x="-21166" y="6629400"/>
            <a:ext cx="12213167" cy="228600"/>
          </a:xfrm>
          <a:prstGeom prst="rect">
            <a:avLst/>
          </a:prstGeom>
          <a:solidFill>
            <a:srgbClr val="767676"/>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pic>
        <p:nvPicPr>
          <p:cNvPr id="5950" name="Google Shape;5950;p5597"/>
          <p:cNvPicPr preferRelativeResize="0"/>
          <p:nvPr/>
        </p:nvPicPr>
        <p:blipFill rotWithShape="1">
          <a:blip r:embed="rId2">
            <a:alphaModFix/>
          </a:blip>
          <a:srcRect/>
          <a:stretch/>
        </p:blipFill>
        <p:spPr>
          <a:xfrm>
            <a:off x="7945967" y="408519"/>
            <a:ext cx="3706284" cy="1813983"/>
          </a:xfrm>
          <a:prstGeom prst="rect">
            <a:avLst/>
          </a:prstGeom>
          <a:noFill/>
          <a:ln>
            <a:noFill/>
          </a:ln>
        </p:spPr>
      </p:pic>
      <p:grpSp>
        <p:nvGrpSpPr>
          <p:cNvPr id="5951" name="Google Shape;5951;p5597"/>
          <p:cNvGrpSpPr/>
          <p:nvPr/>
        </p:nvGrpSpPr>
        <p:grpSpPr>
          <a:xfrm>
            <a:off x="1" y="0"/>
            <a:ext cx="1862667" cy="6629400"/>
            <a:chOff x="-15876" y="0"/>
            <a:chExt cx="1927803" cy="6858000"/>
          </a:xfrm>
        </p:grpSpPr>
        <p:sp>
          <p:nvSpPr>
            <p:cNvPr id="5952" name="Google Shape;5952;p5597"/>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pic>
          <p:nvPicPr>
            <p:cNvPr id="5953" name="Google Shape;5953;p5597"/>
            <p:cNvPicPr preferRelativeResize="0"/>
            <p:nvPr/>
          </p:nvPicPr>
          <p:blipFill rotWithShape="1">
            <a:blip r:embed="rId3">
              <a:alphaModFix/>
            </a:blip>
            <a:srcRect l="7219" t="16937" r="72250" b="20589"/>
            <a:stretch/>
          </p:blipFill>
          <p:spPr>
            <a:xfrm>
              <a:off x="-15876" y="0"/>
              <a:ext cx="1927803" cy="6858000"/>
            </a:xfrm>
            <a:prstGeom prst="rect">
              <a:avLst/>
            </a:prstGeom>
            <a:solidFill>
              <a:schemeClr val="dk2"/>
            </a:solidFill>
            <a:ln>
              <a:noFill/>
            </a:ln>
          </p:spPr>
        </p:pic>
      </p:grpSp>
      <p:sp>
        <p:nvSpPr>
          <p:cNvPr id="5954" name="Google Shape;5954;p5597"/>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801"/>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5955" name="Google Shape;5955;p5597"/>
          <p:cNvSpPr txBox="1">
            <a:spLocks noGrp="1"/>
          </p:cNvSpPr>
          <p:nvPr>
            <p:ph type="ctrTitle"/>
          </p:nvPr>
        </p:nvSpPr>
        <p:spPr>
          <a:xfrm>
            <a:off x="1621873" y="1806430"/>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8000"/>
              <a:buFont typeface="Calibri"/>
              <a:buNone/>
              <a:defRPr sz="5334">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56" name="Google Shape;5956;p5597"/>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304815" lvl="0" indent="-270990" algn="l">
              <a:lnSpc>
                <a:spcPct val="100000"/>
              </a:lnSpc>
              <a:spcBef>
                <a:spcPts val="1000"/>
              </a:spcBef>
              <a:spcAft>
                <a:spcPts val="0"/>
              </a:spcAft>
              <a:buSzPts val="2801"/>
              <a:buChar char="•"/>
              <a:defRPr sz="1867"/>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957" name="Google Shape;5957;p5597"/>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304815" lvl="0" indent="-270990" algn="l">
              <a:lnSpc>
                <a:spcPct val="100000"/>
              </a:lnSpc>
              <a:spcBef>
                <a:spcPts val="1000"/>
              </a:spcBef>
              <a:spcAft>
                <a:spcPts val="0"/>
              </a:spcAft>
              <a:buSzPts val="2801"/>
              <a:buChar char="•"/>
              <a:defRPr sz="1867"/>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453808478"/>
      </p:ext>
    </p:extLst>
  </p:cSld>
  <p:clrMapOvr>
    <a:masterClrMapping/>
  </p:clrMapOvr>
</p:sldLayout>
</file>

<file path=ppt/slideLayouts/slideLayout1769.xml><?xml version="1.0" encoding="utf-8"?>
<p:sldLayout xmlns:a="http://schemas.openxmlformats.org/drawingml/2006/main" xmlns:r="http://schemas.openxmlformats.org/officeDocument/2006/relationships" xmlns:p="http://schemas.openxmlformats.org/presentationml/2006/main" showMasterSp="0" matchingName="1_Table of Content">
  <p:cSld name="1_Table of Content">
    <p:spTree>
      <p:nvGrpSpPr>
        <p:cNvPr id="1" name="Shape 5958"/>
        <p:cNvGrpSpPr/>
        <p:nvPr/>
      </p:nvGrpSpPr>
      <p:grpSpPr>
        <a:xfrm>
          <a:off x="0" y="0"/>
          <a:ext cx="0" cy="0"/>
          <a:chOff x="0" y="0"/>
          <a:chExt cx="0" cy="0"/>
        </a:xfrm>
      </p:grpSpPr>
      <p:sp>
        <p:nvSpPr>
          <p:cNvPr id="5959" name="Google Shape;5959;p5598"/>
          <p:cNvSpPr/>
          <p:nvPr/>
        </p:nvSpPr>
        <p:spPr>
          <a:xfrm>
            <a:off x="-10584" y="6620934"/>
            <a:ext cx="12213168" cy="237067"/>
          </a:xfrm>
          <a:prstGeom prst="rect">
            <a:avLst/>
          </a:prstGeom>
          <a:solidFill>
            <a:srgbClr val="767676"/>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5960" name="Google Shape;5960;p5598"/>
          <p:cNvSpPr txBox="1">
            <a:spLocks noGrp="1"/>
          </p:cNvSpPr>
          <p:nvPr>
            <p:ph type="title"/>
          </p:nvPr>
        </p:nvSpPr>
        <p:spPr>
          <a:xfrm>
            <a:off x="218115" y="224841"/>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4400"/>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61" name="Google Shape;5961;p5598"/>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304815" lvl="0" indent="-270990" algn="l">
              <a:lnSpc>
                <a:spcPct val="100000"/>
              </a:lnSpc>
              <a:spcBef>
                <a:spcPts val="1000"/>
              </a:spcBef>
              <a:spcAft>
                <a:spcPts val="0"/>
              </a:spcAft>
              <a:buSzPts val="2801"/>
              <a:buFont typeface="Noto Sans Symbols"/>
              <a:buChar char="▪"/>
              <a:defRPr sz="1867" b="1"/>
            </a:lvl1pPr>
            <a:lvl2pPr marL="609630" lvl="1" indent="-270990" algn="l">
              <a:lnSpc>
                <a:spcPct val="100000"/>
              </a:lnSpc>
              <a:spcBef>
                <a:spcPts val="1000"/>
              </a:spcBef>
              <a:spcAft>
                <a:spcPts val="0"/>
              </a:spcAft>
              <a:buSzPts val="2801"/>
              <a:buFont typeface="Arial"/>
              <a:buChar char="̶"/>
              <a:defRPr sz="1867"/>
            </a:lvl2pPr>
            <a:lvl3pPr marL="914446" lvl="2" indent="-270989" algn="l">
              <a:lnSpc>
                <a:spcPct val="100000"/>
              </a:lnSpc>
              <a:spcBef>
                <a:spcPts val="1000"/>
              </a:spcBef>
              <a:spcAft>
                <a:spcPts val="0"/>
              </a:spcAft>
              <a:buSzPts val="2801"/>
              <a:buFont typeface="Arial"/>
              <a:buChar char="•"/>
              <a:defRPr sz="1867"/>
            </a:lvl3pPr>
            <a:lvl4pPr marL="1219261" lvl="3" indent="-270989" algn="l">
              <a:lnSpc>
                <a:spcPct val="100000"/>
              </a:lnSpc>
              <a:spcBef>
                <a:spcPts val="1000"/>
              </a:spcBef>
              <a:spcAft>
                <a:spcPts val="0"/>
              </a:spcAft>
              <a:buSzPts val="2801"/>
              <a:buFont typeface="Noto Sans Symbols"/>
              <a:buChar char="✔"/>
              <a:defRPr sz="1867"/>
            </a:lvl4pPr>
            <a:lvl5pPr marL="1524076" lvl="4" indent="-270990" algn="l">
              <a:lnSpc>
                <a:spcPct val="100000"/>
              </a:lnSpc>
              <a:spcBef>
                <a:spcPts val="1000"/>
              </a:spcBef>
              <a:spcAft>
                <a:spcPts val="0"/>
              </a:spcAft>
              <a:buSzPts val="2801"/>
              <a:buChar char="•"/>
              <a:defRPr sz="1867"/>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962" name="Google Shape;5962;p5598"/>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304815" lvl="0" indent="-237079" algn="l">
              <a:lnSpc>
                <a:spcPct val="100000"/>
              </a:lnSpc>
              <a:spcBef>
                <a:spcPts val="1000"/>
              </a:spcBef>
              <a:spcAft>
                <a:spcPts val="0"/>
              </a:spcAft>
              <a:buSzPts val="2000"/>
              <a:buChar char="•"/>
              <a:defRPr sz="1333" b="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963" name="Google Shape;5963;p559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5964" name="Google Shape;5964;p5598"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2" y="5969001"/>
            <a:ext cx="3704343" cy="651933"/>
          </a:xfrm>
          <a:prstGeom prst="rect">
            <a:avLst/>
          </a:prstGeom>
          <a:noFill/>
          <a:ln>
            <a:noFill/>
          </a:ln>
        </p:spPr>
      </p:pic>
    </p:spTree>
    <p:extLst>
      <p:ext uri="{BB962C8B-B14F-4D97-AF65-F5344CB8AC3E}">
        <p14:creationId xmlns:p14="http://schemas.microsoft.com/office/powerpoint/2010/main" val="61722107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10786"/>
        <p:cNvGrpSpPr/>
        <p:nvPr/>
      </p:nvGrpSpPr>
      <p:grpSpPr>
        <a:xfrm>
          <a:off x="0" y="0"/>
          <a:ext cx="0" cy="0"/>
          <a:chOff x="0" y="0"/>
          <a:chExt cx="0" cy="0"/>
        </a:xfrm>
      </p:grpSpPr>
      <p:sp>
        <p:nvSpPr>
          <p:cNvPr id="10787" name="Google Shape;10787;p148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788" name="Google Shape;10788;p148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789" name="Google Shape;10789;p1481"/>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90" name="Google Shape;10790;p1481"/>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91" name="Google Shape;10791;p1481"/>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0792" name="Google Shape;10792;p148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770.xml><?xml version="1.0" encoding="utf-8"?>
<p:sldLayout xmlns:a="http://schemas.openxmlformats.org/drawingml/2006/main" xmlns:r="http://schemas.openxmlformats.org/officeDocument/2006/relationships" xmlns:p="http://schemas.openxmlformats.org/presentationml/2006/main" matchingName="10_Title Slide_Yale Blue">
  <p:cSld name="10_Title Slide_Yale Blue">
    <p:spTree>
      <p:nvGrpSpPr>
        <p:cNvPr id="1" name="Shape 5965"/>
        <p:cNvGrpSpPr/>
        <p:nvPr/>
      </p:nvGrpSpPr>
      <p:grpSpPr>
        <a:xfrm>
          <a:off x="0" y="0"/>
          <a:ext cx="0" cy="0"/>
          <a:chOff x="0" y="0"/>
          <a:chExt cx="0" cy="0"/>
        </a:xfrm>
      </p:grpSpPr>
      <p:sp>
        <p:nvSpPr>
          <p:cNvPr id="5966" name="Google Shape;5966;p5599"/>
          <p:cNvSpPr txBox="1">
            <a:spLocks noGrp="1"/>
          </p:cNvSpPr>
          <p:nvPr>
            <p:ph type="body" idx="1"/>
          </p:nvPr>
        </p:nvSpPr>
        <p:spPr>
          <a:xfrm>
            <a:off x="2826556" y="5400857"/>
            <a:ext cx="8178613" cy="348899"/>
          </a:xfrm>
          <a:prstGeom prst="rect">
            <a:avLst/>
          </a:prstGeom>
          <a:noFill/>
          <a:ln>
            <a:noFill/>
          </a:ln>
        </p:spPr>
        <p:txBody>
          <a:bodyPr spcFirstLastPara="1" wrap="square" lIns="91425" tIns="45700" rIns="91425" bIns="45700" anchor="t" anchorCtr="0">
            <a:spAutoFit/>
          </a:bodyPr>
          <a:lstStyle>
            <a:lvl1pPr marL="304815" lvl="0" indent="-152408" algn="r">
              <a:lnSpc>
                <a:spcPct val="100000"/>
              </a:lnSpc>
              <a:spcBef>
                <a:spcPts val="1000"/>
              </a:spcBef>
              <a:spcAft>
                <a:spcPts val="0"/>
              </a:spcAft>
              <a:buSzPts val="2801"/>
              <a:buNone/>
              <a:defRPr sz="1867">
                <a:solidFill>
                  <a:srgbClr val="616364"/>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967" name="Google Shape;5967;p5599"/>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8000"/>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68" name="Google Shape;5968;p5599"/>
          <p:cNvSpPr txBox="1">
            <a:spLocks noGrp="1"/>
          </p:cNvSpPr>
          <p:nvPr>
            <p:ph type="dt" idx="10"/>
          </p:nvPr>
        </p:nvSpPr>
        <p:spPr>
          <a:xfrm>
            <a:off x="0" y="0"/>
            <a:ext cx="2000000" cy="2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9pPr>
          </a:lstStyle>
          <a:p>
            <a:endParaRPr/>
          </a:p>
        </p:txBody>
      </p:sp>
      <p:sp>
        <p:nvSpPr>
          <p:cNvPr id="5969" name="Google Shape;5969;p559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70" name="Google Shape;5970;p559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5971" name="Google Shape;5971;p5599"/>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5972" name="Google Shape;5972;p5599"/>
          <p:cNvSpPr/>
          <p:nvPr/>
        </p:nvSpPr>
        <p:spPr>
          <a:xfrm>
            <a:off x="0" y="6115052"/>
            <a:ext cx="12192000" cy="742949"/>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5973" name="Google Shape;5973;p5599"/>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4800"/>
              <a:buNone/>
              <a:defRPr sz="3200" b="0" i="0">
                <a:solidFill>
                  <a:srgbClr val="00314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5974" name="Google Shape;5974;p5599"/>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2090123766"/>
      </p:ext>
    </p:extLst>
  </p:cSld>
  <p:clrMapOvr>
    <a:masterClrMapping/>
  </p:clrMapOvr>
</p:sldLayout>
</file>

<file path=ppt/slideLayouts/slideLayout1771.xml><?xml version="1.0" encoding="utf-8"?>
<p:sldLayout xmlns:a="http://schemas.openxmlformats.org/drawingml/2006/main" xmlns:r="http://schemas.openxmlformats.org/officeDocument/2006/relationships" xmlns:p="http://schemas.openxmlformats.org/presentationml/2006/main" matchingName="6_Title and Bullets Layout">
  <p:cSld name="6_Title and Bullets Layout">
    <p:spTree>
      <p:nvGrpSpPr>
        <p:cNvPr id="1" name="Shape 5975"/>
        <p:cNvGrpSpPr/>
        <p:nvPr/>
      </p:nvGrpSpPr>
      <p:grpSpPr>
        <a:xfrm>
          <a:off x="0" y="0"/>
          <a:ext cx="0" cy="0"/>
          <a:chOff x="0" y="0"/>
          <a:chExt cx="0" cy="0"/>
        </a:xfrm>
      </p:grpSpPr>
      <p:sp>
        <p:nvSpPr>
          <p:cNvPr id="5976" name="Google Shape;5976;p5600"/>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77" name="Google Shape;5977;p5600"/>
          <p:cNvSpPr/>
          <p:nvPr/>
        </p:nvSpPr>
        <p:spPr>
          <a:xfrm>
            <a:off x="0" y="6313118"/>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5978" name="Google Shape;5978;p5600"/>
          <p:cNvSpPr/>
          <p:nvPr/>
        </p:nvSpPr>
        <p:spPr>
          <a:xfrm>
            <a:off x="0" y="6301515"/>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5979" name="Google Shape;5979;p5600"/>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304815" lvl="0" indent="-287881" algn="l">
              <a:lnSpc>
                <a:spcPct val="100000"/>
              </a:lnSpc>
              <a:spcBef>
                <a:spcPts val="1000"/>
              </a:spcBef>
              <a:spcAft>
                <a:spcPts val="0"/>
              </a:spcAft>
              <a:buSzPts val="3200"/>
              <a:buFont typeface="Arial"/>
              <a:buChar char="•"/>
              <a:defRPr sz="2133" b="0">
                <a:solidFill>
                  <a:schemeClr val="dk1"/>
                </a:solidFill>
                <a:latin typeface="Verdana"/>
                <a:ea typeface="Verdana"/>
                <a:cs typeface="Verdana"/>
                <a:sym typeface="Verdana"/>
              </a:defRPr>
            </a:lvl1pPr>
            <a:lvl2pPr marL="609630" lvl="1" indent="-287881" algn="l">
              <a:lnSpc>
                <a:spcPct val="100000"/>
              </a:lnSpc>
              <a:spcBef>
                <a:spcPts val="1000"/>
              </a:spcBef>
              <a:spcAft>
                <a:spcPts val="0"/>
              </a:spcAft>
              <a:buSzPts val="3200"/>
              <a:buChar char="•"/>
              <a:defRPr sz="2133">
                <a:latin typeface="Verdana"/>
                <a:ea typeface="Verdana"/>
                <a:cs typeface="Verdana"/>
                <a:sym typeface="Verdana"/>
              </a:defRPr>
            </a:lvl2pPr>
            <a:lvl3pPr marL="914446" lvl="2" indent="-287881" algn="l">
              <a:lnSpc>
                <a:spcPct val="100000"/>
              </a:lnSpc>
              <a:spcBef>
                <a:spcPts val="1000"/>
              </a:spcBef>
              <a:spcAft>
                <a:spcPts val="0"/>
              </a:spcAft>
              <a:buSzPts val="3200"/>
              <a:buChar char="•"/>
              <a:defRPr sz="2133">
                <a:latin typeface="Verdana"/>
                <a:ea typeface="Verdana"/>
                <a:cs typeface="Verdana"/>
                <a:sym typeface="Verdana"/>
              </a:defRPr>
            </a:lvl3pPr>
            <a:lvl4pPr marL="1219261" lvl="3" indent="-287881" algn="l">
              <a:lnSpc>
                <a:spcPct val="100000"/>
              </a:lnSpc>
              <a:spcBef>
                <a:spcPts val="1000"/>
              </a:spcBef>
              <a:spcAft>
                <a:spcPts val="0"/>
              </a:spcAft>
              <a:buSzPts val="3200"/>
              <a:buChar char="•"/>
              <a:defRPr sz="2133">
                <a:latin typeface="Verdana"/>
                <a:ea typeface="Verdana"/>
                <a:cs typeface="Verdana"/>
                <a:sym typeface="Verdana"/>
              </a:defRPr>
            </a:lvl4pPr>
            <a:lvl5pPr marL="1524076" lvl="4" indent="-287881" algn="l">
              <a:lnSpc>
                <a:spcPct val="100000"/>
              </a:lnSpc>
              <a:spcBef>
                <a:spcPts val="1000"/>
              </a:spcBef>
              <a:spcAft>
                <a:spcPts val="0"/>
              </a:spcAft>
              <a:buSzPts val="3200"/>
              <a:buChar char="•"/>
              <a:defRPr sz="2133">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5980" name="Google Shape;5980;p560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655967234"/>
      </p:ext>
    </p:extLst>
  </p:cSld>
  <p:clrMapOvr>
    <a:masterClrMapping/>
  </p:clrMapOvr>
</p:sldLayout>
</file>

<file path=ppt/slideLayouts/slideLayout1772.xml><?xml version="1.0" encoding="utf-8"?>
<p:sldLayout xmlns:a="http://schemas.openxmlformats.org/drawingml/2006/main" xmlns:r="http://schemas.openxmlformats.org/officeDocument/2006/relationships" xmlns:p="http://schemas.openxmlformats.org/presentationml/2006/main" matchingName="32_Title and Content">
  <p:cSld name="32_Title and Content">
    <p:spTree>
      <p:nvGrpSpPr>
        <p:cNvPr id="1" name="Shape 5981"/>
        <p:cNvGrpSpPr/>
        <p:nvPr/>
      </p:nvGrpSpPr>
      <p:grpSpPr>
        <a:xfrm>
          <a:off x="0" y="0"/>
          <a:ext cx="0" cy="0"/>
          <a:chOff x="0" y="0"/>
          <a:chExt cx="0" cy="0"/>
        </a:xfrm>
      </p:grpSpPr>
      <p:sp>
        <p:nvSpPr>
          <p:cNvPr id="5982" name="Google Shape;5982;p5601"/>
          <p:cNvSpPr/>
          <p:nvPr/>
        </p:nvSpPr>
        <p:spPr>
          <a:xfrm>
            <a:off x="0" y="6313118"/>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5983" name="Google Shape;5983;p5601"/>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5984" name="Google Shape;5984;p5601"/>
          <p:cNvSpPr/>
          <p:nvPr/>
        </p:nvSpPr>
        <p:spPr>
          <a:xfrm>
            <a:off x="0" y="6301515"/>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5985" name="Google Shape;5985;p5601"/>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86" name="Google Shape;5986;p5601"/>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a:latin typeface="Verdana"/>
                <a:ea typeface="Verdana"/>
                <a:cs typeface="Verdana"/>
                <a:sym typeface="Verdana"/>
              </a:defRPr>
            </a:lvl1pPr>
            <a:lvl2pPr marL="609630" lvl="1" indent="-270990" algn="l">
              <a:lnSpc>
                <a:spcPct val="100000"/>
              </a:lnSpc>
              <a:spcBef>
                <a:spcPts val="500"/>
              </a:spcBef>
              <a:spcAft>
                <a:spcPts val="0"/>
              </a:spcAft>
              <a:buSzPts val="2801"/>
              <a:buChar char="•"/>
              <a:defRPr sz="1867">
                <a:latin typeface="Verdana"/>
                <a:ea typeface="Verdana"/>
                <a:cs typeface="Verdana"/>
                <a:sym typeface="Verdana"/>
              </a:defRPr>
            </a:lvl2pPr>
            <a:lvl3pPr marL="914446" lvl="2" indent="-270989" algn="l">
              <a:lnSpc>
                <a:spcPct val="100000"/>
              </a:lnSpc>
              <a:spcBef>
                <a:spcPts val="1000"/>
              </a:spcBef>
              <a:spcAft>
                <a:spcPts val="0"/>
              </a:spcAft>
              <a:buSzPts val="2801"/>
              <a:buChar char="•"/>
              <a:defRPr sz="1867">
                <a:latin typeface="Verdana"/>
                <a:ea typeface="Verdana"/>
                <a:cs typeface="Verdana"/>
                <a:sym typeface="Verdana"/>
              </a:defRPr>
            </a:lvl3pPr>
            <a:lvl4pPr marL="1219261" lvl="3" indent="-270989" algn="l">
              <a:lnSpc>
                <a:spcPct val="100000"/>
              </a:lnSpc>
              <a:spcBef>
                <a:spcPts val="1000"/>
              </a:spcBef>
              <a:spcAft>
                <a:spcPts val="0"/>
              </a:spcAft>
              <a:buSzPts val="2801"/>
              <a:buChar char="•"/>
              <a:defRPr sz="1867">
                <a:latin typeface="Verdana"/>
                <a:ea typeface="Verdana"/>
                <a:cs typeface="Verdana"/>
                <a:sym typeface="Verdana"/>
              </a:defRPr>
            </a:lvl4pPr>
            <a:lvl5pPr marL="1524076" lvl="4" indent="-270990" algn="l">
              <a:lnSpc>
                <a:spcPct val="100000"/>
              </a:lnSpc>
              <a:spcBef>
                <a:spcPts val="1000"/>
              </a:spcBef>
              <a:spcAft>
                <a:spcPts val="0"/>
              </a:spcAft>
              <a:buSzPts val="2801"/>
              <a:buChar char="•"/>
              <a:defRPr sz="1867">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348584978"/>
      </p:ext>
    </p:extLst>
  </p:cSld>
  <p:clrMapOvr>
    <a:masterClrMapping/>
  </p:clrMapOvr>
</p:sldLayout>
</file>

<file path=ppt/slideLayouts/slideLayout1773.xml><?xml version="1.0" encoding="utf-8"?>
<p:sldLayout xmlns:a="http://schemas.openxmlformats.org/drawingml/2006/main" xmlns:r="http://schemas.openxmlformats.org/officeDocument/2006/relationships" xmlns:p="http://schemas.openxmlformats.org/presentationml/2006/main" matchingName="6_Two Section | Picture and Copy Layout">
  <p:cSld name="6_Two Section | Picture and Copy Layout">
    <p:spTree>
      <p:nvGrpSpPr>
        <p:cNvPr id="1" name="Shape 5987"/>
        <p:cNvGrpSpPr/>
        <p:nvPr/>
      </p:nvGrpSpPr>
      <p:grpSpPr>
        <a:xfrm>
          <a:off x="0" y="0"/>
          <a:ext cx="0" cy="0"/>
          <a:chOff x="0" y="0"/>
          <a:chExt cx="0" cy="0"/>
        </a:xfrm>
      </p:grpSpPr>
      <p:sp>
        <p:nvSpPr>
          <p:cNvPr id="5988" name="Google Shape;5988;p5602"/>
          <p:cNvSpPr/>
          <p:nvPr/>
        </p:nvSpPr>
        <p:spPr>
          <a:xfrm>
            <a:off x="0" y="6313118"/>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5989" name="Google Shape;5989;p5602"/>
          <p:cNvSpPr/>
          <p:nvPr/>
        </p:nvSpPr>
        <p:spPr>
          <a:xfrm>
            <a:off x="0" y="6301515"/>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5990" name="Google Shape;5990;p5602"/>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1800"/>
              <a:buNone/>
              <a:defRPr sz="1200" b="0" i="1">
                <a:solidFill>
                  <a:srgbClr val="003B5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991" name="Google Shape;5991;p5602"/>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b="0">
                <a:solidFill>
                  <a:schemeClr val="dk1"/>
                </a:solidFill>
                <a:latin typeface="Verdana"/>
                <a:ea typeface="Verdana"/>
                <a:cs typeface="Verdana"/>
                <a:sym typeface="Verdana"/>
              </a:defRPr>
            </a:lvl1pPr>
            <a:lvl2pPr marL="609630" lvl="1" indent="-270990" algn="l">
              <a:lnSpc>
                <a:spcPct val="100000"/>
              </a:lnSpc>
              <a:spcBef>
                <a:spcPts val="500"/>
              </a:spcBef>
              <a:spcAft>
                <a:spcPts val="0"/>
              </a:spcAft>
              <a:buSzPts val="2801"/>
              <a:buChar char="•"/>
              <a:defRPr sz="1867" b="0">
                <a:solidFill>
                  <a:srgbClr val="003B5C"/>
                </a:solidFill>
                <a:latin typeface="Verdana"/>
                <a:ea typeface="Verdana"/>
                <a:cs typeface="Verdana"/>
                <a:sym typeface="Verdana"/>
              </a:defRPr>
            </a:lvl2pPr>
            <a:lvl3pPr marL="914446" lvl="2" indent="-270989"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3pPr>
            <a:lvl4pPr marL="1219261" lvl="3" indent="-270989"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4pPr>
            <a:lvl5pPr marL="1524076" lvl="4" indent="-270990"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992" name="Google Shape;5992;p5602"/>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993" name="Google Shape;5993;p560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275136243"/>
      </p:ext>
    </p:extLst>
  </p:cSld>
  <p:clrMapOvr>
    <a:masterClrMapping/>
  </p:clrMapOvr>
</p:sldLayout>
</file>

<file path=ppt/slideLayouts/slideLayout1774.xml><?xml version="1.0" encoding="utf-8"?>
<p:sldLayout xmlns:a="http://schemas.openxmlformats.org/drawingml/2006/main" xmlns:r="http://schemas.openxmlformats.org/officeDocument/2006/relationships" xmlns:p="http://schemas.openxmlformats.org/presentationml/2006/main" matchingName="Two Content">
  <p:cSld name="23_Two Content">
    <p:spTree>
      <p:nvGrpSpPr>
        <p:cNvPr id="1" name="Shape 5994"/>
        <p:cNvGrpSpPr/>
        <p:nvPr/>
      </p:nvGrpSpPr>
      <p:grpSpPr>
        <a:xfrm>
          <a:off x="0" y="0"/>
          <a:ext cx="0" cy="0"/>
          <a:chOff x="0" y="0"/>
          <a:chExt cx="0" cy="0"/>
        </a:xfrm>
      </p:grpSpPr>
      <p:sp>
        <p:nvSpPr>
          <p:cNvPr id="5995" name="Google Shape;5995;p5603"/>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96" name="Google Shape;5996;p5603"/>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5997" name="Google Shape;5997;p5603"/>
          <p:cNvGrpSpPr/>
          <p:nvPr/>
        </p:nvGrpSpPr>
        <p:grpSpPr>
          <a:xfrm>
            <a:off x="7191543" y="1"/>
            <a:ext cx="5000459" cy="1425992"/>
            <a:chOff x="7191542" y="1"/>
            <a:chExt cx="5000459" cy="1425992"/>
          </a:xfrm>
        </p:grpSpPr>
        <p:pic>
          <p:nvPicPr>
            <p:cNvPr id="5998" name="Google Shape;5998;p56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99" name="Google Shape;5999;p5603"/>
            <p:cNvGrpSpPr/>
            <p:nvPr/>
          </p:nvGrpSpPr>
          <p:grpSpPr>
            <a:xfrm>
              <a:off x="7191542" y="1"/>
              <a:ext cx="5000459" cy="1425992"/>
              <a:chOff x="7186272" y="0"/>
              <a:chExt cx="5005729" cy="1427495"/>
            </a:xfrm>
          </p:grpSpPr>
          <p:sp>
            <p:nvSpPr>
              <p:cNvPr id="6000" name="Google Shape;6000;p56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6001" name="Google Shape;6001;p56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6002" name="Google Shape;6002;p5603"/>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003" name="Google Shape;6003;p5603"/>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SzPts val="1800"/>
              <a:buNone/>
              <a:defRPr sz="1200" b="0" i="0" u="none" strike="noStrike" cap="none">
                <a:solidFill>
                  <a:srgbClr val="919497"/>
                </a:solidFill>
                <a:latin typeface="Arial"/>
                <a:ea typeface="Arial"/>
                <a:cs typeface="Arial"/>
                <a:sym typeface="Arial"/>
              </a:defRPr>
            </a:lvl1pPr>
            <a:lvl2pPr marL="0" lvl="1" indent="0" algn="r">
              <a:lnSpc>
                <a:spcPct val="100000"/>
              </a:lnSpc>
              <a:spcBef>
                <a:spcPts val="0"/>
              </a:spcBef>
              <a:spcAft>
                <a:spcPts val="0"/>
              </a:spcAft>
              <a:buSzPts val="1800"/>
              <a:buNone/>
              <a:defRPr sz="1200" b="0" i="0" u="none" strike="noStrike" cap="none">
                <a:solidFill>
                  <a:srgbClr val="919497"/>
                </a:solidFill>
                <a:latin typeface="Arial"/>
                <a:ea typeface="Arial"/>
                <a:cs typeface="Arial"/>
                <a:sym typeface="Arial"/>
              </a:defRPr>
            </a:lvl2pPr>
            <a:lvl3pPr marL="0" lvl="2" indent="0" algn="r">
              <a:lnSpc>
                <a:spcPct val="100000"/>
              </a:lnSpc>
              <a:spcBef>
                <a:spcPts val="0"/>
              </a:spcBef>
              <a:spcAft>
                <a:spcPts val="0"/>
              </a:spcAft>
              <a:buSzPts val="1800"/>
              <a:buNone/>
              <a:defRPr sz="1200" b="0" i="0" u="none" strike="noStrike" cap="none">
                <a:solidFill>
                  <a:srgbClr val="919497"/>
                </a:solidFill>
                <a:latin typeface="Arial"/>
                <a:ea typeface="Arial"/>
                <a:cs typeface="Arial"/>
                <a:sym typeface="Arial"/>
              </a:defRPr>
            </a:lvl3pPr>
            <a:lvl4pPr marL="0" lvl="3" indent="0" algn="r">
              <a:lnSpc>
                <a:spcPct val="100000"/>
              </a:lnSpc>
              <a:spcBef>
                <a:spcPts val="0"/>
              </a:spcBef>
              <a:spcAft>
                <a:spcPts val="0"/>
              </a:spcAft>
              <a:buSzPts val="1800"/>
              <a:buNone/>
              <a:defRPr sz="1200" b="0" i="0" u="none" strike="noStrike" cap="none">
                <a:solidFill>
                  <a:srgbClr val="919497"/>
                </a:solidFill>
                <a:latin typeface="Arial"/>
                <a:ea typeface="Arial"/>
                <a:cs typeface="Arial"/>
                <a:sym typeface="Arial"/>
              </a:defRPr>
            </a:lvl4pPr>
            <a:lvl5pPr marL="0" lvl="4" indent="0" algn="r">
              <a:lnSpc>
                <a:spcPct val="100000"/>
              </a:lnSpc>
              <a:spcBef>
                <a:spcPts val="0"/>
              </a:spcBef>
              <a:spcAft>
                <a:spcPts val="0"/>
              </a:spcAft>
              <a:buSzPts val="1800"/>
              <a:buNone/>
              <a:defRPr sz="1200" b="0" i="0" u="none" strike="noStrike" cap="none">
                <a:solidFill>
                  <a:srgbClr val="919497"/>
                </a:solidFill>
                <a:latin typeface="Arial"/>
                <a:ea typeface="Arial"/>
                <a:cs typeface="Arial"/>
                <a:sym typeface="Arial"/>
              </a:defRPr>
            </a:lvl5pPr>
            <a:lvl6pPr marL="0" lvl="5" indent="0" algn="r">
              <a:lnSpc>
                <a:spcPct val="100000"/>
              </a:lnSpc>
              <a:spcBef>
                <a:spcPts val="0"/>
              </a:spcBef>
              <a:spcAft>
                <a:spcPts val="0"/>
              </a:spcAft>
              <a:buSzPts val="1800"/>
              <a:buNone/>
              <a:defRPr sz="1200" b="0" i="0" u="none" strike="noStrike" cap="none">
                <a:solidFill>
                  <a:srgbClr val="919497"/>
                </a:solidFill>
                <a:latin typeface="Arial"/>
                <a:ea typeface="Arial"/>
                <a:cs typeface="Arial"/>
                <a:sym typeface="Arial"/>
              </a:defRPr>
            </a:lvl6pPr>
            <a:lvl7pPr marL="0" lvl="6" indent="0" algn="r">
              <a:lnSpc>
                <a:spcPct val="100000"/>
              </a:lnSpc>
              <a:spcBef>
                <a:spcPts val="0"/>
              </a:spcBef>
              <a:spcAft>
                <a:spcPts val="0"/>
              </a:spcAft>
              <a:buSzPts val="1800"/>
              <a:buNone/>
              <a:defRPr sz="1200" b="0" i="0" u="none" strike="noStrike" cap="none">
                <a:solidFill>
                  <a:srgbClr val="919497"/>
                </a:solidFill>
                <a:latin typeface="Arial"/>
                <a:ea typeface="Arial"/>
                <a:cs typeface="Arial"/>
                <a:sym typeface="Arial"/>
              </a:defRPr>
            </a:lvl7pPr>
            <a:lvl8pPr marL="0" lvl="7" indent="0" algn="r">
              <a:lnSpc>
                <a:spcPct val="100000"/>
              </a:lnSpc>
              <a:spcBef>
                <a:spcPts val="0"/>
              </a:spcBef>
              <a:spcAft>
                <a:spcPts val="0"/>
              </a:spcAft>
              <a:buSzPts val="1800"/>
              <a:buNone/>
              <a:defRPr sz="1200" b="0" i="0" u="none" strike="noStrike" cap="none">
                <a:solidFill>
                  <a:srgbClr val="919497"/>
                </a:solidFill>
                <a:latin typeface="Arial"/>
                <a:ea typeface="Arial"/>
                <a:cs typeface="Arial"/>
                <a:sym typeface="Arial"/>
              </a:defRPr>
            </a:lvl8pPr>
            <a:lvl9pPr marL="0" lvl="8" indent="0" algn="r">
              <a:lnSpc>
                <a:spcPct val="100000"/>
              </a:lnSpc>
              <a:spcBef>
                <a:spcPts val="0"/>
              </a:spcBef>
              <a:spcAft>
                <a:spcPts val="0"/>
              </a:spcAft>
              <a:buSzPts val="1800"/>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004" name="Google Shape;6004;p56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05" name="Google Shape;6005;p560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609093820"/>
      </p:ext>
    </p:extLst>
  </p:cSld>
  <p:clrMapOvr>
    <a:masterClrMapping/>
  </p:clrMapOvr>
</p:sldLayout>
</file>

<file path=ppt/slideLayouts/slideLayout1775.xml><?xml version="1.0" encoding="utf-8"?>
<p:sldLayout xmlns:a="http://schemas.openxmlformats.org/drawingml/2006/main" xmlns:r="http://schemas.openxmlformats.org/officeDocument/2006/relationships" xmlns:p="http://schemas.openxmlformats.org/presentationml/2006/main" showMasterSp="0" matchingName="4_Title Slide">
  <p:cSld name="4_Title Slide">
    <p:bg>
      <p:bgPr>
        <a:solidFill>
          <a:schemeClr val="lt1"/>
        </a:solidFill>
        <a:effectLst/>
      </p:bgPr>
    </p:bg>
    <p:spTree>
      <p:nvGrpSpPr>
        <p:cNvPr id="1" name="Shape 6006"/>
        <p:cNvGrpSpPr/>
        <p:nvPr/>
      </p:nvGrpSpPr>
      <p:grpSpPr>
        <a:xfrm>
          <a:off x="0" y="0"/>
          <a:ext cx="0" cy="0"/>
          <a:chOff x="0" y="0"/>
          <a:chExt cx="0" cy="0"/>
        </a:xfrm>
      </p:grpSpPr>
      <p:sp>
        <p:nvSpPr>
          <p:cNvPr id="6007" name="Google Shape;6007;p5604"/>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008" name="Google Shape;6008;p5604"/>
          <p:cNvSpPr/>
          <p:nvPr/>
        </p:nvSpPr>
        <p:spPr>
          <a:xfrm>
            <a:off x="3"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pic>
        <p:nvPicPr>
          <p:cNvPr id="6009" name="Google Shape;6009;p5604"/>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6010" name="Google Shape;6010;p5604"/>
          <p:cNvSpPr/>
          <p:nvPr/>
        </p:nvSpPr>
        <p:spPr>
          <a:xfrm>
            <a:off x="1" y="5020056"/>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pic>
        <p:nvPicPr>
          <p:cNvPr id="6011" name="Google Shape;6011;p5604"/>
          <p:cNvPicPr preferRelativeResize="0"/>
          <p:nvPr/>
        </p:nvPicPr>
        <p:blipFill rotWithShape="1">
          <a:blip r:embed="rId3">
            <a:alphaModFix/>
          </a:blip>
          <a:srcRect/>
          <a:stretch/>
        </p:blipFill>
        <p:spPr>
          <a:xfrm>
            <a:off x="313957" y="5564124"/>
            <a:ext cx="2025383" cy="911351"/>
          </a:xfrm>
          <a:prstGeom prst="rect">
            <a:avLst/>
          </a:prstGeom>
          <a:noFill/>
          <a:ln>
            <a:noFill/>
          </a:ln>
        </p:spPr>
      </p:pic>
      <p:sp>
        <p:nvSpPr>
          <p:cNvPr id="6012" name="Google Shape;6012;p5604"/>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013" name="Google Shape;6013;p5604"/>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54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14" name="Google Shape;6014;p5604"/>
          <p:cNvSpPr txBox="1">
            <a:spLocks noGrp="1"/>
          </p:cNvSpPr>
          <p:nvPr>
            <p:ph type="subTitle" idx="1"/>
          </p:nvPr>
        </p:nvSpPr>
        <p:spPr>
          <a:xfrm>
            <a:off x="1828800" y="3840480"/>
            <a:ext cx="8534400" cy="369332"/>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36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6015" name="Google Shape;6015;p5604"/>
          <p:cNvSpPr txBox="1">
            <a:spLocks noGrp="1"/>
          </p:cNvSpPr>
          <p:nvPr>
            <p:ph type="ftr" idx="11"/>
          </p:nvPr>
        </p:nvSpPr>
        <p:spPr>
          <a:xfrm>
            <a:off x="609600" y="6356351"/>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16" name="Google Shape;6016;p5604"/>
          <p:cNvSpPr txBox="1">
            <a:spLocks noGrp="1"/>
          </p:cNvSpPr>
          <p:nvPr>
            <p:ph type="dt" idx="10"/>
          </p:nvPr>
        </p:nvSpPr>
        <p:spPr>
          <a:xfrm>
            <a:off x="0" y="0"/>
            <a:ext cx="2000000" cy="2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SzPts val="1400"/>
              <a:buNone/>
              <a:defRPr sz="933" b="0" i="0" u="none" strike="noStrike" cap="none">
                <a:solidFill>
                  <a:srgbClr val="919497"/>
                </a:solidFill>
                <a:latin typeface="Arial"/>
                <a:ea typeface="Arial"/>
                <a:cs typeface="Arial"/>
                <a:sym typeface="Arial"/>
              </a:defRPr>
            </a:lvl1pPr>
            <a:lvl2pPr marR="0" lvl="1"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9pPr>
          </a:lstStyle>
          <a:p>
            <a:endParaRPr/>
          </a:p>
        </p:txBody>
      </p:sp>
      <p:sp>
        <p:nvSpPr>
          <p:cNvPr id="6017" name="Google Shape;6017;p5604"/>
          <p:cNvSpPr txBox="1">
            <a:spLocks noGrp="1"/>
          </p:cNvSpPr>
          <p:nvPr>
            <p:ph type="sldNum" idx="12"/>
          </p:nvPr>
        </p:nvSpPr>
        <p:spPr>
          <a:xfrm>
            <a:off x="8839200" y="6356351"/>
            <a:ext cx="2743200" cy="365125"/>
          </a:xfrm>
          <a:prstGeom prst="rect">
            <a:avLst/>
          </a:prstGeom>
          <a:noFill/>
          <a:ln>
            <a:noFill/>
          </a:ln>
        </p:spPr>
        <p:txBody>
          <a:bodyPr spcFirstLastPara="1" wrap="square" lIns="0" tIns="0" rIns="0" bIns="0" anchor="ctr" anchorCtr="0">
            <a:noAutofit/>
          </a:bodyPr>
          <a:lstStyle>
            <a:lvl1pPr marL="38102" marR="0" lvl="0" indent="0" algn="r">
              <a:lnSpc>
                <a:spcPct val="118777"/>
              </a:lnSpc>
              <a:spcBef>
                <a:spcPts val="0"/>
              </a:spcBef>
              <a:spcAft>
                <a:spcPts val="0"/>
              </a:spcAft>
              <a:buNone/>
              <a:defRPr sz="1200" b="0" i="0" u="none" strike="noStrike" cap="none">
                <a:solidFill>
                  <a:srgbClr val="929599"/>
                </a:solidFill>
                <a:latin typeface="Arial"/>
                <a:ea typeface="Arial"/>
                <a:cs typeface="Arial"/>
                <a:sym typeface="Arial"/>
              </a:defRPr>
            </a:lvl1pPr>
            <a:lvl2pPr marL="38102" marR="0" lvl="1" indent="0" algn="r">
              <a:lnSpc>
                <a:spcPct val="118777"/>
              </a:lnSpc>
              <a:spcBef>
                <a:spcPts val="0"/>
              </a:spcBef>
              <a:spcAft>
                <a:spcPts val="0"/>
              </a:spcAft>
              <a:buNone/>
              <a:defRPr sz="1200" b="0" i="0" u="none" strike="noStrike" cap="none">
                <a:solidFill>
                  <a:srgbClr val="929599"/>
                </a:solidFill>
                <a:latin typeface="Arial"/>
                <a:ea typeface="Arial"/>
                <a:cs typeface="Arial"/>
                <a:sym typeface="Arial"/>
              </a:defRPr>
            </a:lvl2pPr>
            <a:lvl3pPr marL="38102" marR="0" lvl="2" indent="0" algn="r">
              <a:lnSpc>
                <a:spcPct val="118777"/>
              </a:lnSpc>
              <a:spcBef>
                <a:spcPts val="0"/>
              </a:spcBef>
              <a:spcAft>
                <a:spcPts val="0"/>
              </a:spcAft>
              <a:buNone/>
              <a:defRPr sz="1200" b="0" i="0" u="none" strike="noStrike" cap="none">
                <a:solidFill>
                  <a:srgbClr val="929599"/>
                </a:solidFill>
                <a:latin typeface="Arial"/>
                <a:ea typeface="Arial"/>
                <a:cs typeface="Arial"/>
                <a:sym typeface="Arial"/>
              </a:defRPr>
            </a:lvl3pPr>
            <a:lvl4pPr marL="38102" marR="0" lvl="3" indent="0" algn="r">
              <a:lnSpc>
                <a:spcPct val="118777"/>
              </a:lnSpc>
              <a:spcBef>
                <a:spcPts val="0"/>
              </a:spcBef>
              <a:spcAft>
                <a:spcPts val="0"/>
              </a:spcAft>
              <a:buNone/>
              <a:defRPr sz="1200" b="0" i="0" u="none" strike="noStrike" cap="none">
                <a:solidFill>
                  <a:srgbClr val="929599"/>
                </a:solidFill>
                <a:latin typeface="Arial"/>
                <a:ea typeface="Arial"/>
                <a:cs typeface="Arial"/>
                <a:sym typeface="Arial"/>
              </a:defRPr>
            </a:lvl4pPr>
            <a:lvl5pPr marL="38102" marR="0" lvl="4" indent="0" algn="r">
              <a:lnSpc>
                <a:spcPct val="118777"/>
              </a:lnSpc>
              <a:spcBef>
                <a:spcPts val="0"/>
              </a:spcBef>
              <a:spcAft>
                <a:spcPts val="0"/>
              </a:spcAft>
              <a:buNone/>
              <a:defRPr sz="1200" b="0" i="0" u="none" strike="noStrike" cap="none">
                <a:solidFill>
                  <a:srgbClr val="929599"/>
                </a:solidFill>
                <a:latin typeface="Arial"/>
                <a:ea typeface="Arial"/>
                <a:cs typeface="Arial"/>
                <a:sym typeface="Arial"/>
              </a:defRPr>
            </a:lvl5pPr>
            <a:lvl6pPr marL="38102" marR="0" lvl="5" indent="0" algn="r">
              <a:lnSpc>
                <a:spcPct val="118777"/>
              </a:lnSpc>
              <a:spcBef>
                <a:spcPts val="0"/>
              </a:spcBef>
              <a:spcAft>
                <a:spcPts val="0"/>
              </a:spcAft>
              <a:buNone/>
              <a:defRPr sz="1200" b="0" i="0" u="none" strike="noStrike" cap="none">
                <a:solidFill>
                  <a:srgbClr val="929599"/>
                </a:solidFill>
                <a:latin typeface="Arial"/>
                <a:ea typeface="Arial"/>
                <a:cs typeface="Arial"/>
                <a:sym typeface="Arial"/>
              </a:defRPr>
            </a:lvl6pPr>
            <a:lvl7pPr marL="38102" marR="0" lvl="6" indent="0" algn="r">
              <a:lnSpc>
                <a:spcPct val="118777"/>
              </a:lnSpc>
              <a:spcBef>
                <a:spcPts val="0"/>
              </a:spcBef>
              <a:spcAft>
                <a:spcPts val="0"/>
              </a:spcAft>
              <a:buNone/>
              <a:defRPr sz="1200" b="0" i="0" u="none" strike="noStrike" cap="none">
                <a:solidFill>
                  <a:srgbClr val="929599"/>
                </a:solidFill>
                <a:latin typeface="Arial"/>
                <a:ea typeface="Arial"/>
                <a:cs typeface="Arial"/>
                <a:sym typeface="Arial"/>
              </a:defRPr>
            </a:lvl7pPr>
            <a:lvl8pPr marL="38102" marR="0" lvl="7" indent="0" algn="r">
              <a:lnSpc>
                <a:spcPct val="118777"/>
              </a:lnSpc>
              <a:spcBef>
                <a:spcPts val="0"/>
              </a:spcBef>
              <a:spcAft>
                <a:spcPts val="0"/>
              </a:spcAft>
              <a:buNone/>
              <a:defRPr sz="1200" b="0" i="0" u="none" strike="noStrike" cap="none">
                <a:solidFill>
                  <a:srgbClr val="929599"/>
                </a:solidFill>
                <a:latin typeface="Arial"/>
                <a:ea typeface="Arial"/>
                <a:cs typeface="Arial"/>
                <a:sym typeface="Arial"/>
              </a:defRPr>
            </a:lvl8pPr>
            <a:lvl9pPr marL="38102" marR="0" lvl="8" indent="0" algn="r">
              <a:lnSpc>
                <a:spcPct val="118777"/>
              </a:lnSpc>
              <a:spcBef>
                <a:spcPts val="0"/>
              </a:spcBef>
              <a:spcAft>
                <a:spcPts val="0"/>
              </a:spcAft>
              <a:buNone/>
              <a:defRPr sz="1200" b="0" i="0" u="none" strike="noStrike" cap="none">
                <a:solidFill>
                  <a:srgbClr val="929599"/>
                </a:solidFill>
                <a:latin typeface="Arial"/>
                <a:ea typeface="Arial"/>
                <a:cs typeface="Arial"/>
                <a:sym typeface="Arial"/>
              </a:defRPr>
            </a:lvl9pPr>
          </a:lstStyle>
          <a:p>
            <a:pPr marL="38102" lvl="0" indent="0" algn="r" rtl="0">
              <a:spcBef>
                <a:spcPts val="0"/>
              </a:spcBef>
              <a:spcAft>
                <a:spcPts val="0"/>
              </a:spcAft>
              <a:buNone/>
            </a:pPr>
            <a:fld id="{00000000-1234-1234-1234-123412341234}" type="slidenum">
              <a:rPr lang="en-US"/>
              <a:pPr marL="38102" lvl="0" indent="0" algn="r" rtl="0">
                <a:spcBef>
                  <a:spcPts val="0"/>
                </a:spcBef>
                <a:spcAft>
                  <a:spcPts val="0"/>
                </a:spcAft>
                <a:buNone/>
              </a:pPr>
              <a:t>‹#›</a:t>
            </a:fld>
            <a:endParaRPr/>
          </a:p>
        </p:txBody>
      </p:sp>
    </p:spTree>
    <p:extLst>
      <p:ext uri="{BB962C8B-B14F-4D97-AF65-F5344CB8AC3E}">
        <p14:creationId xmlns:p14="http://schemas.microsoft.com/office/powerpoint/2010/main" val="237318787"/>
      </p:ext>
    </p:extLst>
  </p:cSld>
  <p:clrMapOvr>
    <a:masterClrMapping/>
  </p:clrMapOvr>
</p:sldLayout>
</file>

<file path=ppt/slideLayouts/slideLayout1776.xml><?xml version="1.0" encoding="utf-8"?>
<p:sldLayout xmlns:a="http://schemas.openxmlformats.org/drawingml/2006/main" xmlns:r="http://schemas.openxmlformats.org/officeDocument/2006/relationships" xmlns:p="http://schemas.openxmlformats.org/presentationml/2006/main" matchingName="53_Quotation">
  <p:cSld name="53_Quotation">
    <p:spTree>
      <p:nvGrpSpPr>
        <p:cNvPr id="1" name="Shape 6018"/>
        <p:cNvGrpSpPr/>
        <p:nvPr/>
      </p:nvGrpSpPr>
      <p:grpSpPr>
        <a:xfrm>
          <a:off x="0" y="0"/>
          <a:ext cx="0" cy="0"/>
          <a:chOff x="0" y="0"/>
          <a:chExt cx="0" cy="0"/>
        </a:xfrm>
      </p:grpSpPr>
      <p:sp>
        <p:nvSpPr>
          <p:cNvPr id="6019" name="Google Shape;6019;p5605"/>
          <p:cNvSpPr/>
          <p:nvPr/>
        </p:nvSpPr>
        <p:spPr>
          <a:xfrm>
            <a:off x="1427357"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020" name="Google Shape;6020;p560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21" name="Google Shape;6021;p560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022" name="Google Shape;6022;p560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023" name="Google Shape;6023;p56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24" name="Google Shape;6024;p560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025" name="Google Shape;6025;p5605"/>
          <p:cNvGrpSpPr/>
          <p:nvPr/>
        </p:nvGrpSpPr>
        <p:grpSpPr>
          <a:xfrm>
            <a:off x="7191543" y="1"/>
            <a:ext cx="5000459" cy="1425992"/>
            <a:chOff x="7191542" y="1"/>
            <a:chExt cx="5000459" cy="1425992"/>
          </a:xfrm>
        </p:grpSpPr>
        <p:pic>
          <p:nvPicPr>
            <p:cNvPr id="6026" name="Google Shape;6026;p56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27" name="Google Shape;6027;p5605"/>
            <p:cNvGrpSpPr/>
            <p:nvPr/>
          </p:nvGrpSpPr>
          <p:grpSpPr>
            <a:xfrm>
              <a:off x="7191542" y="1"/>
              <a:ext cx="5000459" cy="1425992"/>
              <a:chOff x="7186272" y="0"/>
              <a:chExt cx="5005729" cy="1427495"/>
            </a:xfrm>
          </p:grpSpPr>
          <p:sp>
            <p:nvSpPr>
              <p:cNvPr id="6028" name="Google Shape;6028;p56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029" name="Google Shape;6029;p56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6030" name="Google Shape;6030;p5605"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3572415193"/>
      </p:ext>
    </p:extLst>
  </p:cSld>
  <p:clrMapOvr>
    <a:masterClrMapping/>
  </p:clrMapOvr>
</p:sldLayout>
</file>

<file path=ppt/slideLayouts/slideLayout1777.xml><?xml version="1.0" encoding="utf-8"?>
<p:sldLayout xmlns:a="http://schemas.openxmlformats.org/drawingml/2006/main" xmlns:r="http://schemas.openxmlformats.org/officeDocument/2006/relationships" xmlns:p="http://schemas.openxmlformats.org/presentationml/2006/main" matchingName="23_Cover">
  <p:cSld name="23_Cover">
    <p:spTree>
      <p:nvGrpSpPr>
        <p:cNvPr id="1" name="Shape 6031"/>
        <p:cNvGrpSpPr/>
        <p:nvPr/>
      </p:nvGrpSpPr>
      <p:grpSpPr>
        <a:xfrm>
          <a:off x="0" y="0"/>
          <a:ext cx="0" cy="0"/>
          <a:chOff x="0" y="0"/>
          <a:chExt cx="0" cy="0"/>
        </a:xfrm>
      </p:grpSpPr>
      <p:sp>
        <p:nvSpPr>
          <p:cNvPr id="6032" name="Google Shape;6032;p5606"/>
          <p:cNvSpPr/>
          <p:nvPr/>
        </p:nvSpPr>
        <p:spPr>
          <a:xfrm>
            <a:off x="902368" y="1294414"/>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033" name="Google Shape;6033;p5606"/>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34" name="Google Shape;6034;p5606"/>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
        <p:nvSpPr>
          <p:cNvPr id="6035" name="Google Shape;6035;p5606"/>
          <p:cNvSpPr>
            <a:spLocks noGrp="1"/>
          </p:cNvSpPr>
          <p:nvPr>
            <p:ph type="pic" idx="2"/>
          </p:nvPr>
        </p:nvSpPr>
        <p:spPr>
          <a:xfrm>
            <a:off x="7118684" y="233915"/>
            <a:ext cx="5073316" cy="5943600"/>
          </a:xfrm>
          <a:prstGeom prst="rect">
            <a:avLst/>
          </a:prstGeom>
          <a:noFill/>
          <a:ln>
            <a:noFill/>
          </a:ln>
        </p:spPr>
      </p:sp>
      <p:grpSp>
        <p:nvGrpSpPr>
          <p:cNvPr id="6036" name="Google Shape;6036;p5606"/>
          <p:cNvGrpSpPr/>
          <p:nvPr/>
        </p:nvGrpSpPr>
        <p:grpSpPr>
          <a:xfrm>
            <a:off x="0" y="5020349"/>
            <a:ext cx="12192000" cy="1837653"/>
            <a:chOff x="0" y="5020348"/>
            <a:chExt cx="12192000" cy="1837653"/>
          </a:xfrm>
        </p:grpSpPr>
        <p:sp>
          <p:nvSpPr>
            <p:cNvPr id="6037" name="Google Shape;6037;p560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038" name="Google Shape;6038;p560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6039" name="Google Shape;6039;p560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550294869"/>
      </p:ext>
    </p:extLst>
  </p:cSld>
  <p:clrMapOvr>
    <a:masterClrMapping/>
  </p:clrMapOvr>
</p:sldLayout>
</file>

<file path=ppt/slideLayouts/slideLayout1778.xml><?xml version="1.0" encoding="utf-8"?>
<p:sldLayout xmlns:a="http://schemas.openxmlformats.org/drawingml/2006/main" xmlns:r="http://schemas.openxmlformats.org/officeDocument/2006/relationships" xmlns:p="http://schemas.openxmlformats.org/presentationml/2006/main" matchingName="54_Quotation">
  <p:cSld name="54_Quotation">
    <p:spTree>
      <p:nvGrpSpPr>
        <p:cNvPr id="1" name="Shape 6040"/>
        <p:cNvGrpSpPr/>
        <p:nvPr/>
      </p:nvGrpSpPr>
      <p:grpSpPr>
        <a:xfrm>
          <a:off x="0" y="0"/>
          <a:ext cx="0" cy="0"/>
          <a:chOff x="0" y="0"/>
          <a:chExt cx="0" cy="0"/>
        </a:xfrm>
      </p:grpSpPr>
      <p:sp>
        <p:nvSpPr>
          <p:cNvPr id="6041" name="Google Shape;6041;p5607"/>
          <p:cNvSpPr/>
          <p:nvPr/>
        </p:nvSpPr>
        <p:spPr>
          <a:xfrm>
            <a:off x="1427357"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042" name="Google Shape;6042;p560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43" name="Google Shape;6043;p560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044" name="Google Shape;6044;p560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045" name="Google Shape;6045;p56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46" name="Google Shape;6046;p560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047" name="Google Shape;6047;p5607"/>
          <p:cNvGrpSpPr/>
          <p:nvPr/>
        </p:nvGrpSpPr>
        <p:grpSpPr>
          <a:xfrm>
            <a:off x="7191543" y="1"/>
            <a:ext cx="5000459" cy="1425992"/>
            <a:chOff x="7191542" y="1"/>
            <a:chExt cx="5000459" cy="1425992"/>
          </a:xfrm>
        </p:grpSpPr>
        <p:pic>
          <p:nvPicPr>
            <p:cNvPr id="6048" name="Google Shape;6048;p56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49" name="Google Shape;6049;p5607"/>
            <p:cNvGrpSpPr/>
            <p:nvPr/>
          </p:nvGrpSpPr>
          <p:grpSpPr>
            <a:xfrm>
              <a:off x="7191542" y="1"/>
              <a:ext cx="5000459" cy="1425992"/>
              <a:chOff x="7186272" y="0"/>
              <a:chExt cx="5005729" cy="1427495"/>
            </a:xfrm>
          </p:grpSpPr>
          <p:sp>
            <p:nvSpPr>
              <p:cNvPr id="6050" name="Google Shape;6050;p56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051" name="Google Shape;6051;p56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6052" name="Google Shape;6052;p5607"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317363839"/>
      </p:ext>
    </p:extLst>
  </p:cSld>
  <p:clrMapOvr>
    <a:masterClrMapping/>
  </p:clrMapOvr>
</p:sldLayout>
</file>

<file path=ppt/slideLayouts/slideLayout1779.xml><?xml version="1.0" encoding="utf-8"?>
<p:sldLayout xmlns:a="http://schemas.openxmlformats.org/drawingml/2006/main" xmlns:r="http://schemas.openxmlformats.org/officeDocument/2006/relationships" xmlns:p="http://schemas.openxmlformats.org/presentationml/2006/main" matchingName="23_Divider">
  <p:cSld name="23_Divider">
    <p:bg>
      <p:bgPr>
        <a:solidFill>
          <a:schemeClr val="lt2"/>
        </a:solidFill>
        <a:effectLst/>
      </p:bgPr>
    </p:bg>
    <p:spTree>
      <p:nvGrpSpPr>
        <p:cNvPr id="1" name="Shape 6053"/>
        <p:cNvGrpSpPr/>
        <p:nvPr/>
      </p:nvGrpSpPr>
      <p:grpSpPr>
        <a:xfrm>
          <a:off x="0" y="0"/>
          <a:ext cx="0" cy="0"/>
          <a:chOff x="0" y="0"/>
          <a:chExt cx="0" cy="0"/>
        </a:xfrm>
      </p:grpSpPr>
      <p:grpSp>
        <p:nvGrpSpPr>
          <p:cNvPr id="6054" name="Google Shape;6054;p5608"/>
          <p:cNvGrpSpPr/>
          <p:nvPr/>
        </p:nvGrpSpPr>
        <p:grpSpPr>
          <a:xfrm>
            <a:off x="0" y="5020348"/>
            <a:ext cx="12192000" cy="1837653"/>
            <a:chOff x="0" y="5020347"/>
            <a:chExt cx="12192000" cy="1837653"/>
          </a:xfrm>
        </p:grpSpPr>
        <p:sp>
          <p:nvSpPr>
            <p:cNvPr id="6055" name="Google Shape;6055;p560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056" name="Google Shape;6056;p560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057" name="Google Shape;6057;p560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6058" name="Google Shape;6058;p560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059" name="Google Shape;6059;p5608"/>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60" name="Google Shape;6060;p5608"/>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Tree>
    <p:extLst>
      <p:ext uri="{BB962C8B-B14F-4D97-AF65-F5344CB8AC3E}">
        <p14:creationId xmlns:p14="http://schemas.microsoft.com/office/powerpoint/2010/main" val="135332166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3">
    <p:spTree>
      <p:nvGrpSpPr>
        <p:cNvPr id="1" name="Shape 10793"/>
        <p:cNvGrpSpPr/>
        <p:nvPr/>
      </p:nvGrpSpPr>
      <p:grpSpPr>
        <a:xfrm>
          <a:off x="0" y="0"/>
          <a:ext cx="0" cy="0"/>
          <a:chOff x="0" y="0"/>
          <a:chExt cx="0" cy="0"/>
        </a:xfrm>
      </p:grpSpPr>
      <p:sp>
        <p:nvSpPr>
          <p:cNvPr id="10794" name="Google Shape;10794;p1482"/>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95" name="Google Shape;10795;p1482"/>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796" name="Google Shape;10796;p148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0797" name="Google Shape;10797;p14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798" name="Google Shape;10798;p14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0799" name="Google Shape;10799;p1482"/>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0800" name="Google Shape;10800;p1482"/>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0801" name="Google Shape;10801;p1482"/>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802" name="Google Shape;10802;p1482"/>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780.xml><?xml version="1.0" encoding="utf-8"?>
<p:sldLayout xmlns:a="http://schemas.openxmlformats.org/drawingml/2006/main" xmlns:r="http://schemas.openxmlformats.org/officeDocument/2006/relationships" xmlns:p="http://schemas.openxmlformats.org/presentationml/2006/main" matchingName="23_Photo Slide">
  <p:cSld name="23_Photo Slide">
    <p:spTree>
      <p:nvGrpSpPr>
        <p:cNvPr id="1" name="Shape 6061"/>
        <p:cNvGrpSpPr/>
        <p:nvPr/>
      </p:nvGrpSpPr>
      <p:grpSpPr>
        <a:xfrm>
          <a:off x="0" y="0"/>
          <a:ext cx="0" cy="0"/>
          <a:chOff x="0" y="0"/>
          <a:chExt cx="0" cy="0"/>
        </a:xfrm>
      </p:grpSpPr>
      <p:sp>
        <p:nvSpPr>
          <p:cNvPr id="6062" name="Google Shape;6062;p5609"/>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6063" name="Google Shape;6063;p560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064" name="Google Shape;6064;p5609"/>
          <p:cNvGrpSpPr/>
          <p:nvPr/>
        </p:nvGrpSpPr>
        <p:grpSpPr>
          <a:xfrm>
            <a:off x="0" y="5379427"/>
            <a:ext cx="2807368" cy="753891"/>
            <a:chOff x="0" y="5379426"/>
            <a:chExt cx="2807368" cy="753891"/>
          </a:xfrm>
        </p:grpSpPr>
        <p:sp>
          <p:nvSpPr>
            <p:cNvPr id="6065" name="Google Shape;6065;p560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066" name="Google Shape;6066;p560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6067" name="Google Shape;6067;p5609"/>
          <p:cNvSpPr>
            <a:spLocks noGrp="1"/>
          </p:cNvSpPr>
          <p:nvPr>
            <p:ph type="pic" idx="2"/>
          </p:nvPr>
        </p:nvSpPr>
        <p:spPr>
          <a:xfrm>
            <a:off x="2807368" y="457202"/>
            <a:ext cx="8915400" cy="5943598"/>
          </a:xfrm>
          <a:prstGeom prst="rect">
            <a:avLst/>
          </a:prstGeom>
          <a:noFill/>
          <a:ln>
            <a:noFill/>
          </a:ln>
        </p:spPr>
      </p:sp>
      <p:pic>
        <p:nvPicPr>
          <p:cNvPr id="6068" name="Google Shape;6068;p5609"/>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095807098"/>
      </p:ext>
    </p:extLst>
  </p:cSld>
  <p:clrMapOvr>
    <a:masterClrMapping/>
  </p:clrMapOvr>
</p:sldLayout>
</file>

<file path=ppt/slideLayouts/slideLayout1781.xml><?xml version="1.0" encoding="utf-8"?>
<p:sldLayout xmlns:a="http://schemas.openxmlformats.org/drawingml/2006/main" xmlns:r="http://schemas.openxmlformats.org/officeDocument/2006/relationships" xmlns:p="http://schemas.openxmlformats.org/presentationml/2006/main" matchingName="55_Quotation">
  <p:cSld name="55_Quotation">
    <p:spTree>
      <p:nvGrpSpPr>
        <p:cNvPr id="1" name="Shape 6069"/>
        <p:cNvGrpSpPr/>
        <p:nvPr/>
      </p:nvGrpSpPr>
      <p:grpSpPr>
        <a:xfrm>
          <a:off x="0" y="0"/>
          <a:ext cx="0" cy="0"/>
          <a:chOff x="0" y="0"/>
          <a:chExt cx="0" cy="0"/>
        </a:xfrm>
      </p:grpSpPr>
      <p:sp>
        <p:nvSpPr>
          <p:cNvPr id="6070" name="Google Shape;6070;p5610"/>
          <p:cNvSpPr/>
          <p:nvPr/>
        </p:nvSpPr>
        <p:spPr>
          <a:xfrm>
            <a:off x="1427357"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071" name="Google Shape;6071;p561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72" name="Google Shape;6072;p561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073" name="Google Shape;6073;p561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074" name="Google Shape;6074;p56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75" name="Google Shape;6075;p561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076" name="Google Shape;6076;p5610"/>
          <p:cNvGrpSpPr/>
          <p:nvPr/>
        </p:nvGrpSpPr>
        <p:grpSpPr>
          <a:xfrm>
            <a:off x="7191543" y="1"/>
            <a:ext cx="5000459" cy="1425992"/>
            <a:chOff x="7191542" y="1"/>
            <a:chExt cx="5000459" cy="1425992"/>
          </a:xfrm>
        </p:grpSpPr>
        <p:pic>
          <p:nvPicPr>
            <p:cNvPr id="6077" name="Google Shape;6077;p56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78" name="Google Shape;6078;p5610"/>
            <p:cNvGrpSpPr/>
            <p:nvPr/>
          </p:nvGrpSpPr>
          <p:grpSpPr>
            <a:xfrm>
              <a:off x="7191542" y="1"/>
              <a:ext cx="5000459" cy="1425992"/>
              <a:chOff x="7186272" y="0"/>
              <a:chExt cx="5005729" cy="1427495"/>
            </a:xfrm>
          </p:grpSpPr>
          <p:sp>
            <p:nvSpPr>
              <p:cNvPr id="6079" name="Google Shape;6079;p56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080" name="Google Shape;6080;p56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6081" name="Google Shape;6081;p5610"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206921547"/>
      </p:ext>
    </p:extLst>
  </p:cSld>
  <p:clrMapOvr>
    <a:masterClrMapping/>
  </p:clrMapOvr>
</p:sldLayout>
</file>

<file path=ppt/slideLayouts/slideLayout1782.xml><?xml version="1.0" encoding="utf-8"?>
<p:sldLayout xmlns:a="http://schemas.openxmlformats.org/drawingml/2006/main" xmlns:r="http://schemas.openxmlformats.org/officeDocument/2006/relationships" xmlns:p="http://schemas.openxmlformats.org/presentationml/2006/main" matchingName="33_Title and Content">
  <p:cSld name="33_Title and Content">
    <p:spTree>
      <p:nvGrpSpPr>
        <p:cNvPr id="1" name="Shape 6082"/>
        <p:cNvGrpSpPr/>
        <p:nvPr/>
      </p:nvGrpSpPr>
      <p:grpSpPr>
        <a:xfrm>
          <a:off x="0" y="0"/>
          <a:ext cx="0" cy="0"/>
          <a:chOff x="0" y="0"/>
          <a:chExt cx="0" cy="0"/>
        </a:xfrm>
      </p:grpSpPr>
      <p:grpSp>
        <p:nvGrpSpPr>
          <p:cNvPr id="6083" name="Google Shape;6083;p5611"/>
          <p:cNvGrpSpPr/>
          <p:nvPr/>
        </p:nvGrpSpPr>
        <p:grpSpPr>
          <a:xfrm>
            <a:off x="7191543" y="1"/>
            <a:ext cx="5000459" cy="1425992"/>
            <a:chOff x="7191542" y="1"/>
            <a:chExt cx="5000459" cy="1425992"/>
          </a:xfrm>
        </p:grpSpPr>
        <p:pic>
          <p:nvPicPr>
            <p:cNvPr id="6084" name="Google Shape;6084;p56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85" name="Google Shape;6085;p5611"/>
            <p:cNvGrpSpPr/>
            <p:nvPr/>
          </p:nvGrpSpPr>
          <p:grpSpPr>
            <a:xfrm>
              <a:off x="7191542" y="1"/>
              <a:ext cx="5000459" cy="1425992"/>
              <a:chOff x="7186272" y="0"/>
              <a:chExt cx="5005729" cy="1427495"/>
            </a:xfrm>
          </p:grpSpPr>
          <p:sp>
            <p:nvSpPr>
              <p:cNvPr id="6086" name="Google Shape;6086;p56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087" name="Google Shape;6087;p56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6088" name="Google Shape;6088;p5611"/>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89" name="Google Shape;6089;p5611"/>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090" name="Google Shape;6090;p561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091" name="Google Shape;6091;p56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92" name="Google Shape;6092;p561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493542599"/>
      </p:ext>
    </p:extLst>
  </p:cSld>
  <p:clrMapOvr>
    <a:masterClrMapping/>
  </p:clrMapOvr>
</p:sldLayout>
</file>

<file path=ppt/slideLayouts/slideLayout1783.xml><?xml version="1.0" encoding="utf-8"?>
<p:sldLayout xmlns:a="http://schemas.openxmlformats.org/drawingml/2006/main" xmlns:r="http://schemas.openxmlformats.org/officeDocument/2006/relationships" xmlns:p="http://schemas.openxmlformats.org/presentationml/2006/main" matchingName="23_Two Content">
  <p:cSld name="23_Two Content">
    <p:spTree>
      <p:nvGrpSpPr>
        <p:cNvPr id="1" name="Shape 6093"/>
        <p:cNvGrpSpPr/>
        <p:nvPr/>
      </p:nvGrpSpPr>
      <p:grpSpPr>
        <a:xfrm>
          <a:off x="0" y="0"/>
          <a:ext cx="0" cy="0"/>
          <a:chOff x="0" y="0"/>
          <a:chExt cx="0" cy="0"/>
        </a:xfrm>
      </p:grpSpPr>
      <p:sp>
        <p:nvSpPr>
          <p:cNvPr id="6094" name="Google Shape;6094;p5612"/>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95" name="Google Shape;6095;p5612"/>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6096" name="Google Shape;6096;p5612"/>
          <p:cNvGrpSpPr/>
          <p:nvPr/>
        </p:nvGrpSpPr>
        <p:grpSpPr>
          <a:xfrm>
            <a:off x="7191543" y="1"/>
            <a:ext cx="5000459" cy="1425992"/>
            <a:chOff x="7191542" y="1"/>
            <a:chExt cx="5000459" cy="1425992"/>
          </a:xfrm>
        </p:grpSpPr>
        <p:pic>
          <p:nvPicPr>
            <p:cNvPr id="6097" name="Google Shape;6097;p56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98" name="Google Shape;6098;p5612"/>
            <p:cNvGrpSpPr/>
            <p:nvPr/>
          </p:nvGrpSpPr>
          <p:grpSpPr>
            <a:xfrm>
              <a:off x="7191542" y="1"/>
              <a:ext cx="5000459" cy="1425992"/>
              <a:chOff x="7186272" y="0"/>
              <a:chExt cx="5005729" cy="1427495"/>
            </a:xfrm>
          </p:grpSpPr>
          <p:sp>
            <p:nvSpPr>
              <p:cNvPr id="6099" name="Google Shape;6099;p56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100" name="Google Shape;6100;p56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6101" name="Google Shape;6101;p5612"/>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102" name="Google Shape;6102;p5612"/>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103" name="Google Shape;6103;p56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04" name="Google Shape;6104;p561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80224493"/>
      </p:ext>
    </p:extLst>
  </p:cSld>
  <p:clrMapOvr>
    <a:masterClrMapping/>
  </p:clrMapOvr>
</p:sldLayout>
</file>

<file path=ppt/slideLayouts/slideLayout1784.xml><?xml version="1.0" encoding="utf-8"?>
<p:sldLayout xmlns:a="http://schemas.openxmlformats.org/drawingml/2006/main" xmlns:r="http://schemas.openxmlformats.org/officeDocument/2006/relationships" xmlns:p="http://schemas.openxmlformats.org/presentationml/2006/main" matchingName="23_Comparison">
  <p:cSld name="23_Comparison">
    <p:spTree>
      <p:nvGrpSpPr>
        <p:cNvPr id="1" name="Shape 6105"/>
        <p:cNvGrpSpPr/>
        <p:nvPr/>
      </p:nvGrpSpPr>
      <p:grpSpPr>
        <a:xfrm>
          <a:off x="0" y="0"/>
          <a:ext cx="0" cy="0"/>
          <a:chOff x="0" y="0"/>
          <a:chExt cx="0" cy="0"/>
        </a:xfrm>
      </p:grpSpPr>
      <p:grpSp>
        <p:nvGrpSpPr>
          <p:cNvPr id="6106" name="Google Shape;6106;p5613"/>
          <p:cNvGrpSpPr/>
          <p:nvPr/>
        </p:nvGrpSpPr>
        <p:grpSpPr>
          <a:xfrm>
            <a:off x="7191543" y="1"/>
            <a:ext cx="5000459" cy="1425992"/>
            <a:chOff x="7191542" y="1"/>
            <a:chExt cx="5000459" cy="1425992"/>
          </a:xfrm>
        </p:grpSpPr>
        <p:pic>
          <p:nvPicPr>
            <p:cNvPr id="6107" name="Google Shape;6107;p56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108" name="Google Shape;6108;p5613"/>
            <p:cNvGrpSpPr/>
            <p:nvPr/>
          </p:nvGrpSpPr>
          <p:grpSpPr>
            <a:xfrm>
              <a:off x="7191542" y="1"/>
              <a:ext cx="5000459" cy="1425992"/>
              <a:chOff x="7186272" y="0"/>
              <a:chExt cx="5005729" cy="1427495"/>
            </a:xfrm>
          </p:grpSpPr>
          <p:sp>
            <p:nvSpPr>
              <p:cNvPr id="6109" name="Google Shape;6109;p56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110" name="Google Shape;6110;p56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6111" name="Google Shape;6111;p5613"/>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12" name="Google Shape;6112;p5613"/>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6113" name="Google Shape;6113;p5613"/>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114" name="Google Shape;6114;p561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6115" name="Google Shape;6115;p561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116" name="Google Shape;6116;p561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117" name="Google Shape;6117;p56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18" name="Google Shape;6118;p561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495868937"/>
      </p:ext>
    </p:extLst>
  </p:cSld>
  <p:clrMapOvr>
    <a:masterClrMapping/>
  </p:clrMapOvr>
</p:sldLayout>
</file>

<file path=ppt/slideLayouts/slideLayout1785.xml><?xml version="1.0" encoding="utf-8"?>
<p:sldLayout xmlns:a="http://schemas.openxmlformats.org/drawingml/2006/main" xmlns:r="http://schemas.openxmlformats.org/officeDocument/2006/relationships" xmlns:p="http://schemas.openxmlformats.org/presentationml/2006/main" matchingName="23_Title Only">
  <p:cSld name="23_Title Only">
    <p:spTree>
      <p:nvGrpSpPr>
        <p:cNvPr id="1" name="Shape 6119"/>
        <p:cNvGrpSpPr/>
        <p:nvPr/>
      </p:nvGrpSpPr>
      <p:grpSpPr>
        <a:xfrm>
          <a:off x="0" y="0"/>
          <a:ext cx="0" cy="0"/>
          <a:chOff x="0" y="0"/>
          <a:chExt cx="0" cy="0"/>
        </a:xfrm>
      </p:grpSpPr>
      <p:grpSp>
        <p:nvGrpSpPr>
          <p:cNvPr id="6120" name="Google Shape;6120;p5614"/>
          <p:cNvGrpSpPr/>
          <p:nvPr/>
        </p:nvGrpSpPr>
        <p:grpSpPr>
          <a:xfrm>
            <a:off x="7191543" y="1"/>
            <a:ext cx="5000459" cy="1425992"/>
            <a:chOff x="7191542" y="1"/>
            <a:chExt cx="5000459" cy="1425992"/>
          </a:xfrm>
        </p:grpSpPr>
        <p:pic>
          <p:nvPicPr>
            <p:cNvPr id="6121" name="Google Shape;6121;p56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122" name="Google Shape;6122;p5614"/>
            <p:cNvGrpSpPr/>
            <p:nvPr/>
          </p:nvGrpSpPr>
          <p:grpSpPr>
            <a:xfrm>
              <a:off x="7191542" y="1"/>
              <a:ext cx="5000459" cy="1425992"/>
              <a:chOff x="7186272" y="0"/>
              <a:chExt cx="5005729" cy="1427495"/>
            </a:xfrm>
          </p:grpSpPr>
          <p:sp>
            <p:nvSpPr>
              <p:cNvPr id="6123" name="Google Shape;6123;p56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124" name="Google Shape;6124;p56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6125" name="Google Shape;6125;p561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26" name="Google Shape;6126;p561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127" name="Google Shape;6127;p56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28" name="Google Shape;6128;p561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061857052"/>
      </p:ext>
    </p:extLst>
  </p:cSld>
  <p:clrMapOvr>
    <a:masterClrMapping/>
  </p:clrMapOvr>
</p:sldLayout>
</file>

<file path=ppt/slideLayouts/slideLayout1786.xml><?xml version="1.0" encoding="utf-8"?>
<p:sldLayout xmlns:a="http://schemas.openxmlformats.org/drawingml/2006/main" xmlns:r="http://schemas.openxmlformats.org/officeDocument/2006/relationships" xmlns:p="http://schemas.openxmlformats.org/presentationml/2006/main" matchingName="23_End">
  <p:cSld name="23_End">
    <p:spTree>
      <p:nvGrpSpPr>
        <p:cNvPr id="1" name="Shape 6129"/>
        <p:cNvGrpSpPr/>
        <p:nvPr/>
      </p:nvGrpSpPr>
      <p:grpSpPr>
        <a:xfrm>
          <a:off x="0" y="0"/>
          <a:ext cx="0" cy="0"/>
          <a:chOff x="0" y="0"/>
          <a:chExt cx="0" cy="0"/>
        </a:xfrm>
      </p:grpSpPr>
      <p:grpSp>
        <p:nvGrpSpPr>
          <p:cNvPr id="6130" name="Google Shape;6130;p5615"/>
          <p:cNvGrpSpPr/>
          <p:nvPr/>
        </p:nvGrpSpPr>
        <p:grpSpPr>
          <a:xfrm>
            <a:off x="0" y="0"/>
            <a:ext cx="12192000" cy="2148830"/>
            <a:chOff x="0" y="0"/>
            <a:chExt cx="12192000" cy="2148830"/>
          </a:xfrm>
        </p:grpSpPr>
        <p:sp>
          <p:nvSpPr>
            <p:cNvPr id="6131" name="Google Shape;6131;p561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132" name="Google Shape;6132;p561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6133" name="Google Shape;6133;p5615"/>
          <p:cNvSpPr/>
          <p:nvPr/>
        </p:nvSpPr>
        <p:spPr>
          <a:xfrm>
            <a:off x="902368" y="1517698"/>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134" name="Google Shape;6134;p5615"/>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135" name="Google Shape;6135;p561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9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136" name="Google Shape;6136;p5615"/>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6137" name="Google Shape;6137;p561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811359226"/>
      </p:ext>
    </p:extLst>
  </p:cSld>
  <p:clrMapOvr>
    <a:masterClrMapping/>
  </p:clrMapOvr>
</p:sldLayout>
</file>

<file path=ppt/slideLayouts/slideLayout1787.xml><?xml version="1.0" encoding="utf-8"?>
<p:sldLayout xmlns:a="http://schemas.openxmlformats.org/drawingml/2006/main" xmlns:r="http://schemas.openxmlformats.org/officeDocument/2006/relationships" xmlns:p="http://schemas.openxmlformats.org/presentationml/2006/main" matchingName="23_Blank">
  <p:cSld name="23_Blank">
    <p:spTree>
      <p:nvGrpSpPr>
        <p:cNvPr id="1" name="Shape 6138"/>
        <p:cNvGrpSpPr/>
        <p:nvPr/>
      </p:nvGrpSpPr>
      <p:grpSpPr>
        <a:xfrm>
          <a:off x="0" y="0"/>
          <a:ext cx="0" cy="0"/>
          <a:chOff x="0" y="0"/>
          <a:chExt cx="0" cy="0"/>
        </a:xfrm>
      </p:grpSpPr>
      <p:sp>
        <p:nvSpPr>
          <p:cNvPr id="6139" name="Google Shape;6139;p561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140" name="Google Shape;6140;p56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41" name="Google Shape;6141;p561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142" name="Google Shape;6142;p5616"/>
          <p:cNvGrpSpPr/>
          <p:nvPr/>
        </p:nvGrpSpPr>
        <p:grpSpPr>
          <a:xfrm>
            <a:off x="7191543" y="1"/>
            <a:ext cx="5000459" cy="1425992"/>
            <a:chOff x="7191542" y="1"/>
            <a:chExt cx="5000459" cy="1425992"/>
          </a:xfrm>
        </p:grpSpPr>
        <p:pic>
          <p:nvPicPr>
            <p:cNvPr id="6143" name="Google Shape;6143;p56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144" name="Google Shape;6144;p5616"/>
            <p:cNvGrpSpPr/>
            <p:nvPr/>
          </p:nvGrpSpPr>
          <p:grpSpPr>
            <a:xfrm>
              <a:off x="7191542" y="1"/>
              <a:ext cx="5000459" cy="1425992"/>
              <a:chOff x="7186272" y="0"/>
              <a:chExt cx="5005729" cy="1427495"/>
            </a:xfrm>
          </p:grpSpPr>
          <p:sp>
            <p:nvSpPr>
              <p:cNvPr id="6145" name="Google Shape;6145;p56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146" name="Google Shape;6146;p56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extLst>
      <p:ext uri="{BB962C8B-B14F-4D97-AF65-F5344CB8AC3E}">
        <p14:creationId xmlns:p14="http://schemas.microsoft.com/office/powerpoint/2010/main" val="386275598"/>
      </p:ext>
    </p:extLst>
  </p:cSld>
  <p:clrMapOvr>
    <a:masterClrMapping/>
  </p:clrMapOvr>
</p:sldLayout>
</file>

<file path=ppt/slideLayouts/slideLayout1788.xml><?xml version="1.0" encoding="utf-8"?>
<p:sldLayout xmlns:a="http://schemas.openxmlformats.org/drawingml/2006/main" xmlns:r="http://schemas.openxmlformats.org/officeDocument/2006/relationships" xmlns:p="http://schemas.openxmlformats.org/presentationml/2006/main" matchingName="25_Cover">
  <p:cSld name="25_Cover">
    <p:spTree>
      <p:nvGrpSpPr>
        <p:cNvPr id="1" name="Shape 6147"/>
        <p:cNvGrpSpPr/>
        <p:nvPr/>
      </p:nvGrpSpPr>
      <p:grpSpPr>
        <a:xfrm>
          <a:off x="0" y="0"/>
          <a:ext cx="0" cy="0"/>
          <a:chOff x="0" y="0"/>
          <a:chExt cx="0" cy="0"/>
        </a:xfrm>
      </p:grpSpPr>
      <p:sp>
        <p:nvSpPr>
          <p:cNvPr id="6148" name="Google Shape;6148;p5617"/>
          <p:cNvSpPr/>
          <p:nvPr/>
        </p:nvSpPr>
        <p:spPr>
          <a:xfrm>
            <a:off x="902368" y="1294414"/>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149" name="Google Shape;6149;p5617"/>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50" name="Google Shape;6150;p5617"/>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
        <p:nvSpPr>
          <p:cNvPr id="6151" name="Google Shape;6151;p5617"/>
          <p:cNvSpPr>
            <a:spLocks noGrp="1"/>
          </p:cNvSpPr>
          <p:nvPr>
            <p:ph type="pic" idx="2"/>
          </p:nvPr>
        </p:nvSpPr>
        <p:spPr>
          <a:xfrm>
            <a:off x="7118684" y="233915"/>
            <a:ext cx="5073316" cy="5943600"/>
          </a:xfrm>
          <a:prstGeom prst="rect">
            <a:avLst/>
          </a:prstGeom>
          <a:noFill/>
          <a:ln>
            <a:noFill/>
          </a:ln>
        </p:spPr>
      </p:sp>
      <p:grpSp>
        <p:nvGrpSpPr>
          <p:cNvPr id="6152" name="Google Shape;6152;p5617"/>
          <p:cNvGrpSpPr/>
          <p:nvPr/>
        </p:nvGrpSpPr>
        <p:grpSpPr>
          <a:xfrm>
            <a:off x="0" y="5020349"/>
            <a:ext cx="12192000" cy="1837653"/>
            <a:chOff x="0" y="5020348"/>
            <a:chExt cx="12192000" cy="1837653"/>
          </a:xfrm>
        </p:grpSpPr>
        <p:sp>
          <p:nvSpPr>
            <p:cNvPr id="6153" name="Google Shape;6153;p561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154" name="Google Shape;6154;p561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6155" name="Google Shape;6155;p561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22910988"/>
      </p:ext>
    </p:extLst>
  </p:cSld>
  <p:clrMapOvr>
    <a:masterClrMapping/>
  </p:clrMapOvr>
</p:sldLayout>
</file>

<file path=ppt/slideLayouts/slideLayout1789.xml><?xml version="1.0" encoding="utf-8"?>
<p:sldLayout xmlns:a="http://schemas.openxmlformats.org/drawingml/2006/main" xmlns:r="http://schemas.openxmlformats.org/officeDocument/2006/relationships" xmlns:p="http://schemas.openxmlformats.org/presentationml/2006/main" matchingName="25_Divider">
  <p:cSld name="25_Divider">
    <p:bg>
      <p:bgPr>
        <a:solidFill>
          <a:schemeClr val="lt2"/>
        </a:solidFill>
        <a:effectLst/>
      </p:bgPr>
    </p:bg>
    <p:spTree>
      <p:nvGrpSpPr>
        <p:cNvPr id="1" name="Shape 6156"/>
        <p:cNvGrpSpPr/>
        <p:nvPr/>
      </p:nvGrpSpPr>
      <p:grpSpPr>
        <a:xfrm>
          <a:off x="0" y="0"/>
          <a:ext cx="0" cy="0"/>
          <a:chOff x="0" y="0"/>
          <a:chExt cx="0" cy="0"/>
        </a:xfrm>
      </p:grpSpPr>
      <p:grpSp>
        <p:nvGrpSpPr>
          <p:cNvPr id="6157" name="Google Shape;6157;p5618"/>
          <p:cNvGrpSpPr/>
          <p:nvPr/>
        </p:nvGrpSpPr>
        <p:grpSpPr>
          <a:xfrm>
            <a:off x="0" y="5020348"/>
            <a:ext cx="12192000" cy="1837653"/>
            <a:chOff x="0" y="5020347"/>
            <a:chExt cx="12192000" cy="1837653"/>
          </a:xfrm>
        </p:grpSpPr>
        <p:sp>
          <p:nvSpPr>
            <p:cNvPr id="6158" name="Google Shape;6158;p561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159" name="Google Shape;6159;p561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160" name="Google Shape;6160;p561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6161" name="Google Shape;6161;p561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162" name="Google Shape;6162;p5618"/>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63" name="Google Shape;6163;p5618"/>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Tree>
    <p:extLst>
      <p:ext uri="{BB962C8B-B14F-4D97-AF65-F5344CB8AC3E}">
        <p14:creationId xmlns:p14="http://schemas.microsoft.com/office/powerpoint/2010/main" val="95658826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2">
    <p:spTree>
      <p:nvGrpSpPr>
        <p:cNvPr id="1" name="Shape 10803"/>
        <p:cNvGrpSpPr/>
        <p:nvPr/>
      </p:nvGrpSpPr>
      <p:grpSpPr>
        <a:xfrm>
          <a:off x="0" y="0"/>
          <a:ext cx="0" cy="0"/>
          <a:chOff x="0" y="0"/>
          <a:chExt cx="0" cy="0"/>
        </a:xfrm>
      </p:grpSpPr>
      <p:sp>
        <p:nvSpPr>
          <p:cNvPr id="10804" name="Google Shape;10804;p1483"/>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805" name="Google Shape;10805;p148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806" name="Google Shape;10806;p148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807" name="Google Shape;10807;p1483"/>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808" name="Google Shape;10808;p148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790.xml><?xml version="1.0" encoding="utf-8"?>
<p:sldLayout xmlns:a="http://schemas.openxmlformats.org/drawingml/2006/main" xmlns:r="http://schemas.openxmlformats.org/officeDocument/2006/relationships" xmlns:p="http://schemas.openxmlformats.org/presentationml/2006/main" matchingName="24_Photo Slide">
  <p:cSld name="24_Photo Slide">
    <p:spTree>
      <p:nvGrpSpPr>
        <p:cNvPr id="1" name="Shape 6164"/>
        <p:cNvGrpSpPr/>
        <p:nvPr/>
      </p:nvGrpSpPr>
      <p:grpSpPr>
        <a:xfrm>
          <a:off x="0" y="0"/>
          <a:ext cx="0" cy="0"/>
          <a:chOff x="0" y="0"/>
          <a:chExt cx="0" cy="0"/>
        </a:xfrm>
      </p:grpSpPr>
      <p:sp>
        <p:nvSpPr>
          <p:cNvPr id="6165" name="Google Shape;6165;p5619"/>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6166" name="Google Shape;6166;p561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167" name="Google Shape;6167;p5619"/>
          <p:cNvGrpSpPr/>
          <p:nvPr/>
        </p:nvGrpSpPr>
        <p:grpSpPr>
          <a:xfrm>
            <a:off x="0" y="5379427"/>
            <a:ext cx="2807368" cy="753891"/>
            <a:chOff x="0" y="5379426"/>
            <a:chExt cx="2807368" cy="753891"/>
          </a:xfrm>
        </p:grpSpPr>
        <p:sp>
          <p:nvSpPr>
            <p:cNvPr id="6168" name="Google Shape;6168;p561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169" name="Google Shape;6169;p561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6170" name="Google Shape;6170;p5619"/>
          <p:cNvSpPr>
            <a:spLocks noGrp="1"/>
          </p:cNvSpPr>
          <p:nvPr>
            <p:ph type="pic" idx="2"/>
          </p:nvPr>
        </p:nvSpPr>
        <p:spPr>
          <a:xfrm>
            <a:off x="2807368" y="457202"/>
            <a:ext cx="8915400" cy="5943598"/>
          </a:xfrm>
          <a:prstGeom prst="rect">
            <a:avLst/>
          </a:prstGeom>
          <a:noFill/>
          <a:ln>
            <a:noFill/>
          </a:ln>
        </p:spPr>
      </p:sp>
      <p:pic>
        <p:nvPicPr>
          <p:cNvPr id="6171" name="Google Shape;6171;p5619"/>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397273112"/>
      </p:ext>
    </p:extLst>
  </p:cSld>
  <p:clrMapOvr>
    <a:masterClrMapping/>
  </p:clrMapOvr>
</p:sldLayout>
</file>

<file path=ppt/slideLayouts/slideLayout1791.xml><?xml version="1.0" encoding="utf-8"?>
<p:sldLayout xmlns:a="http://schemas.openxmlformats.org/drawingml/2006/main" xmlns:r="http://schemas.openxmlformats.org/officeDocument/2006/relationships" xmlns:p="http://schemas.openxmlformats.org/presentationml/2006/main" matchingName="56_Quotation">
  <p:cSld name="56_Quotation">
    <p:spTree>
      <p:nvGrpSpPr>
        <p:cNvPr id="1" name="Shape 6172"/>
        <p:cNvGrpSpPr/>
        <p:nvPr/>
      </p:nvGrpSpPr>
      <p:grpSpPr>
        <a:xfrm>
          <a:off x="0" y="0"/>
          <a:ext cx="0" cy="0"/>
          <a:chOff x="0" y="0"/>
          <a:chExt cx="0" cy="0"/>
        </a:xfrm>
      </p:grpSpPr>
      <p:sp>
        <p:nvSpPr>
          <p:cNvPr id="6173" name="Google Shape;6173;p5620"/>
          <p:cNvSpPr/>
          <p:nvPr/>
        </p:nvSpPr>
        <p:spPr>
          <a:xfrm>
            <a:off x="1427357"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174" name="Google Shape;6174;p562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75" name="Google Shape;6175;p56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176" name="Google Shape;6176;p562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177" name="Google Shape;6177;p56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78" name="Google Shape;6178;p562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179" name="Google Shape;6179;p5620"/>
          <p:cNvGrpSpPr/>
          <p:nvPr/>
        </p:nvGrpSpPr>
        <p:grpSpPr>
          <a:xfrm>
            <a:off x="7191543" y="1"/>
            <a:ext cx="5000459" cy="1425992"/>
            <a:chOff x="7191542" y="1"/>
            <a:chExt cx="5000459" cy="1425992"/>
          </a:xfrm>
        </p:grpSpPr>
        <p:pic>
          <p:nvPicPr>
            <p:cNvPr id="6180" name="Google Shape;6180;p56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181" name="Google Shape;6181;p5620"/>
            <p:cNvGrpSpPr/>
            <p:nvPr/>
          </p:nvGrpSpPr>
          <p:grpSpPr>
            <a:xfrm>
              <a:off x="7191542" y="1"/>
              <a:ext cx="5000459" cy="1425992"/>
              <a:chOff x="7186272" y="0"/>
              <a:chExt cx="5005729" cy="1427495"/>
            </a:xfrm>
          </p:grpSpPr>
          <p:sp>
            <p:nvSpPr>
              <p:cNvPr id="6182" name="Google Shape;6182;p56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183" name="Google Shape;6183;p56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6184" name="Google Shape;6184;p5620"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2149596439"/>
      </p:ext>
    </p:extLst>
  </p:cSld>
  <p:clrMapOvr>
    <a:masterClrMapping/>
  </p:clrMapOvr>
</p:sldLayout>
</file>

<file path=ppt/slideLayouts/slideLayout1792.xml><?xml version="1.0" encoding="utf-8"?>
<p:sldLayout xmlns:a="http://schemas.openxmlformats.org/drawingml/2006/main" xmlns:r="http://schemas.openxmlformats.org/officeDocument/2006/relationships" xmlns:p="http://schemas.openxmlformats.org/presentationml/2006/main" matchingName="35_Title and Content">
  <p:cSld name="35_Title and Content">
    <p:spTree>
      <p:nvGrpSpPr>
        <p:cNvPr id="1" name="Shape 6185"/>
        <p:cNvGrpSpPr/>
        <p:nvPr/>
      </p:nvGrpSpPr>
      <p:grpSpPr>
        <a:xfrm>
          <a:off x="0" y="0"/>
          <a:ext cx="0" cy="0"/>
          <a:chOff x="0" y="0"/>
          <a:chExt cx="0" cy="0"/>
        </a:xfrm>
      </p:grpSpPr>
      <p:grpSp>
        <p:nvGrpSpPr>
          <p:cNvPr id="6186" name="Google Shape;6186;p5621"/>
          <p:cNvGrpSpPr/>
          <p:nvPr/>
        </p:nvGrpSpPr>
        <p:grpSpPr>
          <a:xfrm>
            <a:off x="7191543" y="1"/>
            <a:ext cx="5000459" cy="1425992"/>
            <a:chOff x="7191542" y="1"/>
            <a:chExt cx="5000459" cy="1425992"/>
          </a:xfrm>
        </p:grpSpPr>
        <p:pic>
          <p:nvPicPr>
            <p:cNvPr id="6187" name="Google Shape;6187;p56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188" name="Google Shape;6188;p5621"/>
            <p:cNvGrpSpPr/>
            <p:nvPr/>
          </p:nvGrpSpPr>
          <p:grpSpPr>
            <a:xfrm>
              <a:off x="7191542" y="1"/>
              <a:ext cx="5000459" cy="1425992"/>
              <a:chOff x="7186272" y="0"/>
              <a:chExt cx="5005729" cy="1427495"/>
            </a:xfrm>
          </p:grpSpPr>
          <p:sp>
            <p:nvSpPr>
              <p:cNvPr id="6189" name="Google Shape;6189;p56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190" name="Google Shape;6190;p56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6191" name="Google Shape;6191;p5621"/>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92" name="Google Shape;6192;p5621"/>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193" name="Google Shape;6193;p562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194" name="Google Shape;6194;p56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95" name="Google Shape;6195;p562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604599040"/>
      </p:ext>
    </p:extLst>
  </p:cSld>
  <p:clrMapOvr>
    <a:masterClrMapping/>
  </p:clrMapOvr>
</p:sldLayout>
</file>

<file path=ppt/slideLayouts/slideLayout1793.xml><?xml version="1.0" encoding="utf-8"?>
<p:sldLayout xmlns:a="http://schemas.openxmlformats.org/drawingml/2006/main" xmlns:r="http://schemas.openxmlformats.org/officeDocument/2006/relationships" xmlns:p="http://schemas.openxmlformats.org/presentationml/2006/main" matchingName="24_Two Content">
  <p:cSld name="24_Two Content">
    <p:spTree>
      <p:nvGrpSpPr>
        <p:cNvPr id="1" name="Shape 6196"/>
        <p:cNvGrpSpPr/>
        <p:nvPr/>
      </p:nvGrpSpPr>
      <p:grpSpPr>
        <a:xfrm>
          <a:off x="0" y="0"/>
          <a:ext cx="0" cy="0"/>
          <a:chOff x="0" y="0"/>
          <a:chExt cx="0" cy="0"/>
        </a:xfrm>
      </p:grpSpPr>
      <p:sp>
        <p:nvSpPr>
          <p:cNvPr id="6197" name="Google Shape;6197;p5622"/>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98" name="Google Shape;6198;p5622"/>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6199" name="Google Shape;6199;p5622"/>
          <p:cNvGrpSpPr/>
          <p:nvPr/>
        </p:nvGrpSpPr>
        <p:grpSpPr>
          <a:xfrm>
            <a:off x="7191543" y="1"/>
            <a:ext cx="5000459" cy="1425992"/>
            <a:chOff x="7191542" y="1"/>
            <a:chExt cx="5000459" cy="1425992"/>
          </a:xfrm>
        </p:grpSpPr>
        <p:pic>
          <p:nvPicPr>
            <p:cNvPr id="6200" name="Google Shape;6200;p56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01" name="Google Shape;6201;p5622"/>
            <p:cNvGrpSpPr/>
            <p:nvPr/>
          </p:nvGrpSpPr>
          <p:grpSpPr>
            <a:xfrm>
              <a:off x="7191542" y="1"/>
              <a:ext cx="5000459" cy="1425992"/>
              <a:chOff x="7186272" y="0"/>
              <a:chExt cx="5005729" cy="1427495"/>
            </a:xfrm>
          </p:grpSpPr>
          <p:sp>
            <p:nvSpPr>
              <p:cNvPr id="6202" name="Google Shape;6202;p56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203" name="Google Shape;6203;p56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6204" name="Google Shape;6204;p5622"/>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205" name="Google Shape;6205;p5622"/>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206" name="Google Shape;6206;p56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07" name="Google Shape;6207;p562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774229505"/>
      </p:ext>
    </p:extLst>
  </p:cSld>
  <p:clrMapOvr>
    <a:masterClrMapping/>
  </p:clrMapOvr>
</p:sldLayout>
</file>

<file path=ppt/slideLayouts/slideLayout1794.xml><?xml version="1.0" encoding="utf-8"?>
<p:sldLayout xmlns:a="http://schemas.openxmlformats.org/drawingml/2006/main" xmlns:r="http://schemas.openxmlformats.org/officeDocument/2006/relationships" xmlns:p="http://schemas.openxmlformats.org/presentationml/2006/main" matchingName="24_Comparison">
  <p:cSld name="24_Comparison">
    <p:spTree>
      <p:nvGrpSpPr>
        <p:cNvPr id="1" name="Shape 6208"/>
        <p:cNvGrpSpPr/>
        <p:nvPr/>
      </p:nvGrpSpPr>
      <p:grpSpPr>
        <a:xfrm>
          <a:off x="0" y="0"/>
          <a:ext cx="0" cy="0"/>
          <a:chOff x="0" y="0"/>
          <a:chExt cx="0" cy="0"/>
        </a:xfrm>
      </p:grpSpPr>
      <p:grpSp>
        <p:nvGrpSpPr>
          <p:cNvPr id="6209" name="Google Shape;6209;p5623"/>
          <p:cNvGrpSpPr/>
          <p:nvPr/>
        </p:nvGrpSpPr>
        <p:grpSpPr>
          <a:xfrm>
            <a:off x="7191543" y="1"/>
            <a:ext cx="5000459" cy="1425992"/>
            <a:chOff x="7191542" y="1"/>
            <a:chExt cx="5000459" cy="1425992"/>
          </a:xfrm>
        </p:grpSpPr>
        <p:pic>
          <p:nvPicPr>
            <p:cNvPr id="6210" name="Google Shape;6210;p56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11" name="Google Shape;6211;p5623"/>
            <p:cNvGrpSpPr/>
            <p:nvPr/>
          </p:nvGrpSpPr>
          <p:grpSpPr>
            <a:xfrm>
              <a:off x="7191542" y="1"/>
              <a:ext cx="5000459" cy="1425992"/>
              <a:chOff x="7186272" y="0"/>
              <a:chExt cx="5005729" cy="1427495"/>
            </a:xfrm>
          </p:grpSpPr>
          <p:sp>
            <p:nvSpPr>
              <p:cNvPr id="6212" name="Google Shape;6212;p56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213" name="Google Shape;6213;p56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6214" name="Google Shape;6214;p5623"/>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15" name="Google Shape;6215;p5623"/>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6216" name="Google Shape;6216;p5623"/>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217" name="Google Shape;6217;p562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6218" name="Google Shape;6218;p562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219" name="Google Shape;6219;p562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220" name="Google Shape;6220;p56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21" name="Google Shape;6221;p562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3398680"/>
      </p:ext>
    </p:extLst>
  </p:cSld>
  <p:clrMapOvr>
    <a:masterClrMapping/>
  </p:clrMapOvr>
</p:sldLayout>
</file>

<file path=ppt/slideLayouts/slideLayout1795.xml><?xml version="1.0" encoding="utf-8"?>
<p:sldLayout xmlns:a="http://schemas.openxmlformats.org/drawingml/2006/main" xmlns:r="http://schemas.openxmlformats.org/officeDocument/2006/relationships" xmlns:p="http://schemas.openxmlformats.org/presentationml/2006/main" matchingName="24_Title Only">
  <p:cSld name="24_Title Only">
    <p:spTree>
      <p:nvGrpSpPr>
        <p:cNvPr id="1" name="Shape 6222"/>
        <p:cNvGrpSpPr/>
        <p:nvPr/>
      </p:nvGrpSpPr>
      <p:grpSpPr>
        <a:xfrm>
          <a:off x="0" y="0"/>
          <a:ext cx="0" cy="0"/>
          <a:chOff x="0" y="0"/>
          <a:chExt cx="0" cy="0"/>
        </a:xfrm>
      </p:grpSpPr>
      <p:grpSp>
        <p:nvGrpSpPr>
          <p:cNvPr id="6223" name="Google Shape;6223;p5624"/>
          <p:cNvGrpSpPr/>
          <p:nvPr/>
        </p:nvGrpSpPr>
        <p:grpSpPr>
          <a:xfrm>
            <a:off x="7191543" y="1"/>
            <a:ext cx="5000459" cy="1425992"/>
            <a:chOff x="7191542" y="1"/>
            <a:chExt cx="5000459" cy="1425992"/>
          </a:xfrm>
        </p:grpSpPr>
        <p:pic>
          <p:nvPicPr>
            <p:cNvPr id="6224" name="Google Shape;6224;p56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25" name="Google Shape;6225;p5624"/>
            <p:cNvGrpSpPr/>
            <p:nvPr/>
          </p:nvGrpSpPr>
          <p:grpSpPr>
            <a:xfrm>
              <a:off x="7191542" y="1"/>
              <a:ext cx="5000459" cy="1425992"/>
              <a:chOff x="7186272" y="0"/>
              <a:chExt cx="5005729" cy="1427495"/>
            </a:xfrm>
          </p:grpSpPr>
          <p:sp>
            <p:nvSpPr>
              <p:cNvPr id="6226" name="Google Shape;6226;p56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227" name="Google Shape;6227;p56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6228" name="Google Shape;6228;p562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29" name="Google Shape;6229;p562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230" name="Google Shape;6230;p56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31" name="Google Shape;6231;p562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596396962"/>
      </p:ext>
    </p:extLst>
  </p:cSld>
  <p:clrMapOvr>
    <a:masterClrMapping/>
  </p:clrMapOvr>
</p:sldLayout>
</file>

<file path=ppt/slideLayouts/slideLayout1796.xml><?xml version="1.0" encoding="utf-8"?>
<p:sldLayout xmlns:a="http://schemas.openxmlformats.org/drawingml/2006/main" xmlns:r="http://schemas.openxmlformats.org/officeDocument/2006/relationships" xmlns:p="http://schemas.openxmlformats.org/presentationml/2006/main" matchingName="24_End">
  <p:cSld name="24_End">
    <p:spTree>
      <p:nvGrpSpPr>
        <p:cNvPr id="1" name="Shape 6232"/>
        <p:cNvGrpSpPr/>
        <p:nvPr/>
      </p:nvGrpSpPr>
      <p:grpSpPr>
        <a:xfrm>
          <a:off x="0" y="0"/>
          <a:ext cx="0" cy="0"/>
          <a:chOff x="0" y="0"/>
          <a:chExt cx="0" cy="0"/>
        </a:xfrm>
      </p:grpSpPr>
      <p:grpSp>
        <p:nvGrpSpPr>
          <p:cNvPr id="6233" name="Google Shape;6233;p5625"/>
          <p:cNvGrpSpPr/>
          <p:nvPr/>
        </p:nvGrpSpPr>
        <p:grpSpPr>
          <a:xfrm>
            <a:off x="0" y="0"/>
            <a:ext cx="12192000" cy="2148830"/>
            <a:chOff x="0" y="0"/>
            <a:chExt cx="12192000" cy="2148830"/>
          </a:xfrm>
        </p:grpSpPr>
        <p:sp>
          <p:nvSpPr>
            <p:cNvPr id="6234" name="Google Shape;6234;p562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235" name="Google Shape;6235;p562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6236" name="Google Shape;6236;p5625"/>
          <p:cNvSpPr/>
          <p:nvPr/>
        </p:nvSpPr>
        <p:spPr>
          <a:xfrm>
            <a:off x="902368" y="1517698"/>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237" name="Google Shape;6237;p5625"/>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238" name="Google Shape;6238;p562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9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239" name="Google Shape;6239;p5625"/>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6240" name="Google Shape;6240;p562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956065393"/>
      </p:ext>
    </p:extLst>
  </p:cSld>
  <p:clrMapOvr>
    <a:masterClrMapping/>
  </p:clrMapOvr>
</p:sldLayout>
</file>

<file path=ppt/slideLayouts/slideLayout1797.xml><?xml version="1.0" encoding="utf-8"?>
<p:sldLayout xmlns:a="http://schemas.openxmlformats.org/drawingml/2006/main" xmlns:r="http://schemas.openxmlformats.org/officeDocument/2006/relationships" xmlns:p="http://schemas.openxmlformats.org/presentationml/2006/main" matchingName="24_Blank">
  <p:cSld name="24_Blank">
    <p:spTree>
      <p:nvGrpSpPr>
        <p:cNvPr id="1" name="Shape 6241"/>
        <p:cNvGrpSpPr/>
        <p:nvPr/>
      </p:nvGrpSpPr>
      <p:grpSpPr>
        <a:xfrm>
          <a:off x="0" y="0"/>
          <a:ext cx="0" cy="0"/>
          <a:chOff x="0" y="0"/>
          <a:chExt cx="0" cy="0"/>
        </a:xfrm>
      </p:grpSpPr>
      <p:sp>
        <p:nvSpPr>
          <p:cNvPr id="6242" name="Google Shape;6242;p562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243" name="Google Shape;6243;p56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44" name="Google Shape;6244;p562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245" name="Google Shape;6245;p5626"/>
          <p:cNvGrpSpPr/>
          <p:nvPr/>
        </p:nvGrpSpPr>
        <p:grpSpPr>
          <a:xfrm>
            <a:off x="7191543" y="1"/>
            <a:ext cx="5000459" cy="1425992"/>
            <a:chOff x="7191542" y="1"/>
            <a:chExt cx="5000459" cy="1425992"/>
          </a:xfrm>
        </p:grpSpPr>
        <p:pic>
          <p:nvPicPr>
            <p:cNvPr id="6246" name="Google Shape;6246;p56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47" name="Google Shape;6247;p5626"/>
            <p:cNvGrpSpPr/>
            <p:nvPr/>
          </p:nvGrpSpPr>
          <p:grpSpPr>
            <a:xfrm>
              <a:off x="7191542" y="1"/>
              <a:ext cx="5000459" cy="1425992"/>
              <a:chOff x="7186272" y="0"/>
              <a:chExt cx="5005729" cy="1427495"/>
            </a:xfrm>
          </p:grpSpPr>
          <p:sp>
            <p:nvSpPr>
              <p:cNvPr id="6248" name="Google Shape;6248;p56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249" name="Google Shape;6249;p56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extLst>
      <p:ext uri="{BB962C8B-B14F-4D97-AF65-F5344CB8AC3E}">
        <p14:creationId xmlns:p14="http://schemas.microsoft.com/office/powerpoint/2010/main" val="4213040749"/>
      </p:ext>
    </p:extLst>
  </p:cSld>
  <p:clrMapOvr>
    <a:masterClrMapping/>
  </p:clrMapOvr>
</p:sldLayout>
</file>

<file path=ppt/slideLayouts/slideLayout1798.xml><?xml version="1.0" encoding="utf-8"?>
<p:sldLayout xmlns:a="http://schemas.openxmlformats.org/drawingml/2006/main" xmlns:r="http://schemas.openxmlformats.org/officeDocument/2006/relationships" xmlns:p="http://schemas.openxmlformats.org/presentationml/2006/main" matchingName="26_Cover">
  <p:cSld name="26_Cover">
    <p:spTree>
      <p:nvGrpSpPr>
        <p:cNvPr id="1" name="Shape 6250"/>
        <p:cNvGrpSpPr/>
        <p:nvPr/>
      </p:nvGrpSpPr>
      <p:grpSpPr>
        <a:xfrm>
          <a:off x="0" y="0"/>
          <a:ext cx="0" cy="0"/>
          <a:chOff x="0" y="0"/>
          <a:chExt cx="0" cy="0"/>
        </a:xfrm>
      </p:grpSpPr>
      <p:sp>
        <p:nvSpPr>
          <p:cNvPr id="6251" name="Google Shape;6251;p5627"/>
          <p:cNvSpPr/>
          <p:nvPr/>
        </p:nvSpPr>
        <p:spPr>
          <a:xfrm>
            <a:off x="902368" y="1294414"/>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252" name="Google Shape;6252;p5627"/>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53" name="Google Shape;6253;p5627"/>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
        <p:nvSpPr>
          <p:cNvPr id="6254" name="Google Shape;6254;p5627"/>
          <p:cNvSpPr>
            <a:spLocks noGrp="1"/>
          </p:cNvSpPr>
          <p:nvPr>
            <p:ph type="pic" idx="2"/>
          </p:nvPr>
        </p:nvSpPr>
        <p:spPr>
          <a:xfrm>
            <a:off x="7118684" y="233915"/>
            <a:ext cx="5073316" cy="5943600"/>
          </a:xfrm>
          <a:prstGeom prst="rect">
            <a:avLst/>
          </a:prstGeom>
          <a:noFill/>
          <a:ln>
            <a:noFill/>
          </a:ln>
        </p:spPr>
      </p:sp>
      <p:grpSp>
        <p:nvGrpSpPr>
          <p:cNvPr id="6255" name="Google Shape;6255;p5627"/>
          <p:cNvGrpSpPr/>
          <p:nvPr/>
        </p:nvGrpSpPr>
        <p:grpSpPr>
          <a:xfrm>
            <a:off x="0" y="5020349"/>
            <a:ext cx="12192000" cy="1837653"/>
            <a:chOff x="0" y="5020348"/>
            <a:chExt cx="12192000" cy="1837653"/>
          </a:xfrm>
        </p:grpSpPr>
        <p:sp>
          <p:nvSpPr>
            <p:cNvPr id="6256" name="Google Shape;6256;p562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257" name="Google Shape;6257;p562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6258" name="Google Shape;6258;p562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31349493"/>
      </p:ext>
    </p:extLst>
  </p:cSld>
  <p:clrMapOvr>
    <a:masterClrMapping/>
  </p:clrMapOvr>
</p:sldLayout>
</file>

<file path=ppt/slideLayouts/slideLayout1799.xml><?xml version="1.0" encoding="utf-8"?>
<p:sldLayout xmlns:a="http://schemas.openxmlformats.org/drawingml/2006/main" xmlns:r="http://schemas.openxmlformats.org/officeDocument/2006/relationships" xmlns:p="http://schemas.openxmlformats.org/presentationml/2006/main" matchingName="26_Divider">
  <p:cSld name="26_Divider">
    <p:bg>
      <p:bgPr>
        <a:solidFill>
          <a:schemeClr val="lt2"/>
        </a:solidFill>
        <a:effectLst/>
      </p:bgPr>
    </p:bg>
    <p:spTree>
      <p:nvGrpSpPr>
        <p:cNvPr id="1" name="Shape 6259"/>
        <p:cNvGrpSpPr/>
        <p:nvPr/>
      </p:nvGrpSpPr>
      <p:grpSpPr>
        <a:xfrm>
          <a:off x="0" y="0"/>
          <a:ext cx="0" cy="0"/>
          <a:chOff x="0" y="0"/>
          <a:chExt cx="0" cy="0"/>
        </a:xfrm>
      </p:grpSpPr>
      <p:grpSp>
        <p:nvGrpSpPr>
          <p:cNvPr id="6260" name="Google Shape;6260;p5628"/>
          <p:cNvGrpSpPr/>
          <p:nvPr/>
        </p:nvGrpSpPr>
        <p:grpSpPr>
          <a:xfrm>
            <a:off x="0" y="5020348"/>
            <a:ext cx="12192000" cy="1837653"/>
            <a:chOff x="0" y="5020347"/>
            <a:chExt cx="12192000" cy="1837653"/>
          </a:xfrm>
        </p:grpSpPr>
        <p:sp>
          <p:nvSpPr>
            <p:cNvPr id="6261" name="Google Shape;6261;p562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262" name="Google Shape;6262;p562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263" name="Google Shape;6263;p562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6264" name="Google Shape;6264;p562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265" name="Google Shape;6265;p5628"/>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66" name="Google Shape;6266;p5628"/>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Tree>
    <p:extLst>
      <p:ext uri="{BB962C8B-B14F-4D97-AF65-F5344CB8AC3E}">
        <p14:creationId xmlns:p14="http://schemas.microsoft.com/office/powerpoint/2010/main" val="1546122361"/>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matchingName="1_Title and Content">
  <p:cSld name="1_Title and Content 2">
    <p:spTree>
      <p:nvGrpSpPr>
        <p:cNvPr id="1" name="Shape 10809"/>
        <p:cNvGrpSpPr/>
        <p:nvPr/>
      </p:nvGrpSpPr>
      <p:grpSpPr>
        <a:xfrm>
          <a:off x="0" y="0"/>
          <a:ext cx="0" cy="0"/>
          <a:chOff x="0" y="0"/>
          <a:chExt cx="0" cy="0"/>
        </a:xfrm>
      </p:grpSpPr>
      <p:sp>
        <p:nvSpPr>
          <p:cNvPr id="10810" name="Google Shape;10810;p148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0811" name="Google Shape;10811;p1484"/>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0812" name="Google Shape;10812;p148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813" name="Google Shape;10813;p1484"/>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814" name="Google Shape;10814;p1484"/>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800.xml><?xml version="1.0" encoding="utf-8"?>
<p:sldLayout xmlns:a="http://schemas.openxmlformats.org/drawingml/2006/main" xmlns:r="http://schemas.openxmlformats.org/officeDocument/2006/relationships" xmlns:p="http://schemas.openxmlformats.org/presentationml/2006/main" matchingName="25_Photo Slide">
  <p:cSld name="25_Photo Slide">
    <p:spTree>
      <p:nvGrpSpPr>
        <p:cNvPr id="1" name="Shape 6267"/>
        <p:cNvGrpSpPr/>
        <p:nvPr/>
      </p:nvGrpSpPr>
      <p:grpSpPr>
        <a:xfrm>
          <a:off x="0" y="0"/>
          <a:ext cx="0" cy="0"/>
          <a:chOff x="0" y="0"/>
          <a:chExt cx="0" cy="0"/>
        </a:xfrm>
      </p:grpSpPr>
      <p:sp>
        <p:nvSpPr>
          <p:cNvPr id="6268" name="Google Shape;6268;p5629"/>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6269" name="Google Shape;6269;p562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270" name="Google Shape;6270;p5629"/>
          <p:cNvGrpSpPr/>
          <p:nvPr/>
        </p:nvGrpSpPr>
        <p:grpSpPr>
          <a:xfrm>
            <a:off x="0" y="5379427"/>
            <a:ext cx="2807368" cy="753891"/>
            <a:chOff x="0" y="5379426"/>
            <a:chExt cx="2807368" cy="753891"/>
          </a:xfrm>
        </p:grpSpPr>
        <p:sp>
          <p:nvSpPr>
            <p:cNvPr id="6271" name="Google Shape;6271;p562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272" name="Google Shape;6272;p562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6273" name="Google Shape;6273;p5629"/>
          <p:cNvSpPr>
            <a:spLocks noGrp="1"/>
          </p:cNvSpPr>
          <p:nvPr>
            <p:ph type="pic" idx="2"/>
          </p:nvPr>
        </p:nvSpPr>
        <p:spPr>
          <a:xfrm>
            <a:off x="2807368" y="457202"/>
            <a:ext cx="8915400" cy="5943598"/>
          </a:xfrm>
          <a:prstGeom prst="rect">
            <a:avLst/>
          </a:prstGeom>
          <a:noFill/>
          <a:ln>
            <a:noFill/>
          </a:ln>
        </p:spPr>
      </p:sp>
      <p:pic>
        <p:nvPicPr>
          <p:cNvPr id="6274" name="Google Shape;6274;p5629"/>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3946251395"/>
      </p:ext>
    </p:extLst>
  </p:cSld>
  <p:clrMapOvr>
    <a:masterClrMapping/>
  </p:clrMapOvr>
</p:sldLayout>
</file>

<file path=ppt/slideLayouts/slideLayout1801.xml><?xml version="1.0" encoding="utf-8"?>
<p:sldLayout xmlns:a="http://schemas.openxmlformats.org/drawingml/2006/main" xmlns:r="http://schemas.openxmlformats.org/officeDocument/2006/relationships" xmlns:p="http://schemas.openxmlformats.org/presentationml/2006/main" matchingName="57_Quotation">
  <p:cSld name="57_Quotation">
    <p:spTree>
      <p:nvGrpSpPr>
        <p:cNvPr id="1" name="Shape 6275"/>
        <p:cNvGrpSpPr/>
        <p:nvPr/>
      </p:nvGrpSpPr>
      <p:grpSpPr>
        <a:xfrm>
          <a:off x="0" y="0"/>
          <a:ext cx="0" cy="0"/>
          <a:chOff x="0" y="0"/>
          <a:chExt cx="0" cy="0"/>
        </a:xfrm>
      </p:grpSpPr>
      <p:sp>
        <p:nvSpPr>
          <p:cNvPr id="6276" name="Google Shape;6276;p5630"/>
          <p:cNvSpPr/>
          <p:nvPr/>
        </p:nvSpPr>
        <p:spPr>
          <a:xfrm>
            <a:off x="1427357"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277" name="Google Shape;6277;p563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78" name="Google Shape;6278;p563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279" name="Google Shape;6279;p563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280" name="Google Shape;6280;p56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81" name="Google Shape;6281;p563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282" name="Google Shape;6282;p5630"/>
          <p:cNvGrpSpPr/>
          <p:nvPr/>
        </p:nvGrpSpPr>
        <p:grpSpPr>
          <a:xfrm>
            <a:off x="7191543" y="1"/>
            <a:ext cx="5000459" cy="1425992"/>
            <a:chOff x="7191542" y="1"/>
            <a:chExt cx="5000459" cy="1425992"/>
          </a:xfrm>
        </p:grpSpPr>
        <p:pic>
          <p:nvPicPr>
            <p:cNvPr id="6283" name="Google Shape;6283;p56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84" name="Google Shape;6284;p5630"/>
            <p:cNvGrpSpPr/>
            <p:nvPr/>
          </p:nvGrpSpPr>
          <p:grpSpPr>
            <a:xfrm>
              <a:off x="7191542" y="1"/>
              <a:ext cx="5000459" cy="1425992"/>
              <a:chOff x="7186272" y="0"/>
              <a:chExt cx="5005729" cy="1427495"/>
            </a:xfrm>
          </p:grpSpPr>
          <p:sp>
            <p:nvSpPr>
              <p:cNvPr id="6285" name="Google Shape;6285;p56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286" name="Google Shape;6286;p56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6287" name="Google Shape;6287;p5630"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898827561"/>
      </p:ext>
    </p:extLst>
  </p:cSld>
  <p:clrMapOvr>
    <a:masterClrMapping/>
  </p:clrMapOvr>
</p:sldLayout>
</file>

<file path=ppt/slideLayouts/slideLayout1802.xml><?xml version="1.0" encoding="utf-8"?>
<p:sldLayout xmlns:a="http://schemas.openxmlformats.org/drawingml/2006/main" xmlns:r="http://schemas.openxmlformats.org/officeDocument/2006/relationships" xmlns:p="http://schemas.openxmlformats.org/presentationml/2006/main" matchingName="36_Title and Content">
  <p:cSld name="36_Title and Content">
    <p:spTree>
      <p:nvGrpSpPr>
        <p:cNvPr id="1" name="Shape 6288"/>
        <p:cNvGrpSpPr/>
        <p:nvPr/>
      </p:nvGrpSpPr>
      <p:grpSpPr>
        <a:xfrm>
          <a:off x="0" y="0"/>
          <a:ext cx="0" cy="0"/>
          <a:chOff x="0" y="0"/>
          <a:chExt cx="0" cy="0"/>
        </a:xfrm>
      </p:grpSpPr>
      <p:grpSp>
        <p:nvGrpSpPr>
          <p:cNvPr id="6289" name="Google Shape;6289;p5631"/>
          <p:cNvGrpSpPr/>
          <p:nvPr/>
        </p:nvGrpSpPr>
        <p:grpSpPr>
          <a:xfrm>
            <a:off x="7191543" y="1"/>
            <a:ext cx="5000459" cy="1425992"/>
            <a:chOff x="7191542" y="1"/>
            <a:chExt cx="5000459" cy="1425992"/>
          </a:xfrm>
        </p:grpSpPr>
        <p:pic>
          <p:nvPicPr>
            <p:cNvPr id="6290" name="Google Shape;6290;p56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91" name="Google Shape;6291;p5631"/>
            <p:cNvGrpSpPr/>
            <p:nvPr/>
          </p:nvGrpSpPr>
          <p:grpSpPr>
            <a:xfrm>
              <a:off x="7191542" y="1"/>
              <a:ext cx="5000459" cy="1425992"/>
              <a:chOff x="7186272" y="0"/>
              <a:chExt cx="5005729" cy="1427495"/>
            </a:xfrm>
          </p:grpSpPr>
          <p:sp>
            <p:nvSpPr>
              <p:cNvPr id="6292" name="Google Shape;6292;p56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293" name="Google Shape;6293;p56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6294" name="Google Shape;6294;p5631"/>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95" name="Google Shape;6295;p5631"/>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296" name="Google Shape;6296;p563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297" name="Google Shape;6297;p56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98" name="Google Shape;6298;p563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58112924"/>
      </p:ext>
    </p:extLst>
  </p:cSld>
  <p:clrMapOvr>
    <a:masterClrMapping/>
  </p:clrMapOvr>
</p:sldLayout>
</file>

<file path=ppt/slideLayouts/slideLayout1803.xml><?xml version="1.0" encoding="utf-8"?>
<p:sldLayout xmlns:a="http://schemas.openxmlformats.org/drawingml/2006/main" xmlns:r="http://schemas.openxmlformats.org/officeDocument/2006/relationships" xmlns:p="http://schemas.openxmlformats.org/presentationml/2006/main" matchingName="25_Two Content">
  <p:cSld name="25_Two Content">
    <p:spTree>
      <p:nvGrpSpPr>
        <p:cNvPr id="1" name="Shape 6299"/>
        <p:cNvGrpSpPr/>
        <p:nvPr/>
      </p:nvGrpSpPr>
      <p:grpSpPr>
        <a:xfrm>
          <a:off x="0" y="0"/>
          <a:ext cx="0" cy="0"/>
          <a:chOff x="0" y="0"/>
          <a:chExt cx="0" cy="0"/>
        </a:xfrm>
      </p:grpSpPr>
      <p:sp>
        <p:nvSpPr>
          <p:cNvPr id="6300" name="Google Shape;6300;p5632"/>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01" name="Google Shape;6301;p5632"/>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6302" name="Google Shape;6302;p5632"/>
          <p:cNvGrpSpPr/>
          <p:nvPr/>
        </p:nvGrpSpPr>
        <p:grpSpPr>
          <a:xfrm>
            <a:off x="7191543" y="1"/>
            <a:ext cx="5000459" cy="1425992"/>
            <a:chOff x="7191542" y="1"/>
            <a:chExt cx="5000459" cy="1425992"/>
          </a:xfrm>
        </p:grpSpPr>
        <p:pic>
          <p:nvPicPr>
            <p:cNvPr id="6303" name="Google Shape;6303;p56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04" name="Google Shape;6304;p5632"/>
            <p:cNvGrpSpPr/>
            <p:nvPr/>
          </p:nvGrpSpPr>
          <p:grpSpPr>
            <a:xfrm>
              <a:off x="7191542" y="1"/>
              <a:ext cx="5000459" cy="1425992"/>
              <a:chOff x="7186272" y="0"/>
              <a:chExt cx="5005729" cy="1427495"/>
            </a:xfrm>
          </p:grpSpPr>
          <p:sp>
            <p:nvSpPr>
              <p:cNvPr id="6305" name="Google Shape;6305;p56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306" name="Google Shape;6306;p56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6307" name="Google Shape;6307;p5632"/>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308" name="Google Shape;6308;p5632"/>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309" name="Google Shape;6309;p56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10" name="Google Shape;6310;p563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192750680"/>
      </p:ext>
    </p:extLst>
  </p:cSld>
  <p:clrMapOvr>
    <a:masterClrMapping/>
  </p:clrMapOvr>
</p:sldLayout>
</file>

<file path=ppt/slideLayouts/slideLayout1804.xml><?xml version="1.0" encoding="utf-8"?>
<p:sldLayout xmlns:a="http://schemas.openxmlformats.org/drawingml/2006/main" xmlns:r="http://schemas.openxmlformats.org/officeDocument/2006/relationships" xmlns:p="http://schemas.openxmlformats.org/presentationml/2006/main" matchingName="25_Comparison">
  <p:cSld name="25_Comparison">
    <p:spTree>
      <p:nvGrpSpPr>
        <p:cNvPr id="1" name="Shape 6311"/>
        <p:cNvGrpSpPr/>
        <p:nvPr/>
      </p:nvGrpSpPr>
      <p:grpSpPr>
        <a:xfrm>
          <a:off x="0" y="0"/>
          <a:ext cx="0" cy="0"/>
          <a:chOff x="0" y="0"/>
          <a:chExt cx="0" cy="0"/>
        </a:xfrm>
      </p:grpSpPr>
      <p:grpSp>
        <p:nvGrpSpPr>
          <p:cNvPr id="6312" name="Google Shape;6312;p5633"/>
          <p:cNvGrpSpPr/>
          <p:nvPr/>
        </p:nvGrpSpPr>
        <p:grpSpPr>
          <a:xfrm>
            <a:off x="7191543" y="1"/>
            <a:ext cx="5000459" cy="1425992"/>
            <a:chOff x="7191542" y="1"/>
            <a:chExt cx="5000459" cy="1425992"/>
          </a:xfrm>
        </p:grpSpPr>
        <p:pic>
          <p:nvPicPr>
            <p:cNvPr id="6313" name="Google Shape;6313;p563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14" name="Google Shape;6314;p5633"/>
            <p:cNvGrpSpPr/>
            <p:nvPr/>
          </p:nvGrpSpPr>
          <p:grpSpPr>
            <a:xfrm>
              <a:off x="7191542" y="1"/>
              <a:ext cx="5000459" cy="1425992"/>
              <a:chOff x="7186272" y="0"/>
              <a:chExt cx="5005729" cy="1427495"/>
            </a:xfrm>
          </p:grpSpPr>
          <p:sp>
            <p:nvSpPr>
              <p:cNvPr id="6315" name="Google Shape;6315;p56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316" name="Google Shape;6316;p56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6317" name="Google Shape;6317;p5633"/>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18" name="Google Shape;6318;p5633"/>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6319" name="Google Shape;6319;p5633"/>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320" name="Google Shape;6320;p563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6321" name="Google Shape;6321;p563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322" name="Google Shape;6322;p563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323" name="Google Shape;6323;p56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24" name="Google Shape;6324;p563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419891016"/>
      </p:ext>
    </p:extLst>
  </p:cSld>
  <p:clrMapOvr>
    <a:masterClrMapping/>
  </p:clrMapOvr>
</p:sldLayout>
</file>

<file path=ppt/slideLayouts/slideLayout1805.xml><?xml version="1.0" encoding="utf-8"?>
<p:sldLayout xmlns:a="http://schemas.openxmlformats.org/drawingml/2006/main" xmlns:r="http://schemas.openxmlformats.org/officeDocument/2006/relationships" xmlns:p="http://schemas.openxmlformats.org/presentationml/2006/main" matchingName="25_Title Only">
  <p:cSld name="25_Title Only">
    <p:spTree>
      <p:nvGrpSpPr>
        <p:cNvPr id="1" name="Shape 6325"/>
        <p:cNvGrpSpPr/>
        <p:nvPr/>
      </p:nvGrpSpPr>
      <p:grpSpPr>
        <a:xfrm>
          <a:off x="0" y="0"/>
          <a:ext cx="0" cy="0"/>
          <a:chOff x="0" y="0"/>
          <a:chExt cx="0" cy="0"/>
        </a:xfrm>
      </p:grpSpPr>
      <p:grpSp>
        <p:nvGrpSpPr>
          <p:cNvPr id="6326" name="Google Shape;6326;p5634"/>
          <p:cNvGrpSpPr/>
          <p:nvPr/>
        </p:nvGrpSpPr>
        <p:grpSpPr>
          <a:xfrm>
            <a:off x="7191543" y="1"/>
            <a:ext cx="5000459" cy="1425992"/>
            <a:chOff x="7191542" y="1"/>
            <a:chExt cx="5000459" cy="1425992"/>
          </a:xfrm>
        </p:grpSpPr>
        <p:pic>
          <p:nvPicPr>
            <p:cNvPr id="6327" name="Google Shape;6327;p56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28" name="Google Shape;6328;p5634"/>
            <p:cNvGrpSpPr/>
            <p:nvPr/>
          </p:nvGrpSpPr>
          <p:grpSpPr>
            <a:xfrm>
              <a:off x="7191542" y="1"/>
              <a:ext cx="5000459" cy="1425992"/>
              <a:chOff x="7186272" y="0"/>
              <a:chExt cx="5005729" cy="1427495"/>
            </a:xfrm>
          </p:grpSpPr>
          <p:sp>
            <p:nvSpPr>
              <p:cNvPr id="6329" name="Google Shape;6329;p56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330" name="Google Shape;6330;p56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6331" name="Google Shape;6331;p563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32" name="Google Shape;6332;p563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333" name="Google Shape;6333;p56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34" name="Google Shape;6334;p563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513362478"/>
      </p:ext>
    </p:extLst>
  </p:cSld>
  <p:clrMapOvr>
    <a:masterClrMapping/>
  </p:clrMapOvr>
</p:sldLayout>
</file>

<file path=ppt/slideLayouts/slideLayout1806.xml><?xml version="1.0" encoding="utf-8"?>
<p:sldLayout xmlns:a="http://schemas.openxmlformats.org/drawingml/2006/main" xmlns:r="http://schemas.openxmlformats.org/officeDocument/2006/relationships" xmlns:p="http://schemas.openxmlformats.org/presentationml/2006/main" matchingName="25_End">
  <p:cSld name="25_End">
    <p:spTree>
      <p:nvGrpSpPr>
        <p:cNvPr id="1" name="Shape 6335"/>
        <p:cNvGrpSpPr/>
        <p:nvPr/>
      </p:nvGrpSpPr>
      <p:grpSpPr>
        <a:xfrm>
          <a:off x="0" y="0"/>
          <a:ext cx="0" cy="0"/>
          <a:chOff x="0" y="0"/>
          <a:chExt cx="0" cy="0"/>
        </a:xfrm>
      </p:grpSpPr>
      <p:grpSp>
        <p:nvGrpSpPr>
          <p:cNvPr id="6336" name="Google Shape;6336;p5635"/>
          <p:cNvGrpSpPr/>
          <p:nvPr/>
        </p:nvGrpSpPr>
        <p:grpSpPr>
          <a:xfrm>
            <a:off x="0" y="0"/>
            <a:ext cx="12192000" cy="2148830"/>
            <a:chOff x="0" y="0"/>
            <a:chExt cx="12192000" cy="2148830"/>
          </a:xfrm>
        </p:grpSpPr>
        <p:sp>
          <p:nvSpPr>
            <p:cNvPr id="6337" name="Google Shape;6337;p563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338" name="Google Shape;6338;p563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6339" name="Google Shape;6339;p5635"/>
          <p:cNvSpPr/>
          <p:nvPr/>
        </p:nvSpPr>
        <p:spPr>
          <a:xfrm>
            <a:off x="902368" y="1517698"/>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340" name="Google Shape;6340;p5635"/>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341" name="Google Shape;6341;p563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9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342" name="Google Shape;6342;p5635"/>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6343" name="Google Shape;6343;p563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904339930"/>
      </p:ext>
    </p:extLst>
  </p:cSld>
  <p:clrMapOvr>
    <a:masterClrMapping/>
  </p:clrMapOvr>
</p:sldLayout>
</file>

<file path=ppt/slideLayouts/slideLayout1807.xml><?xml version="1.0" encoding="utf-8"?>
<p:sldLayout xmlns:a="http://schemas.openxmlformats.org/drawingml/2006/main" xmlns:r="http://schemas.openxmlformats.org/officeDocument/2006/relationships" xmlns:p="http://schemas.openxmlformats.org/presentationml/2006/main" matchingName="25_Blank">
  <p:cSld name="25_Blank">
    <p:spTree>
      <p:nvGrpSpPr>
        <p:cNvPr id="1" name="Shape 6344"/>
        <p:cNvGrpSpPr/>
        <p:nvPr/>
      </p:nvGrpSpPr>
      <p:grpSpPr>
        <a:xfrm>
          <a:off x="0" y="0"/>
          <a:ext cx="0" cy="0"/>
          <a:chOff x="0" y="0"/>
          <a:chExt cx="0" cy="0"/>
        </a:xfrm>
      </p:grpSpPr>
      <p:sp>
        <p:nvSpPr>
          <p:cNvPr id="6345" name="Google Shape;6345;p563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346" name="Google Shape;6346;p56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47" name="Google Shape;6347;p563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348" name="Google Shape;6348;p5636"/>
          <p:cNvGrpSpPr/>
          <p:nvPr/>
        </p:nvGrpSpPr>
        <p:grpSpPr>
          <a:xfrm>
            <a:off x="7191543" y="1"/>
            <a:ext cx="5000459" cy="1425992"/>
            <a:chOff x="7191542" y="1"/>
            <a:chExt cx="5000459" cy="1425992"/>
          </a:xfrm>
        </p:grpSpPr>
        <p:pic>
          <p:nvPicPr>
            <p:cNvPr id="6349" name="Google Shape;6349;p56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50" name="Google Shape;6350;p5636"/>
            <p:cNvGrpSpPr/>
            <p:nvPr/>
          </p:nvGrpSpPr>
          <p:grpSpPr>
            <a:xfrm>
              <a:off x="7191542" y="1"/>
              <a:ext cx="5000459" cy="1425992"/>
              <a:chOff x="7186272" y="0"/>
              <a:chExt cx="5005729" cy="1427495"/>
            </a:xfrm>
          </p:grpSpPr>
          <p:sp>
            <p:nvSpPr>
              <p:cNvPr id="6351" name="Google Shape;6351;p56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352" name="Google Shape;6352;p56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extLst>
      <p:ext uri="{BB962C8B-B14F-4D97-AF65-F5344CB8AC3E}">
        <p14:creationId xmlns:p14="http://schemas.microsoft.com/office/powerpoint/2010/main" val="2332870234"/>
      </p:ext>
    </p:extLst>
  </p:cSld>
  <p:clrMapOvr>
    <a:masterClrMapping/>
  </p:clrMapOvr>
</p:sldLayout>
</file>

<file path=ppt/slideLayouts/slideLayout1808.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6353"/>
        <p:cNvGrpSpPr/>
        <p:nvPr/>
      </p:nvGrpSpPr>
      <p:grpSpPr>
        <a:xfrm>
          <a:off x="0" y="0"/>
          <a:ext cx="0" cy="0"/>
          <a:chOff x="0" y="0"/>
          <a:chExt cx="0" cy="0"/>
        </a:xfrm>
      </p:grpSpPr>
      <p:sp>
        <p:nvSpPr>
          <p:cNvPr id="6354" name="Google Shape;6354;p5637"/>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6355" name="Google Shape;6355;p5637"/>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3137"/>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525" b="0" i="0" u="none" strike="noStrike" cap="none">
              <a:solidFill>
                <a:srgbClr val="FFFFFF"/>
              </a:solidFill>
              <a:latin typeface="Helvetica Neue"/>
              <a:ea typeface="Helvetica Neue"/>
              <a:cs typeface="Helvetica Neue"/>
              <a:sym typeface="Helvetica Neue"/>
            </a:endParaRPr>
          </a:p>
        </p:txBody>
      </p:sp>
      <p:sp>
        <p:nvSpPr>
          <p:cNvPr id="6356" name="Google Shape;6356;p5637"/>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304815" lvl="0" indent="-304815" algn="l">
              <a:lnSpc>
                <a:spcPct val="100000"/>
              </a:lnSpc>
              <a:spcBef>
                <a:spcPts val="1000"/>
              </a:spcBef>
              <a:spcAft>
                <a:spcPts val="0"/>
              </a:spcAft>
              <a:buSzPts val="3600"/>
              <a:buChar char="•"/>
              <a:defRPr>
                <a:solidFill>
                  <a:srgbClr val="4B545E"/>
                </a:solidFill>
              </a:defRPr>
            </a:lvl1pPr>
            <a:lvl2pPr marL="609630" lvl="1" indent="-279414" algn="l">
              <a:lnSpc>
                <a:spcPct val="100000"/>
              </a:lnSpc>
              <a:spcBef>
                <a:spcPts val="1000"/>
              </a:spcBef>
              <a:spcAft>
                <a:spcPts val="0"/>
              </a:spcAft>
              <a:buSzPts val="3000"/>
              <a:buChar char="•"/>
              <a:defRPr>
                <a:solidFill>
                  <a:srgbClr val="4B545E"/>
                </a:solidFill>
              </a:defRPr>
            </a:lvl2pPr>
            <a:lvl3pPr marL="914446" lvl="2" indent="-266713" algn="l">
              <a:lnSpc>
                <a:spcPct val="100000"/>
              </a:lnSpc>
              <a:spcBef>
                <a:spcPts val="1000"/>
              </a:spcBef>
              <a:spcAft>
                <a:spcPts val="0"/>
              </a:spcAft>
              <a:buSzPts val="2700"/>
              <a:buChar char="•"/>
              <a:defRPr>
                <a:solidFill>
                  <a:srgbClr val="4B545E"/>
                </a:solidFill>
              </a:defRPr>
            </a:lvl3pPr>
            <a:lvl4pPr marL="1219261" lvl="3" indent="-254013" algn="l">
              <a:lnSpc>
                <a:spcPct val="100000"/>
              </a:lnSpc>
              <a:spcBef>
                <a:spcPts val="1000"/>
              </a:spcBef>
              <a:spcAft>
                <a:spcPts val="0"/>
              </a:spcAft>
              <a:buSzPts val="2400"/>
              <a:buChar char="•"/>
              <a:defRPr>
                <a:solidFill>
                  <a:srgbClr val="4B545E"/>
                </a:solidFill>
              </a:defRPr>
            </a:lvl4pPr>
            <a:lvl5pPr marL="1524076" lvl="4" indent="-254013" algn="l">
              <a:lnSpc>
                <a:spcPct val="100000"/>
              </a:lnSpc>
              <a:spcBef>
                <a:spcPts val="1000"/>
              </a:spcBef>
              <a:spcAft>
                <a:spcPts val="0"/>
              </a:spcAft>
              <a:buSzPts val="2400"/>
              <a:buChar char="•"/>
              <a:defRPr>
                <a:solidFill>
                  <a:srgbClr val="4B545E"/>
                </a:solidFill>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357" name="Google Shape;6357;p5637"/>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3137"/>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525" b="0" i="0" u="none" strike="noStrike" cap="none">
              <a:solidFill>
                <a:srgbClr val="FFFFFF"/>
              </a:solidFill>
              <a:latin typeface="Helvetica Neue"/>
              <a:ea typeface="Helvetica Neue"/>
              <a:cs typeface="Helvetica Neue"/>
              <a:sym typeface="Helvetica Neue"/>
            </a:endParaRPr>
          </a:p>
        </p:txBody>
      </p:sp>
      <p:sp>
        <p:nvSpPr>
          <p:cNvPr id="6358" name="Google Shape;6358;p5637"/>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48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59" name="Google Shape;6359;p5637"/>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304815" lvl="0" indent="-152408" algn="l">
              <a:lnSpc>
                <a:spcPct val="100000"/>
              </a:lnSpc>
              <a:spcBef>
                <a:spcPts val="1000"/>
              </a:spcBef>
              <a:spcAft>
                <a:spcPts val="0"/>
              </a:spcAft>
              <a:buSzPts val="2100"/>
              <a:buNone/>
              <a:defRPr sz="1400">
                <a:solidFill>
                  <a:schemeClr val="lt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6360" name="Google Shape;6360;p5637"/>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6361" name="Google Shape;6361;p5637"/>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1pPr>
            <a:lvl2pPr marL="0" lvl="1"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2pPr>
            <a:lvl3pPr marL="0" lvl="2"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3pPr>
            <a:lvl4pPr marL="0" lvl="3"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4pPr>
            <a:lvl5pPr marL="0" lvl="4"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5pPr>
            <a:lvl6pPr marL="0" lvl="5"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6pPr>
            <a:lvl7pPr marL="0" lvl="6"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7pPr>
            <a:lvl8pPr marL="0" lvl="7"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8pPr>
            <a:lvl9pPr marL="0" lvl="8"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6362" name="Google Shape;6362;p5637"/>
          <p:cNvPicPr preferRelativeResize="0"/>
          <p:nvPr/>
        </p:nvPicPr>
        <p:blipFill rotWithShape="1">
          <a:blip r:embed="rId2">
            <a:alphaModFix/>
          </a:blip>
          <a:srcRect/>
          <a:stretch/>
        </p:blipFill>
        <p:spPr>
          <a:xfrm>
            <a:off x="9596462" y="6492240"/>
            <a:ext cx="1606135" cy="229238"/>
          </a:xfrm>
          <a:prstGeom prst="rect">
            <a:avLst/>
          </a:prstGeom>
          <a:noFill/>
          <a:ln>
            <a:noFill/>
          </a:ln>
        </p:spPr>
      </p:pic>
    </p:spTree>
    <p:extLst>
      <p:ext uri="{BB962C8B-B14F-4D97-AF65-F5344CB8AC3E}">
        <p14:creationId xmlns:p14="http://schemas.microsoft.com/office/powerpoint/2010/main" val="4261474242"/>
      </p:ext>
    </p:extLst>
  </p:cSld>
  <p:clrMapOvr>
    <a:masterClrMapping/>
  </p:clrMapOvr>
</p:sldLayout>
</file>

<file path=ppt/slideLayouts/slideLayout1809.xml><?xml version="1.0" encoding="utf-8"?>
<p:sldLayout xmlns:a="http://schemas.openxmlformats.org/drawingml/2006/main" xmlns:r="http://schemas.openxmlformats.org/officeDocument/2006/relationships" xmlns:p="http://schemas.openxmlformats.org/presentationml/2006/main" showMasterSp="0" matchingName="1_EVERYDAY - CONTENT ONLY">
  <p:cSld name="1_EVERYDAY - CONTENT ONLY">
    <p:spTree>
      <p:nvGrpSpPr>
        <p:cNvPr id="1" name="Shape 6363"/>
        <p:cNvGrpSpPr/>
        <p:nvPr/>
      </p:nvGrpSpPr>
      <p:grpSpPr>
        <a:xfrm>
          <a:off x="0" y="0"/>
          <a:ext cx="0" cy="0"/>
          <a:chOff x="0" y="0"/>
          <a:chExt cx="0" cy="0"/>
        </a:xfrm>
      </p:grpSpPr>
      <p:sp>
        <p:nvSpPr>
          <p:cNvPr id="6364" name="Google Shape;6364;p5638"/>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6365" name="Google Shape;6365;p5638"/>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3137"/>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525" b="0" i="0" u="none" strike="noStrike" cap="none">
              <a:solidFill>
                <a:srgbClr val="FFFFFF"/>
              </a:solidFill>
              <a:latin typeface="Helvetica Neue"/>
              <a:ea typeface="Helvetica Neue"/>
              <a:cs typeface="Helvetica Neue"/>
              <a:sym typeface="Helvetica Neue"/>
            </a:endParaRPr>
          </a:p>
        </p:txBody>
      </p:sp>
      <p:sp>
        <p:nvSpPr>
          <p:cNvPr id="6366" name="Google Shape;6366;p5638"/>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304815" lvl="0" indent="-304815" algn="l">
              <a:lnSpc>
                <a:spcPct val="100000"/>
              </a:lnSpc>
              <a:spcBef>
                <a:spcPts val="1000"/>
              </a:spcBef>
              <a:spcAft>
                <a:spcPts val="0"/>
              </a:spcAft>
              <a:buSzPts val="3600"/>
              <a:buChar char="•"/>
              <a:defRPr>
                <a:solidFill>
                  <a:srgbClr val="4B545E"/>
                </a:solidFill>
              </a:defRPr>
            </a:lvl1pPr>
            <a:lvl2pPr marL="609630" lvl="1" indent="-279414" algn="l">
              <a:lnSpc>
                <a:spcPct val="100000"/>
              </a:lnSpc>
              <a:spcBef>
                <a:spcPts val="1000"/>
              </a:spcBef>
              <a:spcAft>
                <a:spcPts val="0"/>
              </a:spcAft>
              <a:buSzPts val="3000"/>
              <a:buChar char="•"/>
              <a:defRPr>
                <a:solidFill>
                  <a:srgbClr val="4B545E"/>
                </a:solidFill>
              </a:defRPr>
            </a:lvl2pPr>
            <a:lvl3pPr marL="914446" lvl="2" indent="-266713" algn="l">
              <a:lnSpc>
                <a:spcPct val="100000"/>
              </a:lnSpc>
              <a:spcBef>
                <a:spcPts val="1000"/>
              </a:spcBef>
              <a:spcAft>
                <a:spcPts val="0"/>
              </a:spcAft>
              <a:buSzPts val="2700"/>
              <a:buChar char="•"/>
              <a:defRPr>
                <a:solidFill>
                  <a:srgbClr val="4B545E"/>
                </a:solidFill>
              </a:defRPr>
            </a:lvl3pPr>
            <a:lvl4pPr marL="1219261" lvl="3" indent="-254013" algn="l">
              <a:lnSpc>
                <a:spcPct val="100000"/>
              </a:lnSpc>
              <a:spcBef>
                <a:spcPts val="1000"/>
              </a:spcBef>
              <a:spcAft>
                <a:spcPts val="0"/>
              </a:spcAft>
              <a:buSzPts val="2400"/>
              <a:buChar char="•"/>
              <a:defRPr>
                <a:solidFill>
                  <a:srgbClr val="4B545E"/>
                </a:solidFill>
              </a:defRPr>
            </a:lvl4pPr>
            <a:lvl5pPr marL="1524076" lvl="4" indent="-254013" algn="l">
              <a:lnSpc>
                <a:spcPct val="100000"/>
              </a:lnSpc>
              <a:spcBef>
                <a:spcPts val="1000"/>
              </a:spcBef>
              <a:spcAft>
                <a:spcPts val="0"/>
              </a:spcAft>
              <a:buSzPts val="2400"/>
              <a:buChar char="•"/>
              <a:defRPr>
                <a:solidFill>
                  <a:srgbClr val="4B545E"/>
                </a:solidFill>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367" name="Google Shape;6367;p5638"/>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3137"/>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525" b="0" i="0" u="none" strike="noStrike" cap="none">
              <a:solidFill>
                <a:srgbClr val="FFFFFF"/>
              </a:solidFill>
              <a:latin typeface="Helvetica Neue"/>
              <a:ea typeface="Helvetica Neue"/>
              <a:cs typeface="Helvetica Neue"/>
              <a:sym typeface="Helvetica Neue"/>
            </a:endParaRPr>
          </a:p>
        </p:txBody>
      </p:sp>
      <p:sp>
        <p:nvSpPr>
          <p:cNvPr id="6368" name="Google Shape;6368;p5638"/>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48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69" name="Google Shape;6369;p5638"/>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304815" lvl="0" indent="-152408" algn="l">
              <a:lnSpc>
                <a:spcPct val="100000"/>
              </a:lnSpc>
              <a:spcBef>
                <a:spcPts val="1000"/>
              </a:spcBef>
              <a:spcAft>
                <a:spcPts val="0"/>
              </a:spcAft>
              <a:buSzPts val="2100"/>
              <a:buNone/>
              <a:defRPr sz="1400">
                <a:solidFill>
                  <a:schemeClr val="lt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6370" name="Google Shape;6370;p5638"/>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6371" name="Google Shape;6371;p5638"/>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1pPr>
            <a:lvl2pPr marL="0" lvl="1"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2pPr>
            <a:lvl3pPr marL="0" lvl="2"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3pPr>
            <a:lvl4pPr marL="0" lvl="3"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4pPr>
            <a:lvl5pPr marL="0" lvl="4"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5pPr>
            <a:lvl6pPr marL="0" lvl="5"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6pPr>
            <a:lvl7pPr marL="0" lvl="6"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7pPr>
            <a:lvl8pPr marL="0" lvl="7"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8pPr>
            <a:lvl9pPr marL="0" lvl="8"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6372" name="Google Shape;6372;p5638"/>
          <p:cNvPicPr preferRelativeResize="0"/>
          <p:nvPr/>
        </p:nvPicPr>
        <p:blipFill rotWithShape="1">
          <a:blip r:embed="rId2">
            <a:alphaModFix/>
          </a:blip>
          <a:srcRect/>
          <a:stretch/>
        </p:blipFill>
        <p:spPr>
          <a:xfrm>
            <a:off x="9596462" y="6492240"/>
            <a:ext cx="1606135" cy="229238"/>
          </a:xfrm>
          <a:prstGeom prst="rect">
            <a:avLst/>
          </a:prstGeom>
          <a:noFill/>
          <a:ln>
            <a:noFill/>
          </a:ln>
        </p:spPr>
      </p:pic>
    </p:spTree>
    <p:extLst>
      <p:ext uri="{BB962C8B-B14F-4D97-AF65-F5344CB8AC3E}">
        <p14:creationId xmlns:p14="http://schemas.microsoft.com/office/powerpoint/2010/main" val="333141639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2">
    <p:spTree>
      <p:nvGrpSpPr>
        <p:cNvPr id="1" name="Shape 10815"/>
        <p:cNvGrpSpPr/>
        <p:nvPr/>
      </p:nvGrpSpPr>
      <p:grpSpPr>
        <a:xfrm>
          <a:off x="0" y="0"/>
          <a:ext cx="0" cy="0"/>
          <a:chOff x="0" y="0"/>
          <a:chExt cx="0" cy="0"/>
        </a:xfrm>
      </p:grpSpPr>
      <p:sp>
        <p:nvSpPr>
          <p:cNvPr id="10816" name="Google Shape;10816;p148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817" name="Google Shape;10817;p148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818" name="Google Shape;10818;p1485"/>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19" name="Google Shape;10819;p1485"/>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20" name="Google Shape;10820;p1485"/>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0821" name="Google Shape;10821;p148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810.xml><?xml version="1.0" encoding="utf-8"?>
<p:sldLayout xmlns:a="http://schemas.openxmlformats.org/drawingml/2006/main" xmlns:r="http://schemas.openxmlformats.org/officeDocument/2006/relationships" xmlns:p="http://schemas.openxmlformats.org/presentationml/2006/main" matchingName="Title and Content">
  <p:cSld name="14_Title and Content">
    <p:spTree>
      <p:nvGrpSpPr>
        <p:cNvPr id="1" name="Shape 6373"/>
        <p:cNvGrpSpPr/>
        <p:nvPr/>
      </p:nvGrpSpPr>
      <p:grpSpPr>
        <a:xfrm>
          <a:off x="0" y="0"/>
          <a:ext cx="0" cy="0"/>
          <a:chOff x="0" y="0"/>
          <a:chExt cx="0" cy="0"/>
        </a:xfrm>
      </p:grpSpPr>
      <p:grpSp>
        <p:nvGrpSpPr>
          <p:cNvPr id="6374" name="Google Shape;6374;p5639"/>
          <p:cNvGrpSpPr/>
          <p:nvPr/>
        </p:nvGrpSpPr>
        <p:grpSpPr>
          <a:xfrm>
            <a:off x="7191543" y="1"/>
            <a:ext cx="5000459" cy="1425992"/>
            <a:chOff x="7191542" y="1"/>
            <a:chExt cx="5000459" cy="1425992"/>
          </a:xfrm>
        </p:grpSpPr>
        <p:pic>
          <p:nvPicPr>
            <p:cNvPr id="6375" name="Google Shape;6375;p56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76" name="Google Shape;6376;p5639"/>
            <p:cNvGrpSpPr/>
            <p:nvPr/>
          </p:nvGrpSpPr>
          <p:grpSpPr>
            <a:xfrm>
              <a:off x="7191542" y="1"/>
              <a:ext cx="5000459" cy="1425992"/>
              <a:chOff x="7186272" y="0"/>
              <a:chExt cx="5005729" cy="1427495"/>
            </a:xfrm>
          </p:grpSpPr>
          <p:sp>
            <p:nvSpPr>
              <p:cNvPr id="6377" name="Google Shape;6377;p56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378" name="Google Shape;6378;p56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379" name="Google Shape;6379;p5639"/>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80" name="Google Shape;6380;p5639"/>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381" name="Google Shape;6381;p563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382" name="Google Shape;6382;p56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83" name="Google Shape;6383;p563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877665744"/>
      </p:ext>
    </p:extLst>
  </p:cSld>
  <p:clrMapOvr>
    <a:masterClrMapping/>
  </p:clrMapOvr>
</p:sldLayout>
</file>

<file path=ppt/slideLayouts/slideLayout1811.xml><?xml version="1.0" encoding="utf-8"?>
<p:sldLayout xmlns:a="http://schemas.openxmlformats.org/drawingml/2006/main" xmlns:r="http://schemas.openxmlformats.org/officeDocument/2006/relationships" xmlns:p="http://schemas.openxmlformats.org/presentationml/2006/main" matchingName="Photo Slide">
  <p:cSld name="26_Photo Slide">
    <p:spTree>
      <p:nvGrpSpPr>
        <p:cNvPr id="1" name="Shape 6384"/>
        <p:cNvGrpSpPr/>
        <p:nvPr/>
      </p:nvGrpSpPr>
      <p:grpSpPr>
        <a:xfrm>
          <a:off x="0" y="0"/>
          <a:ext cx="0" cy="0"/>
          <a:chOff x="0" y="0"/>
          <a:chExt cx="0" cy="0"/>
        </a:xfrm>
      </p:grpSpPr>
      <p:sp>
        <p:nvSpPr>
          <p:cNvPr id="6385" name="Google Shape;6385;p5640"/>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6386" name="Google Shape;6386;p564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387" name="Google Shape;6387;p5640"/>
          <p:cNvGrpSpPr/>
          <p:nvPr/>
        </p:nvGrpSpPr>
        <p:grpSpPr>
          <a:xfrm>
            <a:off x="0" y="5379427"/>
            <a:ext cx="2807368" cy="753891"/>
            <a:chOff x="0" y="5379426"/>
            <a:chExt cx="2807368" cy="753891"/>
          </a:xfrm>
        </p:grpSpPr>
        <p:sp>
          <p:nvSpPr>
            <p:cNvPr id="6388" name="Google Shape;6388;p564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389" name="Google Shape;6389;p564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6390" name="Google Shape;6390;p5640"/>
          <p:cNvSpPr>
            <a:spLocks noGrp="1"/>
          </p:cNvSpPr>
          <p:nvPr>
            <p:ph type="pic" idx="2"/>
          </p:nvPr>
        </p:nvSpPr>
        <p:spPr>
          <a:xfrm>
            <a:off x="2807368" y="457202"/>
            <a:ext cx="8915400" cy="5943598"/>
          </a:xfrm>
          <a:prstGeom prst="rect">
            <a:avLst/>
          </a:prstGeom>
          <a:noFill/>
          <a:ln>
            <a:noFill/>
          </a:ln>
        </p:spPr>
      </p:sp>
      <p:pic>
        <p:nvPicPr>
          <p:cNvPr id="6391" name="Google Shape;6391;p5640"/>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506229590"/>
      </p:ext>
    </p:extLst>
  </p:cSld>
  <p:clrMapOvr>
    <a:masterClrMapping/>
  </p:clrMapOvr>
</p:sldLayout>
</file>

<file path=ppt/slideLayouts/slideLayout1812.xml><?xml version="1.0" encoding="utf-8"?>
<p:sldLayout xmlns:a="http://schemas.openxmlformats.org/drawingml/2006/main" xmlns:r="http://schemas.openxmlformats.org/officeDocument/2006/relationships" xmlns:p="http://schemas.openxmlformats.org/presentationml/2006/main" matchingName="Photo Slide">
  <p:cSld name="26_Photo Slide">
    <p:spTree>
      <p:nvGrpSpPr>
        <p:cNvPr id="1" name="Shape 6392"/>
        <p:cNvGrpSpPr/>
        <p:nvPr/>
      </p:nvGrpSpPr>
      <p:grpSpPr>
        <a:xfrm>
          <a:off x="0" y="0"/>
          <a:ext cx="0" cy="0"/>
          <a:chOff x="0" y="0"/>
          <a:chExt cx="0" cy="0"/>
        </a:xfrm>
      </p:grpSpPr>
      <p:sp>
        <p:nvSpPr>
          <p:cNvPr id="6393" name="Google Shape;6393;p56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6394" name="Google Shape;6394;p56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395" name="Google Shape;6395;p5641"/>
          <p:cNvGrpSpPr/>
          <p:nvPr/>
        </p:nvGrpSpPr>
        <p:grpSpPr>
          <a:xfrm>
            <a:off x="0" y="5379427"/>
            <a:ext cx="2807368" cy="753891"/>
            <a:chOff x="0" y="5379426"/>
            <a:chExt cx="2807368" cy="753891"/>
          </a:xfrm>
        </p:grpSpPr>
        <p:sp>
          <p:nvSpPr>
            <p:cNvPr id="6396" name="Google Shape;6396;p56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397" name="Google Shape;6397;p56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6398" name="Google Shape;6398;p5641"/>
          <p:cNvSpPr>
            <a:spLocks noGrp="1"/>
          </p:cNvSpPr>
          <p:nvPr>
            <p:ph type="pic" idx="2"/>
          </p:nvPr>
        </p:nvSpPr>
        <p:spPr>
          <a:xfrm>
            <a:off x="2807368" y="457202"/>
            <a:ext cx="8915400" cy="5943598"/>
          </a:xfrm>
          <a:prstGeom prst="rect">
            <a:avLst/>
          </a:prstGeom>
          <a:noFill/>
          <a:ln>
            <a:noFill/>
          </a:ln>
        </p:spPr>
      </p:sp>
      <p:pic>
        <p:nvPicPr>
          <p:cNvPr id="6399" name="Google Shape;6399;p564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729677643"/>
      </p:ext>
    </p:extLst>
  </p:cSld>
  <p:clrMapOvr>
    <a:masterClrMapping/>
  </p:clrMapOvr>
</p:sldLayout>
</file>

<file path=ppt/slideLayouts/slideLayout1813.xml><?xml version="1.0" encoding="utf-8"?>
<p:sldLayout xmlns:a="http://schemas.openxmlformats.org/drawingml/2006/main" xmlns:r="http://schemas.openxmlformats.org/officeDocument/2006/relationships" xmlns:p="http://schemas.openxmlformats.org/presentationml/2006/main" showMasterSp="0" matchingName="2_Table of Content">
  <p:cSld name="2_Table of Content">
    <p:spTree>
      <p:nvGrpSpPr>
        <p:cNvPr id="1" name="Shape 6400"/>
        <p:cNvGrpSpPr/>
        <p:nvPr/>
      </p:nvGrpSpPr>
      <p:grpSpPr>
        <a:xfrm>
          <a:off x="0" y="0"/>
          <a:ext cx="0" cy="0"/>
          <a:chOff x="0" y="0"/>
          <a:chExt cx="0" cy="0"/>
        </a:xfrm>
      </p:grpSpPr>
      <p:sp>
        <p:nvSpPr>
          <p:cNvPr id="6401" name="Google Shape;6401;p5642"/>
          <p:cNvSpPr/>
          <p:nvPr/>
        </p:nvSpPr>
        <p:spPr>
          <a:xfrm>
            <a:off x="-10584" y="6620934"/>
            <a:ext cx="12213168" cy="237067"/>
          </a:xfrm>
          <a:prstGeom prst="rect">
            <a:avLst/>
          </a:prstGeom>
          <a:solidFill>
            <a:srgbClr val="767676"/>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6402" name="Google Shape;6402;p5642"/>
          <p:cNvSpPr txBox="1">
            <a:spLocks noGrp="1"/>
          </p:cNvSpPr>
          <p:nvPr>
            <p:ph type="title"/>
          </p:nvPr>
        </p:nvSpPr>
        <p:spPr>
          <a:xfrm>
            <a:off x="218115" y="224841"/>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4400"/>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03" name="Google Shape;6403;p5642"/>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304815" lvl="0" indent="-270990" algn="l">
              <a:lnSpc>
                <a:spcPct val="100000"/>
              </a:lnSpc>
              <a:spcBef>
                <a:spcPts val="1000"/>
              </a:spcBef>
              <a:spcAft>
                <a:spcPts val="0"/>
              </a:spcAft>
              <a:buSzPts val="2801"/>
              <a:buFont typeface="Noto Sans Symbols"/>
              <a:buChar char="▪"/>
              <a:defRPr sz="1867" b="1"/>
            </a:lvl1pPr>
            <a:lvl2pPr marL="609630" lvl="1" indent="-270990" algn="l">
              <a:lnSpc>
                <a:spcPct val="100000"/>
              </a:lnSpc>
              <a:spcBef>
                <a:spcPts val="1000"/>
              </a:spcBef>
              <a:spcAft>
                <a:spcPts val="0"/>
              </a:spcAft>
              <a:buSzPts val="2801"/>
              <a:buFont typeface="Arial"/>
              <a:buChar char="̶"/>
              <a:defRPr sz="1867"/>
            </a:lvl2pPr>
            <a:lvl3pPr marL="914446" lvl="2" indent="-270989" algn="l">
              <a:lnSpc>
                <a:spcPct val="100000"/>
              </a:lnSpc>
              <a:spcBef>
                <a:spcPts val="1000"/>
              </a:spcBef>
              <a:spcAft>
                <a:spcPts val="0"/>
              </a:spcAft>
              <a:buSzPts val="2801"/>
              <a:buFont typeface="Arial"/>
              <a:buChar char="•"/>
              <a:defRPr sz="1867"/>
            </a:lvl3pPr>
            <a:lvl4pPr marL="1219261" lvl="3" indent="-270989" algn="l">
              <a:lnSpc>
                <a:spcPct val="100000"/>
              </a:lnSpc>
              <a:spcBef>
                <a:spcPts val="1000"/>
              </a:spcBef>
              <a:spcAft>
                <a:spcPts val="0"/>
              </a:spcAft>
              <a:buSzPts val="2801"/>
              <a:buFont typeface="Noto Sans Symbols"/>
              <a:buChar char="✔"/>
              <a:defRPr sz="1867"/>
            </a:lvl4pPr>
            <a:lvl5pPr marL="1524076" lvl="4" indent="-270990" algn="l">
              <a:lnSpc>
                <a:spcPct val="100000"/>
              </a:lnSpc>
              <a:spcBef>
                <a:spcPts val="1000"/>
              </a:spcBef>
              <a:spcAft>
                <a:spcPts val="0"/>
              </a:spcAft>
              <a:buSzPts val="2801"/>
              <a:buChar char="•"/>
              <a:defRPr sz="1867"/>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404" name="Google Shape;6404;p5642"/>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304815" lvl="0" indent="-237079" algn="l">
              <a:lnSpc>
                <a:spcPct val="100000"/>
              </a:lnSpc>
              <a:spcBef>
                <a:spcPts val="1000"/>
              </a:spcBef>
              <a:spcAft>
                <a:spcPts val="0"/>
              </a:spcAft>
              <a:buSzPts val="2000"/>
              <a:buChar char="•"/>
              <a:defRPr sz="1333" b="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405" name="Google Shape;6405;p564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6406" name="Google Shape;6406;p5642"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2" y="5969001"/>
            <a:ext cx="3704343" cy="651933"/>
          </a:xfrm>
          <a:prstGeom prst="rect">
            <a:avLst/>
          </a:prstGeom>
          <a:noFill/>
          <a:ln>
            <a:noFill/>
          </a:ln>
        </p:spPr>
      </p:pic>
    </p:spTree>
    <p:extLst>
      <p:ext uri="{BB962C8B-B14F-4D97-AF65-F5344CB8AC3E}">
        <p14:creationId xmlns:p14="http://schemas.microsoft.com/office/powerpoint/2010/main" val="3764855140"/>
      </p:ext>
    </p:extLst>
  </p:cSld>
  <p:clrMapOvr>
    <a:masterClrMapping/>
  </p:clrMapOvr>
</p:sldLayout>
</file>

<file path=ppt/slideLayouts/slideLayout1814.xml><?xml version="1.0" encoding="utf-8"?>
<p:sldLayout xmlns:a="http://schemas.openxmlformats.org/drawingml/2006/main" xmlns:r="http://schemas.openxmlformats.org/officeDocument/2006/relationships" xmlns:p="http://schemas.openxmlformats.org/presentationml/2006/main" matchingName="11_Title Slide_Yale Blue">
  <p:cSld name="11_Title Slide_Yale Blue">
    <p:spTree>
      <p:nvGrpSpPr>
        <p:cNvPr id="1" name="Shape 6407"/>
        <p:cNvGrpSpPr/>
        <p:nvPr/>
      </p:nvGrpSpPr>
      <p:grpSpPr>
        <a:xfrm>
          <a:off x="0" y="0"/>
          <a:ext cx="0" cy="0"/>
          <a:chOff x="0" y="0"/>
          <a:chExt cx="0" cy="0"/>
        </a:xfrm>
      </p:grpSpPr>
      <p:sp>
        <p:nvSpPr>
          <p:cNvPr id="6408" name="Google Shape;6408;p5643"/>
          <p:cNvSpPr txBox="1">
            <a:spLocks noGrp="1"/>
          </p:cNvSpPr>
          <p:nvPr>
            <p:ph type="body" idx="1"/>
          </p:nvPr>
        </p:nvSpPr>
        <p:spPr>
          <a:xfrm>
            <a:off x="2826556" y="5400857"/>
            <a:ext cx="8178613" cy="348899"/>
          </a:xfrm>
          <a:prstGeom prst="rect">
            <a:avLst/>
          </a:prstGeom>
          <a:noFill/>
          <a:ln>
            <a:noFill/>
          </a:ln>
        </p:spPr>
        <p:txBody>
          <a:bodyPr spcFirstLastPara="1" wrap="square" lIns="91425" tIns="45700" rIns="91425" bIns="45700" anchor="t" anchorCtr="0">
            <a:spAutoFit/>
          </a:bodyPr>
          <a:lstStyle>
            <a:lvl1pPr marL="304815" lvl="0" indent="-152408" algn="r">
              <a:lnSpc>
                <a:spcPct val="100000"/>
              </a:lnSpc>
              <a:spcBef>
                <a:spcPts val="1000"/>
              </a:spcBef>
              <a:spcAft>
                <a:spcPts val="0"/>
              </a:spcAft>
              <a:buSzPts val="2801"/>
              <a:buNone/>
              <a:defRPr sz="1867">
                <a:solidFill>
                  <a:srgbClr val="616364"/>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409" name="Google Shape;6409;p5643"/>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8000"/>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10" name="Google Shape;6410;p5643"/>
          <p:cNvSpPr txBox="1">
            <a:spLocks noGrp="1"/>
          </p:cNvSpPr>
          <p:nvPr>
            <p:ph type="dt" idx="10"/>
          </p:nvPr>
        </p:nvSpPr>
        <p:spPr>
          <a:xfrm>
            <a:off x="0" y="0"/>
            <a:ext cx="2000000" cy="2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9pPr>
          </a:lstStyle>
          <a:p>
            <a:endParaRPr/>
          </a:p>
        </p:txBody>
      </p:sp>
      <p:sp>
        <p:nvSpPr>
          <p:cNvPr id="6411" name="Google Shape;6411;p564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412" name="Google Shape;6412;p564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6413" name="Google Shape;6413;p5643"/>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6414" name="Google Shape;6414;p5643"/>
          <p:cNvSpPr/>
          <p:nvPr/>
        </p:nvSpPr>
        <p:spPr>
          <a:xfrm>
            <a:off x="0" y="6115052"/>
            <a:ext cx="12192000" cy="742949"/>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6415" name="Google Shape;6415;p5643"/>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4800"/>
              <a:buNone/>
              <a:defRPr sz="3200" b="0" i="0">
                <a:solidFill>
                  <a:srgbClr val="00314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6416" name="Google Shape;6416;p5643"/>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424043071"/>
      </p:ext>
    </p:extLst>
  </p:cSld>
  <p:clrMapOvr>
    <a:masterClrMapping/>
  </p:clrMapOvr>
</p:sldLayout>
</file>

<file path=ppt/slideLayouts/slideLayout1815.xml><?xml version="1.0" encoding="utf-8"?>
<p:sldLayout xmlns:a="http://schemas.openxmlformats.org/drawingml/2006/main" xmlns:r="http://schemas.openxmlformats.org/officeDocument/2006/relationships" xmlns:p="http://schemas.openxmlformats.org/presentationml/2006/main" matchingName="9_Title and Bullets Layout">
  <p:cSld name="9_Title and Bullets Layout">
    <p:spTree>
      <p:nvGrpSpPr>
        <p:cNvPr id="1" name="Shape 6417"/>
        <p:cNvGrpSpPr/>
        <p:nvPr/>
      </p:nvGrpSpPr>
      <p:grpSpPr>
        <a:xfrm>
          <a:off x="0" y="0"/>
          <a:ext cx="0" cy="0"/>
          <a:chOff x="0" y="0"/>
          <a:chExt cx="0" cy="0"/>
        </a:xfrm>
      </p:grpSpPr>
      <p:sp>
        <p:nvSpPr>
          <p:cNvPr id="6418" name="Google Shape;6418;p5644"/>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19" name="Google Shape;6419;p5644"/>
          <p:cNvSpPr/>
          <p:nvPr/>
        </p:nvSpPr>
        <p:spPr>
          <a:xfrm>
            <a:off x="0" y="6313118"/>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420" name="Google Shape;6420;p5644"/>
          <p:cNvSpPr/>
          <p:nvPr/>
        </p:nvSpPr>
        <p:spPr>
          <a:xfrm>
            <a:off x="0" y="6301515"/>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421" name="Google Shape;6421;p5644"/>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304815" lvl="0" indent="-287881" algn="l">
              <a:lnSpc>
                <a:spcPct val="100000"/>
              </a:lnSpc>
              <a:spcBef>
                <a:spcPts val="1000"/>
              </a:spcBef>
              <a:spcAft>
                <a:spcPts val="0"/>
              </a:spcAft>
              <a:buSzPts val="3200"/>
              <a:buFont typeface="Arial"/>
              <a:buChar char="•"/>
              <a:defRPr sz="2133" b="0">
                <a:solidFill>
                  <a:schemeClr val="dk1"/>
                </a:solidFill>
                <a:latin typeface="Verdana"/>
                <a:ea typeface="Verdana"/>
                <a:cs typeface="Verdana"/>
                <a:sym typeface="Verdana"/>
              </a:defRPr>
            </a:lvl1pPr>
            <a:lvl2pPr marL="609630" lvl="1" indent="-287881" algn="l">
              <a:lnSpc>
                <a:spcPct val="100000"/>
              </a:lnSpc>
              <a:spcBef>
                <a:spcPts val="1000"/>
              </a:spcBef>
              <a:spcAft>
                <a:spcPts val="0"/>
              </a:spcAft>
              <a:buSzPts val="3200"/>
              <a:buChar char="•"/>
              <a:defRPr sz="2133">
                <a:latin typeface="Verdana"/>
                <a:ea typeface="Verdana"/>
                <a:cs typeface="Verdana"/>
                <a:sym typeface="Verdana"/>
              </a:defRPr>
            </a:lvl2pPr>
            <a:lvl3pPr marL="914446" lvl="2" indent="-287881" algn="l">
              <a:lnSpc>
                <a:spcPct val="100000"/>
              </a:lnSpc>
              <a:spcBef>
                <a:spcPts val="1000"/>
              </a:spcBef>
              <a:spcAft>
                <a:spcPts val="0"/>
              </a:spcAft>
              <a:buSzPts val="3200"/>
              <a:buChar char="•"/>
              <a:defRPr sz="2133">
                <a:latin typeface="Verdana"/>
                <a:ea typeface="Verdana"/>
                <a:cs typeface="Verdana"/>
                <a:sym typeface="Verdana"/>
              </a:defRPr>
            </a:lvl3pPr>
            <a:lvl4pPr marL="1219261" lvl="3" indent="-287881" algn="l">
              <a:lnSpc>
                <a:spcPct val="100000"/>
              </a:lnSpc>
              <a:spcBef>
                <a:spcPts val="1000"/>
              </a:spcBef>
              <a:spcAft>
                <a:spcPts val="0"/>
              </a:spcAft>
              <a:buSzPts val="3200"/>
              <a:buChar char="•"/>
              <a:defRPr sz="2133">
                <a:latin typeface="Verdana"/>
                <a:ea typeface="Verdana"/>
                <a:cs typeface="Verdana"/>
                <a:sym typeface="Verdana"/>
              </a:defRPr>
            </a:lvl4pPr>
            <a:lvl5pPr marL="1524076" lvl="4" indent="-287881" algn="l">
              <a:lnSpc>
                <a:spcPct val="100000"/>
              </a:lnSpc>
              <a:spcBef>
                <a:spcPts val="1000"/>
              </a:spcBef>
              <a:spcAft>
                <a:spcPts val="0"/>
              </a:spcAft>
              <a:buSzPts val="3200"/>
              <a:buChar char="•"/>
              <a:defRPr sz="2133">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6422" name="Google Shape;6422;p564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489000567"/>
      </p:ext>
    </p:extLst>
  </p:cSld>
  <p:clrMapOvr>
    <a:masterClrMapping/>
  </p:clrMapOvr>
</p:sldLayout>
</file>

<file path=ppt/slideLayouts/slideLayout1816.xml><?xml version="1.0" encoding="utf-8"?>
<p:sldLayout xmlns:a="http://schemas.openxmlformats.org/drawingml/2006/main" xmlns:r="http://schemas.openxmlformats.org/officeDocument/2006/relationships" xmlns:p="http://schemas.openxmlformats.org/presentationml/2006/main" matchingName="37_Title and Content">
  <p:cSld name="37_Title and Content">
    <p:spTree>
      <p:nvGrpSpPr>
        <p:cNvPr id="1" name="Shape 6423"/>
        <p:cNvGrpSpPr/>
        <p:nvPr/>
      </p:nvGrpSpPr>
      <p:grpSpPr>
        <a:xfrm>
          <a:off x="0" y="0"/>
          <a:ext cx="0" cy="0"/>
          <a:chOff x="0" y="0"/>
          <a:chExt cx="0" cy="0"/>
        </a:xfrm>
      </p:grpSpPr>
      <p:sp>
        <p:nvSpPr>
          <p:cNvPr id="6424" name="Google Shape;6424;p5645"/>
          <p:cNvSpPr/>
          <p:nvPr/>
        </p:nvSpPr>
        <p:spPr>
          <a:xfrm>
            <a:off x="0" y="6313118"/>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6425" name="Google Shape;6425;p5645"/>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6426" name="Google Shape;6426;p5645"/>
          <p:cNvSpPr/>
          <p:nvPr/>
        </p:nvSpPr>
        <p:spPr>
          <a:xfrm>
            <a:off x="0" y="6301515"/>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427" name="Google Shape;6427;p5645"/>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28" name="Google Shape;6428;p5645"/>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a:latin typeface="Verdana"/>
                <a:ea typeface="Verdana"/>
                <a:cs typeface="Verdana"/>
                <a:sym typeface="Verdana"/>
              </a:defRPr>
            </a:lvl1pPr>
            <a:lvl2pPr marL="609630" lvl="1" indent="-270990" algn="l">
              <a:lnSpc>
                <a:spcPct val="100000"/>
              </a:lnSpc>
              <a:spcBef>
                <a:spcPts val="500"/>
              </a:spcBef>
              <a:spcAft>
                <a:spcPts val="0"/>
              </a:spcAft>
              <a:buSzPts val="2801"/>
              <a:buChar char="•"/>
              <a:defRPr sz="1867">
                <a:latin typeface="Verdana"/>
                <a:ea typeface="Verdana"/>
                <a:cs typeface="Verdana"/>
                <a:sym typeface="Verdana"/>
              </a:defRPr>
            </a:lvl2pPr>
            <a:lvl3pPr marL="914446" lvl="2" indent="-270989" algn="l">
              <a:lnSpc>
                <a:spcPct val="100000"/>
              </a:lnSpc>
              <a:spcBef>
                <a:spcPts val="1000"/>
              </a:spcBef>
              <a:spcAft>
                <a:spcPts val="0"/>
              </a:spcAft>
              <a:buSzPts val="2801"/>
              <a:buChar char="•"/>
              <a:defRPr sz="1867">
                <a:latin typeface="Verdana"/>
                <a:ea typeface="Verdana"/>
                <a:cs typeface="Verdana"/>
                <a:sym typeface="Verdana"/>
              </a:defRPr>
            </a:lvl3pPr>
            <a:lvl4pPr marL="1219261" lvl="3" indent="-270989" algn="l">
              <a:lnSpc>
                <a:spcPct val="100000"/>
              </a:lnSpc>
              <a:spcBef>
                <a:spcPts val="1000"/>
              </a:spcBef>
              <a:spcAft>
                <a:spcPts val="0"/>
              </a:spcAft>
              <a:buSzPts val="2801"/>
              <a:buChar char="•"/>
              <a:defRPr sz="1867">
                <a:latin typeface="Verdana"/>
                <a:ea typeface="Verdana"/>
                <a:cs typeface="Verdana"/>
                <a:sym typeface="Verdana"/>
              </a:defRPr>
            </a:lvl4pPr>
            <a:lvl5pPr marL="1524076" lvl="4" indent="-270990" algn="l">
              <a:lnSpc>
                <a:spcPct val="100000"/>
              </a:lnSpc>
              <a:spcBef>
                <a:spcPts val="1000"/>
              </a:spcBef>
              <a:spcAft>
                <a:spcPts val="0"/>
              </a:spcAft>
              <a:buSzPts val="2801"/>
              <a:buChar char="•"/>
              <a:defRPr sz="1867">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647924786"/>
      </p:ext>
    </p:extLst>
  </p:cSld>
  <p:clrMapOvr>
    <a:masterClrMapping/>
  </p:clrMapOvr>
</p:sldLayout>
</file>

<file path=ppt/slideLayouts/slideLayout1817.xml><?xml version="1.0" encoding="utf-8"?>
<p:sldLayout xmlns:a="http://schemas.openxmlformats.org/drawingml/2006/main" xmlns:r="http://schemas.openxmlformats.org/officeDocument/2006/relationships" xmlns:p="http://schemas.openxmlformats.org/presentationml/2006/main" matchingName="9_Two Section | Picture and Copy Layout">
  <p:cSld name="9_Two Section | Picture and Copy Layout">
    <p:spTree>
      <p:nvGrpSpPr>
        <p:cNvPr id="1" name="Shape 6429"/>
        <p:cNvGrpSpPr/>
        <p:nvPr/>
      </p:nvGrpSpPr>
      <p:grpSpPr>
        <a:xfrm>
          <a:off x="0" y="0"/>
          <a:ext cx="0" cy="0"/>
          <a:chOff x="0" y="0"/>
          <a:chExt cx="0" cy="0"/>
        </a:xfrm>
      </p:grpSpPr>
      <p:sp>
        <p:nvSpPr>
          <p:cNvPr id="6430" name="Google Shape;6430;p5646"/>
          <p:cNvSpPr/>
          <p:nvPr/>
        </p:nvSpPr>
        <p:spPr>
          <a:xfrm>
            <a:off x="0" y="6313118"/>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431" name="Google Shape;6431;p5646"/>
          <p:cNvSpPr/>
          <p:nvPr/>
        </p:nvSpPr>
        <p:spPr>
          <a:xfrm>
            <a:off x="0" y="6301515"/>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432" name="Google Shape;6432;p5646"/>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1800"/>
              <a:buNone/>
              <a:defRPr sz="1200" b="0" i="1">
                <a:solidFill>
                  <a:srgbClr val="003B5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433" name="Google Shape;6433;p5646"/>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b="0">
                <a:solidFill>
                  <a:schemeClr val="dk1"/>
                </a:solidFill>
                <a:latin typeface="Verdana"/>
                <a:ea typeface="Verdana"/>
                <a:cs typeface="Verdana"/>
                <a:sym typeface="Verdana"/>
              </a:defRPr>
            </a:lvl1pPr>
            <a:lvl2pPr marL="609630" lvl="1" indent="-270990" algn="l">
              <a:lnSpc>
                <a:spcPct val="100000"/>
              </a:lnSpc>
              <a:spcBef>
                <a:spcPts val="500"/>
              </a:spcBef>
              <a:spcAft>
                <a:spcPts val="0"/>
              </a:spcAft>
              <a:buSzPts val="2801"/>
              <a:buChar char="•"/>
              <a:defRPr sz="1867" b="0">
                <a:solidFill>
                  <a:srgbClr val="003B5C"/>
                </a:solidFill>
                <a:latin typeface="Verdana"/>
                <a:ea typeface="Verdana"/>
                <a:cs typeface="Verdana"/>
                <a:sym typeface="Verdana"/>
              </a:defRPr>
            </a:lvl2pPr>
            <a:lvl3pPr marL="914446" lvl="2" indent="-270989"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3pPr>
            <a:lvl4pPr marL="1219261" lvl="3" indent="-270989"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4pPr>
            <a:lvl5pPr marL="1524076" lvl="4" indent="-270990"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434" name="Google Shape;6434;p5646"/>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435" name="Google Shape;6435;p564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696942769"/>
      </p:ext>
    </p:extLst>
  </p:cSld>
  <p:clrMapOvr>
    <a:masterClrMapping/>
  </p:clrMapOvr>
</p:sldLayout>
</file>

<file path=ppt/slideLayouts/slideLayout1818.xml><?xml version="1.0" encoding="utf-8"?>
<p:sldLayout xmlns:a="http://schemas.openxmlformats.org/drawingml/2006/main" xmlns:r="http://schemas.openxmlformats.org/officeDocument/2006/relationships" xmlns:p="http://schemas.openxmlformats.org/presentationml/2006/main" matchingName="10_Title and Bullets Layout">
  <p:cSld name="10_Title and Bullets Layout">
    <p:spTree>
      <p:nvGrpSpPr>
        <p:cNvPr id="1" name="Shape 6436"/>
        <p:cNvGrpSpPr/>
        <p:nvPr/>
      </p:nvGrpSpPr>
      <p:grpSpPr>
        <a:xfrm>
          <a:off x="0" y="0"/>
          <a:ext cx="0" cy="0"/>
          <a:chOff x="0" y="0"/>
          <a:chExt cx="0" cy="0"/>
        </a:xfrm>
      </p:grpSpPr>
      <p:sp>
        <p:nvSpPr>
          <p:cNvPr id="6437" name="Google Shape;6437;p5647"/>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38" name="Google Shape;6438;p5647"/>
          <p:cNvSpPr/>
          <p:nvPr/>
        </p:nvSpPr>
        <p:spPr>
          <a:xfrm>
            <a:off x="0" y="6313118"/>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439" name="Google Shape;6439;p5647"/>
          <p:cNvSpPr/>
          <p:nvPr/>
        </p:nvSpPr>
        <p:spPr>
          <a:xfrm>
            <a:off x="0" y="6301515"/>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440" name="Google Shape;6440;p5647"/>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304815" lvl="0" indent="-287881" algn="l">
              <a:lnSpc>
                <a:spcPct val="100000"/>
              </a:lnSpc>
              <a:spcBef>
                <a:spcPts val="1000"/>
              </a:spcBef>
              <a:spcAft>
                <a:spcPts val="0"/>
              </a:spcAft>
              <a:buSzPts val="3200"/>
              <a:buFont typeface="Arial"/>
              <a:buChar char="•"/>
              <a:defRPr sz="2133" b="0">
                <a:solidFill>
                  <a:schemeClr val="dk1"/>
                </a:solidFill>
                <a:latin typeface="Verdana"/>
                <a:ea typeface="Verdana"/>
                <a:cs typeface="Verdana"/>
                <a:sym typeface="Verdana"/>
              </a:defRPr>
            </a:lvl1pPr>
            <a:lvl2pPr marL="609630" lvl="1" indent="-287881" algn="l">
              <a:lnSpc>
                <a:spcPct val="100000"/>
              </a:lnSpc>
              <a:spcBef>
                <a:spcPts val="1000"/>
              </a:spcBef>
              <a:spcAft>
                <a:spcPts val="0"/>
              </a:spcAft>
              <a:buSzPts val="3200"/>
              <a:buChar char="•"/>
              <a:defRPr sz="2133">
                <a:latin typeface="Verdana"/>
                <a:ea typeface="Verdana"/>
                <a:cs typeface="Verdana"/>
                <a:sym typeface="Verdana"/>
              </a:defRPr>
            </a:lvl2pPr>
            <a:lvl3pPr marL="914446" lvl="2" indent="-287881" algn="l">
              <a:lnSpc>
                <a:spcPct val="100000"/>
              </a:lnSpc>
              <a:spcBef>
                <a:spcPts val="1000"/>
              </a:spcBef>
              <a:spcAft>
                <a:spcPts val="0"/>
              </a:spcAft>
              <a:buSzPts val="3200"/>
              <a:buChar char="•"/>
              <a:defRPr sz="2133">
                <a:latin typeface="Verdana"/>
                <a:ea typeface="Verdana"/>
                <a:cs typeface="Verdana"/>
                <a:sym typeface="Verdana"/>
              </a:defRPr>
            </a:lvl3pPr>
            <a:lvl4pPr marL="1219261" lvl="3" indent="-287881" algn="l">
              <a:lnSpc>
                <a:spcPct val="100000"/>
              </a:lnSpc>
              <a:spcBef>
                <a:spcPts val="1000"/>
              </a:spcBef>
              <a:spcAft>
                <a:spcPts val="0"/>
              </a:spcAft>
              <a:buSzPts val="3200"/>
              <a:buChar char="•"/>
              <a:defRPr sz="2133">
                <a:latin typeface="Verdana"/>
                <a:ea typeface="Verdana"/>
                <a:cs typeface="Verdana"/>
                <a:sym typeface="Verdana"/>
              </a:defRPr>
            </a:lvl4pPr>
            <a:lvl5pPr marL="1524076" lvl="4" indent="-287881" algn="l">
              <a:lnSpc>
                <a:spcPct val="100000"/>
              </a:lnSpc>
              <a:spcBef>
                <a:spcPts val="1000"/>
              </a:spcBef>
              <a:spcAft>
                <a:spcPts val="0"/>
              </a:spcAft>
              <a:buSzPts val="3200"/>
              <a:buChar char="•"/>
              <a:defRPr sz="2133">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6441" name="Google Shape;6441;p564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011693339"/>
      </p:ext>
    </p:extLst>
  </p:cSld>
  <p:clrMapOvr>
    <a:masterClrMapping/>
  </p:clrMapOvr>
</p:sldLayout>
</file>

<file path=ppt/slideLayouts/slideLayout1819.xml><?xml version="1.0" encoding="utf-8"?>
<p:sldLayout xmlns:a="http://schemas.openxmlformats.org/drawingml/2006/main" xmlns:r="http://schemas.openxmlformats.org/officeDocument/2006/relationships" xmlns:p="http://schemas.openxmlformats.org/presentationml/2006/main" matchingName="38_Title and Content">
  <p:cSld name="38_Title and Content">
    <p:spTree>
      <p:nvGrpSpPr>
        <p:cNvPr id="1" name="Shape 6442"/>
        <p:cNvGrpSpPr/>
        <p:nvPr/>
      </p:nvGrpSpPr>
      <p:grpSpPr>
        <a:xfrm>
          <a:off x="0" y="0"/>
          <a:ext cx="0" cy="0"/>
          <a:chOff x="0" y="0"/>
          <a:chExt cx="0" cy="0"/>
        </a:xfrm>
      </p:grpSpPr>
      <p:sp>
        <p:nvSpPr>
          <p:cNvPr id="6443" name="Google Shape;6443;p5648"/>
          <p:cNvSpPr/>
          <p:nvPr/>
        </p:nvSpPr>
        <p:spPr>
          <a:xfrm>
            <a:off x="0" y="6313118"/>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6444" name="Google Shape;6444;p5648"/>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6445" name="Google Shape;6445;p5648"/>
          <p:cNvSpPr/>
          <p:nvPr/>
        </p:nvSpPr>
        <p:spPr>
          <a:xfrm>
            <a:off x="0" y="6301515"/>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446" name="Google Shape;6446;p5648"/>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47" name="Google Shape;6447;p5648"/>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a:latin typeface="Verdana"/>
                <a:ea typeface="Verdana"/>
                <a:cs typeface="Verdana"/>
                <a:sym typeface="Verdana"/>
              </a:defRPr>
            </a:lvl1pPr>
            <a:lvl2pPr marL="609630" lvl="1" indent="-270990" algn="l">
              <a:lnSpc>
                <a:spcPct val="100000"/>
              </a:lnSpc>
              <a:spcBef>
                <a:spcPts val="500"/>
              </a:spcBef>
              <a:spcAft>
                <a:spcPts val="0"/>
              </a:spcAft>
              <a:buSzPts val="2801"/>
              <a:buChar char="•"/>
              <a:defRPr sz="1867">
                <a:latin typeface="Verdana"/>
                <a:ea typeface="Verdana"/>
                <a:cs typeface="Verdana"/>
                <a:sym typeface="Verdana"/>
              </a:defRPr>
            </a:lvl2pPr>
            <a:lvl3pPr marL="914446" lvl="2" indent="-270989" algn="l">
              <a:lnSpc>
                <a:spcPct val="100000"/>
              </a:lnSpc>
              <a:spcBef>
                <a:spcPts val="1000"/>
              </a:spcBef>
              <a:spcAft>
                <a:spcPts val="0"/>
              </a:spcAft>
              <a:buSzPts val="2801"/>
              <a:buChar char="•"/>
              <a:defRPr sz="1867">
                <a:latin typeface="Verdana"/>
                <a:ea typeface="Verdana"/>
                <a:cs typeface="Verdana"/>
                <a:sym typeface="Verdana"/>
              </a:defRPr>
            </a:lvl3pPr>
            <a:lvl4pPr marL="1219261" lvl="3" indent="-270989" algn="l">
              <a:lnSpc>
                <a:spcPct val="100000"/>
              </a:lnSpc>
              <a:spcBef>
                <a:spcPts val="1000"/>
              </a:spcBef>
              <a:spcAft>
                <a:spcPts val="0"/>
              </a:spcAft>
              <a:buSzPts val="2801"/>
              <a:buChar char="•"/>
              <a:defRPr sz="1867">
                <a:latin typeface="Verdana"/>
                <a:ea typeface="Verdana"/>
                <a:cs typeface="Verdana"/>
                <a:sym typeface="Verdana"/>
              </a:defRPr>
            </a:lvl4pPr>
            <a:lvl5pPr marL="1524076" lvl="4" indent="-270990" algn="l">
              <a:lnSpc>
                <a:spcPct val="100000"/>
              </a:lnSpc>
              <a:spcBef>
                <a:spcPts val="1000"/>
              </a:spcBef>
              <a:spcAft>
                <a:spcPts val="0"/>
              </a:spcAft>
              <a:buSzPts val="2801"/>
              <a:buChar char="•"/>
              <a:defRPr sz="1867">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08190178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4">
    <p:spTree>
      <p:nvGrpSpPr>
        <p:cNvPr id="1" name="Shape 10822"/>
        <p:cNvGrpSpPr/>
        <p:nvPr/>
      </p:nvGrpSpPr>
      <p:grpSpPr>
        <a:xfrm>
          <a:off x="0" y="0"/>
          <a:ext cx="0" cy="0"/>
          <a:chOff x="0" y="0"/>
          <a:chExt cx="0" cy="0"/>
        </a:xfrm>
      </p:grpSpPr>
      <p:sp>
        <p:nvSpPr>
          <p:cNvPr id="10823" name="Google Shape;10823;p148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24" name="Google Shape;10824;p148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825" name="Google Shape;10825;p148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0826" name="Google Shape;10826;p14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827" name="Google Shape;10827;p14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0828" name="Google Shape;10828;p148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0829" name="Google Shape;10829;p148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0830" name="Google Shape;10830;p148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831" name="Google Shape;10831;p1486"/>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820.xml><?xml version="1.0" encoding="utf-8"?>
<p:sldLayout xmlns:a="http://schemas.openxmlformats.org/drawingml/2006/main" xmlns:r="http://schemas.openxmlformats.org/officeDocument/2006/relationships" xmlns:p="http://schemas.openxmlformats.org/presentationml/2006/main" matchingName="10_Two Section | Picture and Copy Layout">
  <p:cSld name="10_Two Section | Picture and Copy Layout">
    <p:spTree>
      <p:nvGrpSpPr>
        <p:cNvPr id="1" name="Shape 6448"/>
        <p:cNvGrpSpPr/>
        <p:nvPr/>
      </p:nvGrpSpPr>
      <p:grpSpPr>
        <a:xfrm>
          <a:off x="0" y="0"/>
          <a:ext cx="0" cy="0"/>
          <a:chOff x="0" y="0"/>
          <a:chExt cx="0" cy="0"/>
        </a:xfrm>
      </p:grpSpPr>
      <p:sp>
        <p:nvSpPr>
          <p:cNvPr id="6449" name="Google Shape;6449;p5649"/>
          <p:cNvSpPr/>
          <p:nvPr/>
        </p:nvSpPr>
        <p:spPr>
          <a:xfrm>
            <a:off x="0" y="6313118"/>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450" name="Google Shape;6450;p5649"/>
          <p:cNvSpPr/>
          <p:nvPr/>
        </p:nvSpPr>
        <p:spPr>
          <a:xfrm>
            <a:off x="0" y="6301515"/>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451" name="Google Shape;6451;p5649"/>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1800"/>
              <a:buNone/>
              <a:defRPr sz="1200" b="0" i="1">
                <a:solidFill>
                  <a:srgbClr val="003B5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452" name="Google Shape;6452;p5649"/>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b="0">
                <a:solidFill>
                  <a:schemeClr val="dk1"/>
                </a:solidFill>
                <a:latin typeface="Verdana"/>
                <a:ea typeface="Verdana"/>
                <a:cs typeface="Verdana"/>
                <a:sym typeface="Verdana"/>
              </a:defRPr>
            </a:lvl1pPr>
            <a:lvl2pPr marL="609630" lvl="1" indent="-270990" algn="l">
              <a:lnSpc>
                <a:spcPct val="100000"/>
              </a:lnSpc>
              <a:spcBef>
                <a:spcPts val="500"/>
              </a:spcBef>
              <a:spcAft>
                <a:spcPts val="0"/>
              </a:spcAft>
              <a:buSzPts val="2801"/>
              <a:buChar char="•"/>
              <a:defRPr sz="1867" b="0">
                <a:solidFill>
                  <a:srgbClr val="003B5C"/>
                </a:solidFill>
                <a:latin typeface="Verdana"/>
                <a:ea typeface="Verdana"/>
                <a:cs typeface="Verdana"/>
                <a:sym typeface="Verdana"/>
              </a:defRPr>
            </a:lvl2pPr>
            <a:lvl3pPr marL="914446" lvl="2" indent="-270989"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3pPr>
            <a:lvl4pPr marL="1219261" lvl="3" indent="-270989"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4pPr>
            <a:lvl5pPr marL="1524076" lvl="4" indent="-270990"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453" name="Google Shape;6453;p5649"/>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454" name="Google Shape;6454;p564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491935840"/>
      </p:ext>
    </p:extLst>
  </p:cSld>
  <p:clrMapOvr>
    <a:masterClrMapping/>
  </p:clrMapOvr>
</p:sldLayout>
</file>

<file path=ppt/slideLayouts/slideLayout1821.xml><?xml version="1.0" encoding="utf-8"?>
<p:sldLayout xmlns:a="http://schemas.openxmlformats.org/drawingml/2006/main" xmlns:r="http://schemas.openxmlformats.org/officeDocument/2006/relationships" xmlns:p="http://schemas.openxmlformats.org/presentationml/2006/main" matchingName="11_Title and Bullets Layout">
  <p:cSld name="11_Title and Bullets Layout">
    <p:spTree>
      <p:nvGrpSpPr>
        <p:cNvPr id="1" name="Shape 6455"/>
        <p:cNvGrpSpPr/>
        <p:nvPr/>
      </p:nvGrpSpPr>
      <p:grpSpPr>
        <a:xfrm>
          <a:off x="0" y="0"/>
          <a:ext cx="0" cy="0"/>
          <a:chOff x="0" y="0"/>
          <a:chExt cx="0" cy="0"/>
        </a:xfrm>
      </p:grpSpPr>
      <p:sp>
        <p:nvSpPr>
          <p:cNvPr id="6456" name="Google Shape;6456;p5650"/>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57" name="Google Shape;6457;p5650"/>
          <p:cNvSpPr/>
          <p:nvPr/>
        </p:nvSpPr>
        <p:spPr>
          <a:xfrm>
            <a:off x="0" y="6313118"/>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458" name="Google Shape;6458;p5650"/>
          <p:cNvSpPr/>
          <p:nvPr/>
        </p:nvSpPr>
        <p:spPr>
          <a:xfrm>
            <a:off x="0" y="6301515"/>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459" name="Google Shape;6459;p5650"/>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304815" lvl="0" indent="-287881" algn="l">
              <a:lnSpc>
                <a:spcPct val="100000"/>
              </a:lnSpc>
              <a:spcBef>
                <a:spcPts val="1000"/>
              </a:spcBef>
              <a:spcAft>
                <a:spcPts val="0"/>
              </a:spcAft>
              <a:buSzPts val="3200"/>
              <a:buFont typeface="Arial"/>
              <a:buChar char="•"/>
              <a:defRPr sz="2133" b="0">
                <a:solidFill>
                  <a:schemeClr val="dk1"/>
                </a:solidFill>
                <a:latin typeface="Verdana"/>
                <a:ea typeface="Verdana"/>
                <a:cs typeface="Verdana"/>
                <a:sym typeface="Verdana"/>
              </a:defRPr>
            </a:lvl1pPr>
            <a:lvl2pPr marL="609630" lvl="1" indent="-287881" algn="l">
              <a:lnSpc>
                <a:spcPct val="100000"/>
              </a:lnSpc>
              <a:spcBef>
                <a:spcPts val="1000"/>
              </a:spcBef>
              <a:spcAft>
                <a:spcPts val="0"/>
              </a:spcAft>
              <a:buSzPts val="3200"/>
              <a:buChar char="•"/>
              <a:defRPr sz="2133">
                <a:latin typeface="Verdana"/>
                <a:ea typeface="Verdana"/>
                <a:cs typeface="Verdana"/>
                <a:sym typeface="Verdana"/>
              </a:defRPr>
            </a:lvl2pPr>
            <a:lvl3pPr marL="914446" lvl="2" indent="-287881" algn="l">
              <a:lnSpc>
                <a:spcPct val="100000"/>
              </a:lnSpc>
              <a:spcBef>
                <a:spcPts val="1000"/>
              </a:spcBef>
              <a:spcAft>
                <a:spcPts val="0"/>
              </a:spcAft>
              <a:buSzPts val="3200"/>
              <a:buChar char="•"/>
              <a:defRPr sz="2133">
                <a:latin typeface="Verdana"/>
                <a:ea typeface="Verdana"/>
                <a:cs typeface="Verdana"/>
                <a:sym typeface="Verdana"/>
              </a:defRPr>
            </a:lvl3pPr>
            <a:lvl4pPr marL="1219261" lvl="3" indent="-287881" algn="l">
              <a:lnSpc>
                <a:spcPct val="100000"/>
              </a:lnSpc>
              <a:spcBef>
                <a:spcPts val="1000"/>
              </a:spcBef>
              <a:spcAft>
                <a:spcPts val="0"/>
              </a:spcAft>
              <a:buSzPts val="3200"/>
              <a:buChar char="•"/>
              <a:defRPr sz="2133">
                <a:latin typeface="Verdana"/>
                <a:ea typeface="Verdana"/>
                <a:cs typeface="Verdana"/>
                <a:sym typeface="Verdana"/>
              </a:defRPr>
            </a:lvl4pPr>
            <a:lvl5pPr marL="1524076" lvl="4" indent="-287881" algn="l">
              <a:lnSpc>
                <a:spcPct val="100000"/>
              </a:lnSpc>
              <a:spcBef>
                <a:spcPts val="1000"/>
              </a:spcBef>
              <a:spcAft>
                <a:spcPts val="0"/>
              </a:spcAft>
              <a:buSzPts val="3200"/>
              <a:buChar char="•"/>
              <a:defRPr sz="2133">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6460" name="Google Shape;6460;p565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893964408"/>
      </p:ext>
    </p:extLst>
  </p:cSld>
  <p:clrMapOvr>
    <a:masterClrMapping/>
  </p:clrMapOvr>
</p:sldLayout>
</file>

<file path=ppt/slideLayouts/slideLayout1822.xml><?xml version="1.0" encoding="utf-8"?>
<p:sldLayout xmlns:a="http://schemas.openxmlformats.org/drawingml/2006/main" xmlns:r="http://schemas.openxmlformats.org/officeDocument/2006/relationships" xmlns:p="http://schemas.openxmlformats.org/presentationml/2006/main" matchingName="39_Title and Content">
  <p:cSld name="39_Title and Content">
    <p:spTree>
      <p:nvGrpSpPr>
        <p:cNvPr id="1" name="Shape 6461"/>
        <p:cNvGrpSpPr/>
        <p:nvPr/>
      </p:nvGrpSpPr>
      <p:grpSpPr>
        <a:xfrm>
          <a:off x="0" y="0"/>
          <a:ext cx="0" cy="0"/>
          <a:chOff x="0" y="0"/>
          <a:chExt cx="0" cy="0"/>
        </a:xfrm>
      </p:grpSpPr>
      <p:sp>
        <p:nvSpPr>
          <p:cNvPr id="6462" name="Google Shape;6462;p5651"/>
          <p:cNvSpPr/>
          <p:nvPr/>
        </p:nvSpPr>
        <p:spPr>
          <a:xfrm>
            <a:off x="0" y="6313118"/>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6463" name="Google Shape;6463;p5651"/>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6464" name="Google Shape;6464;p5651"/>
          <p:cNvSpPr/>
          <p:nvPr/>
        </p:nvSpPr>
        <p:spPr>
          <a:xfrm>
            <a:off x="0" y="6301515"/>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465" name="Google Shape;6465;p5651"/>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66" name="Google Shape;6466;p5651"/>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a:latin typeface="Verdana"/>
                <a:ea typeface="Verdana"/>
                <a:cs typeface="Verdana"/>
                <a:sym typeface="Verdana"/>
              </a:defRPr>
            </a:lvl1pPr>
            <a:lvl2pPr marL="609630" lvl="1" indent="-270990" algn="l">
              <a:lnSpc>
                <a:spcPct val="100000"/>
              </a:lnSpc>
              <a:spcBef>
                <a:spcPts val="500"/>
              </a:spcBef>
              <a:spcAft>
                <a:spcPts val="0"/>
              </a:spcAft>
              <a:buSzPts val="2801"/>
              <a:buChar char="•"/>
              <a:defRPr sz="1867">
                <a:latin typeface="Verdana"/>
                <a:ea typeface="Verdana"/>
                <a:cs typeface="Verdana"/>
                <a:sym typeface="Verdana"/>
              </a:defRPr>
            </a:lvl2pPr>
            <a:lvl3pPr marL="914446" lvl="2" indent="-270989" algn="l">
              <a:lnSpc>
                <a:spcPct val="100000"/>
              </a:lnSpc>
              <a:spcBef>
                <a:spcPts val="1000"/>
              </a:spcBef>
              <a:spcAft>
                <a:spcPts val="0"/>
              </a:spcAft>
              <a:buSzPts val="2801"/>
              <a:buChar char="•"/>
              <a:defRPr sz="1867">
                <a:latin typeface="Verdana"/>
                <a:ea typeface="Verdana"/>
                <a:cs typeface="Verdana"/>
                <a:sym typeface="Verdana"/>
              </a:defRPr>
            </a:lvl3pPr>
            <a:lvl4pPr marL="1219261" lvl="3" indent="-270989" algn="l">
              <a:lnSpc>
                <a:spcPct val="100000"/>
              </a:lnSpc>
              <a:spcBef>
                <a:spcPts val="1000"/>
              </a:spcBef>
              <a:spcAft>
                <a:spcPts val="0"/>
              </a:spcAft>
              <a:buSzPts val="2801"/>
              <a:buChar char="•"/>
              <a:defRPr sz="1867">
                <a:latin typeface="Verdana"/>
                <a:ea typeface="Verdana"/>
                <a:cs typeface="Verdana"/>
                <a:sym typeface="Verdana"/>
              </a:defRPr>
            </a:lvl4pPr>
            <a:lvl5pPr marL="1524076" lvl="4" indent="-270990" algn="l">
              <a:lnSpc>
                <a:spcPct val="100000"/>
              </a:lnSpc>
              <a:spcBef>
                <a:spcPts val="1000"/>
              </a:spcBef>
              <a:spcAft>
                <a:spcPts val="0"/>
              </a:spcAft>
              <a:buSzPts val="2801"/>
              <a:buChar char="•"/>
              <a:defRPr sz="1867">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848170584"/>
      </p:ext>
    </p:extLst>
  </p:cSld>
  <p:clrMapOvr>
    <a:masterClrMapping/>
  </p:clrMapOvr>
</p:sldLayout>
</file>

<file path=ppt/slideLayouts/slideLayout1823.xml><?xml version="1.0" encoding="utf-8"?>
<p:sldLayout xmlns:a="http://schemas.openxmlformats.org/drawingml/2006/main" xmlns:r="http://schemas.openxmlformats.org/officeDocument/2006/relationships" xmlns:p="http://schemas.openxmlformats.org/presentationml/2006/main" matchingName="11_Two Section | Picture and Copy Layout">
  <p:cSld name="11_Two Section | Picture and Copy Layout">
    <p:spTree>
      <p:nvGrpSpPr>
        <p:cNvPr id="1" name="Shape 6467"/>
        <p:cNvGrpSpPr/>
        <p:nvPr/>
      </p:nvGrpSpPr>
      <p:grpSpPr>
        <a:xfrm>
          <a:off x="0" y="0"/>
          <a:ext cx="0" cy="0"/>
          <a:chOff x="0" y="0"/>
          <a:chExt cx="0" cy="0"/>
        </a:xfrm>
      </p:grpSpPr>
      <p:sp>
        <p:nvSpPr>
          <p:cNvPr id="6468" name="Google Shape;6468;p5652"/>
          <p:cNvSpPr/>
          <p:nvPr/>
        </p:nvSpPr>
        <p:spPr>
          <a:xfrm>
            <a:off x="0" y="6313118"/>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469" name="Google Shape;6469;p5652"/>
          <p:cNvSpPr/>
          <p:nvPr/>
        </p:nvSpPr>
        <p:spPr>
          <a:xfrm>
            <a:off x="0" y="6301515"/>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470" name="Google Shape;6470;p5652"/>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1800"/>
              <a:buNone/>
              <a:defRPr sz="1200" b="0" i="1">
                <a:solidFill>
                  <a:srgbClr val="003B5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471" name="Google Shape;6471;p5652"/>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b="0">
                <a:solidFill>
                  <a:schemeClr val="dk1"/>
                </a:solidFill>
                <a:latin typeface="Verdana"/>
                <a:ea typeface="Verdana"/>
                <a:cs typeface="Verdana"/>
                <a:sym typeface="Verdana"/>
              </a:defRPr>
            </a:lvl1pPr>
            <a:lvl2pPr marL="609630" lvl="1" indent="-270990" algn="l">
              <a:lnSpc>
                <a:spcPct val="100000"/>
              </a:lnSpc>
              <a:spcBef>
                <a:spcPts val="500"/>
              </a:spcBef>
              <a:spcAft>
                <a:spcPts val="0"/>
              </a:spcAft>
              <a:buSzPts val="2801"/>
              <a:buChar char="•"/>
              <a:defRPr sz="1867" b="0">
                <a:solidFill>
                  <a:srgbClr val="003B5C"/>
                </a:solidFill>
                <a:latin typeface="Verdana"/>
                <a:ea typeface="Verdana"/>
                <a:cs typeface="Verdana"/>
                <a:sym typeface="Verdana"/>
              </a:defRPr>
            </a:lvl2pPr>
            <a:lvl3pPr marL="914446" lvl="2" indent="-270989"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3pPr>
            <a:lvl4pPr marL="1219261" lvl="3" indent="-270989"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4pPr>
            <a:lvl5pPr marL="1524076" lvl="4" indent="-270990"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472" name="Google Shape;6472;p5652"/>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473" name="Google Shape;6473;p565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977089542"/>
      </p:ext>
    </p:extLst>
  </p:cSld>
  <p:clrMapOvr>
    <a:masterClrMapping/>
  </p:clrMapOvr>
</p:sldLayout>
</file>

<file path=ppt/slideLayouts/slideLayout1824.xml><?xml version="1.0" encoding="utf-8"?>
<p:sldLayout xmlns:a="http://schemas.openxmlformats.org/drawingml/2006/main" xmlns:r="http://schemas.openxmlformats.org/officeDocument/2006/relationships" xmlns:p="http://schemas.openxmlformats.org/presentationml/2006/main" matchingName="12_Title and Bullets Layout">
  <p:cSld name="12_Title and Bullets Layout">
    <p:spTree>
      <p:nvGrpSpPr>
        <p:cNvPr id="1" name="Shape 6474"/>
        <p:cNvGrpSpPr/>
        <p:nvPr/>
      </p:nvGrpSpPr>
      <p:grpSpPr>
        <a:xfrm>
          <a:off x="0" y="0"/>
          <a:ext cx="0" cy="0"/>
          <a:chOff x="0" y="0"/>
          <a:chExt cx="0" cy="0"/>
        </a:xfrm>
      </p:grpSpPr>
      <p:sp>
        <p:nvSpPr>
          <p:cNvPr id="6475" name="Google Shape;6475;p5653"/>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76" name="Google Shape;6476;p5653"/>
          <p:cNvSpPr/>
          <p:nvPr/>
        </p:nvSpPr>
        <p:spPr>
          <a:xfrm>
            <a:off x="0" y="6313118"/>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477" name="Google Shape;6477;p5653"/>
          <p:cNvSpPr/>
          <p:nvPr/>
        </p:nvSpPr>
        <p:spPr>
          <a:xfrm>
            <a:off x="0" y="6301515"/>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478" name="Google Shape;6478;p5653"/>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304815" lvl="0" indent="-287881" algn="l">
              <a:lnSpc>
                <a:spcPct val="100000"/>
              </a:lnSpc>
              <a:spcBef>
                <a:spcPts val="1000"/>
              </a:spcBef>
              <a:spcAft>
                <a:spcPts val="0"/>
              </a:spcAft>
              <a:buSzPts val="3200"/>
              <a:buFont typeface="Arial"/>
              <a:buChar char="•"/>
              <a:defRPr sz="2133" b="0">
                <a:solidFill>
                  <a:schemeClr val="dk1"/>
                </a:solidFill>
                <a:latin typeface="Verdana"/>
                <a:ea typeface="Verdana"/>
                <a:cs typeface="Verdana"/>
                <a:sym typeface="Verdana"/>
              </a:defRPr>
            </a:lvl1pPr>
            <a:lvl2pPr marL="609630" lvl="1" indent="-287881" algn="l">
              <a:lnSpc>
                <a:spcPct val="100000"/>
              </a:lnSpc>
              <a:spcBef>
                <a:spcPts val="1000"/>
              </a:spcBef>
              <a:spcAft>
                <a:spcPts val="0"/>
              </a:spcAft>
              <a:buSzPts val="3200"/>
              <a:buChar char="•"/>
              <a:defRPr sz="2133">
                <a:latin typeface="Verdana"/>
                <a:ea typeface="Verdana"/>
                <a:cs typeface="Verdana"/>
                <a:sym typeface="Verdana"/>
              </a:defRPr>
            </a:lvl2pPr>
            <a:lvl3pPr marL="914446" lvl="2" indent="-287881" algn="l">
              <a:lnSpc>
                <a:spcPct val="100000"/>
              </a:lnSpc>
              <a:spcBef>
                <a:spcPts val="1000"/>
              </a:spcBef>
              <a:spcAft>
                <a:spcPts val="0"/>
              </a:spcAft>
              <a:buSzPts val="3200"/>
              <a:buChar char="•"/>
              <a:defRPr sz="2133">
                <a:latin typeface="Verdana"/>
                <a:ea typeface="Verdana"/>
                <a:cs typeface="Verdana"/>
                <a:sym typeface="Verdana"/>
              </a:defRPr>
            </a:lvl3pPr>
            <a:lvl4pPr marL="1219261" lvl="3" indent="-287881" algn="l">
              <a:lnSpc>
                <a:spcPct val="100000"/>
              </a:lnSpc>
              <a:spcBef>
                <a:spcPts val="1000"/>
              </a:spcBef>
              <a:spcAft>
                <a:spcPts val="0"/>
              </a:spcAft>
              <a:buSzPts val="3200"/>
              <a:buChar char="•"/>
              <a:defRPr sz="2133">
                <a:latin typeface="Verdana"/>
                <a:ea typeface="Verdana"/>
                <a:cs typeface="Verdana"/>
                <a:sym typeface="Verdana"/>
              </a:defRPr>
            </a:lvl4pPr>
            <a:lvl5pPr marL="1524076" lvl="4" indent="-287881" algn="l">
              <a:lnSpc>
                <a:spcPct val="100000"/>
              </a:lnSpc>
              <a:spcBef>
                <a:spcPts val="1000"/>
              </a:spcBef>
              <a:spcAft>
                <a:spcPts val="0"/>
              </a:spcAft>
              <a:buSzPts val="3200"/>
              <a:buChar char="•"/>
              <a:defRPr sz="2133">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6479" name="Google Shape;6479;p565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250145097"/>
      </p:ext>
    </p:extLst>
  </p:cSld>
  <p:clrMapOvr>
    <a:masterClrMapping/>
  </p:clrMapOvr>
</p:sldLayout>
</file>

<file path=ppt/slideLayouts/slideLayout1825.xml><?xml version="1.0" encoding="utf-8"?>
<p:sldLayout xmlns:a="http://schemas.openxmlformats.org/drawingml/2006/main" xmlns:r="http://schemas.openxmlformats.org/officeDocument/2006/relationships" xmlns:p="http://schemas.openxmlformats.org/presentationml/2006/main" matchingName="40_Title and Content">
  <p:cSld name="40_Title and Content">
    <p:spTree>
      <p:nvGrpSpPr>
        <p:cNvPr id="1" name="Shape 6480"/>
        <p:cNvGrpSpPr/>
        <p:nvPr/>
      </p:nvGrpSpPr>
      <p:grpSpPr>
        <a:xfrm>
          <a:off x="0" y="0"/>
          <a:ext cx="0" cy="0"/>
          <a:chOff x="0" y="0"/>
          <a:chExt cx="0" cy="0"/>
        </a:xfrm>
      </p:grpSpPr>
      <p:sp>
        <p:nvSpPr>
          <p:cNvPr id="6481" name="Google Shape;6481;p5654"/>
          <p:cNvSpPr/>
          <p:nvPr/>
        </p:nvSpPr>
        <p:spPr>
          <a:xfrm>
            <a:off x="0" y="6313118"/>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6482" name="Google Shape;6482;p5654"/>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6483" name="Google Shape;6483;p5654"/>
          <p:cNvSpPr/>
          <p:nvPr/>
        </p:nvSpPr>
        <p:spPr>
          <a:xfrm>
            <a:off x="0" y="6301515"/>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484" name="Google Shape;6484;p5654"/>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85" name="Google Shape;6485;p5654"/>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a:latin typeface="Verdana"/>
                <a:ea typeface="Verdana"/>
                <a:cs typeface="Verdana"/>
                <a:sym typeface="Verdana"/>
              </a:defRPr>
            </a:lvl1pPr>
            <a:lvl2pPr marL="609630" lvl="1" indent="-270990" algn="l">
              <a:lnSpc>
                <a:spcPct val="100000"/>
              </a:lnSpc>
              <a:spcBef>
                <a:spcPts val="500"/>
              </a:spcBef>
              <a:spcAft>
                <a:spcPts val="0"/>
              </a:spcAft>
              <a:buSzPts val="2801"/>
              <a:buChar char="•"/>
              <a:defRPr sz="1867">
                <a:latin typeface="Verdana"/>
                <a:ea typeface="Verdana"/>
                <a:cs typeface="Verdana"/>
                <a:sym typeface="Verdana"/>
              </a:defRPr>
            </a:lvl2pPr>
            <a:lvl3pPr marL="914446" lvl="2" indent="-270989" algn="l">
              <a:lnSpc>
                <a:spcPct val="100000"/>
              </a:lnSpc>
              <a:spcBef>
                <a:spcPts val="1000"/>
              </a:spcBef>
              <a:spcAft>
                <a:spcPts val="0"/>
              </a:spcAft>
              <a:buSzPts val="2801"/>
              <a:buChar char="•"/>
              <a:defRPr sz="1867">
                <a:latin typeface="Verdana"/>
                <a:ea typeface="Verdana"/>
                <a:cs typeface="Verdana"/>
                <a:sym typeface="Verdana"/>
              </a:defRPr>
            </a:lvl3pPr>
            <a:lvl4pPr marL="1219261" lvl="3" indent="-270989" algn="l">
              <a:lnSpc>
                <a:spcPct val="100000"/>
              </a:lnSpc>
              <a:spcBef>
                <a:spcPts val="1000"/>
              </a:spcBef>
              <a:spcAft>
                <a:spcPts val="0"/>
              </a:spcAft>
              <a:buSzPts val="2801"/>
              <a:buChar char="•"/>
              <a:defRPr sz="1867">
                <a:latin typeface="Verdana"/>
                <a:ea typeface="Verdana"/>
                <a:cs typeface="Verdana"/>
                <a:sym typeface="Verdana"/>
              </a:defRPr>
            </a:lvl4pPr>
            <a:lvl5pPr marL="1524076" lvl="4" indent="-270990" algn="l">
              <a:lnSpc>
                <a:spcPct val="100000"/>
              </a:lnSpc>
              <a:spcBef>
                <a:spcPts val="1000"/>
              </a:spcBef>
              <a:spcAft>
                <a:spcPts val="0"/>
              </a:spcAft>
              <a:buSzPts val="2801"/>
              <a:buChar char="•"/>
              <a:defRPr sz="1867">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665090369"/>
      </p:ext>
    </p:extLst>
  </p:cSld>
  <p:clrMapOvr>
    <a:masterClrMapping/>
  </p:clrMapOvr>
</p:sldLayout>
</file>

<file path=ppt/slideLayouts/slideLayout1826.xml><?xml version="1.0" encoding="utf-8"?>
<p:sldLayout xmlns:a="http://schemas.openxmlformats.org/drawingml/2006/main" xmlns:r="http://schemas.openxmlformats.org/officeDocument/2006/relationships" xmlns:p="http://schemas.openxmlformats.org/presentationml/2006/main" matchingName="13_Title Slide_Yale Blue">
  <p:cSld name="13_Title Slide_Yale Blue">
    <p:spTree>
      <p:nvGrpSpPr>
        <p:cNvPr id="1" name="Shape 6486"/>
        <p:cNvGrpSpPr/>
        <p:nvPr/>
      </p:nvGrpSpPr>
      <p:grpSpPr>
        <a:xfrm>
          <a:off x="0" y="0"/>
          <a:ext cx="0" cy="0"/>
          <a:chOff x="0" y="0"/>
          <a:chExt cx="0" cy="0"/>
        </a:xfrm>
      </p:grpSpPr>
      <p:sp>
        <p:nvSpPr>
          <p:cNvPr id="6487" name="Google Shape;6487;p5655"/>
          <p:cNvSpPr txBox="1">
            <a:spLocks noGrp="1"/>
          </p:cNvSpPr>
          <p:nvPr>
            <p:ph type="body" idx="1"/>
          </p:nvPr>
        </p:nvSpPr>
        <p:spPr>
          <a:xfrm>
            <a:off x="2826556" y="5400857"/>
            <a:ext cx="8178613" cy="348899"/>
          </a:xfrm>
          <a:prstGeom prst="rect">
            <a:avLst/>
          </a:prstGeom>
          <a:noFill/>
          <a:ln>
            <a:noFill/>
          </a:ln>
        </p:spPr>
        <p:txBody>
          <a:bodyPr spcFirstLastPara="1" wrap="square" lIns="91425" tIns="45700" rIns="91425" bIns="45700" anchor="t" anchorCtr="0">
            <a:spAutoFit/>
          </a:bodyPr>
          <a:lstStyle>
            <a:lvl1pPr marL="304815" lvl="0" indent="-152408" algn="r">
              <a:lnSpc>
                <a:spcPct val="100000"/>
              </a:lnSpc>
              <a:spcBef>
                <a:spcPts val="1000"/>
              </a:spcBef>
              <a:spcAft>
                <a:spcPts val="0"/>
              </a:spcAft>
              <a:buSzPts val="2801"/>
              <a:buNone/>
              <a:defRPr sz="1867">
                <a:solidFill>
                  <a:srgbClr val="616364"/>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488" name="Google Shape;6488;p5655"/>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8000"/>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89" name="Google Shape;6489;p5655"/>
          <p:cNvSpPr txBox="1">
            <a:spLocks noGrp="1"/>
          </p:cNvSpPr>
          <p:nvPr>
            <p:ph type="dt" idx="10"/>
          </p:nvPr>
        </p:nvSpPr>
        <p:spPr>
          <a:xfrm>
            <a:off x="0" y="0"/>
            <a:ext cx="2000000" cy="2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9pPr>
          </a:lstStyle>
          <a:p>
            <a:endParaRPr/>
          </a:p>
        </p:txBody>
      </p:sp>
      <p:sp>
        <p:nvSpPr>
          <p:cNvPr id="6490" name="Google Shape;6490;p565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491" name="Google Shape;6491;p565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6492" name="Google Shape;6492;p5655"/>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6493" name="Google Shape;6493;p5655"/>
          <p:cNvSpPr/>
          <p:nvPr/>
        </p:nvSpPr>
        <p:spPr>
          <a:xfrm>
            <a:off x="0" y="6115052"/>
            <a:ext cx="12192000" cy="742949"/>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6494" name="Google Shape;6494;p5655"/>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4800"/>
              <a:buNone/>
              <a:defRPr sz="3200" b="0" i="0">
                <a:solidFill>
                  <a:srgbClr val="00314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6495" name="Google Shape;6495;p5655"/>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2680567417"/>
      </p:ext>
    </p:extLst>
  </p:cSld>
  <p:clrMapOvr>
    <a:masterClrMapping/>
  </p:clrMapOvr>
</p:sldLayout>
</file>

<file path=ppt/slideLayouts/slideLayout1827.xml><?xml version="1.0" encoding="utf-8"?>
<p:sldLayout xmlns:a="http://schemas.openxmlformats.org/drawingml/2006/main" xmlns:r="http://schemas.openxmlformats.org/officeDocument/2006/relationships" xmlns:p="http://schemas.openxmlformats.org/presentationml/2006/main" matchingName="13_Title and Bullets Layout">
  <p:cSld name="13_Title and Bullets Layout">
    <p:spTree>
      <p:nvGrpSpPr>
        <p:cNvPr id="1" name="Shape 6496"/>
        <p:cNvGrpSpPr/>
        <p:nvPr/>
      </p:nvGrpSpPr>
      <p:grpSpPr>
        <a:xfrm>
          <a:off x="0" y="0"/>
          <a:ext cx="0" cy="0"/>
          <a:chOff x="0" y="0"/>
          <a:chExt cx="0" cy="0"/>
        </a:xfrm>
      </p:grpSpPr>
      <p:sp>
        <p:nvSpPr>
          <p:cNvPr id="6497" name="Google Shape;6497;p5656"/>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98" name="Google Shape;6498;p5656"/>
          <p:cNvSpPr/>
          <p:nvPr/>
        </p:nvSpPr>
        <p:spPr>
          <a:xfrm>
            <a:off x="0" y="6313118"/>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499" name="Google Shape;6499;p5656"/>
          <p:cNvSpPr/>
          <p:nvPr/>
        </p:nvSpPr>
        <p:spPr>
          <a:xfrm>
            <a:off x="0" y="6301515"/>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500" name="Google Shape;6500;p5656"/>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304815" lvl="0" indent="-287881" algn="l">
              <a:lnSpc>
                <a:spcPct val="100000"/>
              </a:lnSpc>
              <a:spcBef>
                <a:spcPts val="1000"/>
              </a:spcBef>
              <a:spcAft>
                <a:spcPts val="0"/>
              </a:spcAft>
              <a:buSzPts val="3200"/>
              <a:buFont typeface="Arial"/>
              <a:buChar char="•"/>
              <a:defRPr sz="2133" b="0">
                <a:solidFill>
                  <a:schemeClr val="dk1"/>
                </a:solidFill>
                <a:latin typeface="Verdana"/>
                <a:ea typeface="Verdana"/>
                <a:cs typeface="Verdana"/>
                <a:sym typeface="Verdana"/>
              </a:defRPr>
            </a:lvl1pPr>
            <a:lvl2pPr marL="609630" lvl="1" indent="-287881" algn="l">
              <a:lnSpc>
                <a:spcPct val="100000"/>
              </a:lnSpc>
              <a:spcBef>
                <a:spcPts val="1000"/>
              </a:spcBef>
              <a:spcAft>
                <a:spcPts val="0"/>
              </a:spcAft>
              <a:buSzPts val="3200"/>
              <a:buChar char="•"/>
              <a:defRPr sz="2133">
                <a:latin typeface="Verdana"/>
                <a:ea typeface="Verdana"/>
                <a:cs typeface="Verdana"/>
                <a:sym typeface="Verdana"/>
              </a:defRPr>
            </a:lvl2pPr>
            <a:lvl3pPr marL="914446" lvl="2" indent="-287881" algn="l">
              <a:lnSpc>
                <a:spcPct val="100000"/>
              </a:lnSpc>
              <a:spcBef>
                <a:spcPts val="1000"/>
              </a:spcBef>
              <a:spcAft>
                <a:spcPts val="0"/>
              </a:spcAft>
              <a:buSzPts val="3200"/>
              <a:buChar char="•"/>
              <a:defRPr sz="2133">
                <a:latin typeface="Verdana"/>
                <a:ea typeface="Verdana"/>
                <a:cs typeface="Verdana"/>
                <a:sym typeface="Verdana"/>
              </a:defRPr>
            </a:lvl3pPr>
            <a:lvl4pPr marL="1219261" lvl="3" indent="-287881" algn="l">
              <a:lnSpc>
                <a:spcPct val="100000"/>
              </a:lnSpc>
              <a:spcBef>
                <a:spcPts val="1000"/>
              </a:spcBef>
              <a:spcAft>
                <a:spcPts val="0"/>
              </a:spcAft>
              <a:buSzPts val="3200"/>
              <a:buChar char="•"/>
              <a:defRPr sz="2133">
                <a:latin typeface="Verdana"/>
                <a:ea typeface="Verdana"/>
                <a:cs typeface="Verdana"/>
                <a:sym typeface="Verdana"/>
              </a:defRPr>
            </a:lvl4pPr>
            <a:lvl5pPr marL="1524076" lvl="4" indent="-287881" algn="l">
              <a:lnSpc>
                <a:spcPct val="100000"/>
              </a:lnSpc>
              <a:spcBef>
                <a:spcPts val="1000"/>
              </a:spcBef>
              <a:spcAft>
                <a:spcPts val="0"/>
              </a:spcAft>
              <a:buSzPts val="3200"/>
              <a:buChar char="•"/>
              <a:defRPr sz="2133">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6501" name="Google Shape;6501;p565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279025518"/>
      </p:ext>
    </p:extLst>
  </p:cSld>
  <p:clrMapOvr>
    <a:masterClrMapping/>
  </p:clrMapOvr>
</p:sldLayout>
</file>

<file path=ppt/slideLayouts/slideLayout1828.xml><?xml version="1.0" encoding="utf-8"?>
<p:sldLayout xmlns:a="http://schemas.openxmlformats.org/drawingml/2006/main" xmlns:r="http://schemas.openxmlformats.org/officeDocument/2006/relationships" xmlns:p="http://schemas.openxmlformats.org/presentationml/2006/main" matchingName="41_Title and Content">
  <p:cSld name="41_Title and Content">
    <p:spTree>
      <p:nvGrpSpPr>
        <p:cNvPr id="1" name="Shape 6502"/>
        <p:cNvGrpSpPr/>
        <p:nvPr/>
      </p:nvGrpSpPr>
      <p:grpSpPr>
        <a:xfrm>
          <a:off x="0" y="0"/>
          <a:ext cx="0" cy="0"/>
          <a:chOff x="0" y="0"/>
          <a:chExt cx="0" cy="0"/>
        </a:xfrm>
      </p:grpSpPr>
      <p:sp>
        <p:nvSpPr>
          <p:cNvPr id="6503" name="Google Shape;6503;p5657"/>
          <p:cNvSpPr/>
          <p:nvPr/>
        </p:nvSpPr>
        <p:spPr>
          <a:xfrm>
            <a:off x="0" y="6313118"/>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6504" name="Google Shape;6504;p5657"/>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6505" name="Google Shape;6505;p5657"/>
          <p:cNvSpPr/>
          <p:nvPr/>
        </p:nvSpPr>
        <p:spPr>
          <a:xfrm>
            <a:off x="0" y="6301515"/>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506" name="Google Shape;6506;p5657"/>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07" name="Google Shape;6507;p5657"/>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a:latin typeface="Verdana"/>
                <a:ea typeface="Verdana"/>
                <a:cs typeface="Verdana"/>
                <a:sym typeface="Verdana"/>
              </a:defRPr>
            </a:lvl1pPr>
            <a:lvl2pPr marL="609630" lvl="1" indent="-270990" algn="l">
              <a:lnSpc>
                <a:spcPct val="100000"/>
              </a:lnSpc>
              <a:spcBef>
                <a:spcPts val="500"/>
              </a:spcBef>
              <a:spcAft>
                <a:spcPts val="0"/>
              </a:spcAft>
              <a:buSzPts val="2801"/>
              <a:buChar char="•"/>
              <a:defRPr sz="1867">
                <a:latin typeface="Verdana"/>
                <a:ea typeface="Verdana"/>
                <a:cs typeface="Verdana"/>
                <a:sym typeface="Verdana"/>
              </a:defRPr>
            </a:lvl2pPr>
            <a:lvl3pPr marL="914446" lvl="2" indent="-270989" algn="l">
              <a:lnSpc>
                <a:spcPct val="100000"/>
              </a:lnSpc>
              <a:spcBef>
                <a:spcPts val="1000"/>
              </a:spcBef>
              <a:spcAft>
                <a:spcPts val="0"/>
              </a:spcAft>
              <a:buSzPts val="2801"/>
              <a:buChar char="•"/>
              <a:defRPr sz="1867">
                <a:latin typeface="Verdana"/>
                <a:ea typeface="Verdana"/>
                <a:cs typeface="Verdana"/>
                <a:sym typeface="Verdana"/>
              </a:defRPr>
            </a:lvl3pPr>
            <a:lvl4pPr marL="1219261" lvl="3" indent="-270989" algn="l">
              <a:lnSpc>
                <a:spcPct val="100000"/>
              </a:lnSpc>
              <a:spcBef>
                <a:spcPts val="1000"/>
              </a:spcBef>
              <a:spcAft>
                <a:spcPts val="0"/>
              </a:spcAft>
              <a:buSzPts val="2801"/>
              <a:buChar char="•"/>
              <a:defRPr sz="1867">
                <a:latin typeface="Verdana"/>
                <a:ea typeface="Verdana"/>
                <a:cs typeface="Verdana"/>
                <a:sym typeface="Verdana"/>
              </a:defRPr>
            </a:lvl4pPr>
            <a:lvl5pPr marL="1524076" lvl="4" indent="-270990" algn="l">
              <a:lnSpc>
                <a:spcPct val="100000"/>
              </a:lnSpc>
              <a:spcBef>
                <a:spcPts val="1000"/>
              </a:spcBef>
              <a:spcAft>
                <a:spcPts val="0"/>
              </a:spcAft>
              <a:buSzPts val="2801"/>
              <a:buChar char="•"/>
              <a:defRPr sz="1867">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323043811"/>
      </p:ext>
    </p:extLst>
  </p:cSld>
  <p:clrMapOvr>
    <a:masterClrMapping/>
  </p:clrMapOvr>
</p:sldLayout>
</file>

<file path=ppt/slideLayouts/slideLayout1829.xml><?xml version="1.0" encoding="utf-8"?>
<p:sldLayout xmlns:a="http://schemas.openxmlformats.org/drawingml/2006/main" xmlns:r="http://schemas.openxmlformats.org/officeDocument/2006/relationships" xmlns:p="http://schemas.openxmlformats.org/presentationml/2006/main" matchingName="12_Two Section | Picture and Copy Layout">
  <p:cSld name="12_Two Section | Picture and Copy Layout">
    <p:spTree>
      <p:nvGrpSpPr>
        <p:cNvPr id="1" name="Shape 6508"/>
        <p:cNvGrpSpPr/>
        <p:nvPr/>
      </p:nvGrpSpPr>
      <p:grpSpPr>
        <a:xfrm>
          <a:off x="0" y="0"/>
          <a:ext cx="0" cy="0"/>
          <a:chOff x="0" y="0"/>
          <a:chExt cx="0" cy="0"/>
        </a:xfrm>
      </p:grpSpPr>
      <p:sp>
        <p:nvSpPr>
          <p:cNvPr id="6509" name="Google Shape;6509;p5658"/>
          <p:cNvSpPr/>
          <p:nvPr/>
        </p:nvSpPr>
        <p:spPr>
          <a:xfrm>
            <a:off x="0" y="6313118"/>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510" name="Google Shape;6510;p5658"/>
          <p:cNvSpPr/>
          <p:nvPr/>
        </p:nvSpPr>
        <p:spPr>
          <a:xfrm>
            <a:off x="0" y="6301515"/>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511" name="Google Shape;6511;p5658"/>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1800"/>
              <a:buNone/>
              <a:defRPr sz="1200" b="0" i="1">
                <a:solidFill>
                  <a:srgbClr val="003B5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512" name="Google Shape;6512;p5658"/>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b="0">
                <a:solidFill>
                  <a:schemeClr val="dk1"/>
                </a:solidFill>
                <a:latin typeface="Verdana"/>
                <a:ea typeface="Verdana"/>
                <a:cs typeface="Verdana"/>
                <a:sym typeface="Verdana"/>
              </a:defRPr>
            </a:lvl1pPr>
            <a:lvl2pPr marL="609630" lvl="1" indent="-270990" algn="l">
              <a:lnSpc>
                <a:spcPct val="100000"/>
              </a:lnSpc>
              <a:spcBef>
                <a:spcPts val="500"/>
              </a:spcBef>
              <a:spcAft>
                <a:spcPts val="0"/>
              </a:spcAft>
              <a:buSzPts val="2801"/>
              <a:buChar char="•"/>
              <a:defRPr sz="1867" b="0">
                <a:solidFill>
                  <a:srgbClr val="003B5C"/>
                </a:solidFill>
                <a:latin typeface="Verdana"/>
                <a:ea typeface="Verdana"/>
                <a:cs typeface="Verdana"/>
                <a:sym typeface="Verdana"/>
              </a:defRPr>
            </a:lvl2pPr>
            <a:lvl3pPr marL="914446" lvl="2" indent="-270989"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3pPr>
            <a:lvl4pPr marL="1219261" lvl="3" indent="-270989"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4pPr>
            <a:lvl5pPr marL="1524076" lvl="4" indent="-270990"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513" name="Google Shape;6513;p5658"/>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514" name="Google Shape;6514;p565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53049699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3">
    <p:spTree>
      <p:nvGrpSpPr>
        <p:cNvPr id="1" name="Shape 10832"/>
        <p:cNvGrpSpPr/>
        <p:nvPr/>
      </p:nvGrpSpPr>
      <p:grpSpPr>
        <a:xfrm>
          <a:off x="0" y="0"/>
          <a:ext cx="0" cy="0"/>
          <a:chOff x="0" y="0"/>
          <a:chExt cx="0" cy="0"/>
        </a:xfrm>
      </p:grpSpPr>
      <p:sp>
        <p:nvSpPr>
          <p:cNvPr id="10833" name="Google Shape;10833;p1487"/>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834" name="Google Shape;10834;p148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835" name="Google Shape;10835;p148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836" name="Google Shape;10836;p1487"/>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837" name="Google Shape;10837;p148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830.xml><?xml version="1.0" encoding="utf-8"?>
<p:sldLayout xmlns:a="http://schemas.openxmlformats.org/drawingml/2006/main" xmlns:r="http://schemas.openxmlformats.org/officeDocument/2006/relationships" xmlns:p="http://schemas.openxmlformats.org/presentationml/2006/main" matchingName="27_Cover">
  <p:cSld name="27_Cover">
    <p:spTree>
      <p:nvGrpSpPr>
        <p:cNvPr id="1" name="Shape 6515"/>
        <p:cNvGrpSpPr/>
        <p:nvPr/>
      </p:nvGrpSpPr>
      <p:grpSpPr>
        <a:xfrm>
          <a:off x="0" y="0"/>
          <a:ext cx="0" cy="0"/>
          <a:chOff x="0" y="0"/>
          <a:chExt cx="0" cy="0"/>
        </a:xfrm>
      </p:grpSpPr>
      <p:sp>
        <p:nvSpPr>
          <p:cNvPr id="6516" name="Google Shape;6516;p5659"/>
          <p:cNvSpPr/>
          <p:nvPr/>
        </p:nvSpPr>
        <p:spPr>
          <a:xfrm>
            <a:off x="902368" y="1294414"/>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517" name="Google Shape;6517;p5659"/>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18" name="Google Shape;6518;p5659"/>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
        <p:nvSpPr>
          <p:cNvPr id="6519" name="Google Shape;6519;p5659"/>
          <p:cNvSpPr>
            <a:spLocks noGrp="1"/>
          </p:cNvSpPr>
          <p:nvPr>
            <p:ph type="pic" idx="2"/>
          </p:nvPr>
        </p:nvSpPr>
        <p:spPr>
          <a:xfrm>
            <a:off x="7118684" y="233915"/>
            <a:ext cx="5073316" cy="5943600"/>
          </a:xfrm>
          <a:prstGeom prst="rect">
            <a:avLst/>
          </a:prstGeom>
          <a:noFill/>
          <a:ln>
            <a:noFill/>
          </a:ln>
        </p:spPr>
      </p:sp>
      <p:grpSp>
        <p:nvGrpSpPr>
          <p:cNvPr id="6520" name="Google Shape;6520;p5659"/>
          <p:cNvGrpSpPr/>
          <p:nvPr/>
        </p:nvGrpSpPr>
        <p:grpSpPr>
          <a:xfrm>
            <a:off x="0" y="5020349"/>
            <a:ext cx="12192000" cy="1837653"/>
            <a:chOff x="0" y="5020348"/>
            <a:chExt cx="12192000" cy="1837653"/>
          </a:xfrm>
        </p:grpSpPr>
        <p:sp>
          <p:nvSpPr>
            <p:cNvPr id="6521" name="Google Shape;6521;p565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522" name="Google Shape;6522;p565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6523" name="Google Shape;6523;p565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293136059"/>
      </p:ext>
    </p:extLst>
  </p:cSld>
  <p:clrMapOvr>
    <a:masterClrMapping/>
  </p:clrMapOvr>
</p:sldLayout>
</file>

<file path=ppt/slideLayouts/slideLayout1831.xml><?xml version="1.0" encoding="utf-8"?>
<p:sldLayout xmlns:a="http://schemas.openxmlformats.org/drawingml/2006/main" xmlns:r="http://schemas.openxmlformats.org/officeDocument/2006/relationships" xmlns:p="http://schemas.openxmlformats.org/presentationml/2006/main" matchingName="27_Divider">
  <p:cSld name="27_Divider">
    <p:bg>
      <p:bgPr>
        <a:solidFill>
          <a:schemeClr val="lt2"/>
        </a:solidFill>
        <a:effectLst/>
      </p:bgPr>
    </p:bg>
    <p:spTree>
      <p:nvGrpSpPr>
        <p:cNvPr id="1" name="Shape 6524"/>
        <p:cNvGrpSpPr/>
        <p:nvPr/>
      </p:nvGrpSpPr>
      <p:grpSpPr>
        <a:xfrm>
          <a:off x="0" y="0"/>
          <a:ext cx="0" cy="0"/>
          <a:chOff x="0" y="0"/>
          <a:chExt cx="0" cy="0"/>
        </a:xfrm>
      </p:grpSpPr>
      <p:grpSp>
        <p:nvGrpSpPr>
          <p:cNvPr id="6525" name="Google Shape;6525;p5660"/>
          <p:cNvGrpSpPr/>
          <p:nvPr/>
        </p:nvGrpSpPr>
        <p:grpSpPr>
          <a:xfrm>
            <a:off x="0" y="5020348"/>
            <a:ext cx="12192000" cy="1837653"/>
            <a:chOff x="0" y="5020347"/>
            <a:chExt cx="12192000" cy="1837653"/>
          </a:xfrm>
        </p:grpSpPr>
        <p:sp>
          <p:nvSpPr>
            <p:cNvPr id="6526" name="Google Shape;6526;p566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527" name="Google Shape;6527;p566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528" name="Google Shape;6528;p566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6529" name="Google Shape;6529;p566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530" name="Google Shape;6530;p5660"/>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31" name="Google Shape;6531;p5660"/>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Tree>
    <p:extLst>
      <p:ext uri="{BB962C8B-B14F-4D97-AF65-F5344CB8AC3E}">
        <p14:creationId xmlns:p14="http://schemas.microsoft.com/office/powerpoint/2010/main" val="1868177837"/>
      </p:ext>
    </p:extLst>
  </p:cSld>
  <p:clrMapOvr>
    <a:masterClrMapping/>
  </p:clrMapOvr>
</p:sldLayout>
</file>

<file path=ppt/slideLayouts/slideLayout1832.xml><?xml version="1.0" encoding="utf-8"?>
<p:sldLayout xmlns:a="http://schemas.openxmlformats.org/drawingml/2006/main" xmlns:r="http://schemas.openxmlformats.org/officeDocument/2006/relationships" xmlns:p="http://schemas.openxmlformats.org/presentationml/2006/main" matchingName="58_Quotation">
  <p:cSld name="58_Quotation">
    <p:spTree>
      <p:nvGrpSpPr>
        <p:cNvPr id="1" name="Shape 6532"/>
        <p:cNvGrpSpPr/>
        <p:nvPr/>
      </p:nvGrpSpPr>
      <p:grpSpPr>
        <a:xfrm>
          <a:off x="0" y="0"/>
          <a:ext cx="0" cy="0"/>
          <a:chOff x="0" y="0"/>
          <a:chExt cx="0" cy="0"/>
        </a:xfrm>
      </p:grpSpPr>
      <p:sp>
        <p:nvSpPr>
          <p:cNvPr id="6533" name="Google Shape;6533;p5661"/>
          <p:cNvSpPr/>
          <p:nvPr/>
        </p:nvSpPr>
        <p:spPr>
          <a:xfrm>
            <a:off x="1427357"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534" name="Google Shape;6534;p566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35" name="Google Shape;6535;p566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536" name="Google Shape;6536;p566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537" name="Google Shape;6537;p56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38" name="Google Shape;6538;p566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539" name="Google Shape;6539;p5661"/>
          <p:cNvGrpSpPr/>
          <p:nvPr/>
        </p:nvGrpSpPr>
        <p:grpSpPr>
          <a:xfrm>
            <a:off x="7191543" y="1"/>
            <a:ext cx="5000459" cy="1425992"/>
            <a:chOff x="7191542" y="1"/>
            <a:chExt cx="5000459" cy="1425992"/>
          </a:xfrm>
        </p:grpSpPr>
        <p:pic>
          <p:nvPicPr>
            <p:cNvPr id="6540" name="Google Shape;6540;p56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41" name="Google Shape;6541;p5661"/>
            <p:cNvGrpSpPr/>
            <p:nvPr/>
          </p:nvGrpSpPr>
          <p:grpSpPr>
            <a:xfrm>
              <a:off x="7191542" y="1"/>
              <a:ext cx="5000459" cy="1425992"/>
              <a:chOff x="7186272" y="0"/>
              <a:chExt cx="5005729" cy="1427495"/>
            </a:xfrm>
          </p:grpSpPr>
          <p:sp>
            <p:nvSpPr>
              <p:cNvPr id="6542" name="Google Shape;6542;p56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543" name="Google Shape;6543;p56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6544" name="Google Shape;6544;p5661"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639176314"/>
      </p:ext>
    </p:extLst>
  </p:cSld>
  <p:clrMapOvr>
    <a:masterClrMapping/>
  </p:clrMapOvr>
</p:sldLayout>
</file>

<file path=ppt/slideLayouts/slideLayout1833.xml><?xml version="1.0" encoding="utf-8"?>
<p:sldLayout xmlns:a="http://schemas.openxmlformats.org/drawingml/2006/main" xmlns:r="http://schemas.openxmlformats.org/officeDocument/2006/relationships" xmlns:p="http://schemas.openxmlformats.org/presentationml/2006/main" matchingName="26_Photo Slide">
  <p:cSld name="26_Photo Slide">
    <p:spTree>
      <p:nvGrpSpPr>
        <p:cNvPr id="1" name="Shape 6545"/>
        <p:cNvGrpSpPr/>
        <p:nvPr/>
      </p:nvGrpSpPr>
      <p:grpSpPr>
        <a:xfrm>
          <a:off x="0" y="0"/>
          <a:ext cx="0" cy="0"/>
          <a:chOff x="0" y="0"/>
          <a:chExt cx="0" cy="0"/>
        </a:xfrm>
      </p:grpSpPr>
      <p:sp>
        <p:nvSpPr>
          <p:cNvPr id="6546" name="Google Shape;6546;p5662"/>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6547" name="Google Shape;6547;p566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548" name="Google Shape;6548;p5662"/>
          <p:cNvGrpSpPr/>
          <p:nvPr/>
        </p:nvGrpSpPr>
        <p:grpSpPr>
          <a:xfrm>
            <a:off x="0" y="5379427"/>
            <a:ext cx="2807368" cy="753891"/>
            <a:chOff x="0" y="5379426"/>
            <a:chExt cx="2807368" cy="753891"/>
          </a:xfrm>
        </p:grpSpPr>
        <p:sp>
          <p:nvSpPr>
            <p:cNvPr id="6549" name="Google Shape;6549;p566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550" name="Google Shape;6550;p566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6551" name="Google Shape;6551;p5662"/>
          <p:cNvSpPr>
            <a:spLocks noGrp="1"/>
          </p:cNvSpPr>
          <p:nvPr>
            <p:ph type="pic" idx="2"/>
          </p:nvPr>
        </p:nvSpPr>
        <p:spPr>
          <a:xfrm>
            <a:off x="2807368" y="457202"/>
            <a:ext cx="8915400" cy="5943598"/>
          </a:xfrm>
          <a:prstGeom prst="rect">
            <a:avLst/>
          </a:prstGeom>
          <a:noFill/>
          <a:ln>
            <a:noFill/>
          </a:ln>
        </p:spPr>
      </p:sp>
      <p:pic>
        <p:nvPicPr>
          <p:cNvPr id="6552" name="Google Shape;6552;p5662"/>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307432989"/>
      </p:ext>
    </p:extLst>
  </p:cSld>
  <p:clrMapOvr>
    <a:masterClrMapping/>
  </p:clrMapOvr>
</p:sldLayout>
</file>

<file path=ppt/slideLayouts/slideLayout1834.xml><?xml version="1.0" encoding="utf-8"?>
<p:sldLayout xmlns:a="http://schemas.openxmlformats.org/drawingml/2006/main" xmlns:r="http://schemas.openxmlformats.org/officeDocument/2006/relationships" xmlns:p="http://schemas.openxmlformats.org/presentationml/2006/main" matchingName="42_Title and Content">
  <p:cSld name="42_Title and Content">
    <p:spTree>
      <p:nvGrpSpPr>
        <p:cNvPr id="1" name="Shape 6553"/>
        <p:cNvGrpSpPr/>
        <p:nvPr/>
      </p:nvGrpSpPr>
      <p:grpSpPr>
        <a:xfrm>
          <a:off x="0" y="0"/>
          <a:ext cx="0" cy="0"/>
          <a:chOff x="0" y="0"/>
          <a:chExt cx="0" cy="0"/>
        </a:xfrm>
      </p:grpSpPr>
      <p:grpSp>
        <p:nvGrpSpPr>
          <p:cNvPr id="6554" name="Google Shape;6554;p5663"/>
          <p:cNvGrpSpPr/>
          <p:nvPr/>
        </p:nvGrpSpPr>
        <p:grpSpPr>
          <a:xfrm>
            <a:off x="7191543" y="1"/>
            <a:ext cx="5000459" cy="1425992"/>
            <a:chOff x="7191542" y="1"/>
            <a:chExt cx="5000459" cy="1425992"/>
          </a:xfrm>
        </p:grpSpPr>
        <p:pic>
          <p:nvPicPr>
            <p:cNvPr id="6555" name="Google Shape;6555;p56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56" name="Google Shape;6556;p5663"/>
            <p:cNvGrpSpPr/>
            <p:nvPr/>
          </p:nvGrpSpPr>
          <p:grpSpPr>
            <a:xfrm>
              <a:off x="7191542" y="1"/>
              <a:ext cx="5000459" cy="1425992"/>
              <a:chOff x="7186272" y="0"/>
              <a:chExt cx="5005729" cy="1427495"/>
            </a:xfrm>
          </p:grpSpPr>
          <p:sp>
            <p:nvSpPr>
              <p:cNvPr id="6557" name="Google Shape;6557;p56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558" name="Google Shape;6558;p56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6559" name="Google Shape;6559;p5663"/>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60" name="Google Shape;6560;p5663"/>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561" name="Google Shape;6561;p566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562" name="Google Shape;6562;p56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63" name="Google Shape;6563;p566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558020230"/>
      </p:ext>
    </p:extLst>
  </p:cSld>
  <p:clrMapOvr>
    <a:masterClrMapping/>
  </p:clrMapOvr>
</p:sldLayout>
</file>

<file path=ppt/slideLayouts/slideLayout1835.xml><?xml version="1.0" encoding="utf-8"?>
<p:sldLayout xmlns:a="http://schemas.openxmlformats.org/drawingml/2006/main" xmlns:r="http://schemas.openxmlformats.org/officeDocument/2006/relationships" xmlns:p="http://schemas.openxmlformats.org/presentationml/2006/main" matchingName="26_Two Content">
  <p:cSld name="26_Two Content">
    <p:spTree>
      <p:nvGrpSpPr>
        <p:cNvPr id="1" name="Shape 6564"/>
        <p:cNvGrpSpPr/>
        <p:nvPr/>
      </p:nvGrpSpPr>
      <p:grpSpPr>
        <a:xfrm>
          <a:off x="0" y="0"/>
          <a:ext cx="0" cy="0"/>
          <a:chOff x="0" y="0"/>
          <a:chExt cx="0" cy="0"/>
        </a:xfrm>
      </p:grpSpPr>
      <p:sp>
        <p:nvSpPr>
          <p:cNvPr id="6565" name="Google Shape;6565;p566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66" name="Google Shape;6566;p5664"/>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6567" name="Google Shape;6567;p5664"/>
          <p:cNvGrpSpPr/>
          <p:nvPr/>
        </p:nvGrpSpPr>
        <p:grpSpPr>
          <a:xfrm>
            <a:off x="7191543" y="1"/>
            <a:ext cx="5000459" cy="1425992"/>
            <a:chOff x="7191542" y="1"/>
            <a:chExt cx="5000459" cy="1425992"/>
          </a:xfrm>
        </p:grpSpPr>
        <p:pic>
          <p:nvPicPr>
            <p:cNvPr id="6568" name="Google Shape;6568;p56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69" name="Google Shape;6569;p5664"/>
            <p:cNvGrpSpPr/>
            <p:nvPr/>
          </p:nvGrpSpPr>
          <p:grpSpPr>
            <a:xfrm>
              <a:off x="7191542" y="1"/>
              <a:ext cx="5000459" cy="1425992"/>
              <a:chOff x="7186272" y="0"/>
              <a:chExt cx="5005729" cy="1427495"/>
            </a:xfrm>
          </p:grpSpPr>
          <p:sp>
            <p:nvSpPr>
              <p:cNvPr id="6570" name="Google Shape;6570;p56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571" name="Google Shape;6571;p56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6572" name="Google Shape;6572;p5664"/>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573" name="Google Shape;6573;p5664"/>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574" name="Google Shape;6574;p56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75" name="Google Shape;6575;p566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570282623"/>
      </p:ext>
    </p:extLst>
  </p:cSld>
  <p:clrMapOvr>
    <a:masterClrMapping/>
  </p:clrMapOvr>
</p:sldLayout>
</file>

<file path=ppt/slideLayouts/slideLayout1836.xml><?xml version="1.0" encoding="utf-8"?>
<p:sldLayout xmlns:a="http://schemas.openxmlformats.org/drawingml/2006/main" xmlns:r="http://schemas.openxmlformats.org/officeDocument/2006/relationships" xmlns:p="http://schemas.openxmlformats.org/presentationml/2006/main" matchingName="26_Comparison">
  <p:cSld name="26_Comparison">
    <p:spTree>
      <p:nvGrpSpPr>
        <p:cNvPr id="1" name="Shape 6576"/>
        <p:cNvGrpSpPr/>
        <p:nvPr/>
      </p:nvGrpSpPr>
      <p:grpSpPr>
        <a:xfrm>
          <a:off x="0" y="0"/>
          <a:ext cx="0" cy="0"/>
          <a:chOff x="0" y="0"/>
          <a:chExt cx="0" cy="0"/>
        </a:xfrm>
      </p:grpSpPr>
      <p:grpSp>
        <p:nvGrpSpPr>
          <p:cNvPr id="6577" name="Google Shape;6577;p5665"/>
          <p:cNvGrpSpPr/>
          <p:nvPr/>
        </p:nvGrpSpPr>
        <p:grpSpPr>
          <a:xfrm>
            <a:off x="7191543" y="1"/>
            <a:ext cx="5000459" cy="1425992"/>
            <a:chOff x="7191542" y="1"/>
            <a:chExt cx="5000459" cy="1425992"/>
          </a:xfrm>
        </p:grpSpPr>
        <p:pic>
          <p:nvPicPr>
            <p:cNvPr id="6578" name="Google Shape;6578;p56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79" name="Google Shape;6579;p5665"/>
            <p:cNvGrpSpPr/>
            <p:nvPr/>
          </p:nvGrpSpPr>
          <p:grpSpPr>
            <a:xfrm>
              <a:off x="7191542" y="1"/>
              <a:ext cx="5000459" cy="1425992"/>
              <a:chOff x="7186272" y="0"/>
              <a:chExt cx="5005729" cy="1427495"/>
            </a:xfrm>
          </p:grpSpPr>
          <p:sp>
            <p:nvSpPr>
              <p:cNvPr id="6580" name="Google Shape;6580;p56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581" name="Google Shape;6581;p56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6582" name="Google Shape;6582;p5665"/>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83" name="Google Shape;6583;p5665"/>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6584" name="Google Shape;6584;p5665"/>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585" name="Google Shape;6585;p566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6586" name="Google Shape;6586;p566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587" name="Google Shape;6587;p566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588" name="Google Shape;6588;p56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89" name="Google Shape;6589;p566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873273307"/>
      </p:ext>
    </p:extLst>
  </p:cSld>
  <p:clrMapOvr>
    <a:masterClrMapping/>
  </p:clrMapOvr>
</p:sldLayout>
</file>

<file path=ppt/slideLayouts/slideLayout1837.xml><?xml version="1.0" encoding="utf-8"?>
<p:sldLayout xmlns:a="http://schemas.openxmlformats.org/drawingml/2006/main" xmlns:r="http://schemas.openxmlformats.org/officeDocument/2006/relationships" xmlns:p="http://schemas.openxmlformats.org/presentationml/2006/main" matchingName="26_Title Only">
  <p:cSld name="26_Title Only">
    <p:spTree>
      <p:nvGrpSpPr>
        <p:cNvPr id="1" name="Shape 6590"/>
        <p:cNvGrpSpPr/>
        <p:nvPr/>
      </p:nvGrpSpPr>
      <p:grpSpPr>
        <a:xfrm>
          <a:off x="0" y="0"/>
          <a:ext cx="0" cy="0"/>
          <a:chOff x="0" y="0"/>
          <a:chExt cx="0" cy="0"/>
        </a:xfrm>
      </p:grpSpPr>
      <p:grpSp>
        <p:nvGrpSpPr>
          <p:cNvPr id="6591" name="Google Shape;6591;p5666"/>
          <p:cNvGrpSpPr/>
          <p:nvPr/>
        </p:nvGrpSpPr>
        <p:grpSpPr>
          <a:xfrm>
            <a:off x="7191543" y="1"/>
            <a:ext cx="5000459" cy="1425992"/>
            <a:chOff x="7191542" y="1"/>
            <a:chExt cx="5000459" cy="1425992"/>
          </a:xfrm>
        </p:grpSpPr>
        <p:pic>
          <p:nvPicPr>
            <p:cNvPr id="6592" name="Google Shape;6592;p56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93" name="Google Shape;6593;p5666"/>
            <p:cNvGrpSpPr/>
            <p:nvPr/>
          </p:nvGrpSpPr>
          <p:grpSpPr>
            <a:xfrm>
              <a:off x="7191542" y="1"/>
              <a:ext cx="5000459" cy="1425992"/>
              <a:chOff x="7186272" y="0"/>
              <a:chExt cx="5005729" cy="1427495"/>
            </a:xfrm>
          </p:grpSpPr>
          <p:sp>
            <p:nvSpPr>
              <p:cNvPr id="6594" name="Google Shape;6594;p56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595" name="Google Shape;6595;p56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6596" name="Google Shape;6596;p566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97" name="Google Shape;6597;p566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598" name="Google Shape;6598;p56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99" name="Google Shape;6599;p566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620265049"/>
      </p:ext>
    </p:extLst>
  </p:cSld>
  <p:clrMapOvr>
    <a:masterClrMapping/>
  </p:clrMapOvr>
</p:sldLayout>
</file>

<file path=ppt/slideLayouts/slideLayout1838.xml><?xml version="1.0" encoding="utf-8"?>
<p:sldLayout xmlns:a="http://schemas.openxmlformats.org/drawingml/2006/main" xmlns:r="http://schemas.openxmlformats.org/officeDocument/2006/relationships" xmlns:p="http://schemas.openxmlformats.org/presentationml/2006/main" matchingName="26_End">
  <p:cSld name="26_End">
    <p:spTree>
      <p:nvGrpSpPr>
        <p:cNvPr id="1" name="Shape 6600"/>
        <p:cNvGrpSpPr/>
        <p:nvPr/>
      </p:nvGrpSpPr>
      <p:grpSpPr>
        <a:xfrm>
          <a:off x="0" y="0"/>
          <a:ext cx="0" cy="0"/>
          <a:chOff x="0" y="0"/>
          <a:chExt cx="0" cy="0"/>
        </a:xfrm>
      </p:grpSpPr>
      <p:grpSp>
        <p:nvGrpSpPr>
          <p:cNvPr id="6601" name="Google Shape;6601;p5667"/>
          <p:cNvGrpSpPr/>
          <p:nvPr/>
        </p:nvGrpSpPr>
        <p:grpSpPr>
          <a:xfrm>
            <a:off x="0" y="0"/>
            <a:ext cx="12192000" cy="2148830"/>
            <a:chOff x="0" y="0"/>
            <a:chExt cx="12192000" cy="2148830"/>
          </a:xfrm>
        </p:grpSpPr>
        <p:sp>
          <p:nvSpPr>
            <p:cNvPr id="6602" name="Google Shape;6602;p566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603" name="Google Shape;6603;p566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6604" name="Google Shape;6604;p5667"/>
          <p:cNvSpPr/>
          <p:nvPr/>
        </p:nvSpPr>
        <p:spPr>
          <a:xfrm>
            <a:off x="902368" y="1517698"/>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605" name="Google Shape;6605;p5667"/>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606" name="Google Shape;6606;p566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9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607" name="Google Shape;6607;p5667"/>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6608" name="Google Shape;6608;p5667"/>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311953613"/>
      </p:ext>
    </p:extLst>
  </p:cSld>
  <p:clrMapOvr>
    <a:masterClrMapping/>
  </p:clrMapOvr>
</p:sldLayout>
</file>

<file path=ppt/slideLayouts/slideLayout1839.xml><?xml version="1.0" encoding="utf-8"?>
<p:sldLayout xmlns:a="http://schemas.openxmlformats.org/drawingml/2006/main" xmlns:r="http://schemas.openxmlformats.org/officeDocument/2006/relationships" xmlns:p="http://schemas.openxmlformats.org/presentationml/2006/main" matchingName="26_Blank">
  <p:cSld name="26_Blank">
    <p:spTree>
      <p:nvGrpSpPr>
        <p:cNvPr id="1" name="Shape 6609"/>
        <p:cNvGrpSpPr/>
        <p:nvPr/>
      </p:nvGrpSpPr>
      <p:grpSpPr>
        <a:xfrm>
          <a:off x="0" y="0"/>
          <a:ext cx="0" cy="0"/>
          <a:chOff x="0" y="0"/>
          <a:chExt cx="0" cy="0"/>
        </a:xfrm>
      </p:grpSpPr>
      <p:sp>
        <p:nvSpPr>
          <p:cNvPr id="6610" name="Google Shape;6610;p566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611" name="Google Shape;6611;p56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12" name="Google Shape;6612;p566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613" name="Google Shape;6613;p5668"/>
          <p:cNvGrpSpPr/>
          <p:nvPr/>
        </p:nvGrpSpPr>
        <p:grpSpPr>
          <a:xfrm>
            <a:off x="7191543" y="1"/>
            <a:ext cx="5000459" cy="1425992"/>
            <a:chOff x="7191542" y="1"/>
            <a:chExt cx="5000459" cy="1425992"/>
          </a:xfrm>
        </p:grpSpPr>
        <p:pic>
          <p:nvPicPr>
            <p:cNvPr id="6614" name="Google Shape;6614;p56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15" name="Google Shape;6615;p5668"/>
            <p:cNvGrpSpPr/>
            <p:nvPr/>
          </p:nvGrpSpPr>
          <p:grpSpPr>
            <a:xfrm>
              <a:off x="7191542" y="1"/>
              <a:ext cx="5000459" cy="1425992"/>
              <a:chOff x="7186272" y="0"/>
              <a:chExt cx="5005729" cy="1427495"/>
            </a:xfrm>
          </p:grpSpPr>
          <p:sp>
            <p:nvSpPr>
              <p:cNvPr id="6616" name="Google Shape;6616;p56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617" name="Google Shape;6617;p56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extLst>
      <p:ext uri="{BB962C8B-B14F-4D97-AF65-F5344CB8AC3E}">
        <p14:creationId xmlns:p14="http://schemas.microsoft.com/office/powerpoint/2010/main" val="14785898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matchingName="1_Title and Content">
  <p:cSld name="1_Title and Content 3">
    <p:spTree>
      <p:nvGrpSpPr>
        <p:cNvPr id="1" name="Shape 10838"/>
        <p:cNvGrpSpPr/>
        <p:nvPr/>
      </p:nvGrpSpPr>
      <p:grpSpPr>
        <a:xfrm>
          <a:off x="0" y="0"/>
          <a:ext cx="0" cy="0"/>
          <a:chOff x="0" y="0"/>
          <a:chExt cx="0" cy="0"/>
        </a:xfrm>
      </p:grpSpPr>
      <p:sp>
        <p:nvSpPr>
          <p:cNvPr id="10839" name="Google Shape;10839;p148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0840" name="Google Shape;10840;p1488"/>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0841" name="Google Shape;10841;p148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842" name="Google Shape;10842;p1488"/>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843" name="Google Shape;10843;p1488"/>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840.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6618"/>
        <p:cNvGrpSpPr/>
        <p:nvPr/>
      </p:nvGrpSpPr>
      <p:grpSpPr>
        <a:xfrm>
          <a:off x="0" y="0"/>
          <a:ext cx="0" cy="0"/>
          <a:chOff x="0" y="0"/>
          <a:chExt cx="0" cy="0"/>
        </a:xfrm>
      </p:grpSpPr>
      <p:sp>
        <p:nvSpPr>
          <p:cNvPr id="6619" name="Google Shape;6619;p5669"/>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9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20" name="Google Shape;6620;p5669"/>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3600"/>
              <a:buNone/>
              <a:defRPr sz="2400"/>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
        <p:nvSpPr>
          <p:cNvPr id="6621" name="Google Shape;6621;p5669"/>
          <p:cNvSpPr txBox="1">
            <a:spLocks noGrp="1"/>
          </p:cNvSpPr>
          <p:nvPr>
            <p:ph type="dt" idx="10"/>
          </p:nvPr>
        </p:nvSpPr>
        <p:spPr>
          <a:xfrm>
            <a:off x="0" y="0"/>
            <a:ext cx="2000000" cy="2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9pPr>
          </a:lstStyle>
          <a:p>
            <a:endParaRPr/>
          </a:p>
        </p:txBody>
      </p:sp>
      <p:sp>
        <p:nvSpPr>
          <p:cNvPr id="6622" name="Google Shape;6622;p566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23" name="Google Shape;6623;p566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extLst>
      <p:ext uri="{BB962C8B-B14F-4D97-AF65-F5344CB8AC3E}">
        <p14:creationId xmlns:p14="http://schemas.microsoft.com/office/powerpoint/2010/main" val="3284998906"/>
      </p:ext>
    </p:extLst>
  </p:cSld>
  <p:clrMapOvr>
    <a:masterClrMapping/>
  </p:clrMapOvr>
</p:sldLayout>
</file>

<file path=ppt/slideLayouts/slideLayout1841.xml><?xml version="1.0" encoding="utf-8"?>
<p:sldLayout xmlns:a="http://schemas.openxmlformats.org/drawingml/2006/main" xmlns:r="http://schemas.openxmlformats.org/officeDocument/2006/relationships" xmlns:p="http://schemas.openxmlformats.org/presentationml/2006/main" matchingName="14_Title Slide_Yale Blue">
  <p:cSld name="14_Title Slide_Yale Blue">
    <p:spTree>
      <p:nvGrpSpPr>
        <p:cNvPr id="1" name="Shape 6624"/>
        <p:cNvGrpSpPr/>
        <p:nvPr/>
      </p:nvGrpSpPr>
      <p:grpSpPr>
        <a:xfrm>
          <a:off x="0" y="0"/>
          <a:ext cx="0" cy="0"/>
          <a:chOff x="0" y="0"/>
          <a:chExt cx="0" cy="0"/>
        </a:xfrm>
      </p:grpSpPr>
      <p:sp>
        <p:nvSpPr>
          <p:cNvPr id="6625" name="Google Shape;6625;p5670"/>
          <p:cNvSpPr txBox="1">
            <a:spLocks noGrp="1"/>
          </p:cNvSpPr>
          <p:nvPr>
            <p:ph type="body" idx="1"/>
          </p:nvPr>
        </p:nvSpPr>
        <p:spPr>
          <a:xfrm>
            <a:off x="2826556" y="5400857"/>
            <a:ext cx="8178613" cy="348899"/>
          </a:xfrm>
          <a:prstGeom prst="rect">
            <a:avLst/>
          </a:prstGeom>
          <a:noFill/>
          <a:ln>
            <a:noFill/>
          </a:ln>
        </p:spPr>
        <p:txBody>
          <a:bodyPr spcFirstLastPara="1" wrap="square" lIns="91425" tIns="45700" rIns="91425" bIns="45700" anchor="t" anchorCtr="0">
            <a:spAutoFit/>
          </a:bodyPr>
          <a:lstStyle>
            <a:lvl1pPr marL="304815" lvl="0" indent="-152408" algn="r">
              <a:lnSpc>
                <a:spcPct val="100000"/>
              </a:lnSpc>
              <a:spcBef>
                <a:spcPts val="1000"/>
              </a:spcBef>
              <a:spcAft>
                <a:spcPts val="0"/>
              </a:spcAft>
              <a:buSzPts val="2801"/>
              <a:buNone/>
              <a:defRPr sz="1867">
                <a:solidFill>
                  <a:srgbClr val="616364"/>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626" name="Google Shape;6626;p5670"/>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8000"/>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27" name="Google Shape;6627;p5670"/>
          <p:cNvSpPr txBox="1">
            <a:spLocks noGrp="1"/>
          </p:cNvSpPr>
          <p:nvPr>
            <p:ph type="dt" idx="10"/>
          </p:nvPr>
        </p:nvSpPr>
        <p:spPr>
          <a:xfrm>
            <a:off x="0" y="0"/>
            <a:ext cx="2000000" cy="2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9pPr>
          </a:lstStyle>
          <a:p>
            <a:endParaRPr/>
          </a:p>
        </p:txBody>
      </p:sp>
      <p:sp>
        <p:nvSpPr>
          <p:cNvPr id="6628" name="Google Shape;6628;p567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29" name="Google Shape;6629;p567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6630" name="Google Shape;6630;p5670"/>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6631" name="Google Shape;6631;p5670"/>
          <p:cNvSpPr/>
          <p:nvPr/>
        </p:nvSpPr>
        <p:spPr>
          <a:xfrm>
            <a:off x="0" y="6115052"/>
            <a:ext cx="12192000" cy="742949"/>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6632" name="Google Shape;6632;p5670"/>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4800"/>
              <a:buNone/>
              <a:defRPr sz="3200" b="0" i="0">
                <a:solidFill>
                  <a:srgbClr val="00314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6633" name="Google Shape;6633;p5670"/>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2720493856"/>
      </p:ext>
    </p:extLst>
  </p:cSld>
  <p:clrMapOvr>
    <a:masterClrMapping/>
  </p:clrMapOvr>
</p:sldLayout>
</file>

<file path=ppt/slideLayouts/slideLayout1842.xml><?xml version="1.0" encoding="utf-8"?>
<p:sldLayout xmlns:a="http://schemas.openxmlformats.org/drawingml/2006/main" xmlns:r="http://schemas.openxmlformats.org/officeDocument/2006/relationships" xmlns:p="http://schemas.openxmlformats.org/presentationml/2006/main" matchingName="15_Title Slide_Yale Blue">
  <p:cSld name="15_Title Slide_Yale Blue">
    <p:spTree>
      <p:nvGrpSpPr>
        <p:cNvPr id="1" name="Shape 6634"/>
        <p:cNvGrpSpPr/>
        <p:nvPr/>
      </p:nvGrpSpPr>
      <p:grpSpPr>
        <a:xfrm>
          <a:off x="0" y="0"/>
          <a:ext cx="0" cy="0"/>
          <a:chOff x="0" y="0"/>
          <a:chExt cx="0" cy="0"/>
        </a:xfrm>
      </p:grpSpPr>
      <p:sp>
        <p:nvSpPr>
          <p:cNvPr id="6635" name="Google Shape;6635;p5671"/>
          <p:cNvSpPr txBox="1">
            <a:spLocks noGrp="1"/>
          </p:cNvSpPr>
          <p:nvPr>
            <p:ph type="body" idx="1"/>
          </p:nvPr>
        </p:nvSpPr>
        <p:spPr>
          <a:xfrm>
            <a:off x="2826556" y="5400857"/>
            <a:ext cx="8178613" cy="348899"/>
          </a:xfrm>
          <a:prstGeom prst="rect">
            <a:avLst/>
          </a:prstGeom>
          <a:noFill/>
          <a:ln>
            <a:noFill/>
          </a:ln>
        </p:spPr>
        <p:txBody>
          <a:bodyPr spcFirstLastPara="1" wrap="square" lIns="91425" tIns="45700" rIns="91425" bIns="45700" anchor="t" anchorCtr="0">
            <a:spAutoFit/>
          </a:bodyPr>
          <a:lstStyle>
            <a:lvl1pPr marL="304815" lvl="0" indent="-152408" algn="r">
              <a:lnSpc>
                <a:spcPct val="100000"/>
              </a:lnSpc>
              <a:spcBef>
                <a:spcPts val="1000"/>
              </a:spcBef>
              <a:spcAft>
                <a:spcPts val="0"/>
              </a:spcAft>
              <a:buSzPts val="2801"/>
              <a:buNone/>
              <a:defRPr sz="1867">
                <a:solidFill>
                  <a:srgbClr val="616364"/>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636" name="Google Shape;6636;p5671"/>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8000"/>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37" name="Google Shape;6637;p5671"/>
          <p:cNvSpPr txBox="1">
            <a:spLocks noGrp="1"/>
          </p:cNvSpPr>
          <p:nvPr>
            <p:ph type="dt" idx="10"/>
          </p:nvPr>
        </p:nvSpPr>
        <p:spPr>
          <a:xfrm>
            <a:off x="0" y="0"/>
            <a:ext cx="2000000" cy="2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9pPr>
          </a:lstStyle>
          <a:p>
            <a:endParaRPr/>
          </a:p>
        </p:txBody>
      </p:sp>
      <p:sp>
        <p:nvSpPr>
          <p:cNvPr id="6638" name="Google Shape;6638;p567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39" name="Google Shape;6639;p567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6640" name="Google Shape;6640;p5671"/>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6641" name="Google Shape;6641;p5671"/>
          <p:cNvSpPr/>
          <p:nvPr/>
        </p:nvSpPr>
        <p:spPr>
          <a:xfrm>
            <a:off x="0" y="6115052"/>
            <a:ext cx="12192000" cy="742949"/>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6642" name="Google Shape;6642;p5671"/>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4800"/>
              <a:buNone/>
              <a:defRPr sz="3200" b="0" i="0">
                <a:solidFill>
                  <a:srgbClr val="00314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6643" name="Google Shape;6643;p5671"/>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2931197166"/>
      </p:ext>
    </p:extLst>
  </p:cSld>
  <p:clrMapOvr>
    <a:masterClrMapping/>
  </p:clrMapOvr>
</p:sldLayout>
</file>

<file path=ppt/slideLayouts/slideLayout1843.xml><?xml version="1.0" encoding="utf-8"?>
<p:sldLayout xmlns:a="http://schemas.openxmlformats.org/drawingml/2006/main" xmlns:r="http://schemas.openxmlformats.org/officeDocument/2006/relationships" xmlns:p="http://schemas.openxmlformats.org/presentationml/2006/main" matchingName="14_Title and Bullets Layout">
  <p:cSld name="14_Title and Bullets Layout">
    <p:spTree>
      <p:nvGrpSpPr>
        <p:cNvPr id="1" name="Shape 6644"/>
        <p:cNvGrpSpPr/>
        <p:nvPr/>
      </p:nvGrpSpPr>
      <p:grpSpPr>
        <a:xfrm>
          <a:off x="0" y="0"/>
          <a:ext cx="0" cy="0"/>
          <a:chOff x="0" y="0"/>
          <a:chExt cx="0" cy="0"/>
        </a:xfrm>
      </p:grpSpPr>
      <p:sp>
        <p:nvSpPr>
          <p:cNvPr id="6645" name="Google Shape;6645;p5672"/>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46" name="Google Shape;6646;p5672"/>
          <p:cNvSpPr/>
          <p:nvPr/>
        </p:nvSpPr>
        <p:spPr>
          <a:xfrm>
            <a:off x="0" y="6313118"/>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647" name="Google Shape;6647;p5672"/>
          <p:cNvSpPr/>
          <p:nvPr/>
        </p:nvSpPr>
        <p:spPr>
          <a:xfrm>
            <a:off x="0" y="6301515"/>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648" name="Google Shape;6648;p5672"/>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304815" lvl="0" indent="-287881" algn="l">
              <a:lnSpc>
                <a:spcPct val="100000"/>
              </a:lnSpc>
              <a:spcBef>
                <a:spcPts val="1000"/>
              </a:spcBef>
              <a:spcAft>
                <a:spcPts val="0"/>
              </a:spcAft>
              <a:buSzPts val="3200"/>
              <a:buFont typeface="Arial"/>
              <a:buChar char="•"/>
              <a:defRPr sz="2133" b="0">
                <a:solidFill>
                  <a:schemeClr val="dk1"/>
                </a:solidFill>
                <a:latin typeface="Verdana"/>
                <a:ea typeface="Verdana"/>
                <a:cs typeface="Verdana"/>
                <a:sym typeface="Verdana"/>
              </a:defRPr>
            </a:lvl1pPr>
            <a:lvl2pPr marL="609630" lvl="1" indent="-287881" algn="l">
              <a:lnSpc>
                <a:spcPct val="100000"/>
              </a:lnSpc>
              <a:spcBef>
                <a:spcPts val="1000"/>
              </a:spcBef>
              <a:spcAft>
                <a:spcPts val="0"/>
              </a:spcAft>
              <a:buSzPts val="3200"/>
              <a:buChar char="•"/>
              <a:defRPr sz="2133">
                <a:latin typeface="Verdana"/>
                <a:ea typeface="Verdana"/>
                <a:cs typeface="Verdana"/>
                <a:sym typeface="Verdana"/>
              </a:defRPr>
            </a:lvl2pPr>
            <a:lvl3pPr marL="914446" lvl="2" indent="-287881" algn="l">
              <a:lnSpc>
                <a:spcPct val="100000"/>
              </a:lnSpc>
              <a:spcBef>
                <a:spcPts val="1000"/>
              </a:spcBef>
              <a:spcAft>
                <a:spcPts val="0"/>
              </a:spcAft>
              <a:buSzPts val="3200"/>
              <a:buChar char="•"/>
              <a:defRPr sz="2133">
                <a:latin typeface="Verdana"/>
                <a:ea typeface="Verdana"/>
                <a:cs typeface="Verdana"/>
                <a:sym typeface="Verdana"/>
              </a:defRPr>
            </a:lvl3pPr>
            <a:lvl4pPr marL="1219261" lvl="3" indent="-287881" algn="l">
              <a:lnSpc>
                <a:spcPct val="100000"/>
              </a:lnSpc>
              <a:spcBef>
                <a:spcPts val="1000"/>
              </a:spcBef>
              <a:spcAft>
                <a:spcPts val="0"/>
              </a:spcAft>
              <a:buSzPts val="3200"/>
              <a:buChar char="•"/>
              <a:defRPr sz="2133">
                <a:latin typeface="Verdana"/>
                <a:ea typeface="Verdana"/>
                <a:cs typeface="Verdana"/>
                <a:sym typeface="Verdana"/>
              </a:defRPr>
            </a:lvl4pPr>
            <a:lvl5pPr marL="1524076" lvl="4" indent="-287881" algn="l">
              <a:lnSpc>
                <a:spcPct val="100000"/>
              </a:lnSpc>
              <a:spcBef>
                <a:spcPts val="1000"/>
              </a:spcBef>
              <a:spcAft>
                <a:spcPts val="0"/>
              </a:spcAft>
              <a:buSzPts val="3200"/>
              <a:buChar char="•"/>
              <a:defRPr sz="2133">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6649" name="Google Shape;6649;p567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493641446"/>
      </p:ext>
    </p:extLst>
  </p:cSld>
  <p:clrMapOvr>
    <a:masterClrMapping/>
  </p:clrMapOvr>
</p:sldLayout>
</file>

<file path=ppt/slideLayouts/slideLayout1844.xml><?xml version="1.0" encoding="utf-8"?>
<p:sldLayout xmlns:a="http://schemas.openxmlformats.org/drawingml/2006/main" xmlns:r="http://schemas.openxmlformats.org/officeDocument/2006/relationships" xmlns:p="http://schemas.openxmlformats.org/presentationml/2006/main" matchingName="43_Title and Content">
  <p:cSld name="43_Title and Content">
    <p:spTree>
      <p:nvGrpSpPr>
        <p:cNvPr id="1" name="Shape 6650"/>
        <p:cNvGrpSpPr/>
        <p:nvPr/>
      </p:nvGrpSpPr>
      <p:grpSpPr>
        <a:xfrm>
          <a:off x="0" y="0"/>
          <a:ext cx="0" cy="0"/>
          <a:chOff x="0" y="0"/>
          <a:chExt cx="0" cy="0"/>
        </a:xfrm>
      </p:grpSpPr>
      <p:sp>
        <p:nvSpPr>
          <p:cNvPr id="6651" name="Google Shape;6651;p5673"/>
          <p:cNvSpPr/>
          <p:nvPr/>
        </p:nvSpPr>
        <p:spPr>
          <a:xfrm>
            <a:off x="0" y="6313118"/>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6652" name="Google Shape;6652;p5673"/>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6653" name="Google Shape;6653;p5673"/>
          <p:cNvSpPr/>
          <p:nvPr/>
        </p:nvSpPr>
        <p:spPr>
          <a:xfrm>
            <a:off x="0" y="6301515"/>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654" name="Google Shape;6654;p5673"/>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55" name="Google Shape;6655;p5673"/>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a:latin typeface="Verdana"/>
                <a:ea typeface="Verdana"/>
                <a:cs typeface="Verdana"/>
                <a:sym typeface="Verdana"/>
              </a:defRPr>
            </a:lvl1pPr>
            <a:lvl2pPr marL="609630" lvl="1" indent="-270990" algn="l">
              <a:lnSpc>
                <a:spcPct val="100000"/>
              </a:lnSpc>
              <a:spcBef>
                <a:spcPts val="500"/>
              </a:spcBef>
              <a:spcAft>
                <a:spcPts val="0"/>
              </a:spcAft>
              <a:buSzPts val="2801"/>
              <a:buChar char="•"/>
              <a:defRPr sz="1867">
                <a:latin typeface="Verdana"/>
                <a:ea typeface="Verdana"/>
                <a:cs typeface="Verdana"/>
                <a:sym typeface="Verdana"/>
              </a:defRPr>
            </a:lvl2pPr>
            <a:lvl3pPr marL="914446" lvl="2" indent="-270989" algn="l">
              <a:lnSpc>
                <a:spcPct val="100000"/>
              </a:lnSpc>
              <a:spcBef>
                <a:spcPts val="1000"/>
              </a:spcBef>
              <a:spcAft>
                <a:spcPts val="0"/>
              </a:spcAft>
              <a:buSzPts val="2801"/>
              <a:buChar char="•"/>
              <a:defRPr sz="1867">
                <a:latin typeface="Verdana"/>
                <a:ea typeface="Verdana"/>
                <a:cs typeface="Verdana"/>
                <a:sym typeface="Verdana"/>
              </a:defRPr>
            </a:lvl3pPr>
            <a:lvl4pPr marL="1219261" lvl="3" indent="-270989" algn="l">
              <a:lnSpc>
                <a:spcPct val="100000"/>
              </a:lnSpc>
              <a:spcBef>
                <a:spcPts val="1000"/>
              </a:spcBef>
              <a:spcAft>
                <a:spcPts val="0"/>
              </a:spcAft>
              <a:buSzPts val="2801"/>
              <a:buChar char="•"/>
              <a:defRPr sz="1867">
                <a:latin typeface="Verdana"/>
                <a:ea typeface="Verdana"/>
                <a:cs typeface="Verdana"/>
                <a:sym typeface="Verdana"/>
              </a:defRPr>
            </a:lvl4pPr>
            <a:lvl5pPr marL="1524076" lvl="4" indent="-270990" algn="l">
              <a:lnSpc>
                <a:spcPct val="100000"/>
              </a:lnSpc>
              <a:spcBef>
                <a:spcPts val="1000"/>
              </a:spcBef>
              <a:spcAft>
                <a:spcPts val="0"/>
              </a:spcAft>
              <a:buSzPts val="2801"/>
              <a:buChar char="•"/>
              <a:defRPr sz="1867">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261429783"/>
      </p:ext>
    </p:extLst>
  </p:cSld>
  <p:clrMapOvr>
    <a:masterClrMapping/>
  </p:clrMapOvr>
</p:sldLayout>
</file>

<file path=ppt/slideLayouts/slideLayout1845.xml><?xml version="1.0" encoding="utf-8"?>
<p:sldLayout xmlns:a="http://schemas.openxmlformats.org/drawingml/2006/main" xmlns:r="http://schemas.openxmlformats.org/officeDocument/2006/relationships" xmlns:p="http://schemas.openxmlformats.org/presentationml/2006/main" matchingName="13_Two Section | Picture and Copy Layout">
  <p:cSld name="13_Two Section | Picture and Copy Layout">
    <p:spTree>
      <p:nvGrpSpPr>
        <p:cNvPr id="1" name="Shape 6656"/>
        <p:cNvGrpSpPr/>
        <p:nvPr/>
      </p:nvGrpSpPr>
      <p:grpSpPr>
        <a:xfrm>
          <a:off x="0" y="0"/>
          <a:ext cx="0" cy="0"/>
          <a:chOff x="0" y="0"/>
          <a:chExt cx="0" cy="0"/>
        </a:xfrm>
      </p:grpSpPr>
      <p:sp>
        <p:nvSpPr>
          <p:cNvPr id="6657" name="Google Shape;6657;p5674"/>
          <p:cNvSpPr/>
          <p:nvPr/>
        </p:nvSpPr>
        <p:spPr>
          <a:xfrm>
            <a:off x="0" y="6313118"/>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658" name="Google Shape;6658;p5674"/>
          <p:cNvSpPr/>
          <p:nvPr/>
        </p:nvSpPr>
        <p:spPr>
          <a:xfrm>
            <a:off x="0" y="6301515"/>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659" name="Google Shape;6659;p5674"/>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1800"/>
              <a:buNone/>
              <a:defRPr sz="1200" b="0" i="1">
                <a:solidFill>
                  <a:srgbClr val="003B5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660" name="Google Shape;6660;p5674"/>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b="0">
                <a:solidFill>
                  <a:schemeClr val="dk1"/>
                </a:solidFill>
                <a:latin typeface="Verdana"/>
                <a:ea typeface="Verdana"/>
                <a:cs typeface="Verdana"/>
                <a:sym typeface="Verdana"/>
              </a:defRPr>
            </a:lvl1pPr>
            <a:lvl2pPr marL="609630" lvl="1" indent="-270990" algn="l">
              <a:lnSpc>
                <a:spcPct val="100000"/>
              </a:lnSpc>
              <a:spcBef>
                <a:spcPts val="500"/>
              </a:spcBef>
              <a:spcAft>
                <a:spcPts val="0"/>
              </a:spcAft>
              <a:buSzPts val="2801"/>
              <a:buChar char="•"/>
              <a:defRPr sz="1867" b="0">
                <a:solidFill>
                  <a:srgbClr val="003B5C"/>
                </a:solidFill>
                <a:latin typeface="Verdana"/>
                <a:ea typeface="Verdana"/>
                <a:cs typeface="Verdana"/>
                <a:sym typeface="Verdana"/>
              </a:defRPr>
            </a:lvl2pPr>
            <a:lvl3pPr marL="914446" lvl="2" indent="-270989"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3pPr>
            <a:lvl4pPr marL="1219261" lvl="3" indent="-270989"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4pPr>
            <a:lvl5pPr marL="1524076" lvl="4" indent="-270990"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661" name="Google Shape;6661;p5674"/>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662" name="Google Shape;6662;p567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197966478"/>
      </p:ext>
    </p:extLst>
  </p:cSld>
  <p:clrMapOvr>
    <a:masterClrMapping/>
  </p:clrMapOvr>
</p:sldLayout>
</file>

<file path=ppt/slideLayouts/slideLayout1846.xml><?xml version="1.0" encoding="utf-8"?>
<p:sldLayout xmlns:a="http://schemas.openxmlformats.org/drawingml/2006/main" xmlns:r="http://schemas.openxmlformats.org/officeDocument/2006/relationships" xmlns:p="http://schemas.openxmlformats.org/presentationml/2006/main" matchingName="14_Two Section | Picture and Copy Layout">
  <p:cSld name="14_Two Section | Picture and Copy Layout">
    <p:spTree>
      <p:nvGrpSpPr>
        <p:cNvPr id="1" name="Shape 6663"/>
        <p:cNvGrpSpPr/>
        <p:nvPr/>
      </p:nvGrpSpPr>
      <p:grpSpPr>
        <a:xfrm>
          <a:off x="0" y="0"/>
          <a:ext cx="0" cy="0"/>
          <a:chOff x="0" y="0"/>
          <a:chExt cx="0" cy="0"/>
        </a:xfrm>
      </p:grpSpPr>
      <p:sp>
        <p:nvSpPr>
          <p:cNvPr id="6664" name="Google Shape;6664;p5675"/>
          <p:cNvSpPr/>
          <p:nvPr/>
        </p:nvSpPr>
        <p:spPr>
          <a:xfrm>
            <a:off x="0" y="6313118"/>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665" name="Google Shape;6665;p5675"/>
          <p:cNvSpPr/>
          <p:nvPr/>
        </p:nvSpPr>
        <p:spPr>
          <a:xfrm>
            <a:off x="0" y="6301515"/>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666" name="Google Shape;6666;p5675"/>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1800"/>
              <a:buNone/>
              <a:defRPr sz="1200" b="0" i="1">
                <a:solidFill>
                  <a:srgbClr val="003B5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667" name="Google Shape;6667;p5675"/>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b="0">
                <a:solidFill>
                  <a:schemeClr val="dk1"/>
                </a:solidFill>
                <a:latin typeface="Verdana"/>
                <a:ea typeface="Verdana"/>
                <a:cs typeface="Verdana"/>
                <a:sym typeface="Verdana"/>
              </a:defRPr>
            </a:lvl1pPr>
            <a:lvl2pPr marL="609630" lvl="1" indent="-270990" algn="l">
              <a:lnSpc>
                <a:spcPct val="100000"/>
              </a:lnSpc>
              <a:spcBef>
                <a:spcPts val="500"/>
              </a:spcBef>
              <a:spcAft>
                <a:spcPts val="0"/>
              </a:spcAft>
              <a:buSzPts val="2801"/>
              <a:buChar char="•"/>
              <a:defRPr sz="1867" b="0">
                <a:solidFill>
                  <a:srgbClr val="003B5C"/>
                </a:solidFill>
                <a:latin typeface="Verdana"/>
                <a:ea typeface="Verdana"/>
                <a:cs typeface="Verdana"/>
                <a:sym typeface="Verdana"/>
              </a:defRPr>
            </a:lvl2pPr>
            <a:lvl3pPr marL="914446" lvl="2" indent="-270989"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3pPr>
            <a:lvl4pPr marL="1219261" lvl="3" indent="-270989"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4pPr>
            <a:lvl5pPr marL="1524076" lvl="4" indent="-270990"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668" name="Google Shape;6668;p5675"/>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669" name="Google Shape;6669;p567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400767993"/>
      </p:ext>
    </p:extLst>
  </p:cSld>
  <p:clrMapOvr>
    <a:masterClrMapping/>
  </p:clrMapOvr>
</p:sldLayout>
</file>

<file path=ppt/slideLayouts/slideLayout1847.xml><?xml version="1.0" encoding="utf-8"?>
<p:sldLayout xmlns:a="http://schemas.openxmlformats.org/drawingml/2006/main" xmlns:r="http://schemas.openxmlformats.org/officeDocument/2006/relationships" xmlns:p="http://schemas.openxmlformats.org/presentationml/2006/main" matchingName="16_Title Slide_Yale Blue">
  <p:cSld name="16_Title Slide_Yale Blue">
    <p:spTree>
      <p:nvGrpSpPr>
        <p:cNvPr id="1" name="Shape 6670"/>
        <p:cNvGrpSpPr/>
        <p:nvPr/>
      </p:nvGrpSpPr>
      <p:grpSpPr>
        <a:xfrm>
          <a:off x="0" y="0"/>
          <a:ext cx="0" cy="0"/>
          <a:chOff x="0" y="0"/>
          <a:chExt cx="0" cy="0"/>
        </a:xfrm>
      </p:grpSpPr>
      <p:sp>
        <p:nvSpPr>
          <p:cNvPr id="6671" name="Google Shape;6671;p5676"/>
          <p:cNvSpPr txBox="1">
            <a:spLocks noGrp="1"/>
          </p:cNvSpPr>
          <p:nvPr>
            <p:ph type="body" idx="1"/>
          </p:nvPr>
        </p:nvSpPr>
        <p:spPr>
          <a:xfrm>
            <a:off x="2826556" y="5400857"/>
            <a:ext cx="8178613" cy="348899"/>
          </a:xfrm>
          <a:prstGeom prst="rect">
            <a:avLst/>
          </a:prstGeom>
          <a:noFill/>
          <a:ln>
            <a:noFill/>
          </a:ln>
        </p:spPr>
        <p:txBody>
          <a:bodyPr spcFirstLastPara="1" wrap="square" lIns="91425" tIns="45700" rIns="91425" bIns="45700" anchor="t" anchorCtr="0">
            <a:spAutoFit/>
          </a:bodyPr>
          <a:lstStyle>
            <a:lvl1pPr marL="304815" lvl="0" indent="-152408" algn="r">
              <a:lnSpc>
                <a:spcPct val="100000"/>
              </a:lnSpc>
              <a:spcBef>
                <a:spcPts val="1000"/>
              </a:spcBef>
              <a:spcAft>
                <a:spcPts val="0"/>
              </a:spcAft>
              <a:buSzPts val="2801"/>
              <a:buNone/>
              <a:defRPr sz="1867">
                <a:solidFill>
                  <a:srgbClr val="616364"/>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672" name="Google Shape;6672;p5676"/>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8000"/>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73" name="Google Shape;6673;p5676"/>
          <p:cNvSpPr txBox="1">
            <a:spLocks noGrp="1"/>
          </p:cNvSpPr>
          <p:nvPr>
            <p:ph type="dt" idx="10"/>
          </p:nvPr>
        </p:nvSpPr>
        <p:spPr>
          <a:xfrm>
            <a:off x="0" y="0"/>
            <a:ext cx="2000000" cy="2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9pPr>
          </a:lstStyle>
          <a:p>
            <a:endParaRPr/>
          </a:p>
        </p:txBody>
      </p:sp>
      <p:sp>
        <p:nvSpPr>
          <p:cNvPr id="6674" name="Google Shape;6674;p567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75" name="Google Shape;6675;p567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6676" name="Google Shape;6676;p5676"/>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6677" name="Google Shape;6677;p5676"/>
          <p:cNvSpPr/>
          <p:nvPr/>
        </p:nvSpPr>
        <p:spPr>
          <a:xfrm>
            <a:off x="0" y="6115052"/>
            <a:ext cx="12192000" cy="742949"/>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6678" name="Google Shape;6678;p5676"/>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4800"/>
              <a:buNone/>
              <a:defRPr sz="3200" b="0" i="0">
                <a:solidFill>
                  <a:srgbClr val="00314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6679" name="Google Shape;6679;p5676"/>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2170860962"/>
      </p:ext>
    </p:extLst>
  </p:cSld>
  <p:clrMapOvr>
    <a:masterClrMapping/>
  </p:clrMapOvr>
</p:sldLayout>
</file>

<file path=ppt/slideLayouts/slideLayout1848.xml><?xml version="1.0" encoding="utf-8"?>
<p:sldLayout xmlns:a="http://schemas.openxmlformats.org/drawingml/2006/main" xmlns:r="http://schemas.openxmlformats.org/officeDocument/2006/relationships" xmlns:p="http://schemas.openxmlformats.org/presentationml/2006/main" matchingName="17_Title Slide_Yale Blue">
  <p:cSld name="17_Title Slide_Yale Blue">
    <p:spTree>
      <p:nvGrpSpPr>
        <p:cNvPr id="1" name="Shape 6680"/>
        <p:cNvGrpSpPr/>
        <p:nvPr/>
      </p:nvGrpSpPr>
      <p:grpSpPr>
        <a:xfrm>
          <a:off x="0" y="0"/>
          <a:ext cx="0" cy="0"/>
          <a:chOff x="0" y="0"/>
          <a:chExt cx="0" cy="0"/>
        </a:xfrm>
      </p:grpSpPr>
      <p:sp>
        <p:nvSpPr>
          <p:cNvPr id="6681" name="Google Shape;6681;p5677"/>
          <p:cNvSpPr txBox="1">
            <a:spLocks noGrp="1"/>
          </p:cNvSpPr>
          <p:nvPr>
            <p:ph type="body" idx="1"/>
          </p:nvPr>
        </p:nvSpPr>
        <p:spPr>
          <a:xfrm>
            <a:off x="2826556" y="5400857"/>
            <a:ext cx="8178613" cy="348899"/>
          </a:xfrm>
          <a:prstGeom prst="rect">
            <a:avLst/>
          </a:prstGeom>
          <a:noFill/>
          <a:ln>
            <a:noFill/>
          </a:ln>
        </p:spPr>
        <p:txBody>
          <a:bodyPr spcFirstLastPara="1" wrap="square" lIns="91425" tIns="45700" rIns="91425" bIns="45700" anchor="t" anchorCtr="0">
            <a:spAutoFit/>
          </a:bodyPr>
          <a:lstStyle>
            <a:lvl1pPr marL="304815" lvl="0" indent="-152408" algn="r">
              <a:lnSpc>
                <a:spcPct val="100000"/>
              </a:lnSpc>
              <a:spcBef>
                <a:spcPts val="1000"/>
              </a:spcBef>
              <a:spcAft>
                <a:spcPts val="0"/>
              </a:spcAft>
              <a:buSzPts val="2801"/>
              <a:buNone/>
              <a:defRPr sz="1867">
                <a:solidFill>
                  <a:srgbClr val="616364"/>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682" name="Google Shape;6682;p5677"/>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8000"/>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83" name="Google Shape;6683;p5677"/>
          <p:cNvSpPr txBox="1">
            <a:spLocks noGrp="1"/>
          </p:cNvSpPr>
          <p:nvPr>
            <p:ph type="dt" idx="10"/>
          </p:nvPr>
        </p:nvSpPr>
        <p:spPr>
          <a:xfrm>
            <a:off x="0" y="0"/>
            <a:ext cx="2000000" cy="2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9pPr>
          </a:lstStyle>
          <a:p>
            <a:endParaRPr/>
          </a:p>
        </p:txBody>
      </p:sp>
      <p:sp>
        <p:nvSpPr>
          <p:cNvPr id="6684" name="Google Shape;6684;p567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85" name="Google Shape;6685;p567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6686" name="Google Shape;6686;p5677"/>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6687" name="Google Shape;6687;p5677"/>
          <p:cNvSpPr/>
          <p:nvPr/>
        </p:nvSpPr>
        <p:spPr>
          <a:xfrm>
            <a:off x="0" y="6115052"/>
            <a:ext cx="12192000" cy="742949"/>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6688" name="Google Shape;6688;p5677"/>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4800"/>
              <a:buNone/>
              <a:defRPr sz="3200" b="0" i="0">
                <a:solidFill>
                  <a:srgbClr val="00314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6689" name="Google Shape;6689;p5677"/>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2889807924"/>
      </p:ext>
    </p:extLst>
  </p:cSld>
  <p:clrMapOvr>
    <a:masterClrMapping/>
  </p:clrMapOvr>
</p:sldLayout>
</file>

<file path=ppt/slideLayouts/slideLayout1849.xml><?xml version="1.0" encoding="utf-8"?>
<p:sldLayout xmlns:a="http://schemas.openxmlformats.org/drawingml/2006/main" xmlns:r="http://schemas.openxmlformats.org/officeDocument/2006/relationships" xmlns:p="http://schemas.openxmlformats.org/presentationml/2006/main" matchingName="15_Title and Bullets Layout">
  <p:cSld name="15_Title and Bullets Layout">
    <p:spTree>
      <p:nvGrpSpPr>
        <p:cNvPr id="1" name="Shape 6690"/>
        <p:cNvGrpSpPr/>
        <p:nvPr/>
      </p:nvGrpSpPr>
      <p:grpSpPr>
        <a:xfrm>
          <a:off x="0" y="0"/>
          <a:ext cx="0" cy="0"/>
          <a:chOff x="0" y="0"/>
          <a:chExt cx="0" cy="0"/>
        </a:xfrm>
      </p:grpSpPr>
      <p:sp>
        <p:nvSpPr>
          <p:cNvPr id="6691" name="Google Shape;6691;p5678"/>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92" name="Google Shape;6692;p5678"/>
          <p:cNvSpPr/>
          <p:nvPr/>
        </p:nvSpPr>
        <p:spPr>
          <a:xfrm>
            <a:off x="0" y="6313118"/>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693" name="Google Shape;6693;p5678"/>
          <p:cNvSpPr/>
          <p:nvPr/>
        </p:nvSpPr>
        <p:spPr>
          <a:xfrm>
            <a:off x="0" y="6301515"/>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694" name="Google Shape;6694;p5678"/>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304815" lvl="0" indent="-287881" algn="l">
              <a:lnSpc>
                <a:spcPct val="100000"/>
              </a:lnSpc>
              <a:spcBef>
                <a:spcPts val="1000"/>
              </a:spcBef>
              <a:spcAft>
                <a:spcPts val="0"/>
              </a:spcAft>
              <a:buSzPts val="3200"/>
              <a:buFont typeface="Arial"/>
              <a:buChar char="•"/>
              <a:defRPr sz="2133" b="0">
                <a:solidFill>
                  <a:schemeClr val="dk1"/>
                </a:solidFill>
                <a:latin typeface="Verdana"/>
                <a:ea typeface="Verdana"/>
                <a:cs typeface="Verdana"/>
                <a:sym typeface="Verdana"/>
              </a:defRPr>
            </a:lvl1pPr>
            <a:lvl2pPr marL="609630" lvl="1" indent="-287881" algn="l">
              <a:lnSpc>
                <a:spcPct val="100000"/>
              </a:lnSpc>
              <a:spcBef>
                <a:spcPts val="1000"/>
              </a:spcBef>
              <a:spcAft>
                <a:spcPts val="0"/>
              </a:spcAft>
              <a:buSzPts val="3200"/>
              <a:buChar char="•"/>
              <a:defRPr sz="2133">
                <a:latin typeface="Verdana"/>
                <a:ea typeface="Verdana"/>
                <a:cs typeface="Verdana"/>
                <a:sym typeface="Verdana"/>
              </a:defRPr>
            </a:lvl2pPr>
            <a:lvl3pPr marL="914446" lvl="2" indent="-287881" algn="l">
              <a:lnSpc>
                <a:spcPct val="100000"/>
              </a:lnSpc>
              <a:spcBef>
                <a:spcPts val="1000"/>
              </a:spcBef>
              <a:spcAft>
                <a:spcPts val="0"/>
              </a:spcAft>
              <a:buSzPts val="3200"/>
              <a:buChar char="•"/>
              <a:defRPr sz="2133">
                <a:latin typeface="Verdana"/>
                <a:ea typeface="Verdana"/>
                <a:cs typeface="Verdana"/>
                <a:sym typeface="Verdana"/>
              </a:defRPr>
            </a:lvl3pPr>
            <a:lvl4pPr marL="1219261" lvl="3" indent="-287881" algn="l">
              <a:lnSpc>
                <a:spcPct val="100000"/>
              </a:lnSpc>
              <a:spcBef>
                <a:spcPts val="1000"/>
              </a:spcBef>
              <a:spcAft>
                <a:spcPts val="0"/>
              </a:spcAft>
              <a:buSzPts val="3200"/>
              <a:buChar char="•"/>
              <a:defRPr sz="2133">
                <a:latin typeface="Verdana"/>
                <a:ea typeface="Verdana"/>
                <a:cs typeface="Verdana"/>
                <a:sym typeface="Verdana"/>
              </a:defRPr>
            </a:lvl4pPr>
            <a:lvl5pPr marL="1524076" lvl="4" indent="-287881" algn="l">
              <a:lnSpc>
                <a:spcPct val="100000"/>
              </a:lnSpc>
              <a:spcBef>
                <a:spcPts val="1000"/>
              </a:spcBef>
              <a:spcAft>
                <a:spcPts val="0"/>
              </a:spcAft>
              <a:buSzPts val="3200"/>
              <a:buChar char="•"/>
              <a:defRPr sz="2133">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6695" name="Google Shape;6695;p567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887906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3">
    <p:spTree>
      <p:nvGrpSpPr>
        <p:cNvPr id="1" name="Shape 10844"/>
        <p:cNvGrpSpPr/>
        <p:nvPr/>
      </p:nvGrpSpPr>
      <p:grpSpPr>
        <a:xfrm>
          <a:off x="0" y="0"/>
          <a:ext cx="0" cy="0"/>
          <a:chOff x="0" y="0"/>
          <a:chExt cx="0" cy="0"/>
        </a:xfrm>
      </p:grpSpPr>
      <p:sp>
        <p:nvSpPr>
          <p:cNvPr id="10845" name="Google Shape;10845;p148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846" name="Google Shape;10846;p148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847" name="Google Shape;10847;p1489"/>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48" name="Google Shape;10848;p1489"/>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49" name="Google Shape;10849;p1489"/>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0850" name="Google Shape;10850;p148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850.xml><?xml version="1.0" encoding="utf-8"?>
<p:sldLayout xmlns:a="http://schemas.openxmlformats.org/drawingml/2006/main" xmlns:r="http://schemas.openxmlformats.org/officeDocument/2006/relationships" xmlns:p="http://schemas.openxmlformats.org/presentationml/2006/main" matchingName="44_Title and Content">
  <p:cSld name="44_Title and Content">
    <p:spTree>
      <p:nvGrpSpPr>
        <p:cNvPr id="1" name="Shape 6696"/>
        <p:cNvGrpSpPr/>
        <p:nvPr/>
      </p:nvGrpSpPr>
      <p:grpSpPr>
        <a:xfrm>
          <a:off x="0" y="0"/>
          <a:ext cx="0" cy="0"/>
          <a:chOff x="0" y="0"/>
          <a:chExt cx="0" cy="0"/>
        </a:xfrm>
      </p:grpSpPr>
      <p:sp>
        <p:nvSpPr>
          <p:cNvPr id="6697" name="Google Shape;6697;p5679"/>
          <p:cNvSpPr/>
          <p:nvPr/>
        </p:nvSpPr>
        <p:spPr>
          <a:xfrm>
            <a:off x="0" y="6313118"/>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6698" name="Google Shape;6698;p567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6699" name="Google Shape;6699;p5679"/>
          <p:cNvSpPr/>
          <p:nvPr/>
        </p:nvSpPr>
        <p:spPr>
          <a:xfrm>
            <a:off x="0" y="6301515"/>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700" name="Google Shape;6700;p5679"/>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01" name="Google Shape;6701;p5679"/>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a:latin typeface="Verdana"/>
                <a:ea typeface="Verdana"/>
                <a:cs typeface="Verdana"/>
                <a:sym typeface="Verdana"/>
              </a:defRPr>
            </a:lvl1pPr>
            <a:lvl2pPr marL="609630" lvl="1" indent="-270990" algn="l">
              <a:lnSpc>
                <a:spcPct val="100000"/>
              </a:lnSpc>
              <a:spcBef>
                <a:spcPts val="500"/>
              </a:spcBef>
              <a:spcAft>
                <a:spcPts val="0"/>
              </a:spcAft>
              <a:buSzPts val="2801"/>
              <a:buChar char="•"/>
              <a:defRPr sz="1867">
                <a:latin typeface="Verdana"/>
                <a:ea typeface="Verdana"/>
                <a:cs typeface="Verdana"/>
                <a:sym typeface="Verdana"/>
              </a:defRPr>
            </a:lvl2pPr>
            <a:lvl3pPr marL="914446" lvl="2" indent="-270989" algn="l">
              <a:lnSpc>
                <a:spcPct val="100000"/>
              </a:lnSpc>
              <a:spcBef>
                <a:spcPts val="1000"/>
              </a:spcBef>
              <a:spcAft>
                <a:spcPts val="0"/>
              </a:spcAft>
              <a:buSzPts val="2801"/>
              <a:buChar char="•"/>
              <a:defRPr sz="1867">
                <a:latin typeface="Verdana"/>
                <a:ea typeface="Verdana"/>
                <a:cs typeface="Verdana"/>
                <a:sym typeface="Verdana"/>
              </a:defRPr>
            </a:lvl3pPr>
            <a:lvl4pPr marL="1219261" lvl="3" indent="-270989" algn="l">
              <a:lnSpc>
                <a:spcPct val="100000"/>
              </a:lnSpc>
              <a:spcBef>
                <a:spcPts val="1000"/>
              </a:spcBef>
              <a:spcAft>
                <a:spcPts val="0"/>
              </a:spcAft>
              <a:buSzPts val="2801"/>
              <a:buChar char="•"/>
              <a:defRPr sz="1867">
                <a:latin typeface="Verdana"/>
                <a:ea typeface="Verdana"/>
                <a:cs typeface="Verdana"/>
                <a:sym typeface="Verdana"/>
              </a:defRPr>
            </a:lvl4pPr>
            <a:lvl5pPr marL="1524076" lvl="4" indent="-270990" algn="l">
              <a:lnSpc>
                <a:spcPct val="100000"/>
              </a:lnSpc>
              <a:spcBef>
                <a:spcPts val="1000"/>
              </a:spcBef>
              <a:spcAft>
                <a:spcPts val="0"/>
              </a:spcAft>
              <a:buSzPts val="2801"/>
              <a:buChar char="•"/>
              <a:defRPr sz="1867">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818879352"/>
      </p:ext>
    </p:extLst>
  </p:cSld>
  <p:clrMapOvr>
    <a:masterClrMapping/>
  </p:clrMapOvr>
</p:sldLayout>
</file>

<file path=ppt/slideLayouts/slideLayout1851.xml><?xml version="1.0" encoding="utf-8"?>
<p:sldLayout xmlns:a="http://schemas.openxmlformats.org/drawingml/2006/main" xmlns:r="http://schemas.openxmlformats.org/officeDocument/2006/relationships" xmlns:p="http://schemas.openxmlformats.org/presentationml/2006/main" matchingName="15_Two Section | Picture and Copy Layout">
  <p:cSld name="15_Two Section | Picture and Copy Layout">
    <p:spTree>
      <p:nvGrpSpPr>
        <p:cNvPr id="1" name="Shape 6702"/>
        <p:cNvGrpSpPr/>
        <p:nvPr/>
      </p:nvGrpSpPr>
      <p:grpSpPr>
        <a:xfrm>
          <a:off x="0" y="0"/>
          <a:ext cx="0" cy="0"/>
          <a:chOff x="0" y="0"/>
          <a:chExt cx="0" cy="0"/>
        </a:xfrm>
      </p:grpSpPr>
      <p:sp>
        <p:nvSpPr>
          <p:cNvPr id="6703" name="Google Shape;6703;p5680"/>
          <p:cNvSpPr/>
          <p:nvPr/>
        </p:nvSpPr>
        <p:spPr>
          <a:xfrm>
            <a:off x="0" y="6313118"/>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704" name="Google Shape;6704;p5680"/>
          <p:cNvSpPr/>
          <p:nvPr/>
        </p:nvSpPr>
        <p:spPr>
          <a:xfrm>
            <a:off x="0" y="6301515"/>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705" name="Google Shape;6705;p5680"/>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1800"/>
              <a:buNone/>
              <a:defRPr sz="1200" b="0" i="1">
                <a:solidFill>
                  <a:srgbClr val="003B5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706" name="Google Shape;6706;p5680"/>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b="0">
                <a:solidFill>
                  <a:schemeClr val="dk1"/>
                </a:solidFill>
                <a:latin typeface="Verdana"/>
                <a:ea typeface="Verdana"/>
                <a:cs typeface="Verdana"/>
                <a:sym typeface="Verdana"/>
              </a:defRPr>
            </a:lvl1pPr>
            <a:lvl2pPr marL="609630" lvl="1" indent="-270990" algn="l">
              <a:lnSpc>
                <a:spcPct val="100000"/>
              </a:lnSpc>
              <a:spcBef>
                <a:spcPts val="500"/>
              </a:spcBef>
              <a:spcAft>
                <a:spcPts val="0"/>
              </a:spcAft>
              <a:buSzPts val="2801"/>
              <a:buChar char="•"/>
              <a:defRPr sz="1867" b="0">
                <a:solidFill>
                  <a:srgbClr val="003B5C"/>
                </a:solidFill>
                <a:latin typeface="Verdana"/>
                <a:ea typeface="Verdana"/>
                <a:cs typeface="Verdana"/>
                <a:sym typeface="Verdana"/>
              </a:defRPr>
            </a:lvl2pPr>
            <a:lvl3pPr marL="914446" lvl="2" indent="-270989"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3pPr>
            <a:lvl4pPr marL="1219261" lvl="3" indent="-270989"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4pPr>
            <a:lvl5pPr marL="1524076" lvl="4" indent="-270990"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707" name="Google Shape;6707;p5680"/>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708" name="Google Shape;6708;p568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793606011"/>
      </p:ext>
    </p:extLst>
  </p:cSld>
  <p:clrMapOvr>
    <a:masterClrMapping/>
  </p:clrMapOvr>
</p:sldLayout>
</file>

<file path=ppt/slideLayouts/slideLayout1852.xml><?xml version="1.0" encoding="utf-8"?>
<p:sldLayout xmlns:a="http://schemas.openxmlformats.org/drawingml/2006/main" xmlns:r="http://schemas.openxmlformats.org/officeDocument/2006/relationships" xmlns:p="http://schemas.openxmlformats.org/presentationml/2006/main" matchingName="18_Title Slide_Yale Blue">
  <p:cSld name="18_Title Slide_Yale Blue">
    <p:spTree>
      <p:nvGrpSpPr>
        <p:cNvPr id="1" name="Shape 6709"/>
        <p:cNvGrpSpPr/>
        <p:nvPr/>
      </p:nvGrpSpPr>
      <p:grpSpPr>
        <a:xfrm>
          <a:off x="0" y="0"/>
          <a:ext cx="0" cy="0"/>
          <a:chOff x="0" y="0"/>
          <a:chExt cx="0" cy="0"/>
        </a:xfrm>
      </p:grpSpPr>
      <p:sp>
        <p:nvSpPr>
          <p:cNvPr id="6710" name="Google Shape;6710;p5681"/>
          <p:cNvSpPr txBox="1">
            <a:spLocks noGrp="1"/>
          </p:cNvSpPr>
          <p:nvPr>
            <p:ph type="body" idx="1"/>
          </p:nvPr>
        </p:nvSpPr>
        <p:spPr>
          <a:xfrm>
            <a:off x="2826556" y="5400857"/>
            <a:ext cx="8178613" cy="348899"/>
          </a:xfrm>
          <a:prstGeom prst="rect">
            <a:avLst/>
          </a:prstGeom>
          <a:noFill/>
          <a:ln>
            <a:noFill/>
          </a:ln>
        </p:spPr>
        <p:txBody>
          <a:bodyPr spcFirstLastPara="1" wrap="square" lIns="91425" tIns="45700" rIns="91425" bIns="45700" anchor="t" anchorCtr="0">
            <a:spAutoFit/>
          </a:bodyPr>
          <a:lstStyle>
            <a:lvl1pPr marL="304815" lvl="0" indent="-152408" algn="r">
              <a:lnSpc>
                <a:spcPct val="100000"/>
              </a:lnSpc>
              <a:spcBef>
                <a:spcPts val="1000"/>
              </a:spcBef>
              <a:spcAft>
                <a:spcPts val="0"/>
              </a:spcAft>
              <a:buSzPts val="2801"/>
              <a:buNone/>
              <a:defRPr sz="1867">
                <a:solidFill>
                  <a:srgbClr val="616364"/>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711" name="Google Shape;6711;p5681"/>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8000"/>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12" name="Google Shape;6712;p5681"/>
          <p:cNvSpPr txBox="1">
            <a:spLocks noGrp="1"/>
          </p:cNvSpPr>
          <p:nvPr>
            <p:ph type="dt" idx="10"/>
          </p:nvPr>
        </p:nvSpPr>
        <p:spPr>
          <a:xfrm>
            <a:off x="0" y="0"/>
            <a:ext cx="2000000" cy="2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9pPr>
          </a:lstStyle>
          <a:p>
            <a:endParaRPr/>
          </a:p>
        </p:txBody>
      </p:sp>
      <p:sp>
        <p:nvSpPr>
          <p:cNvPr id="6713" name="Google Shape;6713;p568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14" name="Google Shape;6714;p568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6715" name="Google Shape;6715;p5681"/>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6716" name="Google Shape;6716;p5681"/>
          <p:cNvSpPr/>
          <p:nvPr/>
        </p:nvSpPr>
        <p:spPr>
          <a:xfrm>
            <a:off x="0" y="6115052"/>
            <a:ext cx="12192000" cy="742949"/>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6717" name="Google Shape;6717;p5681"/>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4800"/>
              <a:buNone/>
              <a:defRPr sz="3200" b="0" i="0">
                <a:solidFill>
                  <a:srgbClr val="00314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6718" name="Google Shape;6718;p5681"/>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1862883879"/>
      </p:ext>
    </p:extLst>
  </p:cSld>
  <p:clrMapOvr>
    <a:masterClrMapping/>
  </p:clrMapOvr>
</p:sldLayout>
</file>

<file path=ppt/slideLayouts/slideLayout1853.xml><?xml version="1.0" encoding="utf-8"?>
<p:sldLayout xmlns:a="http://schemas.openxmlformats.org/drawingml/2006/main" xmlns:r="http://schemas.openxmlformats.org/officeDocument/2006/relationships" xmlns:p="http://schemas.openxmlformats.org/presentationml/2006/main" matchingName="16_Title and Bullets Layout">
  <p:cSld name="16_Title and Bullets Layout">
    <p:spTree>
      <p:nvGrpSpPr>
        <p:cNvPr id="1" name="Shape 6719"/>
        <p:cNvGrpSpPr/>
        <p:nvPr/>
      </p:nvGrpSpPr>
      <p:grpSpPr>
        <a:xfrm>
          <a:off x="0" y="0"/>
          <a:ext cx="0" cy="0"/>
          <a:chOff x="0" y="0"/>
          <a:chExt cx="0" cy="0"/>
        </a:xfrm>
      </p:grpSpPr>
      <p:sp>
        <p:nvSpPr>
          <p:cNvPr id="6720" name="Google Shape;6720;p5682"/>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21" name="Google Shape;6721;p5682"/>
          <p:cNvSpPr/>
          <p:nvPr/>
        </p:nvSpPr>
        <p:spPr>
          <a:xfrm>
            <a:off x="0" y="6313118"/>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722" name="Google Shape;6722;p5682"/>
          <p:cNvSpPr/>
          <p:nvPr/>
        </p:nvSpPr>
        <p:spPr>
          <a:xfrm>
            <a:off x="0" y="6301515"/>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723" name="Google Shape;6723;p5682"/>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304815" lvl="0" indent="-287881" algn="l">
              <a:lnSpc>
                <a:spcPct val="100000"/>
              </a:lnSpc>
              <a:spcBef>
                <a:spcPts val="1000"/>
              </a:spcBef>
              <a:spcAft>
                <a:spcPts val="0"/>
              </a:spcAft>
              <a:buSzPts val="3200"/>
              <a:buFont typeface="Arial"/>
              <a:buChar char="•"/>
              <a:defRPr sz="2133" b="0">
                <a:solidFill>
                  <a:schemeClr val="dk1"/>
                </a:solidFill>
                <a:latin typeface="Verdana"/>
                <a:ea typeface="Verdana"/>
                <a:cs typeface="Verdana"/>
                <a:sym typeface="Verdana"/>
              </a:defRPr>
            </a:lvl1pPr>
            <a:lvl2pPr marL="609630" lvl="1" indent="-287881" algn="l">
              <a:lnSpc>
                <a:spcPct val="100000"/>
              </a:lnSpc>
              <a:spcBef>
                <a:spcPts val="1000"/>
              </a:spcBef>
              <a:spcAft>
                <a:spcPts val="0"/>
              </a:spcAft>
              <a:buSzPts val="3200"/>
              <a:buChar char="•"/>
              <a:defRPr sz="2133">
                <a:latin typeface="Verdana"/>
                <a:ea typeface="Verdana"/>
                <a:cs typeface="Verdana"/>
                <a:sym typeface="Verdana"/>
              </a:defRPr>
            </a:lvl2pPr>
            <a:lvl3pPr marL="914446" lvl="2" indent="-287881" algn="l">
              <a:lnSpc>
                <a:spcPct val="100000"/>
              </a:lnSpc>
              <a:spcBef>
                <a:spcPts val="1000"/>
              </a:spcBef>
              <a:spcAft>
                <a:spcPts val="0"/>
              </a:spcAft>
              <a:buSzPts val="3200"/>
              <a:buChar char="•"/>
              <a:defRPr sz="2133">
                <a:latin typeface="Verdana"/>
                <a:ea typeface="Verdana"/>
                <a:cs typeface="Verdana"/>
                <a:sym typeface="Verdana"/>
              </a:defRPr>
            </a:lvl3pPr>
            <a:lvl4pPr marL="1219261" lvl="3" indent="-287881" algn="l">
              <a:lnSpc>
                <a:spcPct val="100000"/>
              </a:lnSpc>
              <a:spcBef>
                <a:spcPts val="1000"/>
              </a:spcBef>
              <a:spcAft>
                <a:spcPts val="0"/>
              </a:spcAft>
              <a:buSzPts val="3200"/>
              <a:buChar char="•"/>
              <a:defRPr sz="2133">
                <a:latin typeface="Verdana"/>
                <a:ea typeface="Verdana"/>
                <a:cs typeface="Verdana"/>
                <a:sym typeface="Verdana"/>
              </a:defRPr>
            </a:lvl4pPr>
            <a:lvl5pPr marL="1524076" lvl="4" indent="-287881" algn="l">
              <a:lnSpc>
                <a:spcPct val="100000"/>
              </a:lnSpc>
              <a:spcBef>
                <a:spcPts val="1000"/>
              </a:spcBef>
              <a:spcAft>
                <a:spcPts val="0"/>
              </a:spcAft>
              <a:buSzPts val="3200"/>
              <a:buChar char="•"/>
              <a:defRPr sz="2133">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6724" name="Google Shape;6724;p568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948539214"/>
      </p:ext>
    </p:extLst>
  </p:cSld>
  <p:clrMapOvr>
    <a:masterClrMapping/>
  </p:clrMapOvr>
</p:sldLayout>
</file>

<file path=ppt/slideLayouts/slideLayout1854.xml><?xml version="1.0" encoding="utf-8"?>
<p:sldLayout xmlns:a="http://schemas.openxmlformats.org/drawingml/2006/main" xmlns:r="http://schemas.openxmlformats.org/officeDocument/2006/relationships" xmlns:p="http://schemas.openxmlformats.org/presentationml/2006/main" matchingName="45_Title and Content">
  <p:cSld name="45_Title and Content">
    <p:spTree>
      <p:nvGrpSpPr>
        <p:cNvPr id="1" name="Shape 6725"/>
        <p:cNvGrpSpPr/>
        <p:nvPr/>
      </p:nvGrpSpPr>
      <p:grpSpPr>
        <a:xfrm>
          <a:off x="0" y="0"/>
          <a:ext cx="0" cy="0"/>
          <a:chOff x="0" y="0"/>
          <a:chExt cx="0" cy="0"/>
        </a:xfrm>
      </p:grpSpPr>
      <p:sp>
        <p:nvSpPr>
          <p:cNvPr id="6726" name="Google Shape;6726;p5683"/>
          <p:cNvSpPr/>
          <p:nvPr/>
        </p:nvSpPr>
        <p:spPr>
          <a:xfrm>
            <a:off x="0" y="6313118"/>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6727" name="Google Shape;6727;p5683"/>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6728" name="Google Shape;6728;p5683"/>
          <p:cNvSpPr/>
          <p:nvPr/>
        </p:nvSpPr>
        <p:spPr>
          <a:xfrm>
            <a:off x="0" y="6301515"/>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729" name="Google Shape;6729;p5683"/>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30" name="Google Shape;6730;p5683"/>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a:latin typeface="Verdana"/>
                <a:ea typeface="Verdana"/>
                <a:cs typeface="Verdana"/>
                <a:sym typeface="Verdana"/>
              </a:defRPr>
            </a:lvl1pPr>
            <a:lvl2pPr marL="609630" lvl="1" indent="-270990" algn="l">
              <a:lnSpc>
                <a:spcPct val="100000"/>
              </a:lnSpc>
              <a:spcBef>
                <a:spcPts val="500"/>
              </a:spcBef>
              <a:spcAft>
                <a:spcPts val="0"/>
              </a:spcAft>
              <a:buSzPts val="2801"/>
              <a:buChar char="•"/>
              <a:defRPr sz="1867">
                <a:latin typeface="Verdana"/>
                <a:ea typeface="Verdana"/>
                <a:cs typeface="Verdana"/>
                <a:sym typeface="Verdana"/>
              </a:defRPr>
            </a:lvl2pPr>
            <a:lvl3pPr marL="914446" lvl="2" indent="-270989" algn="l">
              <a:lnSpc>
                <a:spcPct val="100000"/>
              </a:lnSpc>
              <a:spcBef>
                <a:spcPts val="1000"/>
              </a:spcBef>
              <a:spcAft>
                <a:spcPts val="0"/>
              </a:spcAft>
              <a:buSzPts val="2801"/>
              <a:buChar char="•"/>
              <a:defRPr sz="1867">
                <a:latin typeface="Verdana"/>
                <a:ea typeface="Verdana"/>
                <a:cs typeface="Verdana"/>
                <a:sym typeface="Verdana"/>
              </a:defRPr>
            </a:lvl3pPr>
            <a:lvl4pPr marL="1219261" lvl="3" indent="-270989" algn="l">
              <a:lnSpc>
                <a:spcPct val="100000"/>
              </a:lnSpc>
              <a:spcBef>
                <a:spcPts val="1000"/>
              </a:spcBef>
              <a:spcAft>
                <a:spcPts val="0"/>
              </a:spcAft>
              <a:buSzPts val="2801"/>
              <a:buChar char="•"/>
              <a:defRPr sz="1867">
                <a:latin typeface="Verdana"/>
                <a:ea typeface="Verdana"/>
                <a:cs typeface="Verdana"/>
                <a:sym typeface="Verdana"/>
              </a:defRPr>
            </a:lvl4pPr>
            <a:lvl5pPr marL="1524076" lvl="4" indent="-270990" algn="l">
              <a:lnSpc>
                <a:spcPct val="100000"/>
              </a:lnSpc>
              <a:spcBef>
                <a:spcPts val="1000"/>
              </a:spcBef>
              <a:spcAft>
                <a:spcPts val="0"/>
              </a:spcAft>
              <a:buSzPts val="2801"/>
              <a:buChar char="•"/>
              <a:defRPr sz="1867">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41663594"/>
      </p:ext>
    </p:extLst>
  </p:cSld>
  <p:clrMapOvr>
    <a:masterClrMapping/>
  </p:clrMapOvr>
</p:sldLayout>
</file>

<file path=ppt/slideLayouts/slideLayout1855.xml><?xml version="1.0" encoding="utf-8"?>
<p:sldLayout xmlns:a="http://schemas.openxmlformats.org/drawingml/2006/main" xmlns:r="http://schemas.openxmlformats.org/officeDocument/2006/relationships" xmlns:p="http://schemas.openxmlformats.org/presentationml/2006/main" matchingName="16_Two Section | Picture and Copy Layout">
  <p:cSld name="16_Two Section | Picture and Copy Layout">
    <p:spTree>
      <p:nvGrpSpPr>
        <p:cNvPr id="1" name="Shape 6731"/>
        <p:cNvGrpSpPr/>
        <p:nvPr/>
      </p:nvGrpSpPr>
      <p:grpSpPr>
        <a:xfrm>
          <a:off x="0" y="0"/>
          <a:ext cx="0" cy="0"/>
          <a:chOff x="0" y="0"/>
          <a:chExt cx="0" cy="0"/>
        </a:xfrm>
      </p:grpSpPr>
      <p:sp>
        <p:nvSpPr>
          <p:cNvPr id="6732" name="Google Shape;6732;p5684"/>
          <p:cNvSpPr/>
          <p:nvPr/>
        </p:nvSpPr>
        <p:spPr>
          <a:xfrm>
            <a:off x="0" y="6313118"/>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733" name="Google Shape;6733;p5684"/>
          <p:cNvSpPr/>
          <p:nvPr/>
        </p:nvSpPr>
        <p:spPr>
          <a:xfrm>
            <a:off x="0" y="6301515"/>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734" name="Google Shape;6734;p5684"/>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1800"/>
              <a:buNone/>
              <a:defRPr sz="1200" b="0" i="1">
                <a:solidFill>
                  <a:srgbClr val="003B5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735" name="Google Shape;6735;p5684"/>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b="0">
                <a:solidFill>
                  <a:schemeClr val="dk1"/>
                </a:solidFill>
                <a:latin typeface="Verdana"/>
                <a:ea typeface="Verdana"/>
                <a:cs typeface="Verdana"/>
                <a:sym typeface="Verdana"/>
              </a:defRPr>
            </a:lvl1pPr>
            <a:lvl2pPr marL="609630" lvl="1" indent="-270990" algn="l">
              <a:lnSpc>
                <a:spcPct val="100000"/>
              </a:lnSpc>
              <a:spcBef>
                <a:spcPts val="500"/>
              </a:spcBef>
              <a:spcAft>
                <a:spcPts val="0"/>
              </a:spcAft>
              <a:buSzPts val="2801"/>
              <a:buChar char="•"/>
              <a:defRPr sz="1867" b="0">
                <a:solidFill>
                  <a:srgbClr val="003B5C"/>
                </a:solidFill>
                <a:latin typeface="Verdana"/>
                <a:ea typeface="Verdana"/>
                <a:cs typeface="Verdana"/>
                <a:sym typeface="Verdana"/>
              </a:defRPr>
            </a:lvl2pPr>
            <a:lvl3pPr marL="914446" lvl="2" indent="-270989"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3pPr>
            <a:lvl4pPr marL="1219261" lvl="3" indent="-270989"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4pPr>
            <a:lvl5pPr marL="1524076" lvl="4" indent="-270990"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736" name="Google Shape;6736;p5684"/>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737" name="Google Shape;6737;p568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879008866"/>
      </p:ext>
    </p:extLst>
  </p:cSld>
  <p:clrMapOvr>
    <a:masterClrMapping/>
  </p:clrMapOvr>
</p:sldLayout>
</file>

<file path=ppt/slideLayouts/slideLayout1856.xml><?xml version="1.0" encoding="utf-8"?>
<p:sldLayout xmlns:a="http://schemas.openxmlformats.org/drawingml/2006/main" xmlns:r="http://schemas.openxmlformats.org/officeDocument/2006/relationships" xmlns:p="http://schemas.openxmlformats.org/presentationml/2006/main" matchingName="28_Cover">
  <p:cSld name="28_Cover">
    <p:spTree>
      <p:nvGrpSpPr>
        <p:cNvPr id="1" name="Shape 6738"/>
        <p:cNvGrpSpPr/>
        <p:nvPr/>
      </p:nvGrpSpPr>
      <p:grpSpPr>
        <a:xfrm>
          <a:off x="0" y="0"/>
          <a:ext cx="0" cy="0"/>
          <a:chOff x="0" y="0"/>
          <a:chExt cx="0" cy="0"/>
        </a:xfrm>
      </p:grpSpPr>
      <p:sp>
        <p:nvSpPr>
          <p:cNvPr id="6739" name="Google Shape;6739;p5685"/>
          <p:cNvSpPr/>
          <p:nvPr/>
        </p:nvSpPr>
        <p:spPr>
          <a:xfrm>
            <a:off x="902368" y="1294414"/>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740" name="Google Shape;6740;p5685"/>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41" name="Google Shape;6741;p5685"/>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
        <p:nvSpPr>
          <p:cNvPr id="6742" name="Google Shape;6742;p5685"/>
          <p:cNvSpPr>
            <a:spLocks noGrp="1"/>
          </p:cNvSpPr>
          <p:nvPr>
            <p:ph type="pic" idx="2"/>
          </p:nvPr>
        </p:nvSpPr>
        <p:spPr>
          <a:xfrm>
            <a:off x="7118684" y="233915"/>
            <a:ext cx="5073316" cy="5943600"/>
          </a:xfrm>
          <a:prstGeom prst="rect">
            <a:avLst/>
          </a:prstGeom>
          <a:noFill/>
          <a:ln>
            <a:noFill/>
          </a:ln>
        </p:spPr>
      </p:sp>
      <p:grpSp>
        <p:nvGrpSpPr>
          <p:cNvPr id="6743" name="Google Shape;6743;p5685"/>
          <p:cNvGrpSpPr/>
          <p:nvPr/>
        </p:nvGrpSpPr>
        <p:grpSpPr>
          <a:xfrm>
            <a:off x="0" y="5020349"/>
            <a:ext cx="12192000" cy="1837653"/>
            <a:chOff x="0" y="5020348"/>
            <a:chExt cx="12192000" cy="1837653"/>
          </a:xfrm>
        </p:grpSpPr>
        <p:sp>
          <p:nvSpPr>
            <p:cNvPr id="6744" name="Google Shape;6744;p568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745" name="Google Shape;6745;p568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6746" name="Google Shape;6746;p568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708516812"/>
      </p:ext>
    </p:extLst>
  </p:cSld>
  <p:clrMapOvr>
    <a:masterClrMapping/>
  </p:clrMapOvr>
</p:sldLayout>
</file>

<file path=ppt/slideLayouts/slideLayout1857.xml><?xml version="1.0" encoding="utf-8"?>
<p:sldLayout xmlns:a="http://schemas.openxmlformats.org/drawingml/2006/main" xmlns:r="http://schemas.openxmlformats.org/officeDocument/2006/relationships" xmlns:p="http://schemas.openxmlformats.org/presentationml/2006/main" matchingName="28_Divider">
  <p:cSld name="28_Divider">
    <p:bg>
      <p:bgPr>
        <a:solidFill>
          <a:schemeClr val="lt2"/>
        </a:solidFill>
        <a:effectLst/>
      </p:bgPr>
    </p:bg>
    <p:spTree>
      <p:nvGrpSpPr>
        <p:cNvPr id="1" name="Shape 6747"/>
        <p:cNvGrpSpPr/>
        <p:nvPr/>
      </p:nvGrpSpPr>
      <p:grpSpPr>
        <a:xfrm>
          <a:off x="0" y="0"/>
          <a:ext cx="0" cy="0"/>
          <a:chOff x="0" y="0"/>
          <a:chExt cx="0" cy="0"/>
        </a:xfrm>
      </p:grpSpPr>
      <p:grpSp>
        <p:nvGrpSpPr>
          <p:cNvPr id="6748" name="Google Shape;6748;p5686"/>
          <p:cNvGrpSpPr/>
          <p:nvPr/>
        </p:nvGrpSpPr>
        <p:grpSpPr>
          <a:xfrm>
            <a:off x="0" y="5020348"/>
            <a:ext cx="12192000" cy="1837653"/>
            <a:chOff x="0" y="5020347"/>
            <a:chExt cx="12192000" cy="1837653"/>
          </a:xfrm>
        </p:grpSpPr>
        <p:sp>
          <p:nvSpPr>
            <p:cNvPr id="6749" name="Google Shape;6749;p568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750" name="Google Shape;6750;p568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751" name="Google Shape;6751;p568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6752" name="Google Shape;6752;p568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753" name="Google Shape;6753;p5686"/>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54" name="Google Shape;6754;p5686"/>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Tree>
    <p:extLst>
      <p:ext uri="{BB962C8B-B14F-4D97-AF65-F5344CB8AC3E}">
        <p14:creationId xmlns:p14="http://schemas.microsoft.com/office/powerpoint/2010/main" val="4078949297"/>
      </p:ext>
    </p:extLst>
  </p:cSld>
  <p:clrMapOvr>
    <a:masterClrMapping/>
  </p:clrMapOvr>
</p:sldLayout>
</file>

<file path=ppt/slideLayouts/slideLayout1858.xml><?xml version="1.0" encoding="utf-8"?>
<p:sldLayout xmlns:a="http://schemas.openxmlformats.org/drawingml/2006/main" xmlns:r="http://schemas.openxmlformats.org/officeDocument/2006/relationships" xmlns:p="http://schemas.openxmlformats.org/presentationml/2006/main" matchingName="27_Photo Slide">
  <p:cSld name="27_Photo Slide">
    <p:spTree>
      <p:nvGrpSpPr>
        <p:cNvPr id="1" name="Shape 6755"/>
        <p:cNvGrpSpPr/>
        <p:nvPr/>
      </p:nvGrpSpPr>
      <p:grpSpPr>
        <a:xfrm>
          <a:off x="0" y="0"/>
          <a:ext cx="0" cy="0"/>
          <a:chOff x="0" y="0"/>
          <a:chExt cx="0" cy="0"/>
        </a:xfrm>
      </p:grpSpPr>
      <p:sp>
        <p:nvSpPr>
          <p:cNvPr id="6756" name="Google Shape;6756;p5687"/>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6757" name="Google Shape;6757;p568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758" name="Google Shape;6758;p5687"/>
          <p:cNvGrpSpPr/>
          <p:nvPr/>
        </p:nvGrpSpPr>
        <p:grpSpPr>
          <a:xfrm>
            <a:off x="0" y="5379427"/>
            <a:ext cx="2807368" cy="753891"/>
            <a:chOff x="0" y="5379426"/>
            <a:chExt cx="2807368" cy="753891"/>
          </a:xfrm>
        </p:grpSpPr>
        <p:sp>
          <p:nvSpPr>
            <p:cNvPr id="6759" name="Google Shape;6759;p568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760" name="Google Shape;6760;p568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6761" name="Google Shape;6761;p5687"/>
          <p:cNvSpPr>
            <a:spLocks noGrp="1"/>
          </p:cNvSpPr>
          <p:nvPr>
            <p:ph type="pic" idx="2"/>
          </p:nvPr>
        </p:nvSpPr>
        <p:spPr>
          <a:xfrm>
            <a:off x="2807368" y="457202"/>
            <a:ext cx="8915400" cy="5943598"/>
          </a:xfrm>
          <a:prstGeom prst="rect">
            <a:avLst/>
          </a:prstGeom>
          <a:noFill/>
          <a:ln>
            <a:noFill/>
          </a:ln>
        </p:spPr>
      </p:sp>
      <p:pic>
        <p:nvPicPr>
          <p:cNvPr id="6762" name="Google Shape;6762;p5687"/>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3270150124"/>
      </p:ext>
    </p:extLst>
  </p:cSld>
  <p:clrMapOvr>
    <a:masterClrMapping/>
  </p:clrMapOvr>
</p:sldLayout>
</file>

<file path=ppt/slideLayouts/slideLayout1859.xml><?xml version="1.0" encoding="utf-8"?>
<p:sldLayout xmlns:a="http://schemas.openxmlformats.org/drawingml/2006/main" xmlns:r="http://schemas.openxmlformats.org/officeDocument/2006/relationships" xmlns:p="http://schemas.openxmlformats.org/presentationml/2006/main" matchingName="59_Quotation">
  <p:cSld name="59_Quotation">
    <p:spTree>
      <p:nvGrpSpPr>
        <p:cNvPr id="1" name="Shape 6763"/>
        <p:cNvGrpSpPr/>
        <p:nvPr/>
      </p:nvGrpSpPr>
      <p:grpSpPr>
        <a:xfrm>
          <a:off x="0" y="0"/>
          <a:ext cx="0" cy="0"/>
          <a:chOff x="0" y="0"/>
          <a:chExt cx="0" cy="0"/>
        </a:xfrm>
      </p:grpSpPr>
      <p:sp>
        <p:nvSpPr>
          <p:cNvPr id="6764" name="Google Shape;6764;p5688"/>
          <p:cNvSpPr/>
          <p:nvPr/>
        </p:nvSpPr>
        <p:spPr>
          <a:xfrm>
            <a:off x="1427357"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765" name="Google Shape;6765;p568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66" name="Google Shape;6766;p568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767" name="Google Shape;6767;p568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768" name="Google Shape;6768;p56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69" name="Google Shape;6769;p568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770" name="Google Shape;6770;p5688"/>
          <p:cNvGrpSpPr/>
          <p:nvPr/>
        </p:nvGrpSpPr>
        <p:grpSpPr>
          <a:xfrm>
            <a:off x="7191543" y="1"/>
            <a:ext cx="5000459" cy="1425992"/>
            <a:chOff x="7191542" y="1"/>
            <a:chExt cx="5000459" cy="1425992"/>
          </a:xfrm>
        </p:grpSpPr>
        <p:pic>
          <p:nvPicPr>
            <p:cNvPr id="6771" name="Google Shape;6771;p56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72" name="Google Shape;6772;p5688"/>
            <p:cNvGrpSpPr/>
            <p:nvPr/>
          </p:nvGrpSpPr>
          <p:grpSpPr>
            <a:xfrm>
              <a:off x="7191542" y="1"/>
              <a:ext cx="5000459" cy="1425992"/>
              <a:chOff x="7186272" y="0"/>
              <a:chExt cx="5005729" cy="1427495"/>
            </a:xfrm>
          </p:grpSpPr>
          <p:sp>
            <p:nvSpPr>
              <p:cNvPr id="6773" name="Google Shape;6773;p56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774" name="Google Shape;6774;p56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6775" name="Google Shape;6775;p5688"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183111745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5">
    <p:spTree>
      <p:nvGrpSpPr>
        <p:cNvPr id="1" name="Shape 10851"/>
        <p:cNvGrpSpPr/>
        <p:nvPr/>
      </p:nvGrpSpPr>
      <p:grpSpPr>
        <a:xfrm>
          <a:off x="0" y="0"/>
          <a:ext cx="0" cy="0"/>
          <a:chOff x="0" y="0"/>
          <a:chExt cx="0" cy="0"/>
        </a:xfrm>
      </p:grpSpPr>
      <p:sp>
        <p:nvSpPr>
          <p:cNvPr id="10852" name="Google Shape;10852;p149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53" name="Google Shape;10853;p149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854" name="Google Shape;10854;p149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0855" name="Google Shape;10855;p14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856" name="Google Shape;10856;p14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0857" name="Google Shape;10857;p149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0858" name="Google Shape;10858;p149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0859" name="Google Shape;10859;p149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860" name="Google Shape;10860;p1490"/>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860.xml><?xml version="1.0" encoding="utf-8"?>
<p:sldLayout xmlns:a="http://schemas.openxmlformats.org/drawingml/2006/main" xmlns:r="http://schemas.openxmlformats.org/officeDocument/2006/relationships" xmlns:p="http://schemas.openxmlformats.org/presentationml/2006/main" matchingName="46_Title and Content">
  <p:cSld name="46_Title and Content">
    <p:spTree>
      <p:nvGrpSpPr>
        <p:cNvPr id="1" name="Shape 6776"/>
        <p:cNvGrpSpPr/>
        <p:nvPr/>
      </p:nvGrpSpPr>
      <p:grpSpPr>
        <a:xfrm>
          <a:off x="0" y="0"/>
          <a:ext cx="0" cy="0"/>
          <a:chOff x="0" y="0"/>
          <a:chExt cx="0" cy="0"/>
        </a:xfrm>
      </p:grpSpPr>
      <p:grpSp>
        <p:nvGrpSpPr>
          <p:cNvPr id="6777" name="Google Shape;6777;p5689"/>
          <p:cNvGrpSpPr/>
          <p:nvPr/>
        </p:nvGrpSpPr>
        <p:grpSpPr>
          <a:xfrm>
            <a:off x="7191543" y="1"/>
            <a:ext cx="5000459" cy="1425992"/>
            <a:chOff x="7191542" y="1"/>
            <a:chExt cx="5000459" cy="1425992"/>
          </a:xfrm>
        </p:grpSpPr>
        <p:pic>
          <p:nvPicPr>
            <p:cNvPr id="6778" name="Google Shape;6778;p56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79" name="Google Shape;6779;p5689"/>
            <p:cNvGrpSpPr/>
            <p:nvPr/>
          </p:nvGrpSpPr>
          <p:grpSpPr>
            <a:xfrm>
              <a:off x="7191542" y="1"/>
              <a:ext cx="5000459" cy="1425992"/>
              <a:chOff x="7186272" y="0"/>
              <a:chExt cx="5005729" cy="1427495"/>
            </a:xfrm>
          </p:grpSpPr>
          <p:sp>
            <p:nvSpPr>
              <p:cNvPr id="6780" name="Google Shape;6780;p56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781" name="Google Shape;6781;p56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6782" name="Google Shape;6782;p5689"/>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83" name="Google Shape;6783;p5689"/>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784" name="Google Shape;6784;p568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785" name="Google Shape;6785;p56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86" name="Google Shape;6786;p568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522790412"/>
      </p:ext>
    </p:extLst>
  </p:cSld>
  <p:clrMapOvr>
    <a:masterClrMapping/>
  </p:clrMapOvr>
</p:sldLayout>
</file>

<file path=ppt/slideLayouts/slideLayout1861.xml><?xml version="1.0" encoding="utf-8"?>
<p:sldLayout xmlns:a="http://schemas.openxmlformats.org/drawingml/2006/main" xmlns:r="http://schemas.openxmlformats.org/officeDocument/2006/relationships" xmlns:p="http://schemas.openxmlformats.org/presentationml/2006/main" matchingName="27_Two Content">
  <p:cSld name="27_Two Content">
    <p:spTree>
      <p:nvGrpSpPr>
        <p:cNvPr id="1" name="Shape 6787"/>
        <p:cNvGrpSpPr/>
        <p:nvPr/>
      </p:nvGrpSpPr>
      <p:grpSpPr>
        <a:xfrm>
          <a:off x="0" y="0"/>
          <a:ext cx="0" cy="0"/>
          <a:chOff x="0" y="0"/>
          <a:chExt cx="0" cy="0"/>
        </a:xfrm>
      </p:grpSpPr>
      <p:sp>
        <p:nvSpPr>
          <p:cNvPr id="6788" name="Google Shape;6788;p569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89" name="Google Shape;6789;p5690"/>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6790" name="Google Shape;6790;p5690"/>
          <p:cNvGrpSpPr/>
          <p:nvPr/>
        </p:nvGrpSpPr>
        <p:grpSpPr>
          <a:xfrm>
            <a:off x="7191543" y="1"/>
            <a:ext cx="5000459" cy="1425992"/>
            <a:chOff x="7191542" y="1"/>
            <a:chExt cx="5000459" cy="1425992"/>
          </a:xfrm>
        </p:grpSpPr>
        <p:pic>
          <p:nvPicPr>
            <p:cNvPr id="6791" name="Google Shape;6791;p56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92" name="Google Shape;6792;p5690"/>
            <p:cNvGrpSpPr/>
            <p:nvPr/>
          </p:nvGrpSpPr>
          <p:grpSpPr>
            <a:xfrm>
              <a:off x="7191542" y="1"/>
              <a:ext cx="5000459" cy="1425992"/>
              <a:chOff x="7186272" y="0"/>
              <a:chExt cx="5005729" cy="1427495"/>
            </a:xfrm>
          </p:grpSpPr>
          <p:sp>
            <p:nvSpPr>
              <p:cNvPr id="6793" name="Google Shape;6793;p56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794" name="Google Shape;6794;p56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6795" name="Google Shape;6795;p5690"/>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796" name="Google Shape;6796;p5690"/>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797" name="Google Shape;6797;p56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98" name="Google Shape;6798;p569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434180519"/>
      </p:ext>
    </p:extLst>
  </p:cSld>
  <p:clrMapOvr>
    <a:masterClrMapping/>
  </p:clrMapOvr>
</p:sldLayout>
</file>

<file path=ppt/slideLayouts/slideLayout1862.xml><?xml version="1.0" encoding="utf-8"?>
<p:sldLayout xmlns:a="http://schemas.openxmlformats.org/drawingml/2006/main" xmlns:r="http://schemas.openxmlformats.org/officeDocument/2006/relationships" xmlns:p="http://schemas.openxmlformats.org/presentationml/2006/main" matchingName="27_Comparison">
  <p:cSld name="27_Comparison">
    <p:spTree>
      <p:nvGrpSpPr>
        <p:cNvPr id="1" name="Shape 6799"/>
        <p:cNvGrpSpPr/>
        <p:nvPr/>
      </p:nvGrpSpPr>
      <p:grpSpPr>
        <a:xfrm>
          <a:off x="0" y="0"/>
          <a:ext cx="0" cy="0"/>
          <a:chOff x="0" y="0"/>
          <a:chExt cx="0" cy="0"/>
        </a:xfrm>
      </p:grpSpPr>
      <p:grpSp>
        <p:nvGrpSpPr>
          <p:cNvPr id="6800" name="Google Shape;6800;p5691"/>
          <p:cNvGrpSpPr/>
          <p:nvPr/>
        </p:nvGrpSpPr>
        <p:grpSpPr>
          <a:xfrm>
            <a:off x="7191543" y="1"/>
            <a:ext cx="5000459" cy="1425992"/>
            <a:chOff x="7191542" y="1"/>
            <a:chExt cx="5000459" cy="1425992"/>
          </a:xfrm>
        </p:grpSpPr>
        <p:pic>
          <p:nvPicPr>
            <p:cNvPr id="6801" name="Google Shape;6801;p56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02" name="Google Shape;6802;p5691"/>
            <p:cNvGrpSpPr/>
            <p:nvPr/>
          </p:nvGrpSpPr>
          <p:grpSpPr>
            <a:xfrm>
              <a:off x="7191542" y="1"/>
              <a:ext cx="5000459" cy="1425992"/>
              <a:chOff x="7186272" y="0"/>
              <a:chExt cx="5005729" cy="1427495"/>
            </a:xfrm>
          </p:grpSpPr>
          <p:sp>
            <p:nvSpPr>
              <p:cNvPr id="6803" name="Google Shape;6803;p56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804" name="Google Shape;6804;p56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6805" name="Google Shape;6805;p5691"/>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06" name="Google Shape;6806;p5691"/>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6807" name="Google Shape;6807;p5691"/>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808" name="Google Shape;6808;p569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6809" name="Google Shape;6809;p569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810" name="Google Shape;6810;p569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811" name="Google Shape;6811;p56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12" name="Google Shape;6812;p569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864883592"/>
      </p:ext>
    </p:extLst>
  </p:cSld>
  <p:clrMapOvr>
    <a:masterClrMapping/>
  </p:clrMapOvr>
</p:sldLayout>
</file>

<file path=ppt/slideLayouts/slideLayout1863.xml><?xml version="1.0" encoding="utf-8"?>
<p:sldLayout xmlns:a="http://schemas.openxmlformats.org/drawingml/2006/main" xmlns:r="http://schemas.openxmlformats.org/officeDocument/2006/relationships" xmlns:p="http://schemas.openxmlformats.org/presentationml/2006/main" matchingName="27_Title Only">
  <p:cSld name="27_Title Only">
    <p:spTree>
      <p:nvGrpSpPr>
        <p:cNvPr id="1" name="Shape 6813"/>
        <p:cNvGrpSpPr/>
        <p:nvPr/>
      </p:nvGrpSpPr>
      <p:grpSpPr>
        <a:xfrm>
          <a:off x="0" y="0"/>
          <a:ext cx="0" cy="0"/>
          <a:chOff x="0" y="0"/>
          <a:chExt cx="0" cy="0"/>
        </a:xfrm>
      </p:grpSpPr>
      <p:grpSp>
        <p:nvGrpSpPr>
          <p:cNvPr id="6814" name="Google Shape;6814;p5692"/>
          <p:cNvGrpSpPr/>
          <p:nvPr/>
        </p:nvGrpSpPr>
        <p:grpSpPr>
          <a:xfrm>
            <a:off x="7191543" y="1"/>
            <a:ext cx="5000459" cy="1425992"/>
            <a:chOff x="7191542" y="1"/>
            <a:chExt cx="5000459" cy="1425992"/>
          </a:xfrm>
        </p:grpSpPr>
        <p:pic>
          <p:nvPicPr>
            <p:cNvPr id="6815" name="Google Shape;6815;p56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16" name="Google Shape;6816;p5692"/>
            <p:cNvGrpSpPr/>
            <p:nvPr/>
          </p:nvGrpSpPr>
          <p:grpSpPr>
            <a:xfrm>
              <a:off x="7191542" y="1"/>
              <a:ext cx="5000459" cy="1425992"/>
              <a:chOff x="7186272" y="0"/>
              <a:chExt cx="5005729" cy="1427495"/>
            </a:xfrm>
          </p:grpSpPr>
          <p:sp>
            <p:nvSpPr>
              <p:cNvPr id="6817" name="Google Shape;6817;p56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818" name="Google Shape;6818;p56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6819" name="Google Shape;6819;p5692"/>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20" name="Google Shape;6820;p569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821" name="Google Shape;6821;p56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22" name="Google Shape;6822;p569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127522925"/>
      </p:ext>
    </p:extLst>
  </p:cSld>
  <p:clrMapOvr>
    <a:masterClrMapping/>
  </p:clrMapOvr>
</p:sldLayout>
</file>

<file path=ppt/slideLayouts/slideLayout1864.xml><?xml version="1.0" encoding="utf-8"?>
<p:sldLayout xmlns:a="http://schemas.openxmlformats.org/drawingml/2006/main" xmlns:r="http://schemas.openxmlformats.org/officeDocument/2006/relationships" xmlns:p="http://schemas.openxmlformats.org/presentationml/2006/main" matchingName="27_End">
  <p:cSld name="27_End">
    <p:spTree>
      <p:nvGrpSpPr>
        <p:cNvPr id="1" name="Shape 6823"/>
        <p:cNvGrpSpPr/>
        <p:nvPr/>
      </p:nvGrpSpPr>
      <p:grpSpPr>
        <a:xfrm>
          <a:off x="0" y="0"/>
          <a:ext cx="0" cy="0"/>
          <a:chOff x="0" y="0"/>
          <a:chExt cx="0" cy="0"/>
        </a:xfrm>
      </p:grpSpPr>
      <p:grpSp>
        <p:nvGrpSpPr>
          <p:cNvPr id="6824" name="Google Shape;6824;p5693"/>
          <p:cNvGrpSpPr/>
          <p:nvPr/>
        </p:nvGrpSpPr>
        <p:grpSpPr>
          <a:xfrm>
            <a:off x="0" y="0"/>
            <a:ext cx="12192000" cy="2148830"/>
            <a:chOff x="0" y="0"/>
            <a:chExt cx="12192000" cy="2148830"/>
          </a:xfrm>
        </p:grpSpPr>
        <p:sp>
          <p:nvSpPr>
            <p:cNvPr id="6825" name="Google Shape;6825;p569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826" name="Google Shape;6826;p569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6827" name="Google Shape;6827;p5693"/>
          <p:cNvSpPr/>
          <p:nvPr/>
        </p:nvSpPr>
        <p:spPr>
          <a:xfrm>
            <a:off x="902368" y="1517698"/>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828" name="Google Shape;6828;p5693"/>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829" name="Google Shape;6829;p5693"/>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9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830" name="Google Shape;6830;p5693"/>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6831" name="Google Shape;6831;p5693"/>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006590972"/>
      </p:ext>
    </p:extLst>
  </p:cSld>
  <p:clrMapOvr>
    <a:masterClrMapping/>
  </p:clrMapOvr>
</p:sldLayout>
</file>

<file path=ppt/slideLayouts/slideLayout1865.xml><?xml version="1.0" encoding="utf-8"?>
<p:sldLayout xmlns:a="http://schemas.openxmlformats.org/drawingml/2006/main" xmlns:r="http://schemas.openxmlformats.org/officeDocument/2006/relationships" xmlns:p="http://schemas.openxmlformats.org/presentationml/2006/main" matchingName="27_Blank">
  <p:cSld name="27_Blank">
    <p:spTree>
      <p:nvGrpSpPr>
        <p:cNvPr id="1" name="Shape 6832"/>
        <p:cNvGrpSpPr/>
        <p:nvPr/>
      </p:nvGrpSpPr>
      <p:grpSpPr>
        <a:xfrm>
          <a:off x="0" y="0"/>
          <a:ext cx="0" cy="0"/>
          <a:chOff x="0" y="0"/>
          <a:chExt cx="0" cy="0"/>
        </a:xfrm>
      </p:grpSpPr>
      <p:sp>
        <p:nvSpPr>
          <p:cNvPr id="6833" name="Google Shape;6833;p569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834" name="Google Shape;6834;p56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35" name="Google Shape;6835;p569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836" name="Google Shape;6836;p5694"/>
          <p:cNvGrpSpPr/>
          <p:nvPr/>
        </p:nvGrpSpPr>
        <p:grpSpPr>
          <a:xfrm>
            <a:off x="7191543" y="1"/>
            <a:ext cx="5000459" cy="1425992"/>
            <a:chOff x="7191542" y="1"/>
            <a:chExt cx="5000459" cy="1425992"/>
          </a:xfrm>
        </p:grpSpPr>
        <p:pic>
          <p:nvPicPr>
            <p:cNvPr id="6837" name="Google Shape;6837;p56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38" name="Google Shape;6838;p5694"/>
            <p:cNvGrpSpPr/>
            <p:nvPr/>
          </p:nvGrpSpPr>
          <p:grpSpPr>
            <a:xfrm>
              <a:off x="7191542" y="1"/>
              <a:ext cx="5000459" cy="1425992"/>
              <a:chOff x="7186272" y="0"/>
              <a:chExt cx="5005729" cy="1427495"/>
            </a:xfrm>
          </p:grpSpPr>
          <p:sp>
            <p:nvSpPr>
              <p:cNvPr id="6839" name="Google Shape;6839;p56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840" name="Google Shape;6840;p56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extLst>
      <p:ext uri="{BB962C8B-B14F-4D97-AF65-F5344CB8AC3E}">
        <p14:creationId xmlns:p14="http://schemas.microsoft.com/office/powerpoint/2010/main" val="2158080398"/>
      </p:ext>
    </p:extLst>
  </p:cSld>
  <p:clrMapOvr>
    <a:masterClrMapping/>
  </p:clrMapOvr>
</p:sldLayout>
</file>

<file path=ppt/slideLayouts/slideLayout1866.xml><?xml version="1.0" encoding="utf-8"?>
<p:sldLayout xmlns:a="http://schemas.openxmlformats.org/drawingml/2006/main" xmlns:r="http://schemas.openxmlformats.org/officeDocument/2006/relationships" xmlns:p="http://schemas.openxmlformats.org/presentationml/2006/main" matchingName="Title and Content">
  <p:cSld name="14_Title and Content">
    <p:spTree>
      <p:nvGrpSpPr>
        <p:cNvPr id="1" name="Shape 6841"/>
        <p:cNvGrpSpPr/>
        <p:nvPr/>
      </p:nvGrpSpPr>
      <p:grpSpPr>
        <a:xfrm>
          <a:off x="0" y="0"/>
          <a:ext cx="0" cy="0"/>
          <a:chOff x="0" y="0"/>
          <a:chExt cx="0" cy="0"/>
        </a:xfrm>
      </p:grpSpPr>
      <p:grpSp>
        <p:nvGrpSpPr>
          <p:cNvPr id="6842" name="Google Shape;6842;p5695"/>
          <p:cNvGrpSpPr/>
          <p:nvPr/>
        </p:nvGrpSpPr>
        <p:grpSpPr>
          <a:xfrm>
            <a:off x="7191543" y="1"/>
            <a:ext cx="5000459" cy="1425992"/>
            <a:chOff x="7191542" y="1"/>
            <a:chExt cx="5000459" cy="1425992"/>
          </a:xfrm>
        </p:grpSpPr>
        <p:pic>
          <p:nvPicPr>
            <p:cNvPr id="6843" name="Google Shape;6843;p56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44" name="Google Shape;6844;p5695"/>
            <p:cNvGrpSpPr/>
            <p:nvPr/>
          </p:nvGrpSpPr>
          <p:grpSpPr>
            <a:xfrm>
              <a:off x="7191542" y="1"/>
              <a:ext cx="5000459" cy="1425992"/>
              <a:chOff x="7186272" y="0"/>
              <a:chExt cx="5005729" cy="1427495"/>
            </a:xfrm>
          </p:grpSpPr>
          <p:sp>
            <p:nvSpPr>
              <p:cNvPr id="6845" name="Google Shape;6845;p56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6846" name="Google Shape;6846;p56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6847" name="Google Shape;6847;p5695"/>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48" name="Google Shape;6848;p5695"/>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849" name="Google Shape;6849;p569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SzPts val="1800"/>
              <a:buNone/>
              <a:defRPr sz="1200" b="0" i="0" u="none" strike="noStrike" cap="none">
                <a:solidFill>
                  <a:srgbClr val="AEB3B7"/>
                </a:solidFill>
                <a:latin typeface="Calibri"/>
                <a:ea typeface="Calibri"/>
                <a:cs typeface="Calibri"/>
                <a:sym typeface="Calibri"/>
              </a:defRPr>
            </a:lvl1pPr>
            <a:lvl2pPr marL="0" lvl="1" indent="0" algn="r">
              <a:lnSpc>
                <a:spcPct val="100000"/>
              </a:lnSpc>
              <a:spcBef>
                <a:spcPts val="0"/>
              </a:spcBef>
              <a:spcAft>
                <a:spcPts val="0"/>
              </a:spcAft>
              <a:buSzPts val="1800"/>
              <a:buNone/>
              <a:defRPr sz="1200" b="0" i="0" u="none" strike="noStrike" cap="none">
                <a:solidFill>
                  <a:srgbClr val="AEB3B7"/>
                </a:solidFill>
                <a:latin typeface="Calibri"/>
                <a:ea typeface="Calibri"/>
                <a:cs typeface="Calibri"/>
                <a:sym typeface="Calibri"/>
              </a:defRPr>
            </a:lvl2pPr>
            <a:lvl3pPr marL="0" lvl="2" indent="0" algn="r">
              <a:lnSpc>
                <a:spcPct val="100000"/>
              </a:lnSpc>
              <a:spcBef>
                <a:spcPts val="0"/>
              </a:spcBef>
              <a:spcAft>
                <a:spcPts val="0"/>
              </a:spcAft>
              <a:buSzPts val="1800"/>
              <a:buNone/>
              <a:defRPr sz="1200" b="0" i="0" u="none" strike="noStrike" cap="none">
                <a:solidFill>
                  <a:srgbClr val="AEB3B7"/>
                </a:solidFill>
                <a:latin typeface="Calibri"/>
                <a:ea typeface="Calibri"/>
                <a:cs typeface="Calibri"/>
                <a:sym typeface="Calibri"/>
              </a:defRPr>
            </a:lvl3pPr>
            <a:lvl4pPr marL="0" lvl="3" indent="0" algn="r">
              <a:lnSpc>
                <a:spcPct val="100000"/>
              </a:lnSpc>
              <a:spcBef>
                <a:spcPts val="0"/>
              </a:spcBef>
              <a:spcAft>
                <a:spcPts val="0"/>
              </a:spcAft>
              <a:buSzPts val="1800"/>
              <a:buNone/>
              <a:defRPr sz="1200" b="0" i="0" u="none" strike="noStrike" cap="none">
                <a:solidFill>
                  <a:srgbClr val="AEB3B7"/>
                </a:solidFill>
                <a:latin typeface="Calibri"/>
                <a:ea typeface="Calibri"/>
                <a:cs typeface="Calibri"/>
                <a:sym typeface="Calibri"/>
              </a:defRPr>
            </a:lvl4pPr>
            <a:lvl5pPr marL="0" lvl="4" indent="0" algn="r">
              <a:lnSpc>
                <a:spcPct val="100000"/>
              </a:lnSpc>
              <a:spcBef>
                <a:spcPts val="0"/>
              </a:spcBef>
              <a:spcAft>
                <a:spcPts val="0"/>
              </a:spcAft>
              <a:buSzPts val="1800"/>
              <a:buNone/>
              <a:defRPr sz="1200" b="0" i="0" u="none" strike="noStrike" cap="none">
                <a:solidFill>
                  <a:srgbClr val="AEB3B7"/>
                </a:solidFill>
                <a:latin typeface="Calibri"/>
                <a:ea typeface="Calibri"/>
                <a:cs typeface="Calibri"/>
                <a:sym typeface="Calibri"/>
              </a:defRPr>
            </a:lvl5pPr>
            <a:lvl6pPr marL="0" lvl="5" indent="0" algn="r">
              <a:lnSpc>
                <a:spcPct val="100000"/>
              </a:lnSpc>
              <a:spcBef>
                <a:spcPts val="0"/>
              </a:spcBef>
              <a:spcAft>
                <a:spcPts val="0"/>
              </a:spcAft>
              <a:buSzPts val="1800"/>
              <a:buNone/>
              <a:defRPr sz="1200" b="0" i="0" u="none" strike="noStrike" cap="none">
                <a:solidFill>
                  <a:srgbClr val="AEB3B7"/>
                </a:solidFill>
                <a:latin typeface="Calibri"/>
                <a:ea typeface="Calibri"/>
                <a:cs typeface="Calibri"/>
                <a:sym typeface="Calibri"/>
              </a:defRPr>
            </a:lvl6pPr>
            <a:lvl7pPr marL="0" lvl="6" indent="0" algn="r">
              <a:lnSpc>
                <a:spcPct val="100000"/>
              </a:lnSpc>
              <a:spcBef>
                <a:spcPts val="0"/>
              </a:spcBef>
              <a:spcAft>
                <a:spcPts val="0"/>
              </a:spcAft>
              <a:buSzPts val="1800"/>
              <a:buNone/>
              <a:defRPr sz="1200" b="0" i="0" u="none" strike="noStrike" cap="none">
                <a:solidFill>
                  <a:srgbClr val="AEB3B7"/>
                </a:solidFill>
                <a:latin typeface="Calibri"/>
                <a:ea typeface="Calibri"/>
                <a:cs typeface="Calibri"/>
                <a:sym typeface="Calibri"/>
              </a:defRPr>
            </a:lvl7pPr>
            <a:lvl8pPr marL="0" lvl="7" indent="0" algn="r">
              <a:lnSpc>
                <a:spcPct val="100000"/>
              </a:lnSpc>
              <a:spcBef>
                <a:spcPts val="0"/>
              </a:spcBef>
              <a:spcAft>
                <a:spcPts val="0"/>
              </a:spcAft>
              <a:buSzPts val="1800"/>
              <a:buNone/>
              <a:defRPr sz="1200" b="0" i="0" u="none" strike="noStrike" cap="none">
                <a:solidFill>
                  <a:srgbClr val="AEB3B7"/>
                </a:solidFill>
                <a:latin typeface="Calibri"/>
                <a:ea typeface="Calibri"/>
                <a:cs typeface="Calibri"/>
                <a:sym typeface="Calibri"/>
              </a:defRPr>
            </a:lvl8pPr>
            <a:lvl9pPr marL="0" lvl="8" indent="0" algn="r">
              <a:lnSpc>
                <a:spcPct val="100000"/>
              </a:lnSpc>
              <a:spcBef>
                <a:spcPts val="0"/>
              </a:spcBef>
              <a:spcAft>
                <a:spcPts val="0"/>
              </a:spcAft>
              <a:buSzPts val="1800"/>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850" name="Google Shape;6850;p56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51" name="Google Shape;6851;p569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141786285"/>
      </p:ext>
    </p:extLst>
  </p:cSld>
  <p:clrMapOvr>
    <a:masterClrMapping/>
  </p:clrMapOvr>
</p:sldLayout>
</file>

<file path=ppt/slideLayouts/slideLayout1867.xml><?xml version="1.0" encoding="utf-8"?>
<p:sldLayout xmlns:a="http://schemas.openxmlformats.org/drawingml/2006/main" xmlns:r="http://schemas.openxmlformats.org/officeDocument/2006/relationships" xmlns:p="http://schemas.openxmlformats.org/presentationml/2006/main" matchingName="Photo Slide">
  <p:cSld name="28_Photo Slide">
    <p:spTree>
      <p:nvGrpSpPr>
        <p:cNvPr id="1" name="Shape 6852"/>
        <p:cNvGrpSpPr/>
        <p:nvPr/>
      </p:nvGrpSpPr>
      <p:grpSpPr>
        <a:xfrm>
          <a:off x="0" y="0"/>
          <a:ext cx="0" cy="0"/>
          <a:chOff x="0" y="0"/>
          <a:chExt cx="0" cy="0"/>
        </a:xfrm>
      </p:grpSpPr>
      <p:sp>
        <p:nvSpPr>
          <p:cNvPr id="6853" name="Google Shape;6853;p5696"/>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6854" name="Google Shape;6854;p569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855" name="Google Shape;6855;p5696"/>
          <p:cNvGrpSpPr/>
          <p:nvPr/>
        </p:nvGrpSpPr>
        <p:grpSpPr>
          <a:xfrm>
            <a:off x="0" y="5379427"/>
            <a:ext cx="2807368" cy="753891"/>
            <a:chOff x="0" y="5379426"/>
            <a:chExt cx="2807368" cy="753891"/>
          </a:xfrm>
        </p:grpSpPr>
        <p:sp>
          <p:nvSpPr>
            <p:cNvPr id="6856" name="Google Shape;6856;p569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6857" name="Google Shape;6857;p569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700"/>
                <a:buFont typeface="Arial"/>
                <a:buNone/>
              </a:pPr>
              <a:endParaRPr sz="1800" b="0" i="0" u="none" strike="noStrike" cap="none">
                <a:solidFill>
                  <a:schemeClr val="lt1"/>
                </a:solidFill>
                <a:latin typeface="Calibri"/>
                <a:ea typeface="Calibri"/>
                <a:cs typeface="Calibri"/>
                <a:sym typeface="Calibri"/>
              </a:endParaRPr>
            </a:p>
          </p:txBody>
        </p:sp>
      </p:grpSp>
      <p:sp>
        <p:nvSpPr>
          <p:cNvPr id="6858" name="Google Shape;6858;p5696"/>
          <p:cNvSpPr>
            <a:spLocks noGrp="1"/>
          </p:cNvSpPr>
          <p:nvPr>
            <p:ph type="pic" idx="2"/>
          </p:nvPr>
        </p:nvSpPr>
        <p:spPr>
          <a:xfrm>
            <a:off x="2807368" y="457202"/>
            <a:ext cx="8915400" cy="5943598"/>
          </a:xfrm>
          <a:prstGeom prst="rect">
            <a:avLst/>
          </a:prstGeom>
          <a:noFill/>
          <a:ln>
            <a:noFill/>
          </a:ln>
        </p:spPr>
      </p:sp>
      <p:pic>
        <p:nvPicPr>
          <p:cNvPr id="6859" name="Google Shape;6859;p5696"/>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013883309"/>
      </p:ext>
    </p:extLst>
  </p:cSld>
  <p:clrMapOvr>
    <a:masterClrMapping/>
  </p:clrMapOvr>
</p:sldLayout>
</file>

<file path=ppt/slideLayouts/slideLayout1868.xml><?xml version="1.0" encoding="utf-8"?>
<p:sldLayout xmlns:a="http://schemas.openxmlformats.org/drawingml/2006/main" xmlns:r="http://schemas.openxmlformats.org/officeDocument/2006/relationships" xmlns:p="http://schemas.openxmlformats.org/presentationml/2006/main" matchingName="6_Title Slide">
  <p:cSld name="6_Title Slide">
    <p:spTree>
      <p:nvGrpSpPr>
        <p:cNvPr id="1" name="Shape 6860"/>
        <p:cNvGrpSpPr/>
        <p:nvPr/>
      </p:nvGrpSpPr>
      <p:grpSpPr>
        <a:xfrm>
          <a:off x="0" y="0"/>
          <a:ext cx="0" cy="0"/>
          <a:chOff x="0" y="0"/>
          <a:chExt cx="0" cy="0"/>
        </a:xfrm>
      </p:grpSpPr>
      <p:pic>
        <p:nvPicPr>
          <p:cNvPr id="6861" name="Google Shape;6861;p5697"/>
          <p:cNvPicPr preferRelativeResize="0"/>
          <p:nvPr/>
        </p:nvPicPr>
        <p:blipFill rotWithShape="1">
          <a:blip r:embed="rId2">
            <a:alphaModFix/>
          </a:blip>
          <a:srcRect/>
          <a:stretch/>
        </p:blipFill>
        <p:spPr>
          <a:xfrm>
            <a:off x="1524" y="858"/>
            <a:ext cx="12188952" cy="6856285"/>
          </a:xfrm>
          <a:prstGeom prst="rect">
            <a:avLst/>
          </a:prstGeom>
          <a:noFill/>
          <a:ln>
            <a:noFill/>
          </a:ln>
        </p:spPr>
      </p:pic>
      <p:pic>
        <p:nvPicPr>
          <p:cNvPr id="6862" name="Google Shape;6862;p5697"/>
          <p:cNvPicPr preferRelativeResize="0"/>
          <p:nvPr/>
        </p:nvPicPr>
        <p:blipFill rotWithShape="1">
          <a:blip r:embed="rId3">
            <a:alphaModFix/>
          </a:blip>
          <a:srcRect/>
          <a:stretch/>
        </p:blipFill>
        <p:spPr>
          <a:xfrm>
            <a:off x="10802516" y="5915004"/>
            <a:ext cx="938786" cy="493777"/>
          </a:xfrm>
          <a:prstGeom prst="rect">
            <a:avLst/>
          </a:prstGeom>
          <a:noFill/>
          <a:ln>
            <a:noFill/>
          </a:ln>
        </p:spPr>
      </p:pic>
      <p:sp>
        <p:nvSpPr>
          <p:cNvPr id="6863" name="Google Shape;6863;p5697"/>
          <p:cNvSpPr txBox="1">
            <a:spLocks noGrp="1"/>
          </p:cNvSpPr>
          <p:nvPr>
            <p:ph type="body" idx="1"/>
          </p:nvPr>
        </p:nvSpPr>
        <p:spPr>
          <a:xfrm>
            <a:off x="7459663" y="3429000"/>
            <a:ext cx="4180795" cy="110285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0"/>
              </a:spcBef>
              <a:spcAft>
                <a:spcPts val="0"/>
              </a:spcAft>
              <a:buSzPts val="6000"/>
              <a:buNone/>
              <a:defRPr sz="4000">
                <a:solidFill>
                  <a:schemeClr val="dk2"/>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864" name="Google Shape;6864;p5697"/>
          <p:cNvSpPr txBox="1">
            <a:spLocks noGrp="1"/>
          </p:cNvSpPr>
          <p:nvPr>
            <p:ph type="body" idx="2"/>
          </p:nvPr>
        </p:nvSpPr>
        <p:spPr>
          <a:xfrm>
            <a:off x="7459662" y="4775654"/>
            <a:ext cx="4180795" cy="783318"/>
          </a:xfrm>
          <a:prstGeom prst="rect">
            <a:avLst/>
          </a:prstGeom>
          <a:noFill/>
          <a:ln>
            <a:noFill/>
          </a:ln>
        </p:spPr>
        <p:txBody>
          <a:bodyPr spcFirstLastPara="1" wrap="square" lIns="91425" tIns="45700" rIns="91425" bIns="45700" anchor="t" anchorCtr="0">
            <a:normAutofit/>
          </a:bodyPr>
          <a:lstStyle>
            <a:lvl1pPr marL="304815" lvl="0" indent="-152408" algn="l">
              <a:lnSpc>
                <a:spcPct val="100000"/>
              </a:lnSpc>
              <a:spcBef>
                <a:spcPts val="1000"/>
              </a:spcBef>
              <a:spcAft>
                <a:spcPts val="0"/>
              </a:spcAft>
              <a:buSzPts val="3000"/>
              <a:buNone/>
              <a:defRPr sz="2000">
                <a:solidFill>
                  <a:schemeClr val="lt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708461496"/>
      </p:ext>
    </p:extLst>
  </p:cSld>
  <p:clrMapOvr>
    <a:masterClrMapping/>
  </p:clrMapOvr>
</p:sldLayout>
</file>

<file path=ppt/slideLayouts/slideLayout1869.xml><?xml version="1.0" encoding="utf-8"?>
<p:sldLayout xmlns:a="http://schemas.openxmlformats.org/drawingml/2006/main" xmlns:r="http://schemas.openxmlformats.org/officeDocument/2006/relationships" xmlns:p="http://schemas.openxmlformats.org/presentationml/2006/main" matchingName="Image Left">
  <p:cSld name="Image Left">
    <p:spTree>
      <p:nvGrpSpPr>
        <p:cNvPr id="1" name="Shape 6865"/>
        <p:cNvGrpSpPr/>
        <p:nvPr/>
      </p:nvGrpSpPr>
      <p:grpSpPr>
        <a:xfrm>
          <a:off x="0" y="0"/>
          <a:ext cx="0" cy="0"/>
          <a:chOff x="0" y="0"/>
          <a:chExt cx="0" cy="0"/>
        </a:xfrm>
      </p:grpSpPr>
      <p:pic>
        <p:nvPicPr>
          <p:cNvPr id="6866" name="Google Shape;6866;p5698"/>
          <p:cNvPicPr preferRelativeResize="0"/>
          <p:nvPr/>
        </p:nvPicPr>
        <p:blipFill rotWithShape="1">
          <a:blip r:embed="rId2">
            <a:alphaModFix/>
          </a:blip>
          <a:srcRect/>
          <a:stretch/>
        </p:blipFill>
        <p:spPr>
          <a:xfrm>
            <a:off x="1524" y="858"/>
            <a:ext cx="12188952" cy="6856284"/>
          </a:xfrm>
          <a:prstGeom prst="rect">
            <a:avLst/>
          </a:prstGeom>
          <a:noFill/>
          <a:ln>
            <a:noFill/>
          </a:ln>
        </p:spPr>
      </p:pic>
      <p:sp>
        <p:nvSpPr>
          <p:cNvPr id="6867" name="Google Shape;6867;p5698"/>
          <p:cNvSpPr txBox="1">
            <a:spLocks noGrp="1"/>
          </p:cNvSpPr>
          <p:nvPr>
            <p:ph type="title"/>
          </p:nvPr>
        </p:nvSpPr>
        <p:spPr>
          <a:xfrm>
            <a:off x="6905174" y="365130"/>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54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68" name="Google Shape;6868;p569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solidFill>
                  <a:srgbClr val="59CBE8"/>
                </a:solidFill>
              </a:defRPr>
            </a:lvl1pPr>
            <a:lvl2pPr marL="0" lvl="1" indent="0" algn="r">
              <a:lnSpc>
                <a:spcPct val="100000"/>
              </a:lnSpc>
              <a:spcBef>
                <a:spcPts val="0"/>
              </a:spcBef>
              <a:spcAft>
                <a:spcPts val="0"/>
              </a:spcAft>
              <a:buNone/>
              <a:defRPr>
                <a:solidFill>
                  <a:srgbClr val="59CBE8"/>
                </a:solidFill>
              </a:defRPr>
            </a:lvl2pPr>
            <a:lvl3pPr marL="0" lvl="2" indent="0" algn="r">
              <a:lnSpc>
                <a:spcPct val="100000"/>
              </a:lnSpc>
              <a:spcBef>
                <a:spcPts val="0"/>
              </a:spcBef>
              <a:spcAft>
                <a:spcPts val="0"/>
              </a:spcAft>
              <a:buNone/>
              <a:defRPr>
                <a:solidFill>
                  <a:srgbClr val="59CBE8"/>
                </a:solidFill>
              </a:defRPr>
            </a:lvl3pPr>
            <a:lvl4pPr marL="0" lvl="3" indent="0" algn="r">
              <a:lnSpc>
                <a:spcPct val="100000"/>
              </a:lnSpc>
              <a:spcBef>
                <a:spcPts val="0"/>
              </a:spcBef>
              <a:spcAft>
                <a:spcPts val="0"/>
              </a:spcAft>
              <a:buNone/>
              <a:defRPr>
                <a:solidFill>
                  <a:srgbClr val="59CBE8"/>
                </a:solidFill>
              </a:defRPr>
            </a:lvl4pPr>
            <a:lvl5pPr marL="0" lvl="4" indent="0" algn="r">
              <a:lnSpc>
                <a:spcPct val="100000"/>
              </a:lnSpc>
              <a:spcBef>
                <a:spcPts val="0"/>
              </a:spcBef>
              <a:spcAft>
                <a:spcPts val="0"/>
              </a:spcAft>
              <a:buNone/>
              <a:defRPr>
                <a:solidFill>
                  <a:srgbClr val="59CBE8"/>
                </a:solidFill>
              </a:defRPr>
            </a:lvl5pPr>
            <a:lvl6pPr marL="0" lvl="5" indent="0" algn="r">
              <a:lnSpc>
                <a:spcPct val="100000"/>
              </a:lnSpc>
              <a:spcBef>
                <a:spcPts val="0"/>
              </a:spcBef>
              <a:spcAft>
                <a:spcPts val="0"/>
              </a:spcAft>
              <a:buNone/>
              <a:defRPr>
                <a:solidFill>
                  <a:srgbClr val="59CBE8"/>
                </a:solidFill>
              </a:defRPr>
            </a:lvl6pPr>
            <a:lvl7pPr marL="0" lvl="6" indent="0" algn="r">
              <a:lnSpc>
                <a:spcPct val="100000"/>
              </a:lnSpc>
              <a:spcBef>
                <a:spcPts val="0"/>
              </a:spcBef>
              <a:spcAft>
                <a:spcPts val="0"/>
              </a:spcAft>
              <a:buNone/>
              <a:defRPr>
                <a:solidFill>
                  <a:srgbClr val="59CBE8"/>
                </a:solidFill>
              </a:defRPr>
            </a:lvl7pPr>
            <a:lvl8pPr marL="0" lvl="7" indent="0" algn="r">
              <a:lnSpc>
                <a:spcPct val="100000"/>
              </a:lnSpc>
              <a:spcBef>
                <a:spcPts val="0"/>
              </a:spcBef>
              <a:spcAft>
                <a:spcPts val="0"/>
              </a:spcAft>
              <a:buNone/>
              <a:defRPr>
                <a:solidFill>
                  <a:srgbClr val="59CBE8"/>
                </a:solidFill>
              </a:defRPr>
            </a:lvl8pPr>
            <a:lvl9pPr marL="0" lvl="8" indent="0" algn="r">
              <a:lnSpc>
                <a:spcPct val="100000"/>
              </a:lnSpc>
              <a:spcBef>
                <a:spcPts val="0"/>
              </a:spcBef>
              <a:spcAft>
                <a:spcPts val="0"/>
              </a:spcAft>
              <a:buNone/>
              <a:defRPr>
                <a:solidFill>
                  <a:srgbClr val="59CBE8"/>
                </a:solidFil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6869" name="Google Shape;6869;p5698"/>
          <p:cNvSpPr txBox="1">
            <a:spLocks noGrp="1"/>
          </p:cNvSpPr>
          <p:nvPr>
            <p:ph type="body" idx="1"/>
          </p:nvPr>
        </p:nvSpPr>
        <p:spPr>
          <a:xfrm>
            <a:off x="6905174" y="1825630"/>
            <a:ext cx="4927259" cy="4016375"/>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4696834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6">
    <p:spTree>
      <p:nvGrpSpPr>
        <p:cNvPr id="1" name="Shape 10861"/>
        <p:cNvGrpSpPr/>
        <p:nvPr/>
      </p:nvGrpSpPr>
      <p:grpSpPr>
        <a:xfrm>
          <a:off x="0" y="0"/>
          <a:ext cx="0" cy="0"/>
          <a:chOff x="0" y="0"/>
          <a:chExt cx="0" cy="0"/>
        </a:xfrm>
      </p:grpSpPr>
      <p:sp>
        <p:nvSpPr>
          <p:cNvPr id="10862" name="Google Shape;10862;p149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63" name="Google Shape;10863;p149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864" name="Google Shape;10864;p149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0865" name="Google Shape;10865;p14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866" name="Google Shape;10866;p14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0867" name="Google Shape;10867;p149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0868" name="Google Shape;10868;p149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0869" name="Google Shape;10869;p149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870" name="Google Shape;10870;p1491"/>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870.xml><?xml version="1.0" encoding="utf-8"?>
<p:sldLayout xmlns:a="http://schemas.openxmlformats.org/drawingml/2006/main" xmlns:r="http://schemas.openxmlformats.org/officeDocument/2006/relationships" xmlns:p="http://schemas.openxmlformats.org/presentationml/2006/main" matchingName="Breaker-4">
  <p:cSld name="Breaker-4">
    <p:spTree>
      <p:nvGrpSpPr>
        <p:cNvPr id="1" name="Shape 6870"/>
        <p:cNvGrpSpPr/>
        <p:nvPr/>
      </p:nvGrpSpPr>
      <p:grpSpPr>
        <a:xfrm>
          <a:off x="0" y="0"/>
          <a:ext cx="0" cy="0"/>
          <a:chOff x="0" y="0"/>
          <a:chExt cx="0" cy="0"/>
        </a:xfrm>
      </p:grpSpPr>
      <p:pic>
        <p:nvPicPr>
          <p:cNvPr id="6871" name="Google Shape;6871;p5699"/>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6872" name="Google Shape;6872;p5699"/>
          <p:cNvPicPr preferRelativeResize="0"/>
          <p:nvPr/>
        </p:nvPicPr>
        <p:blipFill rotWithShape="1">
          <a:blip r:embed="rId3">
            <a:alphaModFix/>
          </a:blip>
          <a:srcRect l="44353" t="41308" r="41308" b="44537"/>
          <a:stretch/>
        </p:blipFill>
        <p:spPr>
          <a:xfrm>
            <a:off x="10425153" y="5894636"/>
            <a:ext cx="1312781" cy="562270"/>
          </a:xfrm>
          <a:prstGeom prst="rect">
            <a:avLst/>
          </a:prstGeom>
          <a:noFill/>
          <a:ln>
            <a:noFill/>
          </a:ln>
        </p:spPr>
      </p:pic>
      <p:sp>
        <p:nvSpPr>
          <p:cNvPr id="6873" name="Google Shape;6873;p5699"/>
          <p:cNvSpPr txBox="1">
            <a:spLocks noGrp="1"/>
          </p:cNvSpPr>
          <p:nvPr>
            <p:ph type="body" idx="1"/>
          </p:nvPr>
        </p:nvSpPr>
        <p:spPr>
          <a:xfrm>
            <a:off x="7459666" y="3429000"/>
            <a:ext cx="4180795" cy="110285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0"/>
              </a:spcBef>
              <a:spcAft>
                <a:spcPts val="0"/>
              </a:spcAft>
              <a:buSzPts val="5400"/>
              <a:buNone/>
              <a:defRPr sz="3600">
                <a:solidFill>
                  <a:schemeClr val="dk2"/>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874" name="Google Shape;6874;p5699"/>
          <p:cNvSpPr txBox="1">
            <a:spLocks noGrp="1"/>
          </p:cNvSpPr>
          <p:nvPr>
            <p:ph type="body" idx="2"/>
          </p:nvPr>
        </p:nvSpPr>
        <p:spPr>
          <a:xfrm>
            <a:off x="7459662" y="4775654"/>
            <a:ext cx="4180795" cy="783318"/>
          </a:xfrm>
          <a:prstGeom prst="rect">
            <a:avLst/>
          </a:prstGeom>
          <a:noFill/>
          <a:ln>
            <a:noFill/>
          </a:ln>
        </p:spPr>
        <p:txBody>
          <a:bodyPr spcFirstLastPara="1" wrap="square" lIns="91425" tIns="45700" rIns="91425" bIns="45700" anchor="t" anchorCtr="0">
            <a:normAutofit/>
          </a:bodyPr>
          <a:lstStyle>
            <a:lvl1pPr marL="304815" lvl="0" indent="-152408" algn="l">
              <a:lnSpc>
                <a:spcPct val="100000"/>
              </a:lnSpc>
              <a:spcBef>
                <a:spcPts val="1000"/>
              </a:spcBef>
              <a:spcAft>
                <a:spcPts val="0"/>
              </a:spcAft>
              <a:buSzPts val="2700"/>
              <a:buNone/>
              <a:defRPr sz="1800">
                <a:solidFill>
                  <a:schemeClr val="lt2"/>
                </a:solidFill>
                <a:latin typeface="Calibri"/>
                <a:ea typeface="Calibri"/>
                <a:cs typeface="Calibri"/>
                <a:sym typeface="Calibri"/>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43839189"/>
      </p:ext>
    </p:extLst>
  </p:cSld>
  <p:clrMapOvr>
    <a:masterClrMapping/>
  </p:clrMapOvr>
</p:sldLayout>
</file>

<file path=ppt/slideLayouts/slideLayout1871.xml><?xml version="1.0" encoding="utf-8"?>
<p:sldLayout xmlns:a="http://schemas.openxmlformats.org/drawingml/2006/main" xmlns:r="http://schemas.openxmlformats.org/officeDocument/2006/relationships" xmlns:p="http://schemas.openxmlformats.org/presentationml/2006/main" matchingName="1_Breaker-4">
  <p:cSld name="1_Breaker-4">
    <p:spTree>
      <p:nvGrpSpPr>
        <p:cNvPr id="1" name="Shape 6875"/>
        <p:cNvGrpSpPr/>
        <p:nvPr/>
      </p:nvGrpSpPr>
      <p:grpSpPr>
        <a:xfrm>
          <a:off x="0" y="0"/>
          <a:ext cx="0" cy="0"/>
          <a:chOff x="0" y="0"/>
          <a:chExt cx="0" cy="0"/>
        </a:xfrm>
      </p:grpSpPr>
      <p:pic>
        <p:nvPicPr>
          <p:cNvPr id="6876" name="Google Shape;6876;p5700"/>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6877" name="Google Shape;6877;p5700"/>
          <p:cNvPicPr preferRelativeResize="0"/>
          <p:nvPr/>
        </p:nvPicPr>
        <p:blipFill rotWithShape="1">
          <a:blip r:embed="rId3">
            <a:alphaModFix/>
          </a:blip>
          <a:srcRect/>
          <a:stretch/>
        </p:blipFill>
        <p:spPr>
          <a:xfrm>
            <a:off x="10425153" y="5894636"/>
            <a:ext cx="1312781" cy="562270"/>
          </a:xfrm>
          <a:prstGeom prst="rect">
            <a:avLst/>
          </a:prstGeom>
          <a:noFill/>
          <a:ln>
            <a:noFill/>
          </a:ln>
        </p:spPr>
      </p:pic>
      <p:sp>
        <p:nvSpPr>
          <p:cNvPr id="6878" name="Google Shape;6878;p5700"/>
          <p:cNvSpPr txBox="1">
            <a:spLocks noGrp="1"/>
          </p:cNvSpPr>
          <p:nvPr>
            <p:ph type="body" idx="1"/>
          </p:nvPr>
        </p:nvSpPr>
        <p:spPr>
          <a:xfrm>
            <a:off x="7459666" y="3429000"/>
            <a:ext cx="4180795" cy="110285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0"/>
              </a:spcBef>
              <a:spcAft>
                <a:spcPts val="0"/>
              </a:spcAft>
              <a:buSzPts val="5400"/>
              <a:buNone/>
              <a:defRPr sz="3600">
                <a:solidFill>
                  <a:schemeClr val="dk2"/>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879" name="Google Shape;6879;p5700"/>
          <p:cNvSpPr txBox="1">
            <a:spLocks noGrp="1"/>
          </p:cNvSpPr>
          <p:nvPr>
            <p:ph type="body" idx="2"/>
          </p:nvPr>
        </p:nvSpPr>
        <p:spPr>
          <a:xfrm>
            <a:off x="7459662" y="4775654"/>
            <a:ext cx="4180795" cy="783318"/>
          </a:xfrm>
          <a:prstGeom prst="rect">
            <a:avLst/>
          </a:prstGeom>
          <a:noFill/>
          <a:ln>
            <a:noFill/>
          </a:ln>
        </p:spPr>
        <p:txBody>
          <a:bodyPr spcFirstLastPara="1" wrap="square" lIns="91425" tIns="45700" rIns="91425" bIns="45700" anchor="t" anchorCtr="0">
            <a:normAutofit/>
          </a:bodyPr>
          <a:lstStyle>
            <a:lvl1pPr marL="304815" lvl="0" indent="-152408" algn="l">
              <a:lnSpc>
                <a:spcPct val="100000"/>
              </a:lnSpc>
              <a:spcBef>
                <a:spcPts val="1000"/>
              </a:spcBef>
              <a:spcAft>
                <a:spcPts val="0"/>
              </a:spcAft>
              <a:buSzPts val="2700"/>
              <a:buNone/>
              <a:defRPr sz="1800">
                <a:solidFill>
                  <a:schemeClr val="lt2"/>
                </a:solidFill>
                <a:latin typeface="Calibri"/>
                <a:ea typeface="Calibri"/>
                <a:cs typeface="Calibri"/>
                <a:sym typeface="Calibri"/>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928183502"/>
      </p:ext>
    </p:extLst>
  </p:cSld>
  <p:clrMapOvr>
    <a:masterClrMapping/>
  </p:clrMapOvr>
</p:sldLayout>
</file>

<file path=ppt/slideLayouts/slideLayout1872.xml><?xml version="1.0" encoding="utf-8"?>
<p:sldLayout xmlns:a="http://schemas.openxmlformats.org/drawingml/2006/main" xmlns:r="http://schemas.openxmlformats.org/officeDocument/2006/relationships" xmlns:p="http://schemas.openxmlformats.org/presentationml/2006/main" matchingName="47_Title and Content">
  <p:cSld name="47_Title and Content">
    <p:spTree>
      <p:nvGrpSpPr>
        <p:cNvPr id="1" name="Shape 6880"/>
        <p:cNvGrpSpPr/>
        <p:nvPr/>
      </p:nvGrpSpPr>
      <p:grpSpPr>
        <a:xfrm>
          <a:off x="0" y="0"/>
          <a:ext cx="0" cy="0"/>
          <a:chOff x="0" y="0"/>
          <a:chExt cx="0" cy="0"/>
        </a:xfrm>
      </p:grpSpPr>
      <p:pic>
        <p:nvPicPr>
          <p:cNvPr id="6881" name="Google Shape;6881;p5701"/>
          <p:cNvPicPr preferRelativeResize="0"/>
          <p:nvPr/>
        </p:nvPicPr>
        <p:blipFill rotWithShape="1">
          <a:blip r:embed="rId2">
            <a:alphaModFix/>
          </a:blip>
          <a:srcRect t="12181" r="12170"/>
          <a:stretch/>
        </p:blipFill>
        <p:spPr>
          <a:xfrm>
            <a:off x="1524" y="0"/>
            <a:ext cx="12190476" cy="6858000"/>
          </a:xfrm>
          <a:prstGeom prst="rect">
            <a:avLst/>
          </a:prstGeom>
          <a:noFill/>
          <a:ln>
            <a:noFill/>
          </a:ln>
        </p:spPr>
      </p:pic>
      <p:sp>
        <p:nvSpPr>
          <p:cNvPr id="6882" name="Google Shape;6882;p5701"/>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83" name="Google Shape;6883;p570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6884" name="Google Shape;6884;p5701"/>
          <p:cNvSpPr txBox="1">
            <a:spLocks noGrp="1"/>
          </p:cNvSpPr>
          <p:nvPr>
            <p:ph type="body" idx="1"/>
          </p:nvPr>
        </p:nvSpPr>
        <p:spPr>
          <a:xfrm>
            <a:off x="838200" y="1825626"/>
            <a:ext cx="10515600" cy="4016375"/>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829990686"/>
      </p:ext>
    </p:extLst>
  </p:cSld>
  <p:clrMapOvr>
    <a:masterClrMapping/>
  </p:clrMapOvr>
</p:sldLayout>
</file>

<file path=ppt/slideLayouts/slideLayout1873.xml><?xml version="1.0" encoding="utf-8"?>
<p:sldLayout xmlns:a="http://schemas.openxmlformats.org/drawingml/2006/main" xmlns:r="http://schemas.openxmlformats.org/officeDocument/2006/relationships" xmlns:p="http://schemas.openxmlformats.org/presentationml/2006/main" matchingName="Blue Graphic Right">
  <p:cSld name="Blue Graphic Right">
    <p:spTree>
      <p:nvGrpSpPr>
        <p:cNvPr id="1" name="Shape 6885"/>
        <p:cNvGrpSpPr/>
        <p:nvPr/>
      </p:nvGrpSpPr>
      <p:grpSpPr>
        <a:xfrm>
          <a:off x="0" y="0"/>
          <a:ext cx="0" cy="0"/>
          <a:chOff x="0" y="0"/>
          <a:chExt cx="0" cy="0"/>
        </a:xfrm>
      </p:grpSpPr>
      <p:pic>
        <p:nvPicPr>
          <p:cNvPr id="6886" name="Google Shape;6886;p5702"/>
          <p:cNvPicPr preferRelativeResize="0"/>
          <p:nvPr/>
        </p:nvPicPr>
        <p:blipFill rotWithShape="1">
          <a:blip r:embed="rId2">
            <a:alphaModFix/>
          </a:blip>
          <a:srcRect/>
          <a:stretch/>
        </p:blipFill>
        <p:spPr>
          <a:xfrm>
            <a:off x="0" y="0"/>
            <a:ext cx="12188952" cy="6858000"/>
          </a:xfrm>
          <a:prstGeom prst="rect">
            <a:avLst/>
          </a:prstGeom>
          <a:noFill/>
          <a:ln>
            <a:noFill/>
          </a:ln>
        </p:spPr>
      </p:pic>
      <p:sp>
        <p:nvSpPr>
          <p:cNvPr id="6887" name="Google Shape;6887;p5702"/>
          <p:cNvSpPr txBox="1">
            <a:spLocks noGrp="1"/>
          </p:cNvSpPr>
          <p:nvPr>
            <p:ph type="title"/>
          </p:nvPr>
        </p:nvSpPr>
        <p:spPr>
          <a:xfrm>
            <a:off x="838200" y="365126"/>
            <a:ext cx="6085114"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88" name="Google Shape;6888;p5702"/>
          <p:cNvSpPr txBox="1">
            <a:spLocks noGrp="1"/>
          </p:cNvSpPr>
          <p:nvPr>
            <p:ph type="body" idx="1"/>
          </p:nvPr>
        </p:nvSpPr>
        <p:spPr>
          <a:xfrm>
            <a:off x="838200" y="1825626"/>
            <a:ext cx="6085114" cy="4016375"/>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889" name="Google Shape;6889;p5702"/>
          <p:cNvSpPr txBox="1">
            <a:spLocks noGrp="1"/>
          </p:cNvSpPr>
          <p:nvPr>
            <p:ph type="sldNum" idx="12"/>
          </p:nvPr>
        </p:nvSpPr>
        <p:spPr>
          <a:xfrm>
            <a:off x="9292771" y="6464300"/>
            <a:ext cx="2539660" cy="181800"/>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extLst>
      <p:ext uri="{BB962C8B-B14F-4D97-AF65-F5344CB8AC3E}">
        <p14:creationId xmlns:p14="http://schemas.microsoft.com/office/powerpoint/2010/main" val="2999727831"/>
      </p:ext>
    </p:extLst>
  </p:cSld>
  <p:clrMapOvr>
    <a:masterClrMapping/>
  </p:clrMapOvr>
</p:sldLayout>
</file>

<file path=ppt/slideLayouts/slideLayout1874.xml><?xml version="1.0" encoding="utf-8"?>
<p:sldLayout xmlns:a="http://schemas.openxmlformats.org/drawingml/2006/main" xmlns:r="http://schemas.openxmlformats.org/officeDocument/2006/relationships" xmlns:p="http://schemas.openxmlformats.org/presentationml/2006/main" matchingName="3-Closing Slide">
  <p:cSld name="3-Closing Slide">
    <p:spTree>
      <p:nvGrpSpPr>
        <p:cNvPr id="1" name="Shape 6890"/>
        <p:cNvGrpSpPr/>
        <p:nvPr/>
      </p:nvGrpSpPr>
      <p:grpSpPr>
        <a:xfrm>
          <a:off x="0" y="0"/>
          <a:ext cx="0" cy="0"/>
          <a:chOff x="0" y="0"/>
          <a:chExt cx="0" cy="0"/>
        </a:xfrm>
      </p:grpSpPr>
      <p:pic>
        <p:nvPicPr>
          <p:cNvPr id="6891" name="Google Shape;6891;p5703"/>
          <p:cNvPicPr preferRelativeResize="0"/>
          <p:nvPr/>
        </p:nvPicPr>
        <p:blipFill rotWithShape="1">
          <a:blip r:embed="rId2">
            <a:alphaModFix/>
          </a:blip>
          <a:srcRect/>
          <a:stretch/>
        </p:blipFill>
        <p:spPr>
          <a:xfrm>
            <a:off x="1524" y="0"/>
            <a:ext cx="12188952" cy="6858000"/>
          </a:xfrm>
          <a:prstGeom prst="rect">
            <a:avLst/>
          </a:prstGeom>
          <a:noFill/>
          <a:ln>
            <a:noFill/>
          </a:ln>
        </p:spPr>
      </p:pic>
      <p:pic>
        <p:nvPicPr>
          <p:cNvPr id="6892" name="Google Shape;6892;p5703"/>
          <p:cNvPicPr preferRelativeResize="0"/>
          <p:nvPr/>
        </p:nvPicPr>
        <p:blipFill rotWithShape="1">
          <a:blip r:embed="rId3">
            <a:alphaModFix/>
          </a:blip>
          <a:srcRect/>
          <a:stretch/>
        </p:blipFill>
        <p:spPr>
          <a:xfrm>
            <a:off x="5185224" y="2949957"/>
            <a:ext cx="1821552" cy="958089"/>
          </a:xfrm>
          <a:prstGeom prst="rect">
            <a:avLst/>
          </a:prstGeom>
          <a:noFill/>
          <a:ln>
            <a:noFill/>
          </a:ln>
        </p:spPr>
      </p:pic>
    </p:spTree>
    <p:extLst>
      <p:ext uri="{BB962C8B-B14F-4D97-AF65-F5344CB8AC3E}">
        <p14:creationId xmlns:p14="http://schemas.microsoft.com/office/powerpoint/2010/main" val="4243682499"/>
      </p:ext>
    </p:extLst>
  </p:cSld>
  <p:clrMapOvr>
    <a:masterClrMapping/>
  </p:clrMapOvr>
</p:sldLayout>
</file>

<file path=ppt/slideLayouts/slideLayout1875.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6893"/>
        <p:cNvGrpSpPr/>
        <p:nvPr/>
      </p:nvGrpSpPr>
      <p:grpSpPr>
        <a:xfrm>
          <a:off x="0" y="0"/>
          <a:ext cx="0" cy="0"/>
          <a:chOff x="0" y="0"/>
          <a:chExt cx="0" cy="0"/>
        </a:xfrm>
      </p:grpSpPr>
      <p:pic>
        <p:nvPicPr>
          <p:cNvPr id="6894" name="Google Shape;6894;p5704"/>
          <p:cNvPicPr preferRelativeResize="0"/>
          <p:nvPr/>
        </p:nvPicPr>
        <p:blipFill rotWithShape="1">
          <a:blip r:embed="rId2">
            <a:alphaModFix/>
          </a:blip>
          <a:srcRect/>
          <a:stretch/>
        </p:blipFill>
        <p:spPr>
          <a:xfrm>
            <a:off x="1524" y="858"/>
            <a:ext cx="12188952" cy="6856285"/>
          </a:xfrm>
          <a:prstGeom prst="rect">
            <a:avLst/>
          </a:prstGeom>
          <a:noFill/>
          <a:ln>
            <a:noFill/>
          </a:ln>
        </p:spPr>
      </p:pic>
      <p:pic>
        <p:nvPicPr>
          <p:cNvPr id="6895" name="Google Shape;6895;p5704"/>
          <p:cNvPicPr preferRelativeResize="0"/>
          <p:nvPr/>
        </p:nvPicPr>
        <p:blipFill rotWithShape="1">
          <a:blip r:embed="rId3">
            <a:alphaModFix/>
          </a:blip>
          <a:srcRect/>
          <a:stretch/>
        </p:blipFill>
        <p:spPr>
          <a:xfrm>
            <a:off x="10802516" y="5915004"/>
            <a:ext cx="938786" cy="493777"/>
          </a:xfrm>
          <a:prstGeom prst="rect">
            <a:avLst/>
          </a:prstGeom>
          <a:noFill/>
          <a:ln>
            <a:noFill/>
          </a:ln>
        </p:spPr>
      </p:pic>
      <p:sp>
        <p:nvSpPr>
          <p:cNvPr id="6896" name="Google Shape;6896;p5704"/>
          <p:cNvSpPr txBox="1">
            <a:spLocks noGrp="1"/>
          </p:cNvSpPr>
          <p:nvPr>
            <p:ph type="body" idx="1"/>
          </p:nvPr>
        </p:nvSpPr>
        <p:spPr>
          <a:xfrm>
            <a:off x="7459663" y="3429000"/>
            <a:ext cx="4180795" cy="110285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0"/>
              </a:spcBef>
              <a:spcAft>
                <a:spcPts val="0"/>
              </a:spcAft>
              <a:buSzPts val="6000"/>
              <a:buNone/>
              <a:defRPr sz="4000">
                <a:solidFill>
                  <a:schemeClr val="dk2"/>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897" name="Google Shape;6897;p5704"/>
          <p:cNvSpPr txBox="1">
            <a:spLocks noGrp="1"/>
          </p:cNvSpPr>
          <p:nvPr>
            <p:ph type="body" idx="2"/>
          </p:nvPr>
        </p:nvSpPr>
        <p:spPr>
          <a:xfrm>
            <a:off x="7459662" y="4775654"/>
            <a:ext cx="4180795" cy="783318"/>
          </a:xfrm>
          <a:prstGeom prst="rect">
            <a:avLst/>
          </a:prstGeom>
          <a:noFill/>
          <a:ln>
            <a:noFill/>
          </a:ln>
        </p:spPr>
        <p:txBody>
          <a:bodyPr spcFirstLastPara="1" wrap="square" lIns="91425" tIns="45700" rIns="91425" bIns="45700" anchor="t" anchorCtr="0">
            <a:normAutofit/>
          </a:bodyPr>
          <a:lstStyle>
            <a:lvl1pPr marL="304815" lvl="0" indent="-152408" algn="l">
              <a:lnSpc>
                <a:spcPct val="100000"/>
              </a:lnSpc>
              <a:spcBef>
                <a:spcPts val="1000"/>
              </a:spcBef>
              <a:spcAft>
                <a:spcPts val="0"/>
              </a:spcAft>
              <a:buSzPts val="3000"/>
              <a:buNone/>
              <a:defRPr sz="2000">
                <a:solidFill>
                  <a:schemeClr val="lt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358507929"/>
      </p:ext>
    </p:extLst>
  </p:cSld>
  <p:clrMapOvr>
    <a:masterClrMapping/>
  </p:clrMapOvr>
</p:sldLayout>
</file>

<file path=ppt/slideLayouts/slideLayout1876.xml><?xml version="1.0" encoding="utf-8"?>
<p:sldLayout xmlns:a="http://schemas.openxmlformats.org/drawingml/2006/main" xmlns:r="http://schemas.openxmlformats.org/officeDocument/2006/relationships" xmlns:p="http://schemas.openxmlformats.org/presentationml/2006/main" matchingName="48_Title and Content">
  <p:cSld name="48_Title and Content">
    <p:spTree>
      <p:nvGrpSpPr>
        <p:cNvPr id="1" name="Shape 6898"/>
        <p:cNvGrpSpPr/>
        <p:nvPr/>
      </p:nvGrpSpPr>
      <p:grpSpPr>
        <a:xfrm>
          <a:off x="0" y="0"/>
          <a:ext cx="0" cy="0"/>
          <a:chOff x="0" y="0"/>
          <a:chExt cx="0" cy="0"/>
        </a:xfrm>
      </p:grpSpPr>
      <p:pic>
        <p:nvPicPr>
          <p:cNvPr id="6899" name="Google Shape;6899;p5705"/>
          <p:cNvPicPr preferRelativeResize="0"/>
          <p:nvPr/>
        </p:nvPicPr>
        <p:blipFill rotWithShape="1">
          <a:blip r:embed="rId2">
            <a:alphaModFix/>
          </a:blip>
          <a:srcRect/>
          <a:stretch/>
        </p:blipFill>
        <p:spPr>
          <a:xfrm>
            <a:off x="2119" y="762"/>
            <a:ext cx="12189292" cy="6856476"/>
          </a:xfrm>
          <a:prstGeom prst="rect">
            <a:avLst/>
          </a:prstGeom>
          <a:noFill/>
          <a:ln>
            <a:noFill/>
          </a:ln>
        </p:spPr>
      </p:pic>
      <p:sp>
        <p:nvSpPr>
          <p:cNvPr id="6900" name="Google Shape;6900;p5705"/>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54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01" name="Google Shape;6901;p570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solidFill>
                  <a:srgbClr val="59CBE8"/>
                </a:solidFill>
              </a:defRPr>
            </a:lvl1pPr>
            <a:lvl2pPr marL="0" lvl="1" indent="0" algn="r">
              <a:lnSpc>
                <a:spcPct val="100000"/>
              </a:lnSpc>
              <a:spcBef>
                <a:spcPts val="0"/>
              </a:spcBef>
              <a:spcAft>
                <a:spcPts val="0"/>
              </a:spcAft>
              <a:buNone/>
              <a:defRPr>
                <a:solidFill>
                  <a:srgbClr val="59CBE8"/>
                </a:solidFill>
              </a:defRPr>
            </a:lvl2pPr>
            <a:lvl3pPr marL="0" lvl="2" indent="0" algn="r">
              <a:lnSpc>
                <a:spcPct val="100000"/>
              </a:lnSpc>
              <a:spcBef>
                <a:spcPts val="0"/>
              </a:spcBef>
              <a:spcAft>
                <a:spcPts val="0"/>
              </a:spcAft>
              <a:buNone/>
              <a:defRPr>
                <a:solidFill>
                  <a:srgbClr val="59CBE8"/>
                </a:solidFill>
              </a:defRPr>
            </a:lvl3pPr>
            <a:lvl4pPr marL="0" lvl="3" indent="0" algn="r">
              <a:lnSpc>
                <a:spcPct val="100000"/>
              </a:lnSpc>
              <a:spcBef>
                <a:spcPts val="0"/>
              </a:spcBef>
              <a:spcAft>
                <a:spcPts val="0"/>
              </a:spcAft>
              <a:buNone/>
              <a:defRPr>
                <a:solidFill>
                  <a:srgbClr val="59CBE8"/>
                </a:solidFill>
              </a:defRPr>
            </a:lvl4pPr>
            <a:lvl5pPr marL="0" lvl="4" indent="0" algn="r">
              <a:lnSpc>
                <a:spcPct val="100000"/>
              </a:lnSpc>
              <a:spcBef>
                <a:spcPts val="0"/>
              </a:spcBef>
              <a:spcAft>
                <a:spcPts val="0"/>
              </a:spcAft>
              <a:buNone/>
              <a:defRPr>
                <a:solidFill>
                  <a:srgbClr val="59CBE8"/>
                </a:solidFill>
              </a:defRPr>
            </a:lvl5pPr>
            <a:lvl6pPr marL="0" lvl="5" indent="0" algn="r">
              <a:lnSpc>
                <a:spcPct val="100000"/>
              </a:lnSpc>
              <a:spcBef>
                <a:spcPts val="0"/>
              </a:spcBef>
              <a:spcAft>
                <a:spcPts val="0"/>
              </a:spcAft>
              <a:buNone/>
              <a:defRPr>
                <a:solidFill>
                  <a:srgbClr val="59CBE8"/>
                </a:solidFill>
              </a:defRPr>
            </a:lvl6pPr>
            <a:lvl7pPr marL="0" lvl="6" indent="0" algn="r">
              <a:lnSpc>
                <a:spcPct val="100000"/>
              </a:lnSpc>
              <a:spcBef>
                <a:spcPts val="0"/>
              </a:spcBef>
              <a:spcAft>
                <a:spcPts val="0"/>
              </a:spcAft>
              <a:buNone/>
              <a:defRPr>
                <a:solidFill>
                  <a:srgbClr val="59CBE8"/>
                </a:solidFill>
              </a:defRPr>
            </a:lvl7pPr>
            <a:lvl8pPr marL="0" lvl="7" indent="0" algn="r">
              <a:lnSpc>
                <a:spcPct val="100000"/>
              </a:lnSpc>
              <a:spcBef>
                <a:spcPts val="0"/>
              </a:spcBef>
              <a:spcAft>
                <a:spcPts val="0"/>
              </a:spcAft>
              <a:buNone/>
              <a:defRPr>
                <a:solidFill>
                  <a:srgbClr val="59CBE8"/>
                </a:solidFill>
              </a:defRPr>
            </a:lvl8pPr>
            <a:lvl9pPr marL="0" lvl="8" indent="0" algn="r">
              <a:lnSpc>
                <a:spcPct val="100000"/>
              </a:lnSpc>
              <a:spcBef>
                <a:spcPts val="0"/>
              </a:spcBef>
              <a:spcAft>
                <a:spcPts val="0"/>
              </a:spcAft>
              <a:buNone/>
              <a:defRPr>
                <a:solidFill>
                  <a:srgbClr val="59CBE8"/>
                </a:solidFil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6902" name="Google Shape;6902;p5705"/>
          <p:cNvSpPr txBox="1">
            <a:spLocks noGrp="1"/>
          </p:cNvSpPr>
          <p:nvPr>
            <p:ph type="body" idx="1"/>
          </p:nvPr>
        </p:nvSpPr>
        <p:spPr>
          <a:xfrm>
            <a:off x="838200" y="1825630"/>
            <a:ext cx="10515600" cy="4016375"/>
          </a:xfrm>
          <a:prstGeom prst="rect">
            <a:avLst/>
          </a:prstGeom>
          <a:noFill/>
          <a:ln>
            <a:noFill/>
          </a:ln>
        </p:spPr>
        <p:txBody>
          <a:bodyPr spcFirstLastPara="1" wrap="square" lIns="91425" tIns="45700" rIns="91425" bIns="45700" anchor="t" anchorCtr="0">
            <a:noAutofit/>
          </a:bodyPr>
          <a:lstStyle>
            <a:lvl1pPr marL="304815" lvl="0" indent="-304815" algn="l">
              <a:lnSpc>
                <a:spcPct val="100000"/>
              </a:lnSpc>
              <a:spcBef>
                <a:spcPts val="1000"/>
              </a:spcBef>
              <a:spcAft>
                <a:spcPts val="0"/>
              </a:spcAft>
              <a:buSzPts val="3600"/>
              <a:buChar char="•"/>
              <a:defRPr/>
            </a:lvl1pPr>
            <a:lvl2pPr marL="609630" lvl="1" indent="-279414" algn="l">
              <a:lnSpc>
                <a:spcPct val="100000"/>
              </a:lnSpc>
              <a:spcBef>
                <a:spcPts val="1000"/>
              </a:spcBef>
              <a:spcAft>
                <a:spcPts val="0"/>
              </a:spcAft>
              <a:buSzPts val="30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806658163"/>
      </p:ext>
    </p:extLst>
  </p:cSld>
  <p:clrMapOvr>
    <a:masterClrMapping/>
  </p:clrMapOvr>
</p:sldLayout>
</file>

<file path=ppt/slideLayouts/slideLayout1877.xml><?xml version="1.0" encoding="utf-8"?>
<p:sldLayout xmlns:a="http://schemas.openxmlformats.org/drawingml/2006/main" xmlns:r="http://schemas.openxmlformats.org/officeDocument/2006/relationships" xmlns:p="http://schemas.openxmlformats.org/presentationml/2006/main" matchingName="1_Image Left">
  <p:cSld name="1_Image Left">
    <p:spTree>
      <p:nvGrpSpPr>
        <p:cNvPr id="1" name="Shape 6903"/>
        <p:cNvGrpSpPr/>
        <p:nvPr/>
      </p:nvGrpSpPr>
      <p:grpSpPr>
        <a:xfrm>
          <a:off x="0" y="0"/>
          <a:ext cx="0" cy="0"/>
          <a:chOff x="0" y="0"/>
          <a:chExt cx="0" cy="0"/>
        </a:xfrm>
      </p:grpSpPr>
      <p:pic>
        <p:nvPicPr>
          <p:cNvPr id="6904" name="Google Shape;6904;p5706"/>
          <p:cNvPicPr preferRelativeResize="0"/>
          <p:nvPr/>
        </p:nvPicPr>
        <p:blipFill rotWithShape="1">
          <a:blip r:embed="rId2">
            <a:alphaModFix/>
          </a:blip>
          <a:srcRect/>
          <a:stretch/>
        </p:blipFill>
        <p:spPr>
          <a:xfrm>
            <a:off x="1524" y="858"/>
            <a:ext cx="12188952" cy="6856284"/>
          </a:xfrm>
          <a:prstGeom prst="rect">
            <a:avLst/>
          </a:prstGeom>
          <a:noFill/>
          <a:ln>
            <a:noFill/>
          </a:ln>
        </p:spPr>
      </p:pic>
      <p:sp>
        <p:nvSpPr>
          <p:cNvPr id="6905" name="Google Shape;6905;p5706"/>
          <p:cNvSpPr txBox="1">
            <a:spLocks noGrp="1"/>
          </p:cNvSpPr>
          <p:nvPr>
            <p:ph type="title"/>
          </p:nvPr>
        </p:nvSpPr>
        <p:spPr>
          <a:xfrm>
            <a:off x="6905174" y="365130"/>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54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06" name="Google Shape;6906;p570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solidFill>
                  <a:srgbClr val="59CBE8"/>
                </a:solidFill>
              </a:defRPr>
            </a:lvl1pPr>
            <a:lvl2pPr marL="0" lvl="1" indent="0" algn="r">
              <a:lnSpc>
                <a:spcPct val="100000"/>
              </a:lnSpc>
              <a:spcBef>
                <a:spcPts val="0"/>
              </a:spcBef>
              <a:spcAft>
                <a:spcPts val="0"/>
              </a:spcAft>
              <a:buNone/>
              <a:defRPr>
                <a:solidFill>
                  <a:srgbClr val="59CBE8"/>
                </a:solidFill>
              </a:defRPr>
            </a:lvl2pPr>
            <a:lvl3pPr marL="0" lvl="2" indent="0" algn="r">
              <a:lnSpc>
                <a:spcPct val="100000"/>
              </a:lnSpc>
              <a:spcBef>
                <a:spcPts val="0"/>
              </a:spcBef>
              <a:spcAft>
                <a:spcPts val="0"/>
              </a:spcAft>
              <a:buNone/>
              <a:defRPr>
                <a:solidFill>
                  <a:srgbClr val="59CBE8"/>
                </a:solidFill>
              </a:defRPr>
            </a:lvl3pPr>
            <a:lvl4pPr marL="0" lvl="3" indent="0" algn="r">
              <a:lnSpc>
                <a:spcPct val="100000"/>
              </a:lnSpc>
              <a:spcBef>
                <a:spcPts val="0"/>
              </a:spcBef>
              <a:spcAft>
                <a:spcPts val="0"/>
              </a:spcAft>
              <a:buNone/>
              <a:defRPr>
                <a:solidFill>
                  <a:srgbClr val="59CBE8"/>
                </a:solidFill>
              </a:defRPr>
            </a:lvl4pPr>
            <a:lvl5pPr marL="0" lvl="4" indent="0" algn="r">
              <a:lnSpc>
                <a:spcPct val="100000"/>
              </a:lnSpc>
              <a:spcBef>
                <a:spcPts val="0"/>
              </a:spcBef>
              <a:spcAft>
                <a:spcPts val="0"/>
              </a:spcAft>
              <a:buNone/>
              <a:defRPr>
                <a:solidFill>
                  <a:srgbClr val="59CBE8"/>
                </a:solidFill>
              </a:defRPr>
            </a:lvl5pPr>
            <a:lvl6pPr marL="0" lvl="5" indent="0" algn="r">
              <a:lnSpc>
                <a:spcPct val="100000"/>
              </a:lnSpc>
              <a:spcBef>
                <a:spcPts val="0"/>
              </a:spcBef>
              <a:spcAft>
                <a:spcPts val="0"/>
              </a:spcAft>
              <a:buNone/>
              <a:defRPr>
                <a:solidFill>
                  <a:srgbClr val="59CBE8"/>
                </a:solidFill>
              </a:defRPr>
            </a:lvl6pPr>
            <a:lvl7pPr marL="0" lvl="6" indent="0" algn="r">
              <a:lnSpc>
                <a:spcPct val="100000"/>
              </a:lnSpc>
              <a:spcBef>
                <a:spcPts val="0"/>
              </a:spcBef>
              <a:spcAft>
                <a:spcPts val="0"/>
              </a:spcAft>
              <a:buNone/>
              <a:defRPr>
                <a:solidFill>
                  <a:srgbClr val="59CBE8"/>
                </a:solidFill>
              </a:defRPr>
            </a:lvl7pPr>
            <a:lvl8pPr marL="0" lvl="7" indent="0" algn="r">
              <a:lnSpc>
                <a:spcPct val="100000"/>
              </a:lnSpc>
              <a:spcBef>
                <a:spcPts val="0"/>
              </a:spcBef>
              <a:spcAft>
                <a:spcPts val="0"/>
              </a:spcAft>
              <a:buNone/>
              <a:defRPr>
                <a:solidFill>
                  <a:srgbClr val="59CBE8"/>
                </a:solidFill>
              </a:defRPr>
            </a:lvl8pPr>
            <a:lvl9pPr marL="0" lvl="8" indent="0" algn="r">
              <a:lnSpc>
                <a:spcPct val="100000"/>
              </a:lnSpc>
              <a:spcBef>
                <a:spcPts val="0"/>
              </a:spcBef>
              <a:spcAft>
                <a:spcPts val="0"/>
              </a:spcAft>
              <a:buNone/>
              <a:defRPr>
                <a:solidFill>
                  <a:srgbClr val="59CBE8"/>
                </a:solidFil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6907" name="Google Shape;6907;p5706"/>
          <p:cNvSpPr txBox="1">
            <a:spLocks noGrp="1"/>
          </p:cNvSpPr>
          <p:nvPr>
            <p:ph type="body" idx="1"/>
          </p:nvPr>
        </p:nvSpPr>
        <p:spPr>
          <a:xfrm>
            <a:off x="6905174" y="1825630"/>
            <a:ext cx="4927259" cy="4016375"/>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392315605"/>
      </p:ext>
    </p:extLst>
  </p:cSld>
  <p:clrMapOvr>
    <a:masterClrMapping/>
  </p:clrMapOvr>
</p:sldLayout>
</file>

<file path=ppt/slideLayouts/slideLayout1878.xml><?xml version="1.0" encoding="utf-8"?>
<p:sldLayout xmlns:a="http://schemas.openxmlformats.org/drawingml/2006/main" xmlns:r="http://schemas.openxmlformats.org/officeDocument/2006/relationships" xmlns:p="http://schemas.openxmlformats.org/presentationml/2006/main" matchingName="2_Breaker-4">
  <p:cSld name="2_Breaker-4">
    <p:spTree>
      <p:nvGrpSpPr>
        <p:cNvPr id="1" name="Shape 6908"/>
        <p:cNvGrpSpPr/>
        <p:nvPr/>
      </p:nvGrpSpPr>
      <p:grpSpPr>
        <a:xfrm>
          <a:off x="0" y="0"/>
          <a:ext cx="0" cy="0"/>
          <a:chOff x="0" y="0"/>
          <a:chExt cx="0" cy="0"/>
        </a:xfrm>
      </p:grpSpPr>
      <p:pic>
        <p:nvPicPr>
          <p:cNvPr id="6909" name="Google Shape;6909;p5707"/>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6910" name="Google Shape;6910;p5707"/>
          <p:cNvPicPr preferRelativeResize="0"/>
          <p:nvPr/>
        </p:nvPicPr>
        <p:blipFill rotWithShape="1">
          <a:blip r:embed="rId3">
            <a:alphaModFix/>
          </a:blip>
          <a:srcRect l="44353" t="41308" r="41308" b="44537"/>
          <a:stretch/>
        </p:blipFill>
        <p:spPr>
          <a:xfrm>
            <a:off x="10425153" y="5894636"/>
            <a:ext cx="1312781" cy="562270"/>
          </a:xfrm>
          <a:prstGeom prst="rect">
            <a:avLst/>
          </a:prstGeom>
          <a:noFill/>
          <a:ln>
            <a:noFill/>
          </a:ln>
        </p:spPr>
      </p:pic>
      <p:sp>
        <p:nvSpPr>
          <p:cNvPr id="6911" name="Google Shape;6911;p5707"/>
          <p:cNvSpPr txBox="1">
            <a:spLocks noGrp="1"/>
          </p:cNvSpPr>
          <p:nvPr>
            <p:ph type="body" idx="1"/>
          </p:nvPr>
        </p:nvSpPr>
        <p:spPr>
          <a:xfrm>
            <a:off x="7459666" y="3429000"/>
            <a:ext cx="4180795" cy="110285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0"/>
              </a:spcBef>
              <a:spcAft>
                <a:spcPts val="0"/>
              </a:spcAft>
              <a:buSzPts val="5400"/>
              <a:buNone/>
              <a:defRPr sz="3600">
                <a:solidFill>
                  <a:schemeClr val="dk2"/>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912" name="Google Shape;6912;p5707"/>
          <p:cNvSpPr txBox="1">
            <a:spLocks noGrp="1"/>
          </p:cNvSpPr>
          <p:nvPr>
            <p:ph type="body" idx="2"/>
          </p:nvPr>
        </p:nvSpPr>
        <p:spPr>
          <a:xfrm>
            <a:off x="7459662" y="4775654"/>
            <a:ext cx="4180795" cy="783318"/>
          </a:xfrm>
          <a:prstGeom prst="rect">
            <a:avLst/>
          </a:prstGeom>
          <a:noFill/>
          <a:ln>
            <a:noFill/>
          </a:ln>
        </p:spPr>
        <p:txBody>
          <a:bodyPr spcFirstLastPara="1" wrap="square" lIns="91425" tIns="45700" rIns="91425" bIns="45700" anchor="t" anchorCtr="0">
            <a:normAutofit/>
          </a:bodyPr>
          <a:lstStyle>
            <a:lvl1pPr marL="304815" lvl="0" indent="-152408" algn="l">
              <a:lnSpc>
                <a:spcPct val="100000"/>
              </a:lnSpc>
              <a:spcBef>
                <a:spcPts val="1000"/>
              </a:spcBef>
              <a:spcAft>
                <a:spcPts val="0"/>
              </a:spcAft>
              <a:buSzPts val="2700"/>
              <a:buNone/>
              <a:defRPr sz="1800">
                <a:solidFill>
                  <a:schemeClr val="lt2"/>
                </a:solidFill>
                <a:latin typeface="Calibri"/>
                <a:ea typeface="Calibri"/>
                <a:cs typeface="Calibri"/>
                <a:sym typeface="Calibri"/>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216801956"/>
      </p:ext>
    </p:extLst>
  </p:cSld>
  <p:clrMapOvr>
    <a:masterClrMapping/>
  </p:clrMapOvr>
</p:sldLayout>
</file>

<file path=ppt/slideLayouts/slideLayout1879.xml><?xml version="1.0" encoding="utf-8"?>
<p:sldLayout xmlns:a="http://schemas.openxmlformats.org/drawingml/2006/main" xmlns:r="http://schemas.openxmlformats.org/officeDocument/2006/relationships" xmlns:p="http://schemas.openxmlformats.org/presentationml/2006/main" matchingName="49_Title and Content">
  <p:cSld name="49_Title and Content">
    <p:spTree>
      <p:nvGrpSpPr>
        <p:cNvPr id="1" name="Shape 6913"/>
        <p:cNvGrpSpPr/>
        <p:nvPr/>
      </p:nvGrpSpPr>
      <p:grpSpPr>
        <a:xfrm>
          <a:off x="0" y="0"/>
          <a:ext cx="0" cy="0"/>
          <a:chOff x="0" y="0"/>
          <a:chExt cx="0" cy="0"/>
        </a:xfrm>
      </p:grpSpPr>
      <p:pic>
        <p:nvPicPr>
          <p:cNvPr id="6914" name="Google Shape;6914;p5708"/>
          <p:cNvPicPr preferRelativeResize="0"/>
          <p:nvPr/>
        </p:nvPicPr>
        <p:blipFill rotWithShape="1">
          <a:blip r:embed="rId2">
            <a:alphaModFix/>
          </a:blip>
          <a:srcRect t="12181" r="12170"/>
          <a:stretch/>
        </p:blipFill>
        <p:spPr>
          <a:xfrm>
            <a:off x="1524" y="0"/>
            <a:ext cx="12190476" cy="6858000"/>
          </a:xfrm>
          <a:prstGeom prst="rect">
            <a:avLst/>
          </a:prstGeom>
          <a:noFill/>
          <a:ln>
            <a:noFill/>
          </a:ln>
        </p:spPr>
      </p:pic>
      <p:sp>
        <p:nvSpPr>
          <p:cNvPr id="6915" name="Google Shape;6915;p570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16" name="Google Shape;6916;p570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6917" name="Google Shape;6917;p5708"/>
          <p:cNvSpPr txBox="1">
            <a:spLocks noGrp="1"/>
          </p:cNvSpPr>
          <p:nvPr>
            <p:ph type="body" idx="1"/>
          </p:nvPr>
        </p:nvSpPr>
        <p:spPr>
          <a:xfrm>
            <a:off x="838200" y="1825626"/>
            <a:ext cx="10515600" cy="4016375"/>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280523376"/>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4">
    <p:spTree>
      <p:nvGrpSpPr>
        <p:cNvPr id="1" name="Shape 10871"/>
        <p:cNvGrpSpPr/>
        <p:nvPr/>
      </p:nvGrpSpPr>
      <p:grpSpPr>
        <a:xfrm>
          <a:off x="0" y="0"/>
          <a:ext cx="0" cy="0"/>
          <a:chOff x="0" y="0"/>
          <a:chExt cx="0" cy="0"/>
        </a:xfrm>
      </p:grpSpPr>
      <p:sp>
        <p:nvSpPr>
          <p:cNvPr id="10872" name="Google Shape;10872;p1492"/>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873" name="Google Shape;10873;p149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874" name="Google Shape;10874;p149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875" name="Google Shape;10875;p1492"/>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876" name="Google Shape;10876;p149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880.xml><?xml version="1.0" encoding="utf-8"?>
<p:sldLayout xmlns:a="http://schemas.openxmlformats.org/drawingml/2006/main" xmlns:r="http://schemas.openxmlformats.org/officeDocument/2006/relationships" xmlns:p="http://schemas.openxmlformats.org/presentationml/2006/main" matchingName="1_Blue Graphic Right">
  <p:cSld name="1_Blue Graphic Right">
    <p:spTree>
      <p:nvGrpSpPr>
        <p:cNvPr id="1" name="Shape 6918"/>
        <p:cNvGrpSpPr/>
        <p:nvPr/>
      </p:nvGrpSpPr>
      <p:grpSpPr>
        <a:xfrm>
          <a:off x="0" y="0"/>
          <a:ext cx="0" cy="0"/>
          <a:chOff x="0" y="0"/>
          <a:chExt cx="0" cy="0"/>
        </a:xfrm>
      </p:grpSpPr>
      <p:pic>
        <p:nvPicPr>
          <p:cNvPr id="6919" name="Google Shape;6919;p5709"/>
          <p:cNvPicPr preferRelativeResize="0"/>
          <p:nvPr/>
        </p:nvPicPr>
        <p:blipFill rotWithShape="1">
          <a:blip r:embed="rId2">
            <a:alphaModFix/>
          </a:blip>
          <a:srcRect/>
          <a:stretch/>
        </p:blipFill>
        <p:spPr>
          <a:xfrm>
            <a:off x="0" y="0"/>
            <a:ext cx="12188952" cy="6858000"/>
          </a:xfrm>
          <a:prstGeom prst="rect">
            <a:avLst/>
          </a:prstGeom>
          <a:noFill/>
          <a:ln>
            <a:noFill/>
          </a:ln>
        </p:spPr>
      </p:pic>
      <p:sp>
        <p:nvSpPr>
          <p:cNvPr id="6920" name="Google Shape;6920;p5709"/>
          <p:cNvSpPr txBox="1">
            <a:spLocks noGrp="1"/>
          </p:cNvSpPr>
          <p:nvPr>
            <p:ph type="title"/>
          </p:nvPr>
        </p:nvSpPr>
        <p:spPr>
          <a:xfrm>
            <a:off x="838200" y="365126"/>
            <a:ext cx="6085114"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21" name="Google Shape;6921;p5709"/>
          <p:cNvSpPr txBox="1">
            <a:spLocks noGrp="1"/>
          </p:cNvSpPr>
          <p:nvPr>
            <p:ph type="body" idx="1"/>
          </p:nvPr>
        </p:nvSpPr>
        <p:spPr>
          <a:xfrm>
            <a:off x="838200" y="1825626"/>
            <a:ext cx="6085114" cy="4016375"/>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922" name="Google Shape;6922;p5709"/>
          <p:cNvSpPr txBox="1">
            <a:spLocks noGrp="1"/>
          </p:cNvSpPr>
          <p:nvPr>
            <p:ph type="sldNum" idx="12"/>
          </p:nvPr>
        </p:nvSpPr>
        <p:spPr>
          <a:xfrm>
            <a:off x="9292771" y="6464300"/>
            <a:ext cx="2539660" cy="181800"/>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extLst>
      <p:ext uri="{BB962C8B-B14F-4D97-AF65-F5344CB8AC3E}">
        <p14:creationId xmlns:p14="http://schemas.microsoft.com/office/powerpoint/2010/main" val="708128564"/>
      </p:ext>
    </p:extLst>
  </p:cSld>
  <p:clrMapOvr>
    <a:masterClrMapping/>
  </p:clrMapOvr>
</p:sldLayout>
</file>

<file path=ppt/slideLayouts/slideLayout1881.xml><?xml version="1.0" encoding="utf-8"?>
<p:sldLayout xmlns:a="http://schemas.openxmlformats.org/drawingml/2006/main" xmlns:r="http://schemas.openxmlformats.org/officeDocument/2006/relationships" xmlns:p="http://schemas.openxmlformats.org/presentationml/2006/main" matchingName="1_3-Closing Slide">
  <p:cSld name="1_3-Closing Slide">
    <p:spTree>
      <p:nvGrpSpPr>
        <p:cNvPr id="1" name="Shape 6923"/>
        <p:cNvGrpSpPr/>
        <p:nvPr/>
      </p:nvGrpSpPr>
      <p:grpSpPr>
        <a:xfrm>
          <a:off x="0" y="0"/>
          <a:ext cx="0" cy="0"/>
          <a:chOff x="0" y="0"/>
          <a:chExt cx="0" cy="0"/>
        </a:xfrm>
      </p:grpSpPr>
      <p:pic>
        <p:nvPicPr>
          <p:cNvPr id="6924" name="Google Shape;6924;p5710"/>
          <p:cNvPicPr preferRelativeResize="0"/>
          <p:nvPr/>
        </p:nvPicPr>
        <p:blipFill rotWithShape="1">
          <a:blip r:embed="rId2">
            <a:alphaModFix/>
          </a:blip>
          <a:srcRect/>
          <a:stretch/>
        </p:blipFill>
        <p:spPr>
          <a:xfrm>
            <a:off x="1524" y="0"/>
            <a:ext cx="12188952" cy="6858000"/>
          </a:xfrm>
          <a:prstGeom prst="rect">
            <a:avLst/>
          </a:prstGeom>
          <a:noFill/>
          <a:ln>
            <a:noFill/>
          </a:ln>
        </p:spPr>
      </p:pic>
      <p:pic>
        <p:nvPicPr>
          <p:cNvPr id="6925" name="Google Shape;6925;p5710"/>
          <p:cNvPicPr preferRelativeResize="0"/>
          <p:nvPr/>
        </p:nvPicPr>
        <p:blipFill rotWithShape="1">
          <a:blip r:embed="rId3">
            <a:alphaModFix/>
          </a:blip>
          <a:srcRect/>
          <a:stretch/>
        </p:blipFill>
        <p:spPr>
          <a:xfrm>
            <a:off x="5185224" y="2949957"/>
            <a:ext cx="1821552" cy="958089"/>
          </a:xfrm>
          <a:prstGeom prst="rect">
            <a:avLst/>
          </a:prstGeom>
          <a:noFill/>
          <a:ln>
            <a:noFill/>
          </a:ln>
        </p:spPr>
      </p:pic>
    </p:spTree>
    <p:extLst>
      <p:ext uri="{BB962C8B-B14F-4D97-AF65-F5344CB8AC3E}">
        <p14:creationId xmlns:p14="http://schemas.microsoft.com/office/powerpoint/2010/main" val="3050317593"/>
      </p:ext>
    </p:extLst>
  </p:cSld>
  <p:clrMapOvr>
    <a:masterClrMapping/>
  </p:clrMapOvr>
</p:sldLayout>
</file>

<file path=ppt/slideLayouts/slideLayout1882.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6926"/>
        <p:cNvGrpSpPr/>
        <p:nvPr/>
      </p:nvGrpSpPr>
      <p:grpSpPr>
        <a:xfrm>
          <a:off x="0" y="0"/>
          <a:ext cx="0" cy="0"/>
          <a:chOff x="0" y="0"/>
          <a:chExt cx="0" cy="0"/>
        </a:xfrm>
      </p:grpSpPr>
      <p:pic>
        <p:nvPicPr>
          <p:cNvPr id="6927" name="Google Shape;6927;p5711"/>
          <p:cNvPicPr preferRelativeResize="0"/>
          <p:nvPr/>
        </p:nvPicPr>
        <p:blipFill rotWithShape="1">
          <a:blip r:embed="rId2">
            <a:alphaModFix/>
          </a:blip>
          <a:srcRect/>
          <a:stretch/>
        </p:blipFill>
        <p:spPr>
          <a:xfrm>
            <a:off x="1524" y="858"/>
            <a:ext cx="12188952" cy="6856285"/>
          </a:xfrm>
          <a:prstGeom prst="rect">
            <a:avLst/>
          </a:prstGeom>
          <a:noFill/>
          <a:ln>
            <a:noFill/>
          </a:ln>
        </p:spPr>
      </p:pic>
      <p:pic>
        <p:nvPicPr>
          <p:cNvPr id="6928" name="Google Shape;6928;p5711"/>
          <p:cNvPicPr preferRelativeResize="0"/>
          <p:nvPr/>
        </p:nvPicPr>
        <p:blipFill rotWithShape="1">
          <a:blip r:embed="rId3">
            <a:alphaModFix/>
          </a:blip>
          <a:srcRect/>
          <a:stretch/>
        </p:blipFill>
        <p:spPr>
          <a:xfrm>
            <a:off x="10802516" y="5915004"/>
            <a:ext cx="938786" cy="493777"/>
          </a:xfrm>
          <a:prstGeom prst="rect">
            <a:avLst/>
          </a:prstGeom>
          <a:noFill/>
          <a:ln>
            <a:noFill/>
          </a:ln>
        </p:spPr>
      </p:pic>
      <p:sp>
        <p:nvSpPr>
          <p:cNvPr id="6929" name="Google Shape;6929;p5711"/>
          <p:cNvSpPr txBox="1">
            <a:spLocks noGrp="1"/>
          </p:cNvSpPr>
          <p:nvPr>
            <p:ph type="body" idx="1"/>
          </p:nvPr>
        </p:nvSpPr>
        <p:spPr>
          <a:xfrm>
            <a:off x="7459663" y="3429000"/>
            <a:ext cx="4180795" cy="110285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0"/>
              </a:spcBef>
              <a:spcAft>
                <a:spcPts val="0"/>
              </a:spcAft>
              <a:buSzPts val="6000"/>
              <a:buNone/>
              <a:defRPr sz="4000">
                <a:solidFill>
                  <a:schemeClr val="dk2"/>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930" name="Google Shape;6930;p5711"/>
          <p:cNvSpPr txBox="1">
            <a:spLocks noGrp="1"/>
          </p:cNvSpPr>
          <p:nvPr>
            <p:ph type="body" idx="2"/>
          </p:nvPr>
        </p:nvSpPr>
        <p:spPr>
          <a:xfrm>
            <a:off x="7459662" y="4775654"/>
            <a:ext cx="4180795" cy="783318"/>
          </a:xfrm>
          <a:prstGeom prst="rect">
            <a:avLst/>
          </a:prstGeom>
          <a:noFill/>
          <a:ln>
            <a:noFill/>
          </a:ln>
        </p:spPr>
        <p:txBody>
          <a:bodyPr spcFirstLastPara="1" wrap="square" lIns="91425" tIns="45700" rIns="91425" bIns="45700" anchor="t" anchorCtr="0">
            <a:normAutofit/>
          </a:bodyPr>
          <a:lstStyle>
            <a:lvl1pPr marL="304815" lvl="0" indent="-152408" algn="l">
              <a:lnSpc>
                <a:spcPct val="100000"/>
              </a:lnSpc>
              <a:spcBef>
                <a:spcPts val="1000"/>
              </a:spcBef>
              <a:spcAft>
                <a:spcPts val="0"/>
              </a:spcAft>
              <a:buSzPts val="3000"/>
              <a:buNone/>
              <a:defRPr sz="2000">
                <a:solidFill>
                  <a:schemeClr val="lt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091087738"/>
      </p:ext>
    </p:extLst>
  </p:cSld>
  <p:clrMapOvr>
    <a:masterClrMapping/>
  </p:clrMapOvr>
</p:sldLayout>
</file>

<file path=ppt/slideLayouts/slideLayout1883.xml><?xml version="1.0" encoding="utf-8"?>
<p:sldLayout xmlns:a="http://schemas.openxmlformats.org/drawingml/2006/main" xmlns:r="http://schemas.openxmlformats.org/officeDocument/2006/relationships" xmlns:p="http://schemas.openxmlformats.org/presentationml/2006/main" matchingName="3_Breaker-4">
  <p:cSld name="3_Breaker-4">
    <p:spTree>
      <p:nvGrpSpPr>
        <p:cNvPr id="1" name="Shape 6931"/>
        <p:cNvGrpSpPr/>
        <p:nvPr/>
      </p:nvGrpSpPr>
      <p:grpSpPr>
        <a:xfrm>
          <a:off x="0" y="0"/>
          <a:ext cx="0" cy="0"/>
          <a:chOff x="0" y="0"/>
          <a:chExt cx="0" cy="0"/>
        </a:xfrm>
      </p:grpSpPr>
      <p:pic>
        <p:nvPicPr>
          <p:cNvPr id="6932" name="Google Shape;6932;p5712"/>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6933" name="Google Shape;6933;p5712"/>
          <p:cNvPicPr preferRelativeResize="0"/>
          <p:nvPr/>
        </p:nvPicPr>
        <p:blipFill rotWithShape="1">
          <a:blip r:embed="rId3">
            <a:alphaModFix/>
          </a:blip>
          <a:srcRect/>
          <a:stretch/>
        </p:blipFill>
        <p:spPr>
          <a:xfrm>
            <a:off x="10425153" y="5894636"/>
            <a:ext cx="1312781" cy="562270"/>
          </a:xfrm>
          <a:prstGeom prst="rect">
            <a:avLst/>
          </a:prstGeom>
          <a:noFill/>
          <a:ln>
            <a:noFill/>
          </a:ln>
        </p:spPr>
      </p:pic>
      <p:sp>
        <p:nvSpPr>
          <p:cNvPr id="6934" name="Google Shape;6934;p5712"/>
          <p:cNvSpPr txBox="1">
            <a:spLocks noGrp="1"/>
          </p:cNvSpPr>
          <p:nvPr>
            <p:ph type="body" idx="1"/>
          </p:nvPr>
        </p:nvSpPr>
        <p:spPr>
          <a:xfrm>
            <a:off x="7459666" y="3429000"/>
            <a:ext cx="4180795" cy="110285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0"/>
              </a:spcBef>
              <a:spcAft>
                <a:spcPts val="0"/>
              </a:spcAft>
              <a:buSzPts val="5400"/>
              <a:buNone/>
              <a:defRPr sz="3600">
                <a:solidFill>
                  <a:schemeClr val="dk2"/>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935" name="Google Shape;6935;p5712"/>
          <p:cNvSpPr txBox="1">
            <a:spLocks noGrp="1"/>
          </p:cNvSpPr>
          <p:nvPr>
            <p:ph type="body" idx="2"/>
          </p:nvPr>
        </p:nvSpPr>
        <p:spPr>
          <a:xfrm>
            <a:off x="7459662" y="4775654"/>
            <a:ext cx="4180795" cy="783318"/>
          </a:xfrm>
          <a:prstGeom prst="rect">
            <a:avLst/>
          </a:prstGeom>
          <a:noFill/>
          <a:ln>
            <a:noFill/>
          </a:ln>
        </p:spPr>
        <p:txBody>
          <a:bodyPr spcFirstLastPara="1" wrap="square" lIns="91425" tIns="45700" rIns="91425" bIns="45700" anchor="t" anchorCtr="0">
            <a:normAutofit/>
          </a:bodyPr>
          <a:lstStyle>
            <a:lvl1pPr marL="304815" lvl="0" indent="-152408" algn="l">
              <a:lnSpc>
                <a:spcPct val="100000"/>
              </a:lnSpc>
              <a:spcBef>
                <a:spcPts val="1000"/>
              </a:spcBef>
              <a:spcAft>
                <a:spcPts val="0"/>
              </a:spcAft>
              <a:buSzPts val="2700"/>
              <a:buNone/>
              <a:defRPr sz="1800">
                <a:solidFill>
                  <a:schemeClr val="lt2"/>
                </a:solidFill>
                <a:latin typeface="Calibri"/>
                <a:ea typeface="Calibri"/>
                <a:cs typeface="Calibri"/>
                <a:sym typeface="Calibri"/>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267972383"/>
      </p:ext>
    </p:extLst>
  </p:cSld>
  <p:clrMapOvr>
    <a:masterClrMapping/>
  </p:clrMapOvr>
</p:sldLayout>
</file>

<file path=ppt/slideLayouts/slideLayout1884.xml><?xml version="1.0" encoding="utf-8"?>
<p:sldLayout xmlns:a="http://schemas.openxmlformats.org/drawingml/2006/main" xmlns:r="http://schemas.openxmlformats.org/officeDocument/2006/relationships" xmlns:p="http://schemas.openxmlformats.org/presentationml/2006/main" matchingName="4_Breaker-4">
  <p:cSld name="4_Breaker-4">
    <p:spTree>
      <p:nvGrpSpPr>
        <p:cNvPr id="1" name="Shape 6936"/>
        <p:cNvGrpSpPr/>
        <p:nvPr/>
      </p:nvGrpSpPr>
      <p:grpSpPr>
        <a:xfrm>
          <a:off x="0" y="0"/>
          <a:ext cx="0" cy="0"/>
          <a:chOff x="0" y="0"/>
          <a:chExt cx="0" cy="0"/>
        </a:xfrm>
      </p:grpSpPr>
      <p:pic>
        <p:nvPicPr>
          <p:cNvPr id="6937" name="Google Shape;6937;p5713"/>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6938" name="Google Shape;6938;p5713"/>
          <p:cNvPicPr preferRelativeResize="0"/>
          <p:nvPr/>
        </p:nvPicPr>
        <p:blipFill rotWithShape="1">
          <a:blip r:embed="rId3">
            <a:alphaModFix/>
          </a:blip>
          <a:srcRect/>
          <a:stretch/>
        </p:blipFill>
        <p:spPr>
          <a:xfrm>
            <a:off x="10425154" y="5894636"/>
            <a:ext cx="1312781" cy="562270"/>
          </a:xfrm>
          <a:prstGeom prst="rect">
            <a:avLst/>
          </a:prstGeom>
          <a:noFill/>
          <a:ln>
            <a:noFill/>
          </a:ln>
        </p:spPr>
      </p:pic>
      <p:sp>
        <p:nvSpPr>
          <p:cNvPr id="6939" name="Google Shape;6939;p5713"/>
          <p:cNvSpPr txBox="1">
            <a:spLocks noGrp="1"/>
          </p:cNvSpPr>
          <p:nvPr>
            <p:ph type="body" idx="1"/>
          </p:nvPr>
        </p:nvSpPr>
        <p:spPr>
          <a:xfrm>
            <a:off x="7459667" y="3429000"/>
            <a:ext cx="4180795" cy="110285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0"/>
              </a:spcBef>
              <a:spcAft>
                <a:spcPts val="0"/>
              </a:spcAft>
              <a:buSzPts val="5400"/>
              <a:buNone/>
              <a:defRPr sz="3600">
                <a:solidFill>
                  <a:schemeClr val="dk2"/>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940" name="Google Shape;6940;p5713"/>
          <p:cNvSpPr txBox="1">
            <a:spLocks noGrp="1"/>
          </p:cNvSpPr>
          <p:nvPr>
            <p:ph type="body" idx="2"/>
          </p:nvPr>
        </p:nvSpPr>
        <p:spPr>
          <a:xfrm>
            <a:off x="7459663" y="4775654"/>
            <a:ext cx="4180795" cy="783318"/>
          </a:xfrm>
          <a:prstGeom prst="rect">
            <a:avLst/>
          </a:prstGeom>
          <a:noFill/>
          <a:ln>
            <a:noFill/>
          </a:ln>
        </p:spPr>
        <p:txBody>
          <a:bodyPr spcFirstLastPara="1" wrap="square" lIns="91425" tIns="45700" rIns="91425" bIns="45700" anchor="t" anchorCtr="0">
            <a:normAutofit/>
          </a:bodyPr>
          <a:lstStyle>
            <a:lvl1pPr marL="304815" lvl="0" indent="-152408" algn="l">
              <a:lnSpc>
                <a:spcPct val="100000"/>
              </a:lnSpc>
              <a:spcBef>
                <a:spcPts val="1000"/>
              </a:spcBef>
              <a:spcAft>
                <a:spcPts val="0"/>
              </a:spcAft>
              <a:buSzPts val="2700"/>
              <a:buNone/>
              <a:defRPr sz="1800">
                <a:solidFill>
                  <a:schemeClr val="lt2"/>
                </a:solidFill>
                <a:latin typeface="Calibri"/>
                <a:ea typeface="Calibri"/>
                <a:cs typeface="Calibri"/>
                <a:sym typeface="Calibri"/>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06439114"/>
      </p:ext>
    </p:extLst>
  </p:cSld>
  <p:clrMapOvr>
    <a:masterClrMapping/>
  </p:clrMapOvr>
</p:sldLayout>
</file>

<file path=ppt/slideLayouts/slideLayout1885.xml><?xml version="1.0" encoding="utf-8"?>
<p:sldLayout xmlns:a="http://schemas.openxmlformats.org/drawingml/2006/main" xmlns:r="http://schemas.openxmlformats.org/officeDocument/2006/relationships" xmlns:p="http://schemas.openxmlformats.org/presentationml/2006/main" matchingName="50_Title and Content">
  <p:cSld name="50_Title and Content">
    <p:spTree>
      <p:nvGrpSpPr>
        <p:cNvPr id="1" name="Shape 6941"/>
        <p:cNvGrpSpPr/>
        <p:nvPr/>
      </p:nvGrpSpPr>
      <p:grpSpPr>
        <a:xfrm>
          <a:off x="0" y="0"/>
          <a:ext cx="0" cy="0"/>
          <a:chOff x="0" y="0"/>
          <a:chExt cx="0" cy="0"/>
        </a:xfrm>
      </p:grpSpPr>
      <p:pic>
        <p:nvPicPr>
          <p:cNvPr id="6942" name="Google Shape;6942;p5714"/>
          <p:cNvPicPr preferRelativeResize="0"/>
          <p:nvPr/>
        </p:nvPicPr>
        <p:blipFill rotWithShape="1">
          <a:blip r:embed="rId2">
            <a:alphaModFix/>
          </a:blip>
          <a:srcRect/>
          <a:stretch/>
        </p:blipFill>
        <p:spPr>
          <a:xfrm>
            <a:off x="1524" y="0"/>
            <a:ext cx="12190476" cy="6858000"/>
          </a:xfrm>
          <a:prstGeom prst="rect">
            <a:avLst/>
          </a:prstGeom>
          <a:noFill/>
          <a:ln>
            <a:noFill/>
          </a:ln>
        </p:spPr>
      </p:pic>
      <p:sp>
        <p:nvSpPr>
          <p:cNvPr id="6943" name="Google Shape;6943;p571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44" name="Google Shape;6944;p571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6945" name="Google Shape;6945;p5714"/>
          <p:cNvSpPr txBox="1">
            <a:spLocks noGrp="1"/>
          </p:cNvSpPr>
          <p:nvPr>
            <p:ph type="body" idx="1"/>
          </p:nvPr>
        </p:nvSpPr>
        <p:spPr>
          <a:xfrm>
            <a:off x="838200" y="1825626"/>
            <a:ext cx="10515600" cy="4016375"/>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891936250"/>
      </p:ext>
    </p:extLst>
  </p:cSld>
  <p:clrMapOvr>
    <a:masterClrMapping/>
  </p:clrMapOvr>
</p:sldLayout>
</file>

<file path=ppt/slideLayouts/slideLayout1886.xml><?xml version="1.0" encoding="utf-8"?>
<p:sldLayout xmlns:a="http://schemas.openxmlformats.org/drawingml/2006/main" xmlns:r="http://schemas.openxmlformats.org/officeDocument/2006/relationships" xmlns:p="http://schemas.openxmlformats.org/presentationml/2006/main" matchingName="Photo Slide">
  <p:cSld name="28_Photo Slide">
    <p:spTree>
      <p:nvGrpSpPr>
        <p:cNvPr id="1" name="Shape 6946"/>
        <p:cNvGrpSpPr/>
        <p:nvPr/>
      </p:nvGrpSpPr>
      <p:grpSpPr>
        <a:xfrm>
          <a:off x="0" y="0"/>
          <a:ext cx="0" cy="0"/>
          <a:chOff x="0" y="0"/>
          <a:chExt cx="0" cy="0"/>
        </a:xfrm>
      </p:grpSpPr>
      <p:sp>
        <p:nvSpPr>
          <p:cNvPr id="6947" name="Google Shape;6947;p5715"/>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6948" name="Google Shape;6948;p571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949" name="Google Shape;6949;p5715"/>
          <p:cNvGrpSpPr/>
          <p:nvPr/>
        </p:nvGrpSpPr>
        <p:grpSpPr>
          <a:xfrm>
            <a:off x="0" y="5379428"/>
            <a:ext cx="2807368" cy="753891"/>
            <a:chOff x="0" y="5379426"/>
            <a:chExt cx="2807368" cy="753891"/>
          </a:xfrm>
        </p:grpSpPr>
        <p:sp>
          <p:nvSpPr>
            <p:cNvPr id="6950" name="Google Shape;6950;p571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6951" name="Google Shape;6951;p571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700"/>
                <a:buFont typeface="Arial"/>
                <a:buNone/>
              </a:pPr>
              <a:endParaRPr sz="1800" b="0" i="0" u="none" strike="noStrike" cap="none">
                <a:solidFill>
                  <a:schemeClr val="lt1"/>
                </a:solidFill>
                <a:latin typeface="Calibri"/>
                <a:ea typeface="Calibri"/>
                <a:cs typeface="Calibri"/>
                <a:sym typeface="Calibri"/>
              </a:endParaRPr>
            </a:p>
          </p:txBody>
        </p:sp>
      </p:grpSp>
      <p:sp>
        <p:nvSpPr>
          <p:cNvPr id="6952" name="Google Shape;6952;p5715"/>
          <p:cNvSpPr>
            <a:spLocks noGrp="1"/>
          </p:cNvSpPr>
          <p:nvPr>
            <p:ph type="pic" idx="2"/>
          </p:nvPr>
        </p:nvSpPr>
        <p:spPr>
          <a:xfrm>
            <a:off x="2807368" y="457202"/>
            <a:ext cx="8915400" cy="5943598"/>
          </a:xfrm>
          <a:prstGeom prst="rect">
            <a:avLst/>
          </a:prstGeom>
          <a:noFill/>
          <a:ln>
            <a:noFill/>
          </a:ln>
        </p:spPr>
      </p:sp>
      <p:pic>
        <p:nvPicPr>
          <p:cNvPr id="6953" name="Google Shape;6953;p5715"/>
          <p:cNvPicPr preferRelativeResize="0"/>
          <p:nvPr/>
        </p:nvPicPr>
        <p:blipFill rotWithShape="1">
          <a:blip r:embed="rId2">
            <a:alphaModFix/>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4282193697"/>
      </p:ext>
    </p:extLst>
  </p:cSld>
  <p:clrMapOvr>
    <a:masterClrMapping/>
  </p:clrMapOvr>
</p:sldLayout>
</file>

<file path=ppt/slideLayouts/slideLayout1887.xml><?xml version="1.0" encoding="utf-8"?>
<p:sldLayout xmlns:a="http://schemas.openxmlformats.org/drawingml/2006/main" xmlns:r="http://schemas.openxmlformats.org/officeDocument/2006/relationships" xmlns:p="http://schemas.openxmlformats.org/presentationml/2006/main" matchingName="5_Breaker-4">
  <p:cSld name="5_Breaker-4">
    <p:spTree>
      <p:nvGrpSpPr>
        <p:cNvPr id="1" name="Shape 6954"/>
        <p:cNvGrpSpPr/>
        <p:nvPr/>
      </p:nvGrpSpPr>
      <p:grpSpPr>
        <a:xfrm>
          <a:off x="0" y="0"/>
          <a:ext cx="0" cy="0"/>
          <a:chOff x="0" y="0"/>
          <a:chExt cx="0" cy="0"/>
        </a:xfrm>
      </p:grpSpPr>
      <p:pic>
        <p:nvPicPr>
          <p:cNvPr id="6955" name="Google Shape;6955;p5716"/>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6956" name="Google Shape;6956;p5716"/>
          <p:cNvPicPr preferRelativeResize="0"/>
          <p:nvPr/>
        </p:nvPicPr>
        <p:blipFill rotWithShape="1">
          <a:blip r:embed="rId3">
            <a:alphaModFix/>
          </a:blip>
          <a:srcRect l="44353" t="41308" r="41308" b="44537"/>
          <a:stretch/>
        </p:blipFill>
        <p:spPr>
          <a:xfrm>
            <a:off x="10425154" y="5894636"/>
            <a:ext cx="1312781" cy="562270"/>
          </a:xfrm>
          <a:prstGeom prst="rect">
            <a:avLst/>
          </a:prstGeom>
          <a:noFill/>
          <a:ln>
            <a:noFill/>
          </a:ln>
        </p:spPr>
      </p:pic>
      <p:sp>
        <p:nvSpPr>
          <p:cNvPr id="6957" name="Google Shape;6957;p5716"/>
          <p:cNvSpPr txBox="1">
            <a:spLocks noGrp="1"/>
          </p:cNvSpPr>
          <p:nvPr>
            <p:ph type="body" idx="1"/>
          </p:nvPr>
        </p:nvSpPr>
        <p:spPr>
          <a:xfrm>
            <a:off x="7459667" y="3429000"/>
            <a:ext cx="4180795" cy="110285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0"/>
              </a:spcBef>
              <a:spcAft>
                <a:spcPts val="0"/>
              </a:spcAft>
              <a:buSzPts val="5400"/>
              <a:buNone/>
              <a:defRPr sz="3600">
                <a:solidFill>
                  <a:schemeClr val="dk2"/>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958" name="Google Shape;6958;p5716"/>
          <p:cNvSpPr txBox="1">
            <a:spLocks noGrp="1"/>
          </p:cNvSpPr>
          <p:nvPr>
            <p:ph type="body" idx="2"/>
          </p:nvPr>
        </p:nvSpPr>
        <p:spPr>
          <a:xfrm>
            <a:off x="7459663" y="4775654"/>
            <a:ext cx="4180795" cy="783318"/>
          </a:xfrm>
          <a:prstGeom prst="rect">
            <a:avLst/>
          </a:prstGeom>
          <a:noFill/>
          <a:ln>
            <a:noFill/>
          </a:ln>
        </p:spPr>
        <p:txBody>
          <a:bodyPr spcFirstLastPara="1" wrap="square" lIns="91425" tIns="45700" rIns="91425" bIns="45700" anchor="t" anchorCtr="0">
            <a:normAutofit/>
          </a:bodyPr>
          <a:lstStyle>
            <a:lvl1pPr marL="304815" lvl="0" indent="-152408" algn="l">
              <a:lnSpc>
                <a:spcPct val="100000"/>
              </a:lnSpc>
              <a:spcBef>
                <a:spcPts val="1000"/>
              </a:spcBef>
              <a:spcAft>
                <a:spcPts val="0"/>
              </a:spcAft>
              <a:buSzPts val="2700"/>
              <a:buNone/>
              <a:defRPr sz="1800">
                <a:solidFill>
                  <a:schemeClr val="lt2"/>
                </a:solidFill>
                <a:latin typeface="Calibri"/>
                <a:ea typeface="Calibri"/>
                <a:cs typeface="Calibri"/>
                <a:sym typeface="Calibri"/>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96392674"/>
      </p:ext>
    </p:extLst>
  </p:cSld>
  <p:clrMapOvr>
    <a:masterClrMapping/>
  </p:clrMapOvr>
</p:sldLayout>
</file>

<file path=ppt/slideLayouts/slideLayout1888.xml><?xml version="1.0" encoding="utf-8"?>
<p:sldLayout xmlns:a="http://schemas.openxmlformats.org/drawingml/2006/main" xmlns:r="http://schemas.openxmlformats.org/officeDocument/2006/relationships" xmlns:p="http://schemas.openxmlformats.org/presentationml/2006/main" matchingName="19_Title Slide_Yale Blue">
  <p:cSld name="19_Title Slide_Yale Blue">
    <p:spTree>
      <p:nvGrpSpPr>
        <p:cNvPr id="1" name="Shape 6959"/>
        <p:cNvGrpSpPr/>
        <p:nvPr/>
      </p:nvGrpSpPr>
      <p:grpSpPr>
        <a:xfrm>
          <a:off x="0" y="0"/>
          <a:ext cx="0" cy="0"/>
          <a:chOff x="0" y="0"/>
          <a:chExt cx="0" cy="0"/>
        </a:xfrm>
      </p:grpSpPr>
      <p:sp>
        <p:nvSpPr>
          <p:cNvPr id="6960" name="Google Shape;6960;p5717"/>
          <p:cNvSpPr txBox="1">
            <a:spLocks noGrp="1"/>
          </p:cNvSpPr>
          <p:nvPr>
            <p:ph type="body" idx="1"/>
          </p:nvPr>
        </p:nvSpPr>
        <p:spPr>
          <a:xfrm>
            <a:off x="2826557" y="5400857"/>
            <a:ext cx="8178613" cy="348899"/>
          </a:xfrm>
          <a:prstGeom prst="rect">
            <a:avLst/>
          </a:prstGeom>
          <a:noFill/>
          <a:ln>
            <a:noFill/>
          </a:ln>
        </p:spPr>
        <p:txBody>
          <a:bodyPr spcFirstLastPara="1" wrap="square" lIns="91425" tIns="45700" rIns="91425" bIns="45700" anchor="t" anchorCtr="0">
            <a:spAutoFit/>
          </a:bodyPr>
          <a:lstStyle>
            <a:lvl1pPr marL="304815" lvl="0" indent="-152408" algn="r">
              <a:lnSpc>
                <a:spcPct val="100000"/>
              </a:lnSpc>
              <a:spcBef>
                <a:spcPts val="1000"/>
              </a:spcBef>
              <a:spcAft>
                <a:spcPts val="0"/>
              </a:spcAft>
              <a:buSzPts val="2801"/>
              <a:buNone/>
              <a:defRPr sz="1867">
                <a:solidFill>
                  <a:srgbClr val="616364"/>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961" name="Google Shape;6961;p5717"/>
          <p:cNvSpPr txBox="1">
            <a:spLocks noGrp="1"/>
          </p:cNvSpPr>
          <p:nvPr>
            <p:ph type="ctrTitle"/>
          </p:nvPr>
        </p:nvSpPr>
        <p:spPr>
          <a:xfrm>
            <a:off x="2826557"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8001"/>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62" name="Google Shape;6962;p5717"/>
          <p:cNvSpPr txBox="1">
            <a:spLocks noGrp="1"/>
          </p:cNvSpPr>
          <p:nvPr>
            <p:ph type="dt" idx="10"/>
          </p:nvPr>
        </p:nvSpPr>
        <p:spPr>
          <a:xfrm>
            <a:off x="0" y="0"/>
            <a:ext cx="2000000" cy="2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9pPr>
          </a:lstStyle>
          <a:p>
            <a:endParaRPr/>
          </a:p>
        </p:txBody>
      </p:sp>
      <p:sp>
        <p:nvSpPr>
          <p:cNvPr id="6963" name="Google Shape;6963;p571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64" name="Google Shape;6964;p571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6965" name="Google Shape;6965;p5717"/>
          <p:cNvSpPr/>
          <p:nvPr/>
        </p:nvSpPr>
        <p:spPr>
          <a:xfrm rot="10800000">
            <a:off x="1" y="2000250"/>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6966" name="Google Shape;6966;p5717"/>
          <p:cNvSpPr/>
          <p:nvPr/>
        </p:nvSpPr>
        <p:spPr>
          <a:xfrm>
            <a:off x="0" y="6115053"/>
            <a:ext cx="12192000" cy="742949"/>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6967" name="Google Shape;6967;p5717"/>
          <p:cNvSpPr txBox="1">
            <a:spLocks noGrp="1"/>
          </p:cNvSpPr>
          <p:nvPr>
            <p:ph type="body" idx="2"/>
          </p:nvPr>
        </p:nvSpPr>
        <p:spPr>
          <a:xfrm>
            <a:off x="2826557" y="3447401"/>
            <a:ext cx="8178613" cy="713317"/>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4800"/>
              <a:buNone/>
              <a:defRPr sz="3200" b="0" i="0">
                <a:solidFill>
                  <a:srgbClr val="00314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6968" name="Google Shape;6968;p5717"/>
          <p:cNvPicPr preferRelativeResize="0"/>
          <p:nvPr/>
        </p:nvPicPr>
        <p:blipFill rotWithShape="1">
          <a:blip r:embed="rId2">
            <a:alphaModFix/>
          </a:blip>
          <a:srcRect/>
          <a:stretch/>
        </p:blipFill>
        <p:spPr>
          <a:xfrm>
            <a:off x="2829836" y="4178331"/>
            <a:ext cx="4395959" cy="1140163"/>
          </a:xfrm>
          <a:prstGeom prst="rect">
            <a:avLst/>
          </a:prstGeom>
          <a:noFill/>
          <a:ln>
            <a:noFill/>
          </a:ln>
        </p:spPr>
      </p:pic>
    </p:spTree>
    <p:extLst>
      <p:ext uri="{BB962C8B-B14F-4D97-AF65-F5344CB8AC3E}">
        <p14:creationId xmlns:p14="http://schemas.microsoft.com/office/powerpoint/2010/main" val="2065172566"/>
      </p:ext>
    </p:extLst>
  </p:cSld>
  <p:clrMapOvr>
    <a:masterClrMapping/>
  </p:clrMapOvr>
</p:sldLayout>
</file>

<file path=ppt/slideLayouts/slideLayout1889.xml><?xml version="1.0" encoding="utf-8"?>
<p:sldLayout xmlns:a="http://schemas.openxmlformats.org/drawingml/2006/main" xmlns:r="http://schemas.openxmlformats.org/officeDocument/2006/relationships" xmlns:p="http://schemas.openxmlformats.org/presentationml/2006/main" matchingName="17_Title and Bullets Layout">
  <p:cSld name="17_Title and Bullets Layout">
    <p:spTree>
      <p:nvGrpSpPr>
        <p:cNvPr id="1" name="Shape 6969"/>
        <p:cNvGrpSpPr/>
        <p:nvPr/>
      </p:nvGrpSpPr>
      <p:grpSpPr>
        <a:xfrm>
          <a:off x="0" y="0"/>
          <a:ext cx="0" cy="0"/>
          <a:chOff x="0" y="0"/>
          <a:chExt cx="0" cy="0"/>
        </a:xfrm>
      </p:grpSpPr>
      <p:sp>
        <p:nvSpPr>
          <p:cNvPr id="6970" name="Google Shape;6970;p5718"/>
          <p:cNvSpPr txBox="1">
            <a:spLocks noGrp="1"/>
          </p:cNvSpPr>
          <p:nvPr>
            <p:ph type="title"/>
          </p:nvPr>
        </p:nvSpPr>
        <p:spPr>
          <a:xfrm>
            <a:off x="848992" y="783847"/>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71" name="Google Shape;6971;p5718"/>
          <p:cNvSpPr/>
          <p:nvPr/>
        </p:nvSpPr>
        <p:spPr>
          <a:xfrm>
            <a:off x="0" y="6313119"/>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972" name="Google Shape;6972;p5718"/>
          <p:cNvSpPr/>
          <p:nvPr/>
        </p:nvSpPr>
        <p:spPr>
          <a:xfrm>
            <a:off x="0" y="6301516"/>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973" name="Google Shape;6973;p5718"/>
          <p:cNvSpPr txBox="1">
            <a:spLocks noGrp="1"/>
          </p:cNvSpPr>
          <p:nvPr>
            <p:ph type="body" idx="1"/>
          </p:nvPr>
        </p:nvSpPr>
        <p:spPr>
          <a:xfrm>
            <a:off x="848786" y="1615018"/>
            <a:ext cx="10176933" cy="3812116"/>
          </a:xfrm>
          <a:prstGeom prst="rect">
            <a:avLst/>
          </a:prstGeom>
          <a:noFill/>
          <a:ln>
            <a:noFill/>
          </a:ln>
        </p:spPr>
        <p:txBody>
          <a:bodyPr spcFirstLastPara="1" wrap="square" lIns="91425" tIns="45700" rIns="91425" bIns="45700" anchor="t" anchorCtr="0">
            <a:noAutofit/>
          </a:bodyPr>
          <a:lstStyle>
            <a:lvl1pPr marL="304815" lvl="0" indent="-287881" algn="l">
              <a:lnSpc>
                <a:spcPct val="100000"/>
              </a:lnSpc>
              <a:spcBef>
                <a:spcPts val="1000"/>
              </a:spcBef>
              <a:spcAft>
                <a:spcPts val="0"/>
              </a:spcAft>
              <a:buSzPts val="3200"/>
              <a:buFont typeface="Arial"/>
              <a:buChar char="•"/>
              <a:defRPr sz="2133" b="0">
                <a:solidFill>
                  <a:schemeClr val="dk1"/>
                </a:solidFill>
                <a:latin typeface="Verdana"/>
                <a:ea typeface="Verdana"/>
                <a:cs typeface="Verdana"/>
                <a:sym typeface="Verdana"/>
              </a:defRPr>
            </a:lvl1pPr>
            <a:lvl2pPr marL="609630" lvl="1" indent="-287881" algn="l">
              <a:lnSpc>
                <a:spcPct val="100000"/>
              </a:lnSpc>
              <a:spcBef>
                <a:spcPts val="1000"/>
              </a:spcBef>
              <a:spcAft>
                <a:spcPts val="0"/>
              </a:spcAft>
              <a:buSzPts val="3200"/>
              <a:buChar char="•"/>
              <a:defRPr sz="2133">
                <a:latin typeface="Verdana"/>
                <a:ea typeface="Verdana"/>
                <a:cs typeface="Verdana"/>
                <a:sym typeface="Verdana"/>
              </a:defRPr>
            </a:lvl2pPr>
            <a:lvl3pPr marL="914446" lvl="2" indent="-287881" algn="l">
              <a:lnSpc>
                <a:spcPct val="100000"/>
              </a:lnSpc>
              <a:spcBef>
                <a:spcPts val="1000"/>
              </a:spcBef>
              <a:spcAft>
                <a:spcPts val="0"/>
              </a:spcAft>
              <a:buSzPts val="3200"/>
              <a:buChar char="•"/>
              <a:defRPr sz="2133">
                <a:latin typeface="Verdana"/>
                <a:ea typeface="Verdana"/>
                <a:cs typeface="Verdana"/>
                <a:sym typeface="Verdana"/>
              </a:defRPr>
            </a:lvl3pPr>
            <a:lvl4pPr marL="1219261" lvl="3" indent="-287881" algn="l">
              <a:lnSpc>
                <a:spcPct val="100000"/>
              </a:lnSpc>
              <a:spcBef>
                <a:spcPts val="1000"/>
              </a:spcBef>
              <a:spcAft>
                <a:spcPts val="0"/>
              </a:spcAft>
              <a:buSzPts val="3200"/>
              <a:buChar char="•"/>
              <a:defRPr sz="2133">
                <a:latin typeface="Verdana"/>
                <a:ea typeface="Verdana"/>
                <a:cs typeface="Verdana"/>
                <a:sym typeface="Verdana"/>
              </a:defRPr>
            </a:lvl4pPr>
            <a:lvl5pPr marL="1524076" lvl="4" indent="-287881" algn="l">
              <a:lnSpc>
                <a:spcPct val="100000"/>
              </a:lnSpc>
              <a:spcBef>
                <a:spcPts val="1000"/>
              </a:spcBef>
              <a:spcAft>
                <a:spcPts val="0"/>
              </a:spcAft>
              <a:buSzPts val="3200"/>
              <a:buChar char="•"/>
              <a:defRPr sz="2133">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6974" name="Google Shape;6974;p571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82224884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matchingName="1_Title and Content">
  <p:cSld name="1_Title and Content 4">
    <p:spTree>
      <p:nvGrpSpPr>
        <p:cNvPr id="1" name="Shape 10877"/>
        <p:cNvGrpSpPr/>
        <p:nvPr/>
      </p:nvGrpSpPr>
      <p:grpSpPr>
        <a:xfrm>
          <a:off x="0" y="0"/>
          <a:ext cx="0" cy="0"/>
          <a:chOff x="0" y="0"/>
          <a:chExt cx="0" cy="0"/>
        </a:xfrm>
      </p:grpSpPr>
      <p:sp>
        <p:nvSpPr>
          <p:cNvPr id="10878" name="Google Shape;10878;p149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0879" name="Google Shape;10879;p1493"/>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0880" name="Google Shape;10880;p149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881" name="Google Shape;10881;p1493"/>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882" name="Google Shape;10882;p1493"/>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890.xml><?xml version="1.0" encoding="utf-8"?>
<p:sldLayout xmlns:a="http://schemas.openxmlformats.org/drawingml/2006/main" xmlns:r="http://schemas.openxmlformats.org/officeDocument/2006/relationships" xmlns:p="http://schemas.openxmlformats.org/presentationml/2006/main" matchingName="51_Title and Content">
  <p:cSld name="51_Title and Content">
    <p:spTree>
      <p:nvGrpSpPr>
        <p:cNvPr id="1" name="Shape 6975"/>
        <p:cNvGrpSpPr/>
        <p:nvPr/>
      </p:nvGrpSpPr>
      <p:grpSpPr>
        <a:xfrm>
          <a:off x="0" y="0"/>
          <a:ext cx="0" cy="0"/>
          <a:chOff x="0" y="0"/>
          <a:chExt cx="0" cy="0"/>
        </a:xfrm>
      </p:grpSpPr>
      <p:sp>
        <p:nvSpPr>
          <p:cNvPr id="6976" name="Google Shape;6976;p5719"/>
          <p:cNvSpPr/>
          <p:nvPr/>
        </p:nvSpPr>
        <p:spPr>
          <a:xfrm>
            <a:off x="0" y="6313119"/>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6977" name="Google Shape;6977;p571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6978" name="Google Shape;6978;p5719"/>
          <p:cNvSpPr/>
          <p:nvPr/>
        </p:nvSpPr>
        <p:spPr>
          <a:xfrm>
            <a:off x="0" y="6301516"/>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979" name="Google Shape;6979;p5719"/>
          <p:cNvSpPr txBox="1">
            <a:spLocks noGrp="1"/>
          </p:cNvSpPr>
          <p:nvPr>
            <p:ph type="title"/>
          </p:nvPr>
        </p:nvSpPr>
        <p:spPr>
          <a:xfrm>
            <a:off x="848991" y="806858"/>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80" name="Google Shape;6980;p5719"/>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a:latin typeface="Verdana"/>
                <a:ea typeface="Verdana"/>
                <a:cs typeface="Verdana"/>
                <a:sym typeface="Verdana"/>
              </a:defRPr>
            </a:lvl1pPr>
            <a:lvl2pPr marL="609630" lvl="1" indent="-270990" algn="l">
              <a:lnSpc>
                <a:spcPct val="100000"/>
              </a:lnSpc>
              <a:spcBef>
                <a:spcPts val="500"/>
              </a:spcBef>
              <a:spcAft>
                <a:spcPts val="0"/>
              </a:spcAft>
              <a:buSzPts val="2801"/>
              <a:buChar char="•"/>
              <a:defRPr sz="1867">
                <a:latin typeface="Verdana"/>
                <a:ea typeface="Verdana"/>
                <a:cs typeface="Verdana"/>
                <a:sym typeface="Verdana"/>
              </a:defRPr>
            </a:lvl2pPr>
            <a:lvl3pPr marL="914446" lvl="2" indent="-270989" algn="l">
              <a:lnSpc>
                <a:spcPct val="100000"/>
              </a:lnSpc>
              <a:spcBef>
                <a:spcPts val="1000"/>
              </a:spcBef>
              <a:spcAft>
                <a:spcPts val="0"/>
              </a:spcAft>
              <a:buSzPts val="2801"/>
              <a:buChar char="•"/>
              <a:defRPr sz="1867">
                <a:latin typeface="Verdana"/>
                <a:ea typeface="Verdana"/>
                <a:cs typeface="Verdana"/>
                <a:sym typeface="Verdana"/>
              </a:defRPr>
            </a:lvl3pPr>
            <a:lvl4pPr marL="1219261" lvl="3" indent="-270989" algn="l">
              <a:lnSpc>
                <a:spcPct val="100000"/>
              </a:lnSpc>
              <a:spcBef>
                <a:spcPts val="1000"/>
              </a:spcBef>
              <a:spcAft>
                <a:spcPts val="0"/>
              </a:spcAft>
              <a:buSzPts val="2801"/>
              <a:buChar char="•"/>
              <a:defRPr sz="1867">
                <a:latin typeface="Verdana"/>
                <a:ea typeface="Verdana"/>
                <a:cs typeface="Verdana"/>
                <a:sym typeface="Verdana"/>
              </a:defRPr>
            </a:lvl4pPr>
            <a:lvl5pPr marL="1524076" lvl="4" indent="-270990" algn="l">
              <a:lnSpc>
                <a:spcPct val="100000"/>
              </a:lnSpc>
              <a:spcBef>
                <a:spcPts val="1000"/>
              </a:spcBef>
              <a:spcAft>
                <a:spcPts val="0"/>
              </a:spcAft>
              <a:buSzPts val="2801"/>
              <a:buChar char="•"/>
              <a:defRPr sz="1867">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971281233"/>
      </p:ext>
    </p:extLst>
  </p:cSld>
  <p:clrMapOvr>
    <a:masterClrMapping/>
  </p:clrMapOvr>
</p:sldLayout>
</file>

<file path=ppt/slideLayouts/slideLayout1891.xml><?xml version="1.0" encoding="utf-8"?>
<p:sldLayout xmlns:a="http://schemas.openxmlformats.org/drawingml/2006/main" xmlns:r="http://schemas.openxmlformats.org/officeDocument/2006/relationships" xmlns:p="http://schemas.openxmlformats.org/presentationml/2006/main" matchingName="17_Two Section | Picture and Copy Layout">
  <p:cSld name="17_Two Section | Picture and Copy Layout">
    <p:spTree>
      <p:nvGrpSpPr>
        <p:cNvPr id="1" name="Shape 6981"/>
        <p:cNvGrpSpPr/>
        <p:nvPr/>
      </p:nvGrpSpPr>
      <p:grpSpPr>
        <a:xfrm>
          <a:off x="0" y="0"/>
          <a:ext cx="0" cy="0"/>
          <a:chOff x="0" y="0"/>
          <a:chExt cx="0" cy="0"/>
        </a:xfrm>
      </p:grpSpPr>
      <p:sp>
        <p:nvSpPr>
          <p:cNvPr id="6982" name="Google Shape;6982;p5720"/>
          <p:cNvSpPr/>
          <p:nvPr/>
        </p:nvSpPr>
        <p:spPr>
          <a:xfrm>
            <a:off x="0" y="6313119"/>
            <a:ext cx="12192000" cy="544883"/>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983" name="Google Shape;6983;p5720"/>
          <p:cNvSpPr/>
          <p:nvPr/>
        </p:nvSpPr>
        <p:spPr>
          <a:xfrm>
            <a:off x="0" y="6301516"/>
            <a:ext cx="12192000" cy="45719"/>
          </a:xfrm>
          <a:prstGeom prst="rect">
            <a:avLst/>
          </a:prstGeom>
          <a:solidFill>
            <a:srgbClr val="A4D65E"/>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6984" name="Google Shape;6984;p5720"/>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1800"/>
              <a:buNone/>
              <a:defRPr sz="1200" b="0" i="1">
                <a:solidFill>
                  <a:srgbClr val="003B5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985" name="Google Shape;6985;p5720"/>
          <p:cNvSpPr txBox="1">
            <a:spLocks noGrp="1"/>
          </p:cNvSpPr>
          <p:nvPr>
            <p:ph type="body" idx="2"/>
          </p:nvPr>
        </p:nvSpPr>
        <p:spPr>
          <a:xfrm>
            <a:off x="5549395" y="1997129"/>
            <a:ext cx="5466561" cy="3085413"/>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b="0">
                <a:solidFill>
                  <a:schemeClr val="dk1"/>
                </a:solidFill>
                <a:latin typeface="Verdana"/>
                <a:ea typeface="Verdana"/>
                <a:cs typeface="Verdana"/>
                <a:sym typeface="Verdana"/>
              </a:defRPr>
            </a:lvl1pPr>
            <a:lvl2pPr marL="609630" lvl="1" indent="-270990" algn="l">
              <a:lnSpc>
                <a:spcPct val="100000"/>
              </a:lnSpc>
              <a:spcBef>
                <a:spcPts val="500"/>
              </a:spcBef>
              <a:spcAft>
                <a:spcPts val="0"/>
              </a:spcAft>
              <a:buSzPts val="2801"/>
              <a:buChar char="•"/>
              <a:defRPr sz="1867" b="0">
                <a:solidFill>
                  <a:srgbClr val="003B5C"/>
                </a:solidFill>
                <a:latin typeface="Verdana"/>
                <a:ea typeface="Verdana"/>
                <a:cs typeface="Verdana"/>
                <a:sym typeface="Verdana"/>
              </a:defRPr>
            </a:lvl2pPr>
            <a:lvl3pPr marL="914446" lvl="2" indent="-270989"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3pPr>
            <a:lvl4pPr marL="1219261" lvl="3" indent="-270989"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4pPr>
            <a:lvl5pPr marL="1524076" lvl="4" indent="-270990" algn="l">
              <a:lnSpc>
                <a:spcPct val="100000"/>
              </a:lnSpc>
              <a:spcBef>
                <a:spcPts val="1000"/>
              </a:spcBef>
              <a:spcAft>
                <a:spcPts val="0"/>
              </a:spcAft>
              <a:buSzPts val="2801"/>
              <a:buChar char="•"/>
              <a:defRPr sz="1867" b="0">
                <a:solidFill>
                  <a:srgbClr val="003B5C"/>
                </a:solidFill>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986" name="Google Shape;6986;p5720"/>
          <p:cNvSpPr txBox="1">
            <a:spLocks noGrp="1"/>
          </p:cNvSpPr>
          <p:nvPr>
            <p:ph type="title"/>
          </p:nvPr>
        </p:nvSpPr>
        <p:spPr>
          <a:xfrm>
            <a:off x="5549395" y="1154528"/>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987" name="Google Shape;6987;p572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034785514"/>
      </p:ext>
    </p:extLst>
  </p:cSld>
  <p:clrMapOvr>
    <a:masterClrMapping/>
  </p:clrMapOvr>
</p:sldLayout>
</file>

<file path=ppt/slideLayouts/slideLayout1892.xml><?xml version="1.0" encoding="utf-8"?>
<p:sldLayout xmlns:a="http://schemas.openxmlformats.org/drawingml/2006/main" xmlns:r="http://schemas.openxmlformats.org/officeDocument/2006/relationships" xmlns:p="http://schemas.openxmlformats.org/presentationml/2006/main" showMasterSp="0" matchingName="3_Table of Content">
  <p:cSld name="3_Table of Content">
    <p:spTree>
      <p:nvGrpSpPr>
        <p:cNvPr id="1" name="Shape 6988"/>
        <p:cNvGrpSpPr/>
        <p:nvPr/>
      </p:nvGrpSpPr>
      <p:grpSpPr>
        <a:xfrm>
          <a:off x="0" y="0"/>
          <a:ext cx="0" cy="0"/>
          <a:chOff x="0" y="0"/>
          <a:chExt cx="0" cy="0"/>
        </a:xfrm>
      </p:grpSpPr>
      <p:sp>
        <p:nvSpPr>
          <p:cNvPr id="6989" name="Google Shape;6989;p5721"/>
          <p:cNvSpPr/>
          <p:nvPr/>
        </p:nvSpPr>
        <p:spPr>
          <a:xfrm>
            <a:off x="-10584" y="6620935"/>
            <a:ext cx="12213168" cy="237067"/>
          </a:xfrm>
          <a:prstGeom prst="rect">
            <a:avLst/>
          </a:prstGeom>
          <a:solidFill>
            <a:srgbClr val="767676"/>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6990" name="Google Shape;6990;p5721"/>
          <p:cNvSpPr txBox="1">
            <a:spLocks noGrp="1"/>
          </p:cNvSpPr>
          <p:nvPr>
            <p:ph type="title"/>
          </p:nvPr>
        </p:nvSpPr>
        <p:spPr>
          <a:xfrm>
            <a:off x="218116" y="224842"/>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4400"/>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91" name="Google Shape;6991;p5721"/>
          <p:cNvSpPr txBox="1">
            <a:spLocks noGrp="1"/>
          </p:cNvSpPr>
          <p:nvPr>
            <p:ph type="body" idx="1"/>
          </p:nvPr>
        </p:nvSpPr>
        <p:spPr>
          <a:xfrm>
            <a:off x="218116" y="917199"/>
            <a:ext cx="11715725" cy="4958671"/>
          </a:xfrm>
          <a:prstGeom prst="rect">
            <a:avLst/>
          </a:prstGeom>
          <a:noFill/>
          <a:ln>
            <a:noFill/>
          </a:ln>
        </p:spPr>
        <p:txBody>
          <a:bodyPr spcFirstLastPara="1" wrap="square" lIns="91425" tIns="45700" rIns="91425" bIns="45700" anchor="t" anchorCtr="0">
            <a:noAutofit/>
          </a:bodyPr>
          <a:lstStyle>
            <a:lvl1pPr marL="304815" lvl="0" indent="-270990" algn="l">
              <a:lnSpc>
                <a:spcPct val="100000"/>
              </a:lnSpc>
              <a:spcBef>
                <a:spcPts val="1000"/>
              </a:spcBef>
              <a:spcAft>
                <a:spcPts val="0"/>
              </a:spcAft>
              <a:buSzPts val="2801"/>
              <a:buFont typeface="Noto Sans Symbols"/>
              <a:buChar char="▪"/>
              <a:defRPr sz="1867" b="1"/>
            </a:lvl1pPr>
            <a:lvl2pPr marL="609630" lvl="1" indent="-270990" algn="l">
              <a:lnSpc>
                <a:spcPct val="100000"/>
              </a:lnSpc>
              <a:spcBef>
                <a:spcPts val="1000"/>
              </a:spcBef>
              <a:spcAft>
                <a:spcPts val="0"/>
              </a:spcAft>
              <a:buSzPts val="2801"/>
              <a:buFont typeface="Arial"/>
              <a:buChar char="̶"/>
              <a:defRPr sz="1867"/>
            </a:lvl2pPr>
            <a:lvl3pPr marL="914446" lvl="2" indent="-270989" algn="l">
              <a:lnSpc>
                <a:spcPct val="100000"/>
              </a:lnSpc>
              <a:spcBef>
                <a:spcPts val="1000"/>
              </a:spcBef>
              <a:spcAft>
                <a:spcPts val="0"/>
              </a:spcAft>
              <a:buSzPts val="2801"/>
              <a:buFont typeface="Arial"/>
              <a:buChar char="•"/>
              <a:defRPr sz="1867"/>
            </a:lvl3pPr>
            <a:lvl4pPr marL="1219261" lvl="3" indent="-270989" algn="l">
              <a:lnSpc>
                <a:spcPct val="100000"/>
              </a:lnSpc>
              <a:spcBef>
                <a:spcPts val="1000"/>
              </a:spcBef>
              <a:spcAft>
                <a:spcPts val="0"/>
              </a:spcAft>
              <a:buSzPts val="2801"/>
              <a:buFont typeface="Noto Sans Symbols"/>
              <a:buChar char="✔"/>
              <a:defRPr sz="1867"/>
            </a:lvl4pPr>
            <a:lvl5pPr marL="1524076" lvl="4" indent="-270990" algn="l">
              <a:lnSpc>
                <a:spcPct val="100000"/>
              </a:lnSpc>
              <a:spcBef>
                <a:spcPts val="1000"/>
              </a:spcBef>
              <a:spcAft>
                <a:spcPts val="0"/>
              </a:spcAft>
              <a:buSzPts val="2801"/>
              <a:buChar char="•"/>
              <a:defRPr sz="1867"/>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992" name="Google Shape;6992;p5721"/>
          <p:cNvSpPr txBox="1">
            <a:spLocks noGrp="1"/>
          </p:cNvSpPr>
          <p:nvPr>
            <p:ph type="body" idx="2"/>
          </p:nvPr>
        </p:nvSpPr>
        <p:spPr>
          <a:xfrm>
            <a:off x="3858939" y="5969003"/>
            <a:ext cx="8074903" cy="649817"/>
          </a:xfrm>
          <a:prstGeom prst="rect">
            <a:avLst/>
          </a:prstGeom>
          <a:noFill/>
          <a:ln>
            <a:noFill/>
          </a:ln>
        </p:spPr>
        <p:txBody>
          <a:bodyPr spcFirstLastPara="1" wrap="square" lIns="91425" tIns="45700" rIns="91425" bIns="45700" anchor="b" anchorCtr="0">
            <a:noAutofit/>
          </a:bodyPr>
          <a:lstStyle>
            <a:lvl1pPr marL="304815" lvl="0" indent="-237079" algn="l">
              <a:lnSpc>
                <a:spcPct val="100000"/>
              </a:lnSpc>
              <a:spcBef>
                <a:spcPts val="1000"/>
              </a:spcBef>
              <a:spcAft>
                <a:spcPts val="0"/>
              </a:spcAft>
              <a:buSzPts val="2000"/>
              <a:buChar char="•"/>
              <a:defRPr sz="1333" b="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993" name="Google Shape;6993;p572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6994" name="Google Shape;6994;p5721"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3" y="5969002"/>
            <a:ext cx="3704343" cy="651933"/>
          </a:xfrm>
          <a:prstGeom prst="rect">
            <a:avLst/>
          </a:prstGeom>
          <a:noFill/>
          <a:ln>
            <a:noFill/>
          </a:ln>
        </p:spPr>
      </p:pic>
    </p:spTree>
    <p:extLst>
      <p:ext uri="{BB962C8B-B14F-4D97-AF65-F5344CB8AC3E}">
        <p14:creationId xmlns:p14="http://schemas.microsoft.com/office/powerpoint/2010/main" val="1960824863"/>
      </p:ext>
    </p:extLst>
  </p:cSld>
  <p:clrMapOvr>
    <a:masterClrMapping/>
  </p:clrMapOvr>
</p:sldLayout>
</file>

<file path=ppt/slideLayouts/slideLayout1893.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6995"/>
        <p:cNvGrpSpPr/>
        <p:nvPr/>
      </p:nvGrpSpPr>
      <p:grpSpPr>
        <a:xfrm>
          <a:off x="0" y="0"/>
          <a:ext cx="0" cy="0"/>
          <a:chOff x="0" y="0"/>
          <a:chExt cx="0" cy="0"/>
        </a:xfrm>
      </p:grpSpPr>
      <p:sp>
        <p:nvSpPr>
          <p:cNvPr id="6996" name="Google Shape;6996;p5722"/>
          <p:cNvSpPr txBox="1">
            <a:spLocks noGrp="1"/>
          </p:cNvSpPr>
          <p:nvPr>
            <p:ph type="title"/>
          </p:nvPr>
        </p:nvSpPr>
        <p:spPr>
          <a:xfrm>
            <a:off x="963084" y="4406905"/>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6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97" name="Google Shape;6997;p5722"/>
          <p:cNvSpPr txBox="1">
            <a:spLocks noGrp="1"/>
          </p:cNvSpPr>
          <p:nvPr>
            <p:ph type="body" idx="1"/>
          </p:nvPr>
        </p:nvSpPr>
        <p:spPr>
          <a:xfrm>
            <a:off x="963084" y="2906715"/>
            <a:ext cx="10363200" cy="1500187"/>
          </a:xfrm>
          <a:prstGeom prst="rect">
            <a:avLst/>
          </a:prstGeom>
          <a:noFill/>
          <a:ln>
            <a:noFill/>
          </a:ln>
        </p:spPr>
        <p:txBody>
          <a:bodyPr spcFirstLastPara="1" wrap="square" lIns="91425" tIns="45700" rIns="91425" bIns="45700" anchor="b" anchorCtr="0">
            <a:noAutofit/>
          </a:bodyPr>
          <a:lstStyle>
            <a:lvl1pPr marL="304815" lvl="0" indent="-152408" algn="l">
              <a:lnSpc>
                <a:spcPct val="100000"/>
              </a:lnSpc>
              <a:spcBef>
                <a:spcPts val="1000"/>
              </a:spcBef>
              <a:spcAft>
                <a:spcPts val="0"/>
              </a:spcAft>
              <a:buSzPts val="3000"/>
              <a:buNone/>
              <a:defRPr sz="2000">
                <a:solidFill>
                  <a:srgbClr val="919497"/>
                </a:solidFill>
              </a:defRPr>
            </a:lvl1pPr>
            <a:lvl2pPr marL="609630" lvl="1" indent="-152408" algn="l">
              <a:lnSpc>
                <a:spcPct val="100000"/>
              </a:lnSpc>
              <a:spcBef>
                <a:spcPts val="1000"/>
              </a:spcBef>
              <a:spcAft>
                <a:spcPts val="0"/>
              </a:spcAft>
              <a:buSzPts val="2700"/>
              <a:buNone/>
              <a:defRPr sz="1800">
                <a:solidFill>
                  <a:srgbClr val="919497"/>
                </a:solidFill>
              </a:defRPr>
            </a:lvl2pPr>
            <a:lvl3pPr marL="914446" lvl="2" indent="-152408" algn="l">
              <a:lnSpc>
                <a:spcPct val="100000"/>
              </a:lnSpc>
              <a:spcBef>
                <a:spcPts val="1000"/>
              </a:spcBef>
              <a:spcAft>
                <a:spcPts val="0"/>
              </a:spcAft>
              <a:buSzPts val="2400"/>
              <a:buNone/>
              <a:defRPr sz="1600">
                <a:solidFill>
                  <a:srgbClr val="919497"/>
                </a:solidFill>
              </a:defRPr>
            </a:lvl3pPr>
            <a:lvl4pPr marL="1219261" lvl="3" indent="-152408" algn="l">
              <a:lnSpc>
                <a:spcPct val="100000"/>
              </a:lnSpc>
              <a:spcBef>
                <a:spcPts val="1000"/>
              </a:spcBef>
              <a:spcAft>
                <a:spcPts val="0"/>
              </a:spcAft>
              <a:buSzPts val="2100"/>
              <a:buNone/>
              <a:defRPr sz="1400">
                <a:solidFill>
                  <a:srgbClr val="919497"/>
                </a:solidFill>
              </a:defRPr>
            </a:lvl4pPr>
            <a:lvl5pPr marL="1524076" lvl="4" indent="-152408" algn="l">
              <a:lnSpc>
                <a:spcPct val="100000"/>
              </a:lnSpc>
              <a:spcBef>
                <a:spcPts val="1000"/>
              </a:spcBef>
              <a:spcAft>
                <a:spcPts val="0"/>
              </a:spcAft>
              <a:buSzPts val="2100"/>
              <a:buNone/>
              <a:defRPr sz="1400">
                <a:solidFill>
                  <a:srgbClr val="919497"/>
                </a:solidFill>
              </a:defRPr>
            </a:lvl5pPr>
            <a:lvl6pPr marL="1828891" lvl="5" indent="-152408" algn="l">
              <a:lnSpc>
                <a:spcPct val="90000"/>
              </a:lnSpc>
              <a:spcBef>
                <a:spcPts val="1000"/>
              </a:spcBef>
              <a:spcAft>
                <a:spcPts val="0"/>
              </a:spcAft>
              <a:buClr>
                <a:srgbClr val="919497"/>
              </a:buClr>
              <a:buSzPts val="2100"/>
              <a:buNone/>
              <a:defRPr sz="1400">
                <a:solidFill>
                  <a:srgbClr val="919497"/>
                </a:solidFill>
              </a:defRPr>
            </a:lvl6pPr>
            <a:lvl7pPr marL="2133707" lvl="6" indent="-152408" algn="l">
              <a:lnSpc>
                <a:spcPct val="90000"/>
              </a:lnSpc>
              <a:spcBef>
                <a:spcPts val="500"/>
              </a:spcBef>
              <a:spcAft>
                <a:spcPts val="0"/>
              </a:spcAft>
              <a:buClr>
                <a:srgbClr val="919497"/>
              </a:buClr>
              <a:buSzPts val="2100"/>
              <a:buNone/>
              <a:defRPr sz="1400">
                <a:solidFill>
                  <a:srgbClr val="919497"/>
                </a:solidFill>
              </a:defRPr>
            </a:lvl7pPr>
            <a:lvl8pPr marL="2438522" lvl="7" indent="-152408" algn="l">
              <a:lnSpc>
                <a:spcPct val="90000"/>
              </a:lnSpc>
              <a:spcBef>
                <a:spcPts val="500"/>
              </a:spcBef>
              <a:spcAft>
                <a:spcPts val="0"/>
              </a:spcAft>
              <a:buClr>
                <a:srgbClr val="919497"/>
              </a:buClr>
              <a:buSzPts val="2100"/>
              <a:buNone/>
              <a:defRPr sz="1400">
                <a:solidFill>
                  <a:srgbClr val="919497"/>
                </a:solidFill>
              </a:defRPr>
            </a:lvl8pPr>
            <a:lvl9pPr marL="2743337" lvl="8" indent="-152408" algn="l">
              <a:lnSpc>
                <a:spcPct val="90000"/>
              </a:lnSpc>
              <a:spcBef>
                <a:spcPts val="500"/>
              </a:spcBef>
              <a:spcAft>
                <a:spcPts val="0"/>
              </a:spcAft>
              <a:buClr>
                <a:srgbClr val="919497"/>
              </a:buClr>
              <a:buSzPts val="2100"/>
              <a:buNone/>
              <a:defRPr sz="1400">
                <a:solidFill>
                  <a:srgbClr val="919497"/>
                </a:solidFill>
              </a:defRPr>
            </a:lvl9pPr>
          </a:lstStyle>
          <a:p>
            <a:endParaRPr/>
          </a:p>
        </p:txBody>
      </p:sp>
      <p:sp>
        <p:nvSpPr>
          <p:cNvPr id="6998" name="Google Shape;6998;p5722"/>
          <p:cNvSpPr txBox="1">
            <a:spLocks noGrp="1"/>
          </p:cNvSpPr>
          <p:nvPr>
            <p:ph type="dt" idx="10"/>
          </p:nvPr>
        </p:nvSpPr>
        <p:spPr>
          <a:xfrm>
            <a:off x="0" y="0"/>
            <a:ext cx="2000000" cy="2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9pPr>
          </a:lstStyle>
          <a:p>
            <a:endParaRPr/>
          </a:p>
        </p:txBody>
      </p:sp>
      <p:sp>
        <p:nvSpPr>
          <p:cNvPr id="6999" name="Google Shape;6999;p572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000" name="Google Shape;7000;p572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extLst>
      <p:ext uri="{BB962C8B-B14F-4D97-AF65-F5344CB8AC3E}">
        <p14:creationId xmlns:p14="http://schemas.microsoft.com/office/powerpoint/2010/main" val="3772024878"/>
      </p:ext>
    </p:extLst>
  </p:cSld>
  <p:clrMapOvr>
    <a:masterClrMapping/>
  </p:clrMapOvr>
</p:sldLayout>
</file>

<file path=ppt/slideLayouts/slideLayout1894.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7001"/>
        <p:cNvGrpSpPr/>
        <p:nvPr/>
      </p:nvGrpSpPr>
      <p:grpSpPr>
        <a:xfrm>
          <a:off x="0" y="0"/>
          <a:ext cx="0" cy="0"/>
          <a:chOff x="0" y="0"/>
          <a:chExt cx="0" cy="0"/>
        </a:xfrm>
      </p:grpSpPr>
      <p:sp>
        <p:nvSpPr>
          <p:cNvPr id="7002" name="Google Shape;7002;p5723"/>
          <p:cNvSpPr txBox="1">
            <a:spLocks noGrp="1"/>
          </p:cNvSpPr>
          <p:nvPr>
            <p:ph type="title"/>
          </p:nvPr>
        </p:nvSpPr>
        <p:spPr>
          <a:xfrm>
            <a:off x="609605" y="273053"/>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3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03" name="Google Shape;7003;p5723"/>
          <p:cNvSpPr txBox="1">
            <a:spLocks noGrp="1"/>
          </p:cNvSpPr>
          <p:nvPr>
            <p:ph type="body" idx="1"/>
          </p:nvPr>
        </p:nvSpPr>
        <p:spPr>
          <a:xfrm>
            <a:off x="4766735" y="273056"/>
            <a:ext cx="6815667" cy="5853113"/>
          </a:xfrm>
          <a:prstGeom prst="rect">
            <a:avLst/>
          </a:prstGeom>
          <a:noFill/>
          <a:ln>
            <a:noFill/>
          </a:ln>
        </p:spPr>
        <p:txBody>
          <a:bodyPr spcFirstLastPara="1" wrap="square" lIns="91425" tIns="45700" rIns="91425" bIns="45700" anchor="t" anchorCtr="0">
            <a:noAutofit/>
          </a:bodyPr>
          <a:lstStyle>
            <a:lvl1pPr marL="304815" lvl="0" indent="-355618" algn="l">
              <a:lnSpc>
                <a:spcPct val="100000"/>
              </a:lnSpc>
              <a:spcBef>
                <a:spcPts val="1000"/>
              </a:spcBef>
              <a:spcAft>
                <a:spcPts val="0"/>
              </a:spcAft>
              <a:buSzPts val="4800"/>
              <a:buChar char="•"/>
              <a:defRPr sz="3200"/>
            </a:lvl1pPr>
            <a:lvl2pPr marL="609630" lvl="1" indent="-330217" algn="l">
              <a:lnSpc>
                <a:spcPct val="100000"/>
              </a:lnSpc>
              <a:spcBef>
                <a:spcPts val="1000"/>
              </a:spcBef>
              <a:spcAft>
                <a:spcPts val="0"/>
              </a:spcAft>
              <a:buSzPts val="4200"/>
              <a:buChar char="•"/>
              <a:defRPr sz="2800"/>
            </a:lvl2pPr>
            <a:lvl3pPr marL="914446" lvl="2" indent="-304815" algn="l">
              <a:lnSpc>
                <a:spcPct val="100000"/>
              </a:lnSpc>
              <a:spcBef>
                <a:spcPts val="1000"/>
              </a:spcBef>
              <a:spcAft>
                <a:spcPts val="0"/>
              </a:spcAft>
              <a:buSzPts val="3600"/>
              <a:buChar char="•"/>
              <a:defRPr sz="2400"/>
            </a:lvl3pPr>
            <a:lvl4pPr marL="1219261" lvl="3" indent="-279414" algn="l">
              <a:lnSpc>
                <a:spcPct val="100000"/>
              </a:lnSpc>
              <a:spcBef>
                <a:spcPts val="1000"/>
              </a:spcBef>
              <a:spcAft>
                <a:spcPts val="0"/>
              </a:spcAft>
              <a:buSzPts val="3000"/>
              <a:buChar char="•"/>
              <a:defRPr sz="2000"/>
            </a:lvl4pPr>
            <a:lvl5pPr marL="1524076" lvl="4" indent="-279414" algn="l">
              <a:lnSpc>
                <a:spcPct val="100000"/>
              </a:lnSpc>
              <a:spcBef>
                <a:spcPts val="1000"/>
              </a:spcBef>
              <a:spcAft>
                <a:spcPts val="0"/>
              </a:spcAft>
              <a:buSzPts val="3000"/>
              <a:buChar char="•"/>
              <a:defRPr sz="2000"/>
            </a:lvl5pPr>
            <a:lvl6pPr marL="1828891" lvl="5" indent="-279414" algn="l">
              <a:lnSpc>
                <a:spcPct val="90000"/>
              </a:lnSpc>
              <a:spcBef>
                <a:spcPts val="1000"/>
              </a:spcBef>
              <a:spcAft>
                <a:spcPts val="0"/>
              </a:spcAft>
              <a:buClr>
                <a:schemeClr val="dk1"/>
              </a:buClr>
              <a:buSzPts val="3000"/>
              <a:buChar char="•"/>
              <a:defRPr sz="2000"/>
            </a:lvl6pPr>
            <a:lvl7pPr marL="2133707" lvl="6" indent="-279414" algn="l">
              <a:lnSpc>
                <a:spcPct val="90000"/>
              </a:lnSpc>
              <a:spcBef>
                <a:spcPts val="500"/>
              </a:spcBef>
              <a:spcAft>
                <a:spcPts val="0"/>
              </a:spcAft>
              <a:buClr>
                <a:schemeClr val="dk1"/>
              </a:buClr>
              <a:buSzPts val="3000"/>
              <a:buChar char="•"/>
              <a:defRPr sz="2000"/>
            </a:lvl7pPr>
            <a:lvl8pPr marL="2438522" lvl="7" indent="-279414" algn="l">
              <a:lnSpc>
                <a:spcPct val="90000"/>
              </a:lnSpc>
              <a:spcBef>
                <a:spcPts val="500"/>
              </a:spcBef>
              <a:spcAft>
                <a:spcPts val="0"/>
              </a:spcAft>
              <a:buClr>
                <a:schemeClr val="dk1"/>
              </a:buClr>
              <a:buSzPts val="3000"/>
              <a:buChar char="•"/>
              <a:defRPr sz="2000"/>
            </a:lvl8pPr>
            <a:lvl9pPr marL="2743337" lvl="8" indent="-279414" algn="l">
              <a:lnSpc>
                <a:spcPct val="90000"/>
              </a:lnSpc>
              <a:spcBef>
                <a:spcPts val="500"/>
              </a:spcBef>
              <a:spcAft>
                <a:spcPts val="0"/>
              </a:spcAft>
              <a:buClr>
                <a:schemeClr val="dk1"/>
              </a:buClr>
              <a:buSzPts val="3000"/>
              <a:buChar char="•"/>
              <a:defRPr sz="2000"/>
            </a:lvl9pPr>
          </a:lstStyle>
          <a:p>
            <a:endParaRPr/>
          </a:p>
        </p:txBody>
      </p:sp>
      <p:sp>
        <p:nvSpPr>
          <p:cNvPr id="7004" name="Google Shape;7004;p5723"/>
          <p:cNvSpPr txBox="1">
            <a:spLocks noGrp="1"/>
          </p:cNvSpPr>
          <p:nvPr>
            <p:ph type="body" idx="2"/>
          </p:nvPr>
        </p:nvSpPr>
        <p:spPr>
          <a:xfrm>
            <a:off x="609605" y="1435104"/>
            <a:ext cx="4011084" cy="46910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100"/>
              <a:buNone/>
              <a:defRPr sz="1400"/>
            </a:lvl1pPr>
            <a:lvl2pPr marL="609630" lvl="1" indent="-152408" algn="l">
              <a:lnSpc>
                <a:spcPct val="100000"/>
              </a:lnSpc>
              <a:spcBef>
                <a:spcPts val="1000"/>
              </a:spcBef>
              <a:spcAft>
                <a:spcPts val="0"/>
              </a:spcAft>
              <a:buSzPts val="1800"/>
              <a:buNone/>
              <a:defRPr sz="1200"/>
            </a:lvl2pPr>
            <a:lvl3pPr marL="914446" lvl="2" indent="-152408" algn="l">
              <a:lnSpc>
                <a:spcPct val="100000"/>
              </a:lnSpc>
              <a:spcBef>
                <a:spcPts val="1000"/>
              </a:spcBef>
              <a:spcAft>
                <a:spcPts val="0"/>
              </a:spcAft>
              <a:buSzPts val="1500"/>
              <a:buNone/>
              <a:defRPr sz="1000"/>
            </a:lvl3pPr>
            <a:lvl4pPr marL="1219261" lvl="3" indent="-152408" algn="l">
              <a:lnSpc>
                <a:spcPct val="100000"/>
              </a:lnSpc>
              <a:spcBef>
                <a:spcPts val="1000"/>
              </a:spcBef>
              <a:spcAft>
                <a:spcPts val="0"/>
              </a:spcAft>
              <a:buSzPts val="1350"/>
              <a:buNone/>
              <a:defRPr sz="900"/>
            </a:lvl4pPr>
            <a:lvl5pPr marL="1524076" lvl="4" indent="-152408" algn="l">
              <a:lnSpc>
                <a:spcPct val="100000"/>
              </a:lnSpc>
              <a:spcBef>
                <a:spcPts val="1000"/>
              </a:spcBef>
              <a:spcAft>
                <a:spcPts val="0"/>
              </a:spcAft>
              <a:buSzPts val="1350"/>
              <a:buNone/>
              <a:defRPr sz="900"/>
            </a:lvl5pPr>
            <a:lvl6pPr marL="1828891" lvl="5" indent="-152408" algn="l">
              <a:lnSpc>
                <a:spcPct val="90000"/>
              </a:lnSpc>
              <a:spcBef>
                <a:spcPts val="1000"/>
              </a:spcBef>
              <a:spcAft>
                <a:spcPts val="0"/>
              </a:spcAft>
              <a:buClr>
                <a:schemeClr val="dk1"/>
              </a:buClr>
              <a:buSzPts val="1350"/>
              <a:buNone/>
              <a:defRPr sz="900"/>
            </a:lvl6pPr>
            <a:lvl7pPr marL="2133707" lvl="6" indent="-152408" algn="l">
              <a:lnSpc>
                <a:spcPct val="90000"/>
              </a:lnSpc>
              <a:spcBef>
                <a:spcPts val="500"/>
              </a:spcBef>
              <a:spcAft>
                <a:spcPts val="0"/>
              </a:spcAft>
              <a:buClr>
                <a:schemeClr val="dk1"/>
              </a:buClr>
              <a:buSzPts val="1350"/>
              <a:buNone/>
              <a:defRPr sz="900"/>
            </a:lvl7pPr>
            <a:lvl8pPr marL="2438522" lvl="7" indent="-152408" algn="l">
              <a:lnSpc>
                <a:spcPct val="90000"/>
              </a:lnSpc>
              <a:spcBef>
                <a:spcPts val="500"/>
              </a:spcBef>
              <a:spcAft>
                <a:spcPts val="0"/>
              </a:spcAft>
              <a:buClr>
                <a:schemeClr val="dk1"/>
              </a:buClr>
              <a:buSzPts val="1350"/>
              <a:buNone/>
              <a:defRPr sz="900"/>
            </a:lvl8pPr>
            <a:lvl9pPr marL="2743337" lvl="8" indent="-152408" algn="l">
              <a:lnSpc>
                <a:spcPct val="90000"/>
              </a:lnSpc>
              <a:spcBef>
                <a:spcPts val="500"/>
              </a:spcBef>
              <a:spcAft>
                <a:spcPts val="0"/>
              </a:spcAft>
              <a:buClr>
                <a:schemeClr val="dk1"/>
              </a:buClr>
              <a:buSzPts val="1350"/>
              <a:buNone/>
              <a:defRPr sz="900"/>
            </a:lvl9pPr>
          </a:lstStyle>
          <a:p>
            <a:endParaRPr/>
          </a:p>
        </p:txBody>
      </p:sp>
      <p:sp>
        <p:nvSpPr>
          <p:cNvPr id="7005" name="Google Shape;7005;p5723"/>
          <p:cNvSpPr txBox="1">
            <a:spLocks noGrp="1"/>
          </p:cNvSpPr>
          <p:nvPr>
            <p:ph type="dt" idx="10"/>
          </p:nvPr>
        </p:nvSpPr>
        <p:spPr>
          <a:xfrm>
            <a:off x="0" y="0"/>
            <a:ext cx="2000000" cy="2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9pPr>
          </a:lstStyle>
          <a:p>
            <a:endParaRPr/>
          </a:p>
        </p:txBody>
      </p:sp>
      <p:sp>
        <p:nvSpPr>
          <p:cNvPr id="7006" name="Google Shape;7006;p572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007" name="Google Shape;7007;p572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extLst>
      <p:ext uri="{BB962C8B-B14F-4D97-AF65-F5344CB8AC3E}">
        <p14:creationId xmlns:p14="http://schemas.microsoft.com/office/powerpoint/2010/main" val="2860956078"/>
      </p:ext>
    </p:extLst>
  </p:cSld>
  <p:clrMapOvr>
    <a:masterClrMapping/>
  </p:clrMapOvr>
</p:sldLayout>
</file>

<file path=ppt/slideLayouts/slideLayout1895.xml><?xml version="1.0" encoding="utf-8"?>
<p:sldLayout xmlns:a="http://schemas.openxmlformats.org/drawingml/2006/main" xmlns:r="http://schemas.openxmlformats.org/officeDocument/2006/relationships" xmlns:p="http://schemas.openxmlformats.org/presentationml/2006/main" showMasterSp="0" matchingName="2_EVERYDAY - CONTENT ONLY">
  <p:cSld name="2_EVERYDAY - CONTENT ONLY">
    <p:spTree>
      <p:nvGrpSpPr>
        <p:cNvPr id="1" name="Shape 7008"/>
        <p:cNvGrpSpPr/>
        <p:nvPr/>
      </p:nvGrpSpPr>
      <p:grpSpPr>
        <a:xfrm>
          <a:off x="0" y="0"/>
          <a:ext cx="0" cy="0"/>
          <a:chOff x="0" y="0"/>
          <a:chExt cx="0" cy="0"/>
        </a:xfrm>
      </p:grpSpPr>
      <p:sp>
        <p:nvSpPr>
          <p:cNvPr id="7009" name="Google Shape;7009;p5724"/>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7010" name="Google Shape;7010;p5724"/>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3137"/>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525" b="0" i="0" u="none" strike="noStrike" cap="none">
              <a:solidFill>
                <a:srgbClr val="FFFFFF"/>
              </a:solidFill>
              <a:latin typeface="Helvetica Neue"/>
              <a:ea typeface="Helvetica Neue"/>
              <a:cs typeface="Helvetica Neue"/>
              <a:sym typeface="Helvetica Neue"/>
            </a:endParaRPr>
          </a:p>
        </p:txBody>
      </p:sp>
      <p:sp>
        <p:nvSpPr>
          <p:cNvPr id="7011" name="Google Shape;7011;p5724"/>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304815" lvl="0" indent="-304815" algn="l">
              <a:lnSpc>
                <a:spcPct val="100000"/>
              </a:lnSpc>
              <a:spcBef>
                <a:spcPts val="1000"/>
              </a:spcBef>
              <a:spcAft>
                <a:spcPts val="0"/>
              </a:spcAft>
              <a:buSzPts val="3600"/>
              <a:buChar char="•"/>
              <a:defRPr>
                <a:solidFill>
                  <a:srgbClr val="4B545E"/>
                </a:solidFill>
              </a:defRPr>
            </a:lvl1pPr>
            <a:lvl2pPr marL="609630" lvl="1" indent="-279414" algn="l">
              <a:lnSpc>
                <a:spcPct val="100000"/>
              </a:lnSpc>
              <a:spcBef>
                <a:spcPts val="1000"/>
              </a:spcBef>
              <a:spcAft>
                <a:spcPts val="0"/>
              </a:spcAft>
              <a:buSzPts val="3000"/>
              <a:buChar char="•"/>
              <a:defRPr>
                <a:solidFill>
                  <a:srgbClr val="4B545E"/>
                </a:solidFill>
              </a:defRPr>
            </a:lvl2pPr>
            <a:lvl3pPr marL="914446" lvl="2" indent="-266713" algn="l">
              <a:lnSpc>
                <a:spcPct val="100000"/>
              </a:lnSpc>
              <a:spcBef>
                <a:spcPts val="1000"/>
              </a:spcBef>
              <a:spcAft>
                <a:spcPts val="0"/>
              </a:spcAft>
              <a:buSzPts val="2700"/>
              <a:buChar char="•"/>
              <a:defRPr>
                <a:solidFill>
                  <a:srgbClr val="4B545E"/>
                </a:solidFill>
              </a:defRPr>
            </a:lvl3pPr>
            <a:lvl4pPr marL="1219261" lvl="3" indent="-254013" algn="l">
              <a:lnSpc>
                <a:spcPct val="100000"/>
              </a:lnSpc>
              <a:spcBef>
                <a:spcPts val="1000"/>
              </a:spcBef>
              <a:spcAft>
                <a:spcPts val="0"/>
              </a:spcAft>
              <a:buSzPts val="2400"/>
              <a:buChar char="•"/>
              <a:defRPr>
                <a:solidFill>
                  <a:srgbClr val="4B545E"/>
                </a:solidFill>
              </a:defRPr>
            </a:lvl4pPr>
            <a:lvl5pPr marL="1524076" lvl="4" indent="-254013" algn="l">
              <a:lnSpc>
                <a:spcPct val="100000"/>
              </a:lnSpc>
              <a:spcBef>
                <a:spcPts val="1000"/>
              </a:spcBef>
              <a:spcAft>
                <a:spcPts val="0"/>
              </a:spcAft>
              <a:buSzPts val="2400"/>
              <a:buChar char="•"/>
              <a:defRPr>
                <a:solidFill>
                  <a:srgbClr val="4B545E"/>
                </a:solidFill>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7012" name="Google Shape;7012;p5724"/>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3137"/>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525" b="0" i="0" u="none" strike="noStrike" cap="none">
              <a:solidFill>
                <a:srgbClr val="FFFFFF"/>
              </a:solidFill>
              <a:latin typeface="Helvetica Neue"/>
              <a:ea typeface="Helvetica Neue"/>
              <a:cs typeface="Helvetica Neue"/>
              <a:sym typeface="Helvetica Neue"/>
            </a:endParaRPr>
          </a:p>
        </p:txBody>
      </p:sp>
      <p:sp>
        <p:nvSpPr>
          <p:cNvPr id="7013" name="Google Shape;7013;p5724"/>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48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14" name="Google Shape;7014;p5724"/>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304815" lvl="0" indent="-152408" algn="l">
              <a:lnSpc>
                <a:spcPct val="100000"/>
              </a:lnSpc>
              <a:spcBef>
                <a:spcPts val="1000"/>
              </a:spcBef>
              <a:spcAft>
                <a:spcPts val="0"/>
              </a:spcAft>
              <a:buSzPts val="2100"/>
              <a:buNone/>
              <a:defRPr sz="1400">
                <a:solidFill>
                  <a:schemeClr val="lt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7015" name="Google Shape;7015;p5724"/>
          <p:cNvCxnSpPr/>
          <p:nvPr/>
        </p:nvCxnSpPr>
        <p:spPr>
          <a:xfrm>
            <a:off x="11311725" y="6447274"/>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7016" name="Google Shape;7016;p5724"/>
          <p:cNvSpPr txBox="1">
            <a:spLocks noGrp="1"/>
          </p:cNvSpPr>
          <p:nvPr>
            <p:ph type="sldNum" idx="12"/>
          </p:nvPr>
        </p:nvSpPr>
        <p:spPr>
          <a:xfrm>
            <a:off x="11202595" y="6454535"/>
            <a:ext cx="559704" cy="31917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1pPr>
            <a:lvl2pPr marL="0" lvl="1"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2pPr>
            <a:lvl3pPr marL="0" lvl="2"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3pPr>
            <a:lvl4pPr marL="0" lvl="3"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4pPr>
            <a:lvl5pPr marL="0" lvl="4"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5pPr>
            <a:lvl6pPr marL="0" lvl="5"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6pPr>
            <a:lvl7pPr marL="0" lvl="6"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7pPr>
            <a:lvl8pPr marL="0" lvl="7"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8pPr>
            <a:lvl9pPr marL="0" lvl="8"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7017" name="Google Shape;7017;p5724"/>
          <p:cNvPicPr preferRelativeResize="0"/>
          <p:nvPr/>
        </p:nvPicPr>
        <p:blipFill rotWithShape="1">
          <a:blip r:embed="rId2">
            <a:alphaModFix/>
          </a:blip>
          <a:srcRect/>
          <a:stretch/>
        </p:blipFill>
        <p:spPr>
          <a:xfrm>
            <a:off x="9596463" y="6492240"/>
            <a:ext cx="1606135" cy="229238"/>
          </a:xfrm>
          <a:prstGeom prst="rect">
            <a:avLst/>
          </a:prstGeom>
          <a:noFill/>
          <a:ln>
            <a:noFill/>
          </a:ln>
        </p:spPr>
      </p:pic>
    </p:spTree>
    <p:extLst>
      <p:ext uri="{BB962C8B-B14F-4D97-AF65-F5344CB8AC3E}">
        <p14:creationId xmlns:p14="http://schemas.microsoft.com/office/powerpoint/2010/main" val="3569468041"/>
      </p:ext>
    </p:extLst>
  </p:cSld>
  <p:clrMapOvr>
    <a:masterClrMapping/>
  </p:clrMapOvr>
</p:sldLayout>
</file>

<file path=ppt/slideLayouts/slideLayout1896.xml><?xml version="1.0" encoding="utf-8"?>
<p:sldLayout xmlns:a="http://schemas.openxmlformats.org/drawingml/2006/main" xmlns:r="http://schemas.openxmlformats.org/officeDocument/2006/relationships" xmlns:p="http://schemas.openxmlformats.org/presentationml/2006/main" matchingName="Title and Content">
  <p:cSld name="14_Title and Content">
    <p:spTree>
      <p:nvGrpSpPr>
        <p:cNvPr id="1" name="Shape 7018"/>
        <p:cNvGrpSpPr/>
        <p:nvPr/>
      </p:nvGrpSpPr>
      <p:grpSpPr>
        <a:xfrm>
          <a:off x="0" y="0"/>
          <a:ext cx="0" cy="0"/>
          <a:chOff x="0" y="0"/>
          <a:chExt cx="0" cy="0"/>
        </a:xfrm>
      </p:grpSpPr>
      <p:grpSp>
        <p:nvGrpSpPr>
          <p:cNvPr id="7019" name="Google Shape;7019;p5725"/>
          <p:cNvGrpSpPr/>
          <p:nvPr/>
        </p:nvGrpSpPr>
        <p:grpSpPr>
          <a:xfrm>
            <a:off x="7191544" y="1"/>
            <a:ext cx="5000459" cy="1425992"/>
            <a:chOff x="7191542" y="1"/>
            <a:chExt cx="5000459" cy="1425992"/>
          </a:xfrm>
        </p:grpSpPr>
        <p:pic>
          <p:nvPicPr>
            <p:cNvPr id="7020" name="Google Shape;7020;p57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21" name="Google Shape;7021;p5725"/>
            <p:cNvGrpSpPr/>
            <p:nvPr/>
          </p:nvGrpSpPr>
          <p:grpSpPr>
            <a:xfrm>
              <a:off x="7191542" y="1"/>
              <a:ext cx="5000459" cy="1425992"/>
              <a:chOff x="7186272" y="0"/>
              <a:chExt cx="5005729" cy="1427495"/>
            </a:xfrm>
          </p:grpSpPr>
          <p:sp>
            <p:nvSpPr>
              <p:cNvPr id="7022" name="Google Shape;7022;p57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023" name="Google Shape;7023;p57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024" name="Google Shape;7024;p5725"/>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025" name="Google Shape;7025;p5725"/>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7026" name="Google Shape;7026;p572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7027" name="Google Shape;7027;p57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28" name="Google Shape;7028;p5725"/>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219843522"/>
      </p:ext>
    </p:extLst>
  </p:cSld>
  <p:clrMapOvr>
    <a:masterClrMapping/>
  </p:clrMapOvr>
</p:sldLayout>
</file>

<file path=ppt/slideLayouts/slideLayout1897.xml><?xml version="1.0" encoding="utf-8"?>
<p:sldLayout xmlns:a="http://schemas.openxmlformats.org/drawingml/2006/main" xmlns:r="http://schemas.openxmlformats.org/officeDocument/2006/relationships" xmlns:p="http://schemas.openxmlformats.org/presentationml/2006/main" matchingName="Photo Slide">
  <p:cSld name="28_Photo Slide">
    <p:spTree>
      <p:nvGrpSpPr>
        <p:cNvPr id="1" name="Shape 7029"/>
        <p:cNvGrpSpPr/>
        <p:nvPr/>
      </p:nvGrpSpPr>
      <p:grpSpPr>
        <a:xfrm>
          <a:off x="0" y="0"/>
          <a:ext cx="0" cy="0"/>
          <a:chOff x="0" y="0"/>
          <a:chExt cx="0" cy="0"/>
        </a:xfrm>
      </p:grpSpPr>
      <p:sp>
        <p:nvSpPr>
          <p:cNvPr id="7030" name="Google Shape;7030;p5726"/>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7031" name="Google Shape;7031;p572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032" name="Google Shape;7032;p5726"/>
          <p:cNvGrpSpPr/>
          <p:nvPr/>
        </p:nvGrpSpPr>
        <p:grpSpPr>
          <a:xfrm>
            <a:off x="0" y="5379428"/>
            <a:ext cx="2807368" cy="753891"/>
            <a:chOff x="0" y="5379426"/>
            <a:chExt cx="2807368" cy="753891"/>
          </a:xfrm>
        </p:grpSpPr>
        <p:sp>
          <p:nvSpPr>
            <p:cNvPr id="7033" name="Google Shape;7033;p572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034" name="Google Shape;7034;p572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7035" name="Google Shape;7035;p5726"/>
          <p:cNvSpPr>
            <a:spLocks noGrp="1"/>
          </p:cNvSpPr>
          <p:nvPr>
            <p:ph type="pic" idx="2"/>
          </p:nvPr>
        </p:nvSpPr>
        <p:spPr>
          <a:xfrm>
            <a:off x="2807368" y="457202"/>
            <a:ext cx="8915400" cy="5943598"/>
          </a:xfrm>
          <a:prstGeom prst="rect">
            <a:avLst/>
          </a:prstGeom>
          <a:noFill/>
          <a:ln>
            <a:noFill/>
          </a:ln>
        </p:spPr>
      </p:sp>
      <p:pic>
        <p:nvPicPr>
          <p:cNvPr id="7036" name="Google Shape;7036;p5726"/>
          <p:cNvPicPr preferRelativeResize="0"/>
          <p:nvPr/>
        </p:nvPicPr>
        <p:blipFill rotWithShape="1">
          <a:blip r:embed="rId2">
            <a:alphaModFix/>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1633972758"/>
      </p:ext>
    </p:extLst>
  </p:cSld>
  <p:clrMapOvr>
    <a:masterClrMapping/>
  </p:clrMapOvr>
</p:sldLayout>
</file>

<file path=ppt/slideLayouts/slideLayout1898.xml><?xml version="1.0" encoding="utf-8"?>
<p:sldLayout xmlns:a="http://schemas.openxmlformats.org/drawingml/2006/main" xmlns:r="http://schemas.openxmlformats.org/officeDocument/2006/relationships" xmlns:p="http://schemas.openxmlformats.org/presentationml/2006/main" matchingName="Photo Slide">
  <p:cSld name="28_Photo Slide">
    <p:spTree>
      <p:nvGrpSpPr>
        <p:cNvPr id="1" name="Shape 7037"/>
        <p:cNvGrpSpPr/>
        <p:nvPr/>
      </p:nvGrpSpPr>
      <p:grpSpPr>
        <a:xfrm>
          <a:off x="0" y="0"/>
          <a:ext cx="0" cy="0"/>
          <a:chOff x="0" y="0"/>
          <a:chExt cx="0" cy="0"/>
        </a:xfrm>
      </p:grpSpPr>
      <p:sp>
        <p:nvSpPr>
          <p:cNvPr id="7038" name="Google Shape;7038;p5727"/>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7039" name="Google Shape;7039;p572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040" name="Google Shape;7040;p5727"/>
          <p:cNvGrpSpPr/>
          <p:nvPr/>
        </p:nvGrpSpPr>
        <p:grpSpPr>
          <a:xfrm>
            <a:off x="0" y="5379428"/>
            <a:ext cx="2807368" cy="753891"/>
            <a:chOff x="0" y="5379426"/>
            <a:chExt cx="2807368" cy="753891"/>
          </a:xfrm>
        </p:grpSpPr>
        <p:sp>
          <p:nvSpPr>
            <p:cNvPr id="7041" name="Google Shape;7041;p572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042" name="Google Shape;7042;p572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7043" name="Google Shape;7043;p5727"/>
          <p:cNvSpPr>
            <a:spLocks noGrp="1"/>
          </p:cNvSpPr>
          <p:nvPr>
            <p:ph type="pic" idx="2"/>
          </p:nvPr>
        </p:nvSpPr>
        <p:spPr>
          <a:xfrm>
            <a:off x="2807368" y="457202"/>
            <a:ext cx="8915400" cy="5943598"/>
          </a:xfrm>
          <a:prstGeom prst="rect">
            <a:avLst/>
          </a:prstGeom>
          <a:noFill/>
          <a:ln>
            <a:noFill/>
          </a:ln>
        </p:spPr>
      </p:sp>
      <p:pic>
        <p:nvPicPr>
          <p:cNvPr id="7044" name="Google Shape;7044;p5727"/>
          <p:cNvPicPr preferRelativeResize="0"/>
          <p:nvPr/>
        </p:nvPicPr>
        <p:blipFill rotWithShape="1">
          <a:blip r:embed="rId2">
            <a:alphaModFix/>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4288386313"/>
      </p:ext>
    </p:extLst>
  </p:cSld>
  <p:clrMapOvr>
    <a:masterClrMapping/>
  </p:clrMapOvr>
</p:sldLayout>
</file>

<file path=ppt/slideLayouts/slideLayout1899.xml><?xml version="1.0" encoding="utf-8"?>
<p:sldLayout xmlns:a="http://schemas.openxmlformats.org/drawingml/2006/main" xmlns:r="http://schemas.openxmlformats.org/officeDocument/2006/relationships" xmlns:p="http://schemas.openxmlformats.org/presentationml/2006/main" showMasterSp="0" matchingName="3_EVERYDAY - CONTENT ONLY">
  <p:cSld name="3_EVERYDAY - CONTENT ONLY">
    <p:spTree>
      <p:nvGrpSpPr>
        <p:cNvPr id="1" name="Shape 7045"/>
        <p:cNvGrpSpPr/>
        <p:nvPr/>
      </p:nvGrpSpPr>
      <p:grpSpPr>
        <a:xfrm>
          <a:off x="0" y="0"/>
          <a:ext cx="0" cy="0"/>
          <a:chOff x="0" y="0"/>
          <a:chExt cx="0" cy="0"/>
        </a:xfrm>
      </p:grpSpPr>
      <p:sp>
        <p:nvSpPr>
          <p:cNvPr id="7046" name="Google Shape;7046;p5728"/>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7047" name="Google Shape;7047;p5728"/>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3137"/>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525" b="0" i="0" u="none" strike="noStrike" cap="none">
              <a:solidFill>
                <a:srgbClr val="FFFFFF"/>
              </a:solidFill>
              <a:latin typeface="Helvetica Neue"/>
              <a:ea typeface="Helvetica Neue"/>
              <a:cs typeface="Helvetica Neue"/>
              <a:sym typeface="Helvetica Neue"/>
            </a:endParaRPr>
          </a:p>
        </p:txBody>
      </p:sp>
      <p:sp>
        <p:nvSpPr>
          <p:cNvPr id="7048" name="Google Shape;7048;p5728"/>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304815" lvl="0" indent="-304815" algn="l">
              <a:lnSpc>
                <a:spcPct val="100000"/>
              </a:lnSpc>
              <a:spcBef>
                <a:spcPts val="1000"/>
              </a:spcBef>
              <a:spcAft>
                <a:spcPts val="0"/>
              </a:spcAft>
              <a:buSzPts val="3600"/>
              <a:buChar char="•"/>
              <a:defRPr>
                <a:solidFill>
                  <a:srgbClr val="4B545E"/>
                </a:solidFill>
              </a:defRPr>
            </a:lvl1pPr>
            <a:lvl2pPr marL="609630" lvl="1" indent="-279414" algn="l">
              <a:lnSpc>
                <a:spcPct val="100000"/>
              </a:lnSpc>
              <a:spcBef>
                <a:spcPts val="1000"/>
              </a:spcBef>
              <a:spcAft>
                <a:spcPts val="0"/>
              </a:spcAft>
              <a:buSzPts val="3000"/>
              <a:buChar char="•"/>
              <a:defRPr>
                <a:solidFill>
                  <a:srgbClr val="4B545E"/>
                </a:solidFill>
              </a:defRPr>
            </a:lvl2pPr>
            <a:lvl3pPr marL="914446" lvl="2" indent="-266713" algn="l">
              <a:lnSpc>
                <a:spcPct val="100000"/>
              </a:lnSpc>
              <a:spcBef>
                <a:spcPts val="1000"/>
              </a:spcBef>
              <a:spcAft>
                <a:spcPts val="0"/>
              </a:spcAft>
              <a:buSzPts val="2700"/>
              <a:buChar char="•"/>
              <a:defRPr>
                <a:solidFill>
                  <a:srgbClr val="4B545E"/>
                </a:solidFill>
              </a:defRPr>
            </a:lvl3pPr>
            <a:lvl4pPr marL="1219261" lvl="3" indent="-254013" algn="l">
              <a:lnSpc>
                <a:spcPct val="100000"/>
              </a:lnSpc>
              <a:spcBef>
                <a:spcPts val="1000"/>
              </a:spcBef>
              <a:spcAft>
                <a:spcPts val="0"/>
              </a:spcAft>
              <a:buSzPts val="2400"/>
              <a:buChar char="•"/>
              <a:defRPr>
                <a:solidFill>
                  <a:srgbClr val="4B545E"/>
                </a:solidFill>
              </a:defRPr>
            </a:lvl4pPr>
            <a:lvl5pPr marL="1524076" lvl="4" indent="-254013" algn="l">
              <a:lnSpc>
                <a:spcPct val="100000"/>
              </a:lnSpc>
              <a:spcBef>
                <a:spcPts val="1000"/>
              </a:spcBef>
              <a:spcAft>
                <a:spcPts val="0"/>
              </a:spcAft>
              <a:buSzPts val="2400"/>
              <a:buChar char="•"/>
              <a:defRPr>
                <a:solidFill>
                  <a:srgbClr val="4B545E"/>
                </a:solidFill>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7049" name="Google Shape;7049;p5728"/>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3137"/>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525" b="0" i="0" u="none" strike="noStrike" cap="none">
              <a:solidFill>
                <a:srgbClr val="FFFFFF"/>
              </a:solidFill>
              <a:latin typeface="Helvetica Neue"/>
              <a:ea typeface="Helvetica Neue"/>
              <a:cs typeface="Helvetica Neue"/>
              <a:sym typeface="Helvetica Neue"/>
            </a:endParaRPr>
          </a:p>
        </p:txBody>
      </p:sp>
      <p:sp>
        <p:nvSpPr>
          <p:cNvPr id="7050" name="Google Shape;7050;p5728"/>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48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51" name="Google Shape;7051;p5728"/>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304815" lvl="0" indent="-152408" algn="l">
              <a:lnSpc>
                <a:spcPct val="100000"/>
              </a:lnSpc>
              <a:spcBef>
                <a:spcPts val="1000"/>
              </a:spcBef>
              <a:spcAft>
                <a:spcPts val="0"/>
              </a:spcAft>
              <a:buSzPts val="2100"/>
              <a:buNone/>
              <a:defRPr sz="1400">
                <a:solidFill>
                  <a:schemeClr val="lt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7052" name="Google Shape;7052;p5728"/>
          <p:cNvCxnSpPr/>
          <p:nvPr/>
        </p:nvCxnSpPr>
        <p:spPr>
          <a:xfrm>
            <a:off x="11311725" y="6447274"/>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7053" name="Google Shape;7053;p5728"/>
          <p:cNvSpPr txBox="1">
            <a:spLocks noGrp="1"/>
          </p:cNvSpPr>
          <p:nvPr>
            <p:ph type="sldNum" idx="12"/>
          </p:nvPr>
        </p:nvSpPr>
        <p:spPr>
          <a:xfrm>
            <a:off x="11202595" y="6454535"/>
            <a:ext cx="559704" cy="31917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1pPr>
            <a:lvl2pPr marL="0" lvl="1"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2pPr>
            <a:lvl3pPr marL="0" lvl="2"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3pPr>
            <a:lvl4pPr marL="0" lvl="3"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4pPr>
            <a:lvl5pPr marL="0" lvl="4"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5pPr>
            <a:lvl6pPr marL="0" lvl="5"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6pPr>
            <a:lvl7pPr marL="0" lvl="6"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7pPr>
            <a:lvl8pPr marL="0" lvl="7"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8pPr>
            <a:lvl9pPr marL="0" lvl="8"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7054" name="Google Shape;7054;p5728"/>
          <p:cNvPicPr preferRelativeResize="0"/>
          <p:nvPr/>
        </p:nvPicPr>
        <p:blipFill rotWithShape="1">
          <a:blip r:embed="rId2">
            <a:alphaModFix/>
          </a:blip>
          <a:srcRect/>
          <a:stretch/>
        </p:blipFill>
        <p:spPr>
          <a:xfrm>
            <a:off x="9596463" y="6492240"/>
            <a:ext cx="1606135" cy="229238"/>
          </a:xfrm>
          <a:prstGeom prst="rect">
            <a:avLst/>
          </a:prstGeom>
          <a:noFill/>
          <a:ln>
            <a:noFill/>
          </a:ln>
        </p:spPr>
      </p:pic>
    </p:spTree>
    <p:extLst>
      <p:ext uri="{BB962C8B-B14F-4D97-AF65-F5344CB8AC3E}">
        <p14:creationId xmlns:p14="http://schemas.microsoft.com/office/powerpoint/2010/main" val="337894476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9105"/>
        <p:cNvGrpSpPr/>
        <p:nvPr/>
      </p:nvGrpSpPr>
      <p:grpSpPr>
        <a:xfrm>
          <a:off x="0" y="0"/>
          <a:ext cx="0" cy="0"/>
          <a:chOff x="0" y="0"/>
          <a:chExt cx="0" cy="0"/>
        </a:xfrm>
      </p:grpSpPr>
      <p:sp>
        <p:nvSpPr>
          <p:cNvPr id="9106" name="Google Shape;9106;p13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07" name="Google Shape;9107;p132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108" name="Google Shape;9108;p1325"/>
          <p:cNvGrpSpPr/>
          <p:nvPr/>
        </p:nvGrpSpPr>
        <p:grpSpPr>
          <a:xfrm>
            <a:off x="7191542" y="1"/>
            <a:ext cx="5000459" cy="1425992"/>
            <a:chOff x="7191542" y="1"/>
            <a:chExt cx="5000459" cy="1425992"/>
          </a:xfrm>
        </p:grpSpPr>
        <p:pic>
          <p:nvPicPr>
            <p:cNvPr id="9109" name="Google Shape;9109;p13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110" name="Google Shape;9110;p1325"/>
            <p:cNvGrpSpPr/>
            <p:nvPr/>
          </p:nvGrpSpPr>
          <p:grpSpPr>
            <a:xfrm>
              <a:off x="7191542" y="1"/>
              <a:ext cx="5000459" cy="1425992"/>
              <a:chOff x="7186272" y="0"/>
              <a:chExt cx="5005729" cy="1427495"/>
            </a:xfrm>
          </p:grpSpPr>
          <p:sp>
            <p:nvSpPr>
              <p:cNvPr id="9111" name="Google Shape;9111;p13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112" name="Google Shape;9112;p13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113" name="Google Shape;9113;p132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14" name="Google Shape;9114;p132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115" name="Google Shape;9115;p13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16" name="Google Shape;9116;p13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4">
    <p:spTree>
      <p:nvGrpSpPr>
        <p:cNvPr id="1" name="Shape 10883"/>
        <p:cNvGrpSpPr/>
        <p:nvPr/>
      </p:nvGrpSpPr>
      <p:grpSpPr>
        <a:xfrm>
          <a:off x="0" y="0"/>
          <a:ext cx="0" cy="0"/>
          <a:chOff x="0" y="0"/>
          <a:chExt cx="0" cy="0"/>
        </a:xfrm>
      </p:grpSpPr>
      <p:sp>
        <p:nvSpPr>
          <p:cNvPr id="10884" name="Google Shape;10884;p149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885" name="Google Shape;10885;p149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886" name="Google Shape;10886;p1494"/>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87" name="Google Shape;10887;p1494"/>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88" name="Google Shape;10888;p1494"/>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0889" name="Google Shape;10889;p149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900.xml><?xml version="1.0" encoding="utf-8"?>
<p:sldLayout xmlns:a="http://schemas.openxmlformats.org/drawingml/2006/main" xmlns:r="http://schemas.openxmlformats.org/officeDocument/2006/relationships" xmlns:p="http://schemas.openxmlformats.org/presentationml/2006/main" showMasterSp="0" matchingName="4_EVERYDAY - CONTENT ONLY">
  <p:cSld name="4_EVERYDAY - CONTENT ONLY">
    <p:spTree>
      <p:nvGrpSpPr>
        <p:cNvPr id="1" name="Shape 7055"/>
        <p:cNvGrpSpPr/>
        <p:nvPr/>
      </p:nvGrpSpPr>
      <p:grpSpPr>
        <a:xfrm>
          <a:off x="0" y="0"/>
          <a:ext cx="0" cy="0"/>
          <a:chOff x="0" y="0"/>
          <a:chExt cx="0" cy="0"/>
        </a:xfrm>
      </p:grpSpPr>
      <p:sp>
        <p:nvSpPr>
          <p:cNvPr id="7056" name="Google Shape;7056;p5729"/>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7057" name="Google Shape;7057;p5729"/>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3137"/>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525" b="0" i="0" u="none" strike="noStrike" cap="none">
              <a:solidFill>
                <a:srgbClr val="FFFFFF"/>
              </a:solidFill>
              <a:latin typeface="Helvetica Neue"/>
              <a:ea typeface="Helvetica Neue"/>
              <a:cs typeface="Helvetica Neue"/>
              <a:sym typeface="Helvetica Neue"/>
            </a:endParaRPr>
          </a:p>
        </p:txBody>
      </p:sp>
      <p:sp>
        <p:nvSpPr>
          <p:cNvPr id="7058" name="Google Shape;7058;p5729"/>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304815" lvl="0" indent="-304815" algn="l">
              <a:lnSpc>
                <a:spcPct val="100000"/>
              </a:lnSpc>
              <a:spcBef>
                <a:spcPts val="1000"/>
              </a:spcBef>
              <a:spcAft>
                <a:spcPts val="0"/>
              </a:spcAft>
              <a:buSzPts val="3600"/>
              <a:buChar char="•"/>
              <a:defRPr>
                <a:solidFill>
                  <a:srgbClr val="4B545E"/>
                </a:solidFill>
              </a:defRPr>
            </a:lvl1pPr>
            <a:lvl2pPr marL="609630" lvl="1" indent="-279414" algn="l">
              <a:lnSpc>
                <a:spcPct val="100000"/>
              </a:lnSpc>
              <a:spcBef>
                <a:spcPts val="1000"/>
              </a:spcBef>
              <a:spcAft>
                <a:spcPts val="0"/>
              </a:spcAft>
              <a:buSzPts val="3000"/>
              <a:buChar char="•"/>
              <a:defRPr>
                <a:solidFill>
                  <a:srgbClr val="4B545E"/>
                </a:solidFill>
              </a:defRPr>
            </a:lvl2pPr>
            <a:lvl3pPr marL="914446" lvl="2" indent="-266713" algn="l">
              <a:lnSpc>
                <a:spcPct val="100000"/>
              </a:lnSpc>
              <a:spcBef>
                <a:spcPts val="1000"/>
              </a:spcBef>
              <a:spcAft>
                <a:spcPts val="0"/>
              </a:spcAft>
              <a:buSzPts val="2700"/>
              <a:buChar char="•"/>
              <a:defRPr>
                <a:solidFill>
                  <a:srgbClr val="4B545E"/>
                </a:solidFill>
              </a:defRPr>
            </a:lvl3pPr>
            <a:lvl4pPr marL="1219261" lvl="3" indent="-254013" algn="l">
              <a:lnSpc>
                <a:spcPct val="100000"/>
              </a:lnSpc>
              <a:spcBef>
                <a:spcPts val="1000"/>
              </a:spcBef>
              <a:spcAft>
                <a:spcPts val="0"/>
              </a:spcAft>
              <a:buSzPts val="2400"/>
              <a:buChar char="•"/>
              <a:defRPr>
                <a:solidFill>
                  <a:srgbClr val="4B545E"/>
                </a:solidFill>
              </a:defRPr>
            </a:lvl4pPr>
            <a:lvl5pPr marL="1524076" lvl="4" indent="-254013" algn="l">
              <a:lnSpc>
                <a:spcPct val="100000"/>
              </a:lnSpc>
              <a:spcBef>
                <a:spcPts val="1000"/>
              </a:spcBef>
              <a:spcAft>
                <a:spcPts val="0"/>
              </a:spcAft>
              <a:buSzPts val="2400"/>
              <a:buChar char="•"/>
              <a:defRPr>
                <a:solidFill>
                  <a:srgbClr val="4B545E"/>
                </a:solidFill>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7059" name="Google Shape;7059;p5729"/>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3137"/>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525" b="0" i="0" u="none" strike="noStrike" cap="none">
              <a:solidFill>
                <a:srgbClr val="FFFFFF"/>
              </a:solidFill>
              <a:latin typeface="Helvetica Neue"/>
              <a:ea typeface="Helvetica Neue"/>
              <a:cs typeface="Helvetica Neue"/>
              <a:sym typeface="Helvetica Neue"/>
            </a:endParaRPr>
          </a:p>
        </p:txBody>
      </p:sp>
      <p:sp>
        <p:nvSpPr>
          <p:cNvPr id="7060" name="Google Shape;7060;p5729"/>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48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61" name="Google Shape;7061;p5729"/>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304815" lvl="0" indent="-152408" algn="l">
              <a:lnSpc>
                <a:spcPct val="100000"/>
              </a:lnSpc>
              <a:spcBef>
                <a:spcPts val="1000"/>
              </a:spcBef>
              <a:spcAft>
                <a:spcPts val="0"/>
              </a:spcAft>
              <a:buSzPts val="2100"/>
              <a:buNone/>
              <a:defRPr sz="1400">
                <a:solidFill>
                  <a:schemeClr val="lt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7062" name="Google Shape;7062;p5729"/>
          <p:cNvCxnSpPr/>
          <p:nvPr/>
        </p:nvCxnSpPr>
        <p:spPr>
          <a:xfrm>
            <a:off x="11311725" y="6447274"/>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7063" name="Google Shape;7063;p5729"/>
          <p:cNvSpPr txBox="1">
            <a:spLocks noGrp="1"/>
          </p:cNvSpPr>
          <p:nvPr>
            <p:ph type="sldNum" idx="12"/>
          </p:nvPr>
        </p:nvSpPr>
        <p:spPr>
          <a:xfrm>
            <a:off x="11202595" y="6454535"/>
            <a:ext cx="559704" cy="31917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1pPr>
            <a:lvl2pPr marL="0" lvl="1"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2pPr>
            <a:lvl3pPr marL="0" lvl="2"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3pPr>
            <a:lvl4pPr marL="0" lvl="3"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4pPr>
            <a:lvl5pPr marL="0" lvl="4"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5pPr>
            <a:lvl6pPr marL="0" lvl="5"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6pPr>
            <a:lvl7pPr marL="0" lvl="6"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7pPr>
            <a:lvl8pPr marL="0" lvl="7"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8pPr>
            <a:lvl9pPr marL="0" lvl="8"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7064" name="Google Shape;7064;p5729"/>
          <p:cNvPicPr preferRelativeResize="0"/>
          <p:nvPr/>
        </p:nvPicPr>
        <p:blipFill rotWithShape="1">
          <a:blip r:embed="rId2">
            <a:alphaModFix/>
          </a:blip>
          <a:srcRect/>
          <a:stretch/>
        </p:blipFill>
        <p:spPr>
          <a:xfrm>
            <a:off x="9596463" y="6492240"/>
            <a:ext cx="1606135" cy="229238"/>
          </a:xfrm>
          <a:prstGeom prst="rect">
            <a:avLst/>
          </a:prstGeom>
          <a:noFill/>
          <a:ln>
            <a:noFill/>
          </a:ln>
        </p:spPr>
      </p:pic>
    </p:spTree>
    <p:extLst>
      <p:ext uri="{BB962C8B-B14F-4D97-AF65-F5344CB8AC3E}">
        <p14:creationId xmlns:p14="http://schemas.microsoft.com/office/powerpoint/2010/main" val="2260286793"/>
      </p:ext>
    </p:extLst>
  </p:cSld>
  <p:clrMapOvr>
    <a:masterClrMapping/>
  </p:clrMapOvr>
</p:sldLayout>
</file>

<file path=ppt/slideLayouts/slideLayout1901.xml><?xml version="1.0" encoding="utf-8"?>
<p:sldLayout xmlns:a="http://schemas.openxmlformats.org/drawingml/2006/main" xmlns:r="http://schemas.openxmlformats.org/officeDocument/2006/relationships" xmlns:p="http://schemas.openxmlformats.org/presentationml/2006/main" matchingName="60_Quotation">
  <p:cSld name="60_Quotation">
    <p:spTree>
      <p:nvGrpSpPr>
        <p:cNvPr id="1" name="Shape 7065"/>
        <p:cNvGrpSpPr/>
        <p:nvPr/>
      </p:nvGrpSpPr>
      <p:grpSpPr>
        <a:xfrm>
          <a:off x="0" y="0"/>
          <a:ext cx="0" cy="0"/>
          <a:chOff x="0" y="0"/>
          <a:chExt cx="0" cy="0"/>
        </a:xfrm>
      </p:grpSpPr>
      <p:sp>
        <p:nvSpPr>
          <p:cNvPr id="7066" name="Google Shape;7066;p5730"/>
          <p:cNvSpPr/>
          <p:nvPr/>
        </p:nvSpPr>
        <p:spPr>
          <a:xfrm>
            <a:off x="1427358"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7067" name="Google Shape;7067;p5730"/>
          <p:cNvSpPr txBox="1">
            <a:spLocks noGrp="1"/>
          </p:cNvSpPr>
          <p:nvPr>
            <p:ph type="title"/>
          </p:nvPr>
        </p:nvSpPr>
        <p:spPr>
          <a:xfrm>
            <a:off x="1427358"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68" name="Google Shape;7068;p573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7069" name="Google Shape;7069;p5730"/>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7070" name="Google Shape;7070;p57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71" name="Google Shape;7071;p573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072" name="Google Shape;7072;p5730"/>
          <p:cNvGrpSpPr/>
          <p:nvPr/>
        </p:nvGrpSpPr>
        <p:grpSpPr>
          <a:xfrm>
            <a:off x="7191544" y="1"/>
            <a:ext cx="5000459" cy="1425992"/>
            <a:chOff x="7191542" y="1"/>
            <a:chExt cx="5000459" cy="1425992"/>
          </a:xfrm>
        </p:grpSpPr>
        <p:pic>
          <p:nvPicPr>
            <p:cNvPr id="7073" name="Google Shape;7073;p57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74" name="Google Shape;7074;p5730"/>
            <p:cNvGrpSpPr/>
            <p:nvPr/>
          </p:nvGrpSpPr>
          <p:grpSpPr>
            <a:xfrm>
              <a:off x="7191542" y="1"/>
              <a:ext cx="5000459" cy="1425992"/>
              <a:chOff x="7186272" y="0"/>
              <a:chExt cx="5005729" cy="1427495"/>
            </a:xfrm>
          </p:grpSpPr>
          <p:sp>
            <p:nvSpPr>
              <p:cNvPr id="7075" name="Google Shape;7075;p57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7076" name="Google Shape;7076;p57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7077" name="Google Shape;7077;p5730"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3231734541"/>
      </p:ext>
    </p:extLst>
  </p:cSld>
  <p:clrMapOvr>
    <a:masterClrMapping/>
  </p:clrMapOvr>
</p:sldLayout>
</file>

<file path=ppt/slideLayouts/slideLayout1902.xml><?xml version="1.0" encoding="utf-8"?>
<p:sldLayout xmlns:a="http://schemas.openxmlformats.org/drawingml/2006/main" xmlns:r="http://schemas.openxmlformats.org/officeDocument/2006/relationships" xmlns:p="http://schemas.openxmlformats.org/presentationml/2006/main" matchingName="61_Quotation">
  <p:cSld name="61_Quotation">
    <p:spTree>
      <p:nvGrpSpPr>
        <p:cNvPr id="1" name="Shape 7078"/>
        <p:cNvGrpSpPr/>
        <p:nvPr/>
      </p:nvGrpSpPr>
      <p:grpSpPr>
        <a:xfrm>
          <a:off x="0" y="0"/>
          <a:ext cx="0" cy="0"/>
          <a:chOff x="0" y="0"/>
          <a:chExt cx="0" cy="0"/>
        </a:xfrm>
      </p:grpSpPr>
      <p:sp>
        <p:nvSpPr>
          <p:cNvPr id="7079" name="Google Shape;7079;p5731"/>
          <p:cNvSpPr/>
          <p:nvPr/>
        </p:nvSpPr>
        <p:spPr>
          <a:xfrm>
            <a:off x="1427358"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7080" name="Google Shape;7080;p5731"/>
          <p:cNvSpPr txBox="1">
            <a:spLocks noGrp="1"/>
          </p:cNvSpPr>
          <p:nvPr>
            <p:ph type="title"/>
          </p:nvPr>
        </p:nvSpPr>
        <p:spPr>
          <a:xfrm>
            <a:off x="1427358"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81" name="Google Shape;7081;p57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7082" name="Google Shape;7082;p5731"/>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7083" name="Google Shape;7083;p57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84" name="Google Shape;7084;p573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085" name="Google Shape;7085;p5731"/>
          <p:cNvGrpSpPr/>
          <p:nvPr/>
        </p:nvGrpSpPr>
        <p:grpSpPr>
          <a:xfrm>
            <a:off x="7191544" y="1"/>
            <a:ext cx="5000459" cy="1425992"/>
            <a:chOff x="7191542" y="1"/>
            <a:chExt cx="5000459" cy="1425992"/>
          </a:xfrm>
        </p:grpSpPr>
        <p:pic>
          <p:nvPicPr>
            <p:cNvPr id="7086" name="Google Shape;7086;p57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87" name="Google Shape;7087;p5731"/>
            <p:cNvGrpSpPr/>
            <p:nvPr/>
          </p:nvGrpSpPr>
          <p:grpSpPr>
            <a:xfrm>
              <a:off x="7191542" y="1"/>
              <a:ext cx="5000459" cy="1425992"/>
              <a:chOff x="7186272" y="0"/>
              <a:chExt cx="5005729" cy="1427495"/>
            </a:xfrm>
          </p:grpSpPr>
          <p:sp>
            <p:nvSpPr>
              <p:cNvPr id="7088" name="Google Shape;7088;p57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7089" name="Google Shape;7089;p57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7090" name="Google Shape;7090;p5731"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3307942716"/>
      </p:ext>
    </p:extLst>
  </p:cSld>
  <p:clrMapOvr>
    <a:masterClrMapping/>
  </p:clrMapOvr>
</p:sldLayout>
</file>

<file path=ppt/slideLayouts/slideLayout1903.xml><?xml version="1.0" encoding="utf-8"?>
<p:sldLayout xmlns:a="http://schemas.openxmlformats.org/drawingml/2006/main" xmlns:r="http://schemas.openxmlformats.org/officeDocument/2006/relationships" xmlns:p="http://schemas.openxmlformats.org/presentationml/2006/main" matchingName="29_Cover">
  <p:cSld name="29_Cover">
    <p:spTree>
      <p:nvGrpSpPr>
        <p:cNvPr id="1" name="Shape 7091"/>
        <p:cNvGrpSpPr/>
        <p:nvPr/>
      </p:nvGrpSpPr>
      <p:grpSpPr>
        <a:xfrm>
          <a:off x="0" y="0"/>
          <a:ext cx="0" cy="0"/>
          <a:chOff x="0" y="0"/>
          <a:chExt cx="0" cy="0"/>
        </a:xfrm>
      </p:grpSpPr>
      <p:sp>
        <p:nvSpPr>
          <p:cNvPr id="7092" name="Google Shape;7092;p5732"/>
          <p:cNvSpPr/>
          <p:nvPr/>
        </p:nvSpPr>
        <p:spPr>
          <a:xfrm>
            <a:off x="902368" y="1294415"/>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7093" name="Google Shape;7093;p5732"/>
          <p:cNvSpPr txBox="1">
            <a:spLocks noGrp="1"/>
          </p:cNvSpPr>
          <p:nvPr>
            <p:ph type="ctrTitle"/>
          </p:nvPr>
        </p:nvSpPr>
        <p:spPr>
          <a:xfrm>
            <a:off x="1413312"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94" name="Google Shape;7094;p5732"/>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
        <p:nvSpPr>
          <p:cNvPr id="7095" name="Google Shape;7095;p5732"/>
          <p:cNvSpPr>
            <a:spLocks noGrp="1"/>
          </p:cNvSpPr>
          <p:nvPr>
            <p:ph type="pic" idx="2"/>
          </p:nvPr>
        </p:nvSpPr>
        <p:spPr>
          <a:xfrm>
            <a:off x="7118684" y="233915"/>
            <a:ext cx="5073316" cy="5943600"/>
          </a:xfrm>
          <a:prstGeom prst="rect">
            <a:avLst/>
          </a:prstGeom>
          <a:noFill/>
          <a:ln>
            <a:noFill/>
          </a:ln>
        </p:spPr>
      </p:sp>
      <p:grpSp>
        <p:nvGrpSpPr>
          <p:cNvPr id="7096" name="Google Shape;7096;p5732"/>
          <p:cNvGrpSpPr/>
          <p:nvPr/>
        </p:nvGrpSpPr>
        <p:grpSpPr>
          <a:xfrm>
            <a:off x="0" y="5020350"/>
            <a:ext cx="12192000" cy="1837653"/>
            <a:chOff x="0" y="5020348"/>
            <a:chExt cx="12192000" cy="1837653"/>
          </a:xfrm>
        </p:grpSpPr>
        <p:sp>
          <p:nvSpPr>
            <p:cNvPr id="7097" name="Google Shape;7097;p573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7098" name="Google Shape;7098;p573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7099" name="Google Shape;7099;p573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839901013"/>
      </p:ext>
    </p:extLst>
  </p:cSld>
  <p:clrMapOvr>
    <a:masterClrMapping/>
  </p:clrMapOvr>
</p:sldLayout>
</file>

<file path=ppt/slideLayouts/slideLayout1904.xml><?xml version="1.0" encoding="utf-8"?>
<p:sldLayout xmlns:a="http://schemas.openxmlformats.org/drawingml/2006/main" xmlns:r="http://schemas.openxmlformats.org/officeDocument/2006/relationships" xmlns:p="http://schemas.openxmlformats.org/presentationml/2006/main" matchingName="29_Divider">
  <p:cSld name="29_Divider">
    <p:bg>
      <p:bgPr>
        <a:solidFill>
          <a:schemeClr val="lt2"/>
        </a:solidFill>
        <a:effectLst/>
      </p:bgPr>
    </p:bg>
    <p:spTree>
      <p:nvGrpSpPr>
        <p:cNvPr id="1" name="Shape 7100"/>
        <p:cNvGrpSpPr/>
        <p:nvPr/>
      </p:nvGrpSpPr>
      <p:grpSpPr>
        <a:xfrm>
          <a:off x="0" y="0"/>
          <a:ext cx="0" cy="0"/>
          <a:chOff x="0" y="0"/>
          <a:chExt cx="0" cy="0"/>
        </a:xfrm>
      </p:grpSpPr>
      <p:grpSp>
        <p:nvGrpSpPr>
          <p:cNvPr id="7101" name="Google Shape;7101;p5733"/>
          <p:cNvGrpSpPr/>
          <p:nvPr/>
        </p:nvGrpSpPr>
        <p:grpSpPr>
          <a:xfrm>
            <a:off x="0" y="5020349"/>
            <a:ext cx="12192000" cy="1837653"/>
            <a:chOff x="0" y="5020347"/>
            <a:chExt cx="12192000" cy="1837653"/>
          </a:xfrm>
        </p:grpSpPr>
        <p:sp>
          <p:nvSpPr>
            <p:cNvPr id="7102" name="Google Shape;7102;p573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7103" name="Google Shape;7103;p573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7104" name="Google Shape;7104;p573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7105" name="Google Shape;7105;p573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7106" name="Google Shape;7106;p5733"/>
          <p:cNvSpPr txBox="1">
            <a:spLocks noGrp="1"/>
          </p:cNvSpPr>
          <p:nvPr>
            <p:ph type="title"/>
          </p:nvPr>
        </p:nvSpPr>
        <p:spPr>
          <a:xfrm>
            <a:off x="1413310"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07" name="Google Shape;7107;p5733"/>
          <p:cNvSpPr txBox="1">
            <a:spLocks noGrp="1"/>
          </p:cNvSpPr>
          <p:nvPr>
            <p:ph type="subTitle" idx="1"/>
          </p:nvPr>
        </p:nvSpPr>
        <p:spPr>
          <a:xfrm>
            <a:off x="1413310"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Tree>
    <p:extLst>
      <p:ext uri="{BB962C8B-B14F-4D97-AF65-F5344CB8AC3E}">
        <p14:creationId xmlns:p14="http://schemas.microsoft.com/office/powerpoint/2010/main" val="3803387762"/>
      </p:ext>
    </p:extLst>
  </p:cSld>
  <p:clrMapOvr>
    <a:masterClrMapping/>
  </p:clrMapOvr>
</p:sldLayout>
</file>

<file path=ppt/slideLayouts/slideLayout1905.xml><?xml version="1.0" encoding="utf-8"?>
<p:sldLayout xmlns:a="http://schemas.openxmlformats.org/drawingml/2006/main" xmlns:r="http://schemas.openxmlformats.org/officeDocument/2006/relationships" xmlns:p="http://schemas.openxmlformats.org/presentationml/2006/main" matchingName="28_Photo Slide">
  <p:cSld name="28_Photo Slide">
    <p:spTree>
      <p:nvGrpSpPr>
        <p:cNvPr id="1" name="Shape 7108"/>
        <p:cNvGrpSpPr/>
        <p:nvPr/>
      </p:nvGrpSpPr>
      <p:grpSpPr>
        <a:xfrm>
          <a:off x="0" y="0"/>
          <a:ext cx="0" cy="0"/>
          <a:chOff x="0" y="0"/>
          <a:chExt cx="0" cy="0"/>
        </a:xfrm>
      </p:grpSpPr>
      <p:sp>
        <p:nvSpPr>
          <p:cNvPr id="7109" name="Google Shape;7109;p5734"/>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7110" name="Google Shape;7110;p573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111" name="Google Shape;7111;p5734"/>
          <p:cNvGrpSpPr/>
          <p:nvPr/>
        </p:nvGrpSpPr>
        <p:grpSpPr>
          <a:xfrm>
            <a:off x="0" y="5379428"/>
            <a:ext cx="2807368" cy="753891"/>
            <a:chOff x="0" y="5379426"/>
            <a:chExt cx="2807368" cy="753891"/>
          </a:xfrm>
        </p:grpSpPr>
        <p:sp>
          <p:nvSpPr>
            <p:cNvPr id="7112" name="Google Shape;7112;p573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7113" name="Google Shape;7113;p573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7114" name="Google Shape;7114;p5734"/>
          <p:cNvSpPr>
            <a:spLocks noGrp="1"/>
          </p:cNvSpPr>
          <p:nvPr>
            <p:ph type="pic" idx="2"/>
          </p:nvPr>
        </p:nvSpPr>
        <p:spPr>
          <a:xfrm>
            <a:off x="2807368" y="457202"/>
            <a:ext cx="8915400" cy="5943598"/>
          </a:xfrm>
          <a:prstGeom prst="rect">
            <a:avLst/>
          </a:prstGeom>
          <a:noFill/>
          <a:ln>
            <a:noFill/>
          </a:ln>
        </p:spPr>
      </p:sp>
      <p:pic>
        <p:nvPicPr>
          <p:cNvPr id="7115" name="Google Shape;7115;p5734"/>
          <p:cNvPicPr preferRelativeResize="0"/>
          <p:nvPr/>
        </p:nvPicPr>
        <p:blipFill rotWithShape="1">
          <a:blip r:embed="rId2">
            <a:alphaModFix/>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3250259506"/>
      </p:ext>
    </p:extLst>
  </p:cSld>
  <p:clrMapOvr>
    <a:masterClrMapping/>
  </p:clrMapOvr>
</p:sldLayout>
</file>

<file path=ppt/slideLayouts/slideLayout1906.xml><?xml version="1.0" encoding="utf-8"?>
<p:sldLayout xmlns:a="http://schemas.openxmlformats.org/drawingml/2006/main" xmlns:r="http://schemas.openxmlformats.org/officeDocument/2006/relationships" xmlns:p="http://schemas.openxmlformats.org/presentationml/2006/main" matchingName="62_Quotation">
  <p:cSld name="62_Quotation">
    <p:spTree>
      <p:nvGrpSpPr>
        <p:cNvPr id="1" name="Shape 7116"/>
        <p:cNvGrpSpPr/>
        <p:nvPr/>
      </p:nvGrpSpPr>
      <p:grpSpPr>
        <a:xfrm>
          <a:off x="0" y="0"/>
          <a:ext cx="0" cy="0"/>
          <a:chOff x="0" y="0"/>
          <a:chExt cx="0" cy="0"/>
        </a:xfrm>
      </p:grpSpPr>
      <p:sp>
        <p:nvSpPr>
          <p:cNvPr id="7117" name="Google Shape;7117;p5735"/>
          <p:cNvSpPr/>
          <p:nvPr/>
        </p:nvSpPr>
        <p:spPr>
          <a:xfrm>
            <a:off x="1427358"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7118" name="Google Shape;7118;p5735"/>
          <p:cNvSpPr txBox="1">
            <a:spLocks noGrp="1"/>
          </p:cNvSpPr>
          <p:nvPr>
            <p:ph type="title"/>
          </p:nvPr>
        </p:nvSpPr>
        <p:spPr>
          <a:xfrm>
            <a:off x="1427358"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19" name="Google Shape;7119;p573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7120" name="Google Shape;7120;p573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7121" name="Google Shape;7121;p57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22" name="Google Shape;7122;p573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123" name="Google Shape;7123;p5735"/>
          <p:cNvGrpSpPr/>
          <p:nvPr/>
        </p:nvGrpSpPr>
        <p:grpSpPr>
          <a:xfrm>
            <a:off x="7191544" y="1"/>
            <a:ext cx="5000459" cy="1425992"/>
            <a:chOff x="7191542" y="1"/>
            <a:chExt cx="5000459" cy="1425992"/>
          </a:xfrm>
        </p:grpSpPr>
        <p:pic>
          <p:nvPicPr>
            <p:cNvPr id="7124" name="Google Shape;7124;p57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25" name="Google Shape;7125;p5735"/>
            <p:cNvGrpSpPr/>
            <p:nvPr/>
          </p:nvGrpSpPr>
          <p:grpSpPr>
            <a:xfrm>
              <a:off x="7191542" y="1"/>
              <a:ext cx="5000459" cy="1425992"/>
              <a:chOff x="7186272" y="0"/>
              <a:chExt cx="5005729" cy="1427495"/>
            </a:xfrm>
          </p:grpSpPr>
          <p:sp>
            <p:nvSpPr>
              <p:cNvPr id="7126" name="Google Shape;7126;p57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7127" name="Google Shape;7127;p57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7128" name="Google Shape;7128;p5735"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2063423348"/>
      </p:ext>
    </p:extLst>
  </p:cSld>
  <p:clrMapOvr>
    <a:masterClrMapping/>
  </p:clrMapOvr>
</p:sldLayout>
</file>

<file path=ppt/slideLayouts/slideLayout1907.xml><?xml version="1.0" encoding="utf-8"?>
<p:sldLayout xmlns:a="http://schemas.openxmlformats.org/drawingml/2006/main" xmlns:r="http://schemas.openxmlformats.org/officeDocument/2006/relationships" xmlns:p="http://schemas.openxmlformats.org/presentationml/2006/main" matchingName="63_Quotation">
  <p:cSld name="63_Quotation">
    <p:spTree>
      <p:nvGrpSpPr>
        <p:cNvPr id="1" name="Shape 7129"/>
        <p:cNvGrpSpPr/>
        <p:nvPr/>
      </p:nvGrpSpPr>
      <p:grpSpPr>
        <a:xfrm>
          <a:off x="0" y="0"/>
          <a:ext cx="0" cy="0"/>
          <a:chOff x="0" y="0"/>
          <a:chExt cx="0" cy="0"/>
        </a:xfrm>
      </p:grpSpPr>
      <p:sp>
        <p:nvSpPr>
          <p:cNvPr id="7130" name="Google Shape;7130;p5736"/>
          <p:cNvSpPr/>
          <p:nvPr/>
        </p:nvSpPr>
        <p:spPr>
          <a:xfrm>
            <a:off x="1427358"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7131" name="Google Shape;7131;p5736"/>
          <p:cNvSpPr txBox="1">
            <a:spLocks noGrp="1"/>
          </p:cNvSpPr>
          <p:nvPr>
            <p:ph type="title"/>
          </p:nvPr>
        </p:nvSpPr>
        <p:spPr>
          <a:xfrm>
            <a:off x="1427358"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32" name="Google Shape;7132;p573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7133" name="Google Shape;7133;p573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7134" name="Google Shape;7134;p57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35" name="Google Shape;7135;p573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136" name="Google Shape;7136;p5736"/>
          <p:cNvGrpSpPr/>
          <p:nvPr/>
        </p:nvGrpSpPr>
        <p:grpSpPr>
          <a:xfrm>
            <a:off x="7191544" y="1"/>
            <a:ext cx="5000459" cy="1425992"/>
            <a:chOff x="7191542" y="1"/>
            <a:chExt cx="5000459" cy="1425992"/>
          </a:xfrm>
        </p:grpSpPr>
        <p:pic>
          <p:nvPicPr>
            <p:cNvPr id="7137" name="Google Shape;7137;p57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38" name="Google Shape;7138;p5736"/>
            <p:cNvGrpSpPr/>
            <p:nvPr/>
          </p:nvGrpSpPr>
          <p:grpSpPr>
            <a:xfrm>
              <a:off x="7191542" y="1"/>
              <a:ext cx="5000459" cy="1425992"/>
              <a:chOff x="7186272" y="0"/>
              <a:chExt cx="5005729" cy="1427495"/>
            </a:xfrm>
          </p:grpSpPr>
          <p:sp>
            <p:nvSpPr>
              <p:cNvPr id="7139" name="Google Shape;7139;p57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7140" name="Google Shape;7140;p57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7141" name="Google Shape;7141;p5736"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2413715983"/>
      </p:ext>
    </p:extLst>
  </p:cSld>
  <p:clrMapOvr>
    <a:masterClrMapping/>
  </p:clrMapOvr>
</p:sldLayout>
</file>

<file path=ppt/slideLayouts/slideLayout1908.xml><?xml version="1.0" encoding="utf-8"?>
<p:sldLayout xmlns:a="http://schemas.openxmlformats.org/drawingml/2006/main" xmlns:r="http://schemas.openxmlformats.org/officeDocument/2006/relationships" xmlns:p="http://schemas.openxmlformats.org/presentationml/2006/main" matchingName="52_Title and Content">
  <p:cSld name="52_Title and Content">
    <p:spTree>
      <p:nvGrpSpPr>
        <p:cNvPr id="1" name="Shape 7142"/>
        <p:cNvGrpSpPr/>
        <p:nvPr/>
      </p:nvGrpSpPr>
      <p:grpSpPr>
        <a:xfrm>
          <a:off x="0" y="0"/>
          <a:ext cx="0" cy="0"/>
          <a:chOff x="0" y="0"/>
          <a:chExt cx="0" cy="0"/>
        </a:xfrm>
      </p:grpSpPr>
      <p:grpSp>
        <p:nvGrpSpPr>
          <p:cNvPr id="7143" name="Google Shape;7143;p5737"/>
          <p:cNvGrpSpPr/>
          <p:nvPr/>
        </p:nvGrpSpPr>
        <p:grpSpPr>
          <a:xfrm>
            <a:off x="7191544" y="1"/>
            <a:ext cx="5000459" cy="1425992"/>
            <a:chOff x="7191542" y="1"/>
            <a:chExt cx="5000459" cy="1425992"/>
          </a:xfrm>
        </p:grpSpPr>
        <p:pic>
          <p:nvPicPr>
            <p:cNvPr id="7144" name="Google Shape;7144;p57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45" name="Google Shape;7145;p5737"/>
            <p:cNvGrpSpPr/>
            <p:nvPr/>
          </p:nvGrpSpPr>
          <p:grpSpPr>
            <a:xfrm>
              <a:off x="7191542" y="1"/>
              <a:ext cx="5000459" cy="1425992"/>
              <a:chOff x="7186272" y="0"/>
              <a:chExt cx="5005729" cy="1427495"/>
            </a:xfrm>
          </p:grpSpPr>
          <p:sp>
            <p:nvSpPr>
              <p:cNvPr id="7146" name="Google Shape;7146;p57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7147" name="Google Shape;7147;p57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7148" name="Google Shape;7148;p573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49" name="Google Shape;7149;p5737"/>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7150" name="Google Shape;7150;p5737"/>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7151" name="Google Shape;7151;p57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52" name="Google Shape;7152;p573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288799517"/>
      </p:ext>
    </p:extLst>
  </p:cSld>
  <p:clrMapOvr>
    <a:masterClrMapping/>
  </p:clrMapOvr>
</p:sldLayout>
</file>

<file path=ppt/slideLayouts/slideLayout1909.xml><?xml version="1.0" encoding="utf-8"?>
<p:sldLayout xmlns:a="http://schemas.openxmlformats.org/drawingml/2006/main" xmlns:r="http://schemas.openxmlformats.org/officeDocument/2006/relationships" xmlns:p="http://schemas.openxmlformats.org/presentationml/2006/main" matchingName="28_Two Content">
  <p:cSld name="28_Two Content">
    <p:spTree>
      <p:nvGrpSpPr>
        <p:cNvPr id="1" name="Shape 7153"/>
        <p:cNvGrpSpPr/>
        <p:nvPr/>
      </p:nvGrpSpPr>
      <p:grpSpPr>
        <a:xfrm>
          <a:off x="0" y="0"/>
          <a:ext cx="0" cy="0"/>
          <a:chOff x="0" y="0"/>
          <a:chExt cx="0" cy="0"/>
        </a:xfrm>
      </p:grpSpPr>
      <p:sp>
        <p:nvSpPr>
          <p:cNvPr id="7154" name="Google Shape;7154;p573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55" name="Google Shape;7155;p5738"/>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7156" name="Google Shape;7156;p5738"/>
          <p:cNvGrpSpPr/>
          <p:nvPr/>
        </p:nvGrpSpPr>
        <p:grpSpPr>
          <a:xfrm>
            <a:off x="7191544" y="1"/>
            <a:ext cx="5000459" cy="1425992"/>
            <a:chOff x="7191542" y="1"/>
            <a:chExt cx="5000459" cy="1425992"/>
          </a:xfrm>
        </p:grpSpPr>
        <p:pic>
          <p:nvPicPr>
            <p:cNvPr id="7157" name="Google Shape;7157;p57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58" name="Google Shape;7158;p5738"/>
            <p:cNvGrpSpPr/>
            <p:nvPr/>
          </p:nvGrpSpPr>
          <p:grpSpPr>
            <a:xfrm>
              <a:off x="7191542" y="1"/>
              <a:ext cx="5000459" cy="1425992"/>
              <a:chOff x="7186272" y="0"/>
              <a:chExt cx="5005729" cy="1427495"/>
            </a:xfrm>
          </p:grpSpPr>
          <p:sp>
            <p:nvSpPr>
              <p:cNvPr id="7159" name="Google Shape;7159;p57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7160" name="Google Shape;7160;p57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7161" name="Google Shape;7161;p5738"/>
          <p:cNvSpPr txBox="1">
            <a:spLocks noGrp="1"/>
          </p:cNvSpPr>
          <p:nvPr>
            <p:ph type="body" idx="2"/>
          </p:nvPr>
        </p:nvSpPr>
        <p:spPr>
          <a:xfrm>
            <a:off x="6172201"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7162" name="Google Shape;7162;p5738"/>
          <p:cNvSpPr txBox="1">
            <a:spLocks noGrp="1"/>
          </p:cNvSpPr>
          <p:nvPr>
            <p:ph type="sldNum" idx="12"/>
          </p:nvPr>
        </p:nvSpPr>
        <p:spPr>
          <a:xfrm>
            <a:off x="8839198"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7163" name="Google Shape;7163;p57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64" name="Google Shape;7164;p573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42350301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7">
    <p:spTree>
      <p:nvGrpSpPr>
        <p:cNvPr id="1" name="Shape 10890"/>
        <p:cNvGrpSpPr/>
        <p:nvPr/>
      </p:nvGrpSpPr>
      <p:grpSpPr>
        <a:xfrm>
          <a:off x="0" y="0"/>
          <a:ext cx="0" cy="0"/>
          <a:chOff x="0" y="0"/>
          <a:chExt cx="0" cy="0"/>
        </a:xfrm>
      </p:grpSpPr>
      <p:sp>
        <p:nvSpPr>
          <p:cNvPr id="10891" name="Google Shape;10891;p149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92" name="Google Shape;10892;p149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893" name="Google Shape;10893;p149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0894" name="Google Shape;10894;p14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895" name="Google Shape;10895;p14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0896" name="Google Shape;10896;p149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0897" name="Google Shape;10897;p149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0898" name="Google Shape;10898;p149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899" name="Google Shape;10899;p1495"/>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910.xml><?xml version="1.0" encoding="utf-8"?>
<p:sldLayout xmlns:a="http://schemas.openxmlformats.org/drawingml/2006/main" xmlns:r="http://schemas.openxmlformats.org/officeDocument/2006/relationships" xmlns:p="http://schemas.openxmlformats.org/presentationml/2006/main" matchingName="28_Comparison">
  <p:cSld name="28_Comparison">
    <p:spTree>
      <p:nvGrpSpPr>
        <p:cNvPr id="1" name="Shape 7165"/>
        <p:cNvGrpSpPr/>
        <p:nvPr/>
      </p:nvGrpSpPr>
      <p:grpSpPr>
        <a:xfrm>
          <a:off x="0" y="0"/>
          <a:ext cx="0" cy="0"/>
          <a:chOff x="0" y="0"/>
          <a:chExt cx="0" cy="0"/>
        </a:xfrm>
      </p:grpSpPr>
      <p:grpSp>
        <p:nvGrpSpPr>
          <p:cNvPr id="7166" name="Google Shape;7166;p5739"/>
          <p:cNvGrpSpPr/>
          <p:nvPr/>
        </p:nvGrpSpPr>
        <p:grpSpPr>
          <a:xfrm>
            <a:off x="7191544" y="1"/>
            <a:ext cx="5000459" cy="1425992"/>
            <a:chOff x="7191542" y="1"/>
            <a:chExt cx="5000459" cy="1425992"/>
          </a:xfrm>
        </p:grpSpPr>
        <p:pic>
          <p:nvPicPr>
            <p:cNvPr id="7167" name="Google Shape;7167;p57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68" name="Google Shape;7168;p5739"/>
            <p:cNvGrpSpPr/>
            <p:nvPr/>
          </p:nvGrpSpPr>
          <p:grpSpPr>
            <a:xfrm>
              <a:off x="7191542" y="1"/>
              <a:ext cx="5000459" cy="1425992"/>
              <a:chOff x="7186272" y="0"/>
              <a:chExt cx="5005729" cy="1427495"/>
            </a:xfrm>
          </p:grpSpPr>
          <p:sp>
            <p:nvSpPr>
              <p:cNvPr id="7169" name="Google Shape;7169;p57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7170" name="Google Shape;7170;p57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7171" name="Google Shape;7171;p5739"/>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72" name="Google Shape;7172;p5739"/>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7173" name="Google Shape;7173;p5739"/>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7174" name="Google Shape;7174;p573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7175" name="Google Shape;7175;p573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7176" name="Google Shape;7176;p5739"/>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7177" name="Google Shape;7177;p57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78" name="Google Shape;7178;p573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126147536"/>
      </p:ext>
    </p:extLst>
  </p:cSld>
  <p:clrMapOvr>
    <a:masterClrMapping/>
  </p:clrMapOvr>
</p:sldLayout>
</file>

<file path=ppt/slideLayouts/slideLayout1911.xml><?xml version="1.0" encoding="utf-8"?>
<p:sldLayout xmlns:a="http://schemas.openxmlformats.org/drawingml/2006/main" xmlns:r="http://schemas.openxmlformats.org/officeDocument/2006/relationships" xmlns:p="http://schemas.openxmlformats.org/presentationml/2006/main" matchingName="28_Title Only">
  <p:cSld name="28_Title Only">
    <p:spTree>
      <p:nvGrpSpPr>
        <p:cNvPr id="1" name="Shape 7179"/>
        <p:cNvGrpSpPr/>
        <p:nvPr/>
      </p:nvGrpSpPr>
      <p:grpSpPr>
        <a:xfrm>
          <a:off x="0" y="0"/>
          <a:ext cx="0" cy="0"/>
          <a:chOff x="0" y="0"/>
          <a:chExt cx="0" cy="0"/>
        </a:xfrm>
      </p:grpSpPr>
      <p:grpSp>
        <p:nvGrpSpPr>
          <p:cNvPr id="7180" name="Google Shape;7180;p5740"/>
          <p:cNvGrpSpPr/>
          <p:nvPr/>
        </p:nvGrpSpPr>
        <p:grpSpPr>
          <a:xfrm>
            <a:off x="7191544" y="1"/>
            <a:ext cx="5000459" cy="1425992"/>
            <a:chOff x="7191542" y="1"/>
            <a:chExt cx="5000459" cy="1425992"/>
          </a:xfrm>
        </p:grpSpPr>
        <p:pic>
          <p:nvPicPr>
            <p:cNvPr id="7181" name="Google Shape;7181;p574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82" name="Google Shape;7182;p5740"/>
            <p:cNvGrpSpPr/>
            <p:nvPr/>
          </p:nvGrpSpPr>
          <p:grpSpPr>
            <a:xfrm>
              <a:off x="7191542" y="1"/>
              <a:ext cx="5000459" cy="1425992"/>
              <a:chOff x="7186272" y="0"/>
              <a:chExt cx="5005729" cy="1427495"/>
            </a:xfrm>
          </p:grpSpPr>
          <p:sp>
            <p:nvSpPr>
              <p:cNvPr id="7183" name="Google Shape;7183;p57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7184" name="Google Shape;7184;p57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7185" name="Google Shape;7185;p574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86" name="Google Shape;7186;p5740"/>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7187" name="Google Shape;7187;p57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88" name="Google Shape;7188;p574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710254827"/>
      </p:ext>
    </p:extLst>
  </p:cSld>
  <p:clrMapOvr>
    <a:masterClrMapping/>
  </p:clrMapOvr>
</p:sldLayout>
</file>

<file path=ppt/slideLayouts/slideLayout1912.xml><?xml version="1.0" encoding="utf-8"?>
<p:sldLayout xmlns:a="http://schemas.openxmlformats.org/drawingml/2006/main" xmlns:r="http://schemas.openxmlformats.org/officeDocument/2006/relationships" xmlns:p="http://schemas.openxmlformats.org/presentationml/2006/main" matchingName="28_End">
  <p:cSld name="28_End">
    <p:spTree>
      <p:nvGrpSpPr>
        <p:cNvPr id="1" name="Shape 7189"/>
        <p:cNvGrpSpPr/>
        <p:nvPr/>
      </p:nvGrpSpPr>
      <p:grpSpPr>
        <a:xfrm>
          <a:off x="0" y="0"/>
          <a:ext cx="0" cy="0"/>
          <a:chOff x="0" y="0"/>
          <a:chExt cx="0" cy="0"/>
        </a:xfrm>
      </p:grpSpPr>
      <p:grpSp>
        <p:nvGrpSpPr>
          <p:cNvPr id="7190" name="Google Shape;7190;p5741"/>
          <p:cNvGrpSpPr/>
          <p:nvPr/>
        </p:nvGrpSpPr>
        <p:grpSpPr>
          <a:xfrm>
            <a:off x="0" y="0"/>
            <a:ext cx="12192000" cy="2148830"/>
            <a:chOff x="0" y="0"/>
            <a:chExt cx="12192000" cy="2148830"/>
          </a:xfrm>
        </p:grpSpPr>
        <p:sp>
          <p:nvSpPr>
            <p:cNvPr id="7191" name="Google Shape;7191;p574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7192" name="Google Shape;7192;p574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7193" name="Google Shape;7193;p5741"/>
          <p:cNvSpPr/>
          <p:nvPr/>
        </p:nvSpPr>
        <p:spPr>
          <a:xfrm>
            <a:off x="902368" y="1517699"/>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7194" name="Google Shape;7194;p5741"/>
          <p:cNvSpPr txBox="1">
            <a:spLocks noGrp="1"/>
          </p:cNvSpPr>
          <p:nvPr>
            <p:ph type="body" idx="1"/>
          </p:nvPr>
        </p:nvSpPr>
        <p:spPr>
          <a:xfrm>
            <a:off x="1219201" y="3429002"/>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7195" name="Google Shape;7195;p574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9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196" name="Google Shape;7196;p5741"/>
          <p:cNvPicPr preferRelativeResize="0"/>
          <p:nvPr/>
        </p:nvPicPr>
        <p:blipFill rotWithShape="1">
          <a:blip r:embed="rId2">
            <a:alphaModFix/>
          </a:blip>
          <a:srcRect/>
          <a:stretch/>
        </p:blipFill>
        <p:spPr>
          <a:xfrm>
            <a:off x="902370" y="228371"/>
            <a:ext cx="2025315" cy="911940"/>
          </a:xfrm>
          <a:prstGeom prst="rect">
            <a:avLst/>
          </a:prstGeom>
          <a:noFill/>
          <a:ln>
            <a:noFill/>
          </a:ln>
        </p:spPr>
      </p:pic>
      <p:sp>
        <p:nvSpPr>
          <p:cNvPr id="7197" name="Google Shape;7197;p5741"/>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155149530"/>
      </p:ext>
    </p:extLst>
  </p:cSld>
  <p:clrMapOvr>
    <a:masterClrMapping/>
  </p:clrMapOvr>
</p:sldLayout>
</file>

<file path=ppt/slideLayouts/slideLayout1913.xml><?xml version="1.0" encoding="utf-8"?>
<p:sldLayout xmlns:a="http://schemas.openxmlformats.org/drawingml/2006/main" xmlns:r="http://schemas.openxmlformats.org/officeDocument/2006/relationships" xmlns:p="http://schemas.openxmlformats.org/presentationml/2006/main" matchingName="28_Blank">
  <p:cSld name="28_Blank">
    <p:spTree>
      <p:nvGrpSpPr>
        <p:cNvPr id="1" name="Shape 7198"/>
        <p:cNvGrpSpPr/>
        <p:nvPr/>
      </p:nvGrpSpPr>
      <p:grpSpPr>
        <a:xfrm>
          <a:off x="0" y="0"/>
          <a:ext cx="0" cy="0"/>
          <a:chOff x="0" y="0"/>
          <a:chExt cx="0" cy="0"/>
        </a:xfrm>
      </p:grpSpPr>
      <p:sp>
        <p:nvSpPr>
          <p:cNvPr id="7199" name="Google Shape;7199;p574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7200" name="Google Shape;7200;p57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01" name="Google Shape;7201;p574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202" name="Google Shape;7202;p5742"/>
          <p:cNvGrpSpPr/>
          <p:nvPr/>
        </p:nvGrpSpPr>
        <p:grpSpPr>
          <a:xfrm>
            <a:off x="7191544" y="1"/>
            <a:ext cx="5000459" cy="1425992"/>
            <a:chOff x="7191542" y="1"/>
            <a:chExt cx="5000459" cy="1425992"/>
          </a:xfrm>
        </p:grpSpPr>
        <p:pic>
          <p:nvPicPr>
            <p:cNvPr id="7203" name="Google Shape;7203;p57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204" name="Google Shape;7204;p5742"/>
            <p:cNvGrpSpPr/>
            <p:nvPr/>
          </p:nvGrpSpPr>
          <p:grpSpPr>
            <a:xfrm>
              <a:off x="7191542" y="1"/>
              <a:ext cx="5000459" cy="1425992"/>
              <a:chOff x="7186272" y="0"/>
              <a:chExt cx="5005729" cy="1427495"/>
            </a:xfrm>
          </p:grpSpPr>
          <p:sp>
            <p:nvSpPr>
              <p:cNvPr id="7205" name="Google Shape;7205;p57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7206" name="Google Shape;7206;p57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extLst>
      <p:ext uri="{BB962C8B-B14F-4D97-AF65-F5344CB8AC3E}">
        <p14:creationId xmlns:p14="http://schemas.microsoft.com/office/powerpoint/2010/main" val="1660420354"/>
      </p:ext>
    </p:extLst>
  </p:cSld>
  <p:clrMapOvr>
    <a:masterClrMapping/>
  </p:clrMapOvr>
</p:sldLayout>
</file>

<file path=ppt/slideLayouts/slideLayout1914.xml><?xml version="1.0" encoding="utf-8"?>
<p:sldLayout xmlns:a="http://schemas.openxmlformats.org/drawingml/2006/main" xmlns:r="http://schemas.openxmlformats.org/officeDocument/2006/relationships" xmlns:p="http://schemas.openxmlformats.org/presentationml/2006/main" matchingName="20_Title Slide_Yale Blue">
  <p:cSld name="20_Title Slide_Yale Blue">
    <p:spTree>
      <p:nvGrpSpPr>
        <p:cNvPr id="1" name="Shape 7207"/>
        <p:cNvGrpSpPr/>
        <p:nvPr/>
      </p:nvGrpSpPr>
      <p:grpSpPr>
        <a:xfrm>
          <a:off x="0" y="0"/>
          <a:ext cx="0" cy="0"/>
          <a:chOff x="0" y="0"/>
          <a:chExt cx="0" cy="0"/>
        </a:xfrm>
      </p:grpSpPr>
      <p:sp>
        <p:nvSpPr>
          <p:cNvPr id="7208" name="Google Shape;7208;p5743"/>
          <p:cNvSpPr txBox="1">
            <a:spLocks noGrp="1"/>
          </p:cNvSpPr>
          <p:nvPr>
            <p:ph type="body" idx="1"/>
          </p:nvPr>
        </p:nvSpPr>
        <p:spPr>
          <a:xfrm>
            <a:off x="2826556" y="5400857"/>
            <a:ext cx="8178613" cy="348899"/>
          </a:xfrm>
          <a:prstGeom prst="rect">
            <a:avLst/>
          </a:prstGeom>
          <a:noFill/>
          <a:ln>
            <a:noFill/>
          </a:ln>
        </p:spPr>
        <p:txBody>
          <a:bodyPr spcFirstLastPara="1" wrap="square" lIns="91425" tIns="45700" rIns="91425" bIns="45700" anchor="t" anchorCtr="0">
            <a:spAutoFit/>
          </a:bodyPr>
          <a:lstStyle>
            <a:lvl1pPr marL="304815" lvl="0" indent="-152408" algn="r">
              <a:lnSpc>
                <a:spcPct val="100000"/>
              </a:lnSpc>
              <a:spcBef>
                <a:spcPts val="1000"/>
              </a:spcBef>
              <a:spcAft>
                <a:spcPts val="0"/>
              </a:spcAft>
              <a:buSzPts val="2801"/>
              <a:buNone/>
              <a:defRPr sz="1867">
                <a:solidFill>
                  <a:srgbClr val="616364"/>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7209" name="Google Shape;7209;p5743"/>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8000"/>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10" name="Google Shape;7210;p5743"/>
          <p:cNvSpPr txBox="1">
            <a:spLocks noGrp="1"/>
          </p:cNvSpPr>
          <p:nvPr>
            <p:ph type="dt" idx="10"/>
          </p:nvPr>
        </p:nvSpPr>
        <p:spPr>
          <a:xfrm>
            <a:off x="0" y="0"/>
            <a:ext cx="2000000" cy="2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9pPr>
          </a:lstStyle>
          <a:p>
            <a:endParaRPr/>
          </a:p>
        </p:txBody>
      </p:sp>
      <p:sp>
        <p:nvSpPr>
          <p:cNvPr id="7211" name="Google Shape;7211;p574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12" name="Google Shape;7212;p574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7213" name="Google Shape;7213;p5743"/>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7214" name="Google Shape;7214;p5743"/>
          <p:cNvSpPr/>
          <p:nvPr/>
        </p:nvSpPr>
        <p:spPr>
          <a:xfrm>
            <a:off x="0" y="6115052"/>
            <a:ext cx="12192000" cy="742949"/>
          </a:xfrm>
          <a:prstGeom prst="rect">
            <a:avLst/>
          </a:prstGeom>
          <a:solidFill>
            <a:srgbClr val="003B5C"/>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7215" name="Google Shape;7215;p5743"/>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4800"/>
              <a:buNone/>
              <a:defRPr sz="3200" b="0" i="0">
                <a:solidFill>
                  <a:srgbClr val="00314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7216" name="Google Shape;7216;p5743"/>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2333668519"/>
      </p:ext>
    </p:extLst>
  </p:cSld>
  <p:clrMapOvr>
    <a:masterClrMapping/>
  </p:clrMapOvr>
</p:sldLayout>
</file>

<file path=ppt/slideLayouts/slideLayout1915.xml><?xml version="1.0" encoding="utf-8"?>
<p:sldLayout xmlns:a="http://schemas.openxmlformats.org/drawingml/2006/main" xmlns:r="http://schemas.openxmlformats.org/officeDocument/2006/relationships" xmlns:p="http://schemas.openxmlformats.org/presentationml/2006/main" matchingName="1_Section Header">
  <p:cSld name="1_Section Header">
    <p:spTree>
      <p:nvGrpSpPr>
        <p:cNvPr id="1" name="Shape 7217"/>
        <p:cNvGrpSpPr/>
        <p:nvPr/>
      </p:nvGrpSpPr>
      <p:grpSpPr>
        <a:xfrm>
          <a:off x="0" y="0"/>
          <a:ext cx="0" cy="0"/>
          <a:chOff x="0" y="0"/>
          <a:chExt cx="0" cy="0"/>
        </a:xfrm>
      </p:grpSpPr>
      <p:sp>
        <p:nvSpPr>
          <p:cNvPr id="7218" name="Google Shape;7218;p5744"/>
          <p:cNvSpPr txBox="1">
            <a:spLocks noGrp="1"/>
          </p:cNvSpPr>
          <p:nvPr>
            <p:ph type="title"/>
          </p:nvPr>
        </p:nvSpPr>
        <p:spPr>
          <a:xfrm>
            <a:off x="963084" y="4406904"/>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6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19" name="Google Shape;7219;p5744"/>
          <p:cNvSpPr txBox="1">
            <a:spLocks noGrp="1"/>
          </p:cNvSpPr>
          <p:nvPr>
            <p:ph type="body" idx="1"/>
          </p:nvPr>
        </p:nvSpPr>
        <p:spPr>
          <a:xfrm>
            <a:off x="963084" y="2906714"/>
            <a:ext cx="10363200" cy="1500187"/>
          </a:xfrm>
          <a:prstGeom prst="rect">
            <a:avLst/>
          </a:prstGeom>
          <a:noFill/>
          <a:ln>
            <a:noFill/>
          </a:ln>
        </p:spPr>
        <p:txBody>
          <a:bodyPr spcFirstLastPara="1" wrap="square" lIns="91425" tIns="45700" rIns="91425" bIns="45700" anchor="b" anchorCtr="0">
            <a:noAutofit/>
          </a:bodyPr>
          <a:lstStyle>
            <a:lvl1pPr marL="304815" lvl="0" indent="-152408" algn="l">
              <a:lnSpc>
                <a:spcPct val="100000"/>
              </a:lnSpc>
              <a:spcBef>
                <a:spcPts val="1000"/>
              </a:spcBef>
              <a:spcAft>
                <a:spcPts val="0"/>
              </a:spcAft>
              <a:buSzPts val="3000"/>
              <a:buNone/>
              <a:defRPr sz="2000">
                <a:solidFill>
                  <a:srgbClr val="919497"/>
                </a:solidFill>
              </a:defRPr>
            </a:lvl1pPr>
            <a:lvl2pPr marL="609630" lvl="1" indent="-152408" algn="l">
              <a:lnSpc>
                <a:spcPct val="100000"/>
              </a:lnSpc>
              <a:spcBef>
                <a:spcPts val="1000"/>
              </a:spcBef>
              <a:spcAft>
                <a:spcPts val="0"/>
              </a:spcAft>
              <a:buSzPts val="2700"/>
              <a:buNone/>
              <a:defRPr sz="1800">
                <a:solidFill>
                  <a:srgbClr val="919497"/>
                </a:solidFill>
              </a:defRPr>
            </a:lvl2pPr>
            <a:lvl3pPr marL="914446" lvl="2" indent="-152408" algn="l">
              <a:lnSpc>
                <a:spcPct val="100000"/>
              </a:lnSpc>
              <a:spcBef>
                <a:spcPts val="1000"/>
              </a:spcBef>
              <a:spcAft>
                <a:spcPts val="0"/>
              </a:spcAft>
              <a:buSzPts val="2400"/>
              <a:buNone/>
              <a:defRPr sz="1600">
                <a:solidFill>
                  <a:srgbClr val="919497"/>
                </a:solidFill>
              </a:defRPr>
            </a:lvl3pPr>
            <a:lvl4pPr marL="1219261" lvl="3" indent="-152408" algn="l">
              <a:lnSpc>
                <a:spcPct val="100000"/>
              </a:lnSpc>
              <a:spcBef>
                <a:spcPts val="1000"/>
              </a:spcBef>
              <a:spcAft>
                <a:spcPts val="0"/>
              </a:spcAft>
              <a:buSzPts val="2100"/>
              <a:buNone/>
              <a:defRPr sz="1400">
                <a:solidFill>
                  <a:srgbClr val="919497"/>
                </a:solidFill>
              </a:defRPr>
            </a:lvl4pPr>
            <a:lvl5pPr marL="1524076" lvl="4" indent="-152408" algn="l">
              <a:lnSpc>
                <a:spcPct val="100000"/>
              </a:lnSpc>
              <a:spcBef>
                <a:spcPts val="1000"/>
              </a:spcBef>
              <a:spcAft>
                <a:spcPts val="0"/>
              </a:spcAft>
              <a:buSzPts val="2100"/>
              <a:buNone/>
              <a:defRPr sz="1400">
                <a:solidFill>
                  <a:srgbClr val="919497"/>
                </a:solidFill>
              </a:defRPr>
            </a:lvl5pPr>
            <a:lvl6pPr marL="1828891" lvl="5" indent="-152408" algn="l">
              <a:lnSpc>
                <a:spcPct val="90000"/>
              </a:lnSpc>
              <a:spcBef>
                <a:spcPts val="1000"/>
              </a:spcBef>
              <a:spcAft>
                <a:spcPts val="0"/>
              </a:spcAft>
              <a:buClr>
                <a:srgbClr val="919497"/>
              </a:buClr>
              <a:buSzPts val="2100"/>
              <a:buNone/>
              <a:defRPr sz="1400">
                <a:solidFill>
                  <a:srgbClr val="919497"/>
                </a:solidFill>
              </a:defRPr>
            </a:lvl6pPr>
            <a:lvl7pPr marL="2133707" lvl="6" indent="-152408" algn="l">
              <a:lnSpc>
                <a:spcPct val="90000"/>
              </a:lnSpc>
              <a:spcBef>
                <a:spcPts val="500"/>
              </a:spcBef>
              <a:spcAft>
                <a:spcPts val="0"/>
              </a:spcAft>
              <a:buClr>
                <a:srgbClr val="919497"/>
              </a:buClr>
              <a:buSzPts val="2100"/>
              <a:buNone/>
              <a:defRPr sz="1400">
                <a:solidFill>
                  <a:srgbClr val="919497"/>
                </a:solidFill>
              </a:defRPr>
            </a:lvl7pPr>
            <a:lvl8pPr marL="2438522" lvl="7" indent="-152408" algn="l">
              <a:lnSpc>
                <a:spcPct val="90000"/>
              </a:lnSpc>
              <a:spcBef>
                <a:spcPts val="500"/>
              </a:spcBef>
              <a:spcAft>
                <a:spcPts val="0"/>
              </a:spcAft>
              <a:buClr>
                <a:srgbClr val="919497"/>
              </a:buClr>
              <a:buSzPts val="2100"/>
              <a:buNone/>
              <a:defRPr sz="1400">
                <a:solidFill>
                  <a:srgbClr val="919497"/>
                </a:solidFill>
              </a:defRPr>
            </a:lvl8pPr>
            <a:lvl9pPr marL="2743337" lvl="8" indent="-152408" algn="l">
              <a:lnSpc>
                <a:spcPct val="90000"/>
              </a:lnSpc>
              <a:spcBef>
                <a:spcPts val="500"/>
              </a:spcBef>
              <a:spcAft>
                <a:spcPts val="0"/>
              </a:spcAft>
              <a:buClr>
                <a:srgbClr val="919497"/>
              </a:buClr>
              <a:buSzPts val="2100"/>
              <a:buNone/>
              <a:defRPr sz="1400">
                <a:solidFill>
                  <a:srgbClr val="919497"/>
                </a:solidFill>
              </a:defRPr>
            </a:lvl9pPr>
          </a:lstStyle>
          <a:p>
            <a:endParaRPr/>
          </a:p>
        </p:txBody>
      </p:sp>
      <p:sp>
        <p:nvSpPr>
          <p:cNvPr id="7220" name="Google Shape;7220;p5744"/>
          <p:cNvSpPr txBox="1">
            <a:spLocks noGrp="1"/>
          </p:cNvSpPr>
          <p:nvPr>
            <p:ph type="dt" idx="10"/>
          </p:nvPr>
        </p:nvSpPr>
        <p:spPr>
          <a:xfrm>
            <a:off x="0" y="0"/>
            <a:ext cx="2000000" cy="2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9pPr>
          </a:lstStyle>
          <a:p>
            <a:endParaRPr/>
          </a:p>
        </p:txBody>
      </p:sp>
      <p:sp>
        <p:nvSpPr>
          <p:cNvPr id="7221" name="Google Shape;7221;p57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22" name="Google Shape;7222;p57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extLst>
      <p:ext uri="{BB962C8B-B14F-4D97-AF65-F5344CB8AC3E}">
        <p14:creationId xmlns:p14="http://schemas.microsoft.com/office/powerpoint/2010/main" val="2625563268"/>
      </p:ext>
    </p:extLst>
  </p:cSld>
  <p:clrMapOvr>
    <a:masterClrMapping/>
  </p:clrMapOvr>
</p:sldLayout>
</file>

<file path=ppt/slideLayouts/slideLayout1916.xml><?xml version="1.0" encoding="utf-8"?>
<p:sldLayout xmlns:a="http://schemas.openxmlformats.org/drawingml/2006/main" xmlns:r="http://schemas.openxmlformats.org/officeDocument/2006/relationships" xmlns:p="http://schemas.openxmlformats.org/presentationml/2006/main" matchingName="1_Content with Caption">
  <p:cSld name="1_Content with Caption">
    <p:spTree>
      <p:nvGrpSpPr>
        <p:cNvPr id="1" name="Shape 7223"/>
        <p:cNvGrpSpPr/>
        <p:nvPr/>
      </p:nvGrpSpPr>
      <p:grpSpPr>
        <a:xfrm>
          <a:off x="0" y="0"/>
          <a:ext cx="0" cy="0"/>
          <a:chOff x="0" y="0"/>
          <a:chExt cx="0" cy="0"/>
        </a:xfrm>
      </p:grpSpPr>
      <p:sp>
        <p:nvSpPr>
          <p:cNvPr id="7224" name="Google Shape;7224;p5745"/>
          <p:cNvSpPr txBox="1">
            <a:spLocks noGrp="1"/>
          </p:cNvSpPr>
          <p:nvPr>
            <p:ph type="title"/>
          </p:nvPr>
        </p:nvSpPr>
        <p:spPr>
          <a:xfrm>
            <a:off x="609605" y="273052"/>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3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25" name="Google Shape;7225;p5745"/>
          <p:cNvSpPr txBox="1">
            <a:spLocks noGrp="1"/>
          </p:cNvSpPr>
          <p:nvPr>
            <p:ph type="body" idx="1"/>
          </p:nvPr>
        </p:nvSpPr>
        <p:spPr>
          <a:xfrm>
            <a:off x="4766734" y="273055"/>
            <a:ext cx="6815667" cy="5853113"/>
          </a:xfrm>
          <a:prstGeom prst="rect">
            <a:avLst/>
          </a:prstGeom>
          <a:noFill/>
          <a:ln>
            <a:noFill/>
          </a:ln>
        </p:spPr>
        <p:txBody>
          <a:bodyPr spcFirstLastPara="1" wrap="square" lIns="91425" tIns="45700" rIns="91425" bIns="45700" anchor="t" anchorCtr="0">
            <a:noAutofit/>
          </a:bodyPr>
          <a:lstStyle>
            <a:lvl1pPr marL="304815" lvl="0" indent="-355618" algn="l">
              <a:lnSpc>
                <a:spcPct val="100000"/>
              </a:lnSpc>
              <a:spcBef>
                <a:spcPts val="1000"/>
              </a:spcBef>
              <a:spcAft>
                <a:spcPts val="0"/>
              </a:spcAft>
              <a:buSzPts val="4800"/>
              <a:buChar char="•"/>
              <a:defRPr sz="3200"/>
            </a:lvl1pPr>
            <a:lvl2pPr marL="609630" lvl="1" indent="-330217" algn="l">
              <a:lnSpc>
                <a:spcPct val="100000"/>
              </a:lnSpc>
              <a:spcBef>
                <a:spcPts val="1000"/>
              </a:spcBef>
              <a:spcAft>
                <a:spcPts val="0"/>
              </a:spcAft>
              <a:buSzPts val="4200"/>
              <a:buChar char="•"/>
              <a:defRPr sz="2800"/>
            </a:lvl2pPr>
            <a:lvl3pPr marL="914446" lvl="2" indent="-304815" algn="l">
              <a:lnSpc>
                <a:spcPct val="100000"/>
              </a:lnSpc>
              <a:spcBef>
                <a:spcPts val="1000"/>
              </a:spcBef>
              <a:spcAft>
                <a:spcPts val="0"/>
              </a:spcAft>
              <a:buSzPts val="3600"/>
              <a:buChar char="•"/>
              <a:defRPr sz="2400"/>
            </a:lvl3pPr>
            <a:lvl4pPr marL="1219261" lvl="3" indent="-279414" algn="l">
              <a:lnSpc>
                <a:spcPct val="100000"/>
              </a:lnSpc>
              <a:spcBef>
                <a:spcPts val="1000"/>
              </a:spcBef>
              <a:spcAft>
                <a:spcPts val="0"/>
              </a:spcAft>
              <a:buSzPts val="3000"/>
              <a:buChar char="•"/>
              <a:defRPr sz="2000"/>
            </a:lvl4pPr>
            <a:lvl5pPr marL="1524076" lvl="4" indent="-279414" algn="l">
              <a:lnSpc>
                <a:spcPct val="100000"/>
              </a:lnSpc>
              <a:spcBef>
                <a:spcPts val="1000"/>
              </a:spcBef>
              <a:spcAft>
                <a:spcPts val="0"/>
              </a:spcAft>
              <a:buSzPts val="3000"/>
              <a:buChar char="•"/>
              <a:defRPr sz="2000"/>
            </a:lvl5pPr>
            <a:lvl6pPr marL="1828891" lvl="5" indent="-279414" algn="l">
              <a:lnSpc>
                <a:spcPct val="90000"/>
              </a:lnSpc>
              <a:spcBef>
                <a:spcPts val="1000"/>
              </a:spcBef>
              <a:spcAft>
                <a:spcPts val="0"/>
              </a:spcAft>
              <a:buClr>
                <a:schemeClr val="dk1"/>
              </a:buClr>
              <a:buSzPts val="3000"/>
              <a:buChar char="•"/>
              <a:defRPr sz="2000"/>
            </a:lvl6pPr>
            <a:lvl7pPr marL="2133707" lvl="6" indent="-279414" algn="l">
              <a:lnSpc>
                <a:spcPct val="90000"/>
              </a:lnSpc>
              <a:spcBef>
                <a:spcPts val="500"/>
              </a:spcBef>
              <a:spcAft>
                <a:spcPts val="0"/>
              </a:spcAft>
              <a:buClr>
                <a:schemeClr val="dk1"/>
              </a:buClr>
              <a:buSzPts val="3000"/>
              <a:buChar char="•"/>
              <a:defRPr sz="2000"/>
            </a:lvl7pPr>
            <a:lvl8pPr marL="2438522" lvl="7" indent="-279414" algn="l">
              <a:lnSpc>
                <a:spcPct val="90000"/>
              </a:lnSpc>
              <a:spcBef>
                <a:spcPts val="500"/>
              </a:spcBef>
              <a:spcAft>
                <a:spcPts val="0"/>
              </a:spcAft>
              <a:buClr>
                <a:schemeClr val="dk1"/>
              </a:buClr>
              <a:buSzPts val="3000"/>
              <a:buChar char="•"/>
              <a:defRPr sz="2000"/>
            </a:lvl8pPr>
            <a:lvl9pPr marL="2743337" lvl="8" indent="-279414" algn="l">
              <a:lnSpc>
                <a:spcPct val="90000"/>
              </a:lnSpc>
              <a:spcBef>
                <a:spcPts val="500"/>
              </a:spcBef>
              <a:spcAft>
                <a:spcPts val="0"/>
              </a:spcAft>
              <a:buClr>
                <a:schemeClr val="dk1"/>
              </a:buClr>
              <a:buSzPts val="3000"/>
              <a:buChar char="•"/>
              <a:defRPr sz="2000"/>
            </a:lvl9pPr>
          </a:lstStyle>
          <a:p>
            <a:endParaRPr/>
          </a:p>
        </p:txBody>
      </p:sp>
      <p:sp>
        <p:nvSpPr>
          <p:cNvPr id="7226" name="Google Shape;7226;p5745"/>
          <p:cNvSpPr txBox="1">
            <a:spLocks noGrp="1"/>
          </p:cNvSpPr>
          <p:nvPr>
            <p:ph type="body" idx="2"/>
          </p:nvPr>
        </p:nvSpPr>
        <p:spPr>
          <a:xfrm>
            <a:off x="609605" y="1435104"/>
            <a:ext cx="4011084" cy="46910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100"/>
              <a:buNone/>
              <a:defRPr sz="1400"/>
            </a:lvl1pPr>
            <a:lvl2pPr marL="609630" lvl="1" indent="-152408" algn="l">
              <a:lnSpc>
                <a:spcPct val="100000"/>
              </a:lnSpc>
              <a:spcBef>
                <a:spcPts val="1000"/>
              </a:spcBef>
              <a:spcAft>
                <a:spcPts val="0"/>
              </a:spcAft>
              <a:buSzPts val="1800"/>
              <a:buNone/>
              <a:defRPr sz="1200"/>
            </a:lvl2pPr>
            <a:lvl3pPr marL="914446" lvl="2" indent="-152408" algn="l">
              <a:lnSpc>
                <a:spcPct val="100000"/>
              </a:lnSpc>
              <a:spcBef>
                <a:spcPts val="1000"/>
              </a:spcBef>
              <a:spcAft>
                <a:spcPts val="0"/>
              </a:spcAft>
              <a:buSzPts val="1500"/>
              <a:buNone/>
              <a:defRPr sz="1000"/>
            </a:lvl3pPr>
            <a:lvl4pPr marL="1219261" lvl="3" indent="-152408" algn="l">
              <a:lnSpc>
                <a:spcPct val="100000"/>
              </a:lnSpc>
              <a:spcBef>
                <a:spcPts val="1000"/>
              </a:spcBef>
              <a:spcAft>
                <a:spcPts val="0"/>
              </a:spcAft>
              <a:buSzPts val="1350"/>
              <a:buNone/>
              <a:defRPr sz="900"/>
            </a:lvl4pPr>
            <a:lvl5pPr marL="1524076" lvl="4" indent="-152408" algn="l">
              <a:lnSpc>
                <a:spcPct val="100000"/>
              </a:lnSpc>
              <a:spcBef>
                <a:spcPts val="1000"/>
              </a:spcBef>
              <a:spcAft>
                <a:spcPts val="0"/>
              </a:spcAft>
              <a:buSzPts val="1350"/>
              <a:buNone/>
              <a:defRPr sz="900"/>
            </a:lvl5pPr>
            <a:lvl6pPr marL="1828891" lvl="5" indent="-152408" algn="l">
              <a:lnSpc>
                <a:spcPct val="90000"/>
              </a:lnSpc>
              <a:spcBef>
                <a:spcPts val="1000"/>
              </a:spcBef>
              <a:spcAft>
                <a:spcPts val="0"/>
              </a:spcAft>
              <a:buClr>
                <a:schemeClr val="dk1"/>
              </a:buClr>
              <a:buSzPts val="1350"/>
              <a:buNone/>
              <a:defRPr sz="900"/>
            </a:lvl6pPr>
            <a:lvl7pPr marL="2133707" lvl="6" indent="-152408" algn="l">
              <a:lnSpc>
                <a:spcPct val="90000"/>
              </a:lnSpc>
              <a:spcBef>
                <a:spcPts val="500"/>
              </a:spcBef>
              <a:spcAft>
                <a:spcPts val="0"/>
              </a:spcAft>
              <a:buClr>
                <a:schemeClr val="dk1"/>
              </a:buClr>
              <a:buSzPts val="1350"/>
              <a:buNone/>
              <a:defRPr sz="900"/>
            </a:lvl7pPr>
            <a:lvl8pPr marL="2438522" lvl="7" indent="-152408" algn="l">
              <a:lnSpc>
                <a:spcPct val="90000"/>
              </a:lnSpc>
              <a:spcBef>
                <a:spcPts val="500"/>
              </a:spcBef>
              <a:spcAft>
                <a:spcPts val="0"/>
              </a:spcAft>
              <a:buClr>
                <a:schemeClr val="dk1"/>
              </a:buClr>
              <a:buSzPts val="1350"/>
              <a:buNone/>
              <a:defRPr sz="900"/>
            </a:lvl8pPr>
            <a:lvl9pPr marL="2743337" lvl="8" indent="-152408" algn="l">
              <a:lnSpc>
                <a:spcPct val="90000"/>
              </a:lnSpc>
              <a:spcBef>
                <a:spcPts val="500"/>
              </a:spcBef>
              <a:spcAft>
                <a:spcPts val="0"/>
              </a:spcAft>
              <a:buClr>
                <a:schemeClr val="dk1"/>
              </a:buClr>
              <a:buSzPts val="1350"/>
              <a:buNone/>
              <a:defRPr sz="900"/>
            </a:lvl9pPr>
          </a:lstStyle>
          <a:p>
            <a:endParaRPr/>
          </a:p>
        </p:txBody>
      </p:sp>
      <p:sp>
        <p:nvSpPr>
          <p:cNvPr id="7227" name="Google Shape;7227;p5745"/>
          <p:cNvSpPr txBox="1">
            <a:spLocks noGrp="1"/>
          </p:cNvSpPr>
          <p:nvPr>
            <p:ph type="dt" idx="10"/>
          </p:nvPr>
        </p:nvSpPr>
        <p:spPr>
          <a:xfrm>
            <a:off x="0" y="0"/>
            <a:ext cx="2000000" cy="2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9pPr>
          </a:lstStyle>
          <a:p>
            <a:endParaRPr/>
          </a:p>
        </p:txBody>
      </p:sp>
      <p:sp>
        <p:nvSpPr>
          <p:cNvPr id="7228" name="Google Shape;7228;p574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29" name="Google Shape;7229;p574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extLst>
      <p:ext uri="{BB962C8B-B14F-4D97-AF65-F5344CB8AC3E}">
        <p14:creationId xmlns:p14="http://schemas.microsoft.com/office/powerpoint/2010/main" val="3448624020"/>
      </p:ext>
    </p:extLst>
  </p:cSld>
  <p:clrMapOvr>
    <a:masterClrMapping/>
  </p:clrMapOvr>
</p:sldLayout>
</file>

<file path=ppt/slideLayouts/slideLayout1917.xml><?xml version="1.0" encoding="utf-8"?>
<p:sldLayout xmlns:a="http://schemas.openxmlformats.org/drawingml/2006/main" xmlns:r="http://schemas.openxmlformats.org/officeDocument/2006/relationships" xmlns:p="http://schemas.openxmlformats.org/presentationml/2006/main" showMasterSp="0" matchingName="5_EVERYDAY - CONTENT ONLY">
  <p:cSld name="5_EVERYDAY - CONTENT ONLY">
    <p:spTree>
      <p:nvGrpSpPr>
        <p:cNvPr id="1" name="Shape 7230"/>
        <p:cNvGrpSpPr/>
        <p:nvPr/>
      </p:nvGrpSpPr>
      <p:grpSpPr>
        <a:xfrm>
          <a:off x="0" y="0"/>
          <a:ext cx="0" cy="0"/>
          <a:chOff x="0" y="0"/>
          <a:chExt cx="0" cy="0"/>
        </a:xfrm>
      </p:grpSpPr>
      <p:sp>
        <p:nvSpPr>
          <p:cNvPr id="7231" name="Google Shape;7231;p5746"/>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7232" name="Google Shape;7232;p5746"/>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3137"/>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525" b="0" i="0" u="none" strike="noStrike" cap="none">
              <a:solidFill>
                <a:srgbClr val="FFFFFF"/>
              </a:solidFill>
              <a:latin typeface="Helvetica Neue"/>
              <a:ea typeface="Helvetica Neue"/>
              <a:cs typeface="Helvetica Neue"/>
              <a:sym typeface="Helvetica Neue"/>
            </a:endParaRPr>
          </a:p>
        </p:txBody>
      </p:sp>
      <p:sp>
        <p:nvSpPr>
          <p:cNvPr id="7233" name="Google Shape;7233;p5746"/>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304815" lvl="0" indent="-304815" algn="l">
              <a:lnSpc>
                <a:spcPct val="100000"/>
              </a:lnSpc>
              <a:spcBef>
                <a:spcPts val="1000"/>
              </a:spcBef>
              <a:spcAft>
                <a:spcPts val="0"/>
              </a:spcAft>
              <a:buSzPts val="3600"/>
              <a:buChar char="•"/>
              <a:defRPr>
                <a:solidFill>
                  <a:srgbClr val="4B545E"/>
                </a:solidFill>
              </a:defRPr>
            </a:lvl1pPr>
            <a:lvl2pPr marL="609630" lvl="1" indent="-279414" algn="l">
              <a:lnSpc>
                <a:spcPct val="100000"/>
              </a:lnSpc>
              <a:spcBef>
                <a:spcPts val="1000"/>
              </a:spcBef>
              <a:spcAft>
                <a:spcPts val="0"/>
              </a:spcAft>
              <a:buSzPts val="3000"/>
              <a:buChar char="•"/>
              <a:defRPr>
                <a:solidFill>
                  <a:srgbClr val="4B545E"/>
                </a:solidFill>
              </a:defRPr>
            </a:lvl2pPr>
            <a:lvl3pPr marL="914446" lvl="2" indent="-266713" algn="l">
              <a:lnSpc>
                <a:spcPct val="100000"/>
              </a:lnSpc>
              <a:spcBef>
                <a:spcPts val="1000"/>
              </a:spcBef>
              <a:spcAft>
                <a:spcPts val="0"/>
              </a:spcAft>
              <a:buSzPts val="2700"/>
              <a:buChar char="•"/>
              <a:defRPr>
                <a:solidFill>
                  <a:srgbClr val="4B545E"/>
                </a:solidFill>
              </a:defRPr>
            </a:lvl3pPr>
            <a:lvl4pPr marL="1219261" lvl="3" indent="-254013" algn="l">
              <a:lnSpc>
                <a:spcPct val="100000"/>
              </a:lnSpc>
              <a:spcBef>
                <a:spcPts val="1000"/>
              </a:spcBef>
              <a:spcAft>
                <a:spcPts val="0"/>
              </a:spcAft>
              <a:buSzPts val="2400"/>
              <a:buChar char="•"/>
              <a:defRPr>
                <a:solidFill>
                  <a:srgbClr val="4B545E"/>
                </a:solidFill>
              </a:defRPr>
            </a:lvl4pPr>
            <a:lvl5pPr marL="1524076" lvl="4" indent="-254013" algn="l">
              <a:lnSpc>
                <a:spcPct val="100000"/>
              </a:lnSpc>
              <a:spcBef>
                <a:spcPts val="1000"/>
              </a:spcBef>
              <a:spcAft>
                <a:spcPts val="0"/>
              </a:spcAft>
              <a:buSzPts val="2400"/>
              <a:buChar char="•"/>
              <a:defRPr>
                <a:solidFill>
                  <a:srgbClr val="4B545E"/>
                </a:solidFill>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7234" name="Google Shape;7234;p5746"/>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3137"/>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525" b="0" i="0" u="none" strike="noStrike" cap="none">
              <a:solidFill>
                <a:srgbClr val="FFFFFF"/>
              </a:solidFill>
              <a:latin typeface="Helvetica Neue"/>
              <a:ea typeface="Helvetica Neue"/>
              <a:cs typeface="Helvetica Neue"/>
              <a:sym typeface="Helvetica Neue"/>
            </a:endParaRPr>
          </a:p>
        </p:txBody>
      </p:sp>
      <p:sp>
        <p:nvSpPr>
          <p:cNvPr id="7235" name="Google Shape;7235;p5746"/>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48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36" name="Google Shape;7236;p5746"/>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304815" lvl="0" indent="-152408" algn="l">
              <a:lnSpc>
                <a:spcPct val="100000"/>
              </a:lnSpc>
              <a:spcBef>
                <a:spcPts val="1000"/>
              </a:spcBef>
              <a:spcAft>
                <a:spcPts val="0"/>
              </a:spcAft>
              <a:buSzPts val="2100"/>
              <a:buNone/>
              <a:defRPr sz="1400">
                <a:solidFill>
                  <a:schemeClr val="lt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7237" name="Google Shape;7237;p5746"/>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7238" name="Google Shape;7238;p5746"/>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1pPr>
            <a:lvl2pPr marL="0" lvl="1"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2pPr>
            <a:lvl3pPr marL="0" lvl="2"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3pPr>
            <a:lvl4pPr marL="0" lvl="3"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4pPr>
            <a:lvl5pPr marL="0" lvl="4"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5pPr>
            <a:lvl6pPr marL="0" lvl="5"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6pPr>
            <a:lvl7pPr marL="0" lvl="6"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7pPr>
            <a:lvl8pPr marL="0" lvl="7"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8pPr>
            <a:lvl9pPr marL="0" lvl="8"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7239" name="Google Shape;7239;p5746"/>
          <p:cNvPicPr preferRelativeResize="0"/>
          <p:nvPr/>
        </p:nvPicPr>
        <p:blipFill rotWithShape="1">
          <a:blip r:embed="rId2">
            <a:alphaModFix/>
          </a:blip>
          <a:srcRect/>
          <a:stretch/>
        </p:blipFill>
        <p:spPr>
          <a:xfrm>
            <a:off x="9596462" y="6492240"/>
            <a:ext cx="1606135" cy="229238"/>
          </a:xfrm>
          <a:prstGeom prst="rect">
            <a:avLst/>
          </a:prstGeom>
          <a:noFill/>
          <a:ln>
            <a:noFill/>
          </a:ln>
        </p:spPr>
      </p:pic>
    </p:spTree>
    <p:extLst>
      <p:ext uri="{BB962C8B-B14F-4D97-AF65-F5344CB8AC3E}">
        <p14:creationId xmlns:p14="http://schemas.microsoft.com/office/powerpoint/2010/main" val="3729119996"/>
      </p:ext>
    </p:extLst>
  </p:cSld>
  <p:clrMapOvr>
    <a:masterClrMapping/>
  </p:clrMapOvr>
</p:sldLayout>
</file>

<file path=ppt/slideLayouts/slideLayout1918.xml><?xml version="1.0" encoding="utf-8"?>
<p:sldLayout xmlns:a="http://schemas.openxmlformats.org/drawingml/2006/main" xmlns:r="http://schemas.openxmlformats.org/officeDocument/2006/relationships" xmlns:p="http://schemas.openxmlformats.org/presentationml/2006/main" matchingName="64_Quotation">
  <p:cSld name="64_Quotation">
    <p:spTree>
      <p:nvGrpSpPr>
        <p:cNvPr id="1" name="Shape 7240"/>
        <p:cNvGrpSpPr/>
        <p:nvPr/>
      </p:nvGrpSpPr>
      <p:grpSpPr>
        <a:xfrm>
          <a:off x="0" y="0"/>
          <a:ext cx="0" cy="0"/>
          <a:chOff x="0" y="0"/>
          <a:chExt cx="0" cy="0"/>
        </a:xfrm>
      </p:grpSpPr>
      <p:sp>
        <p:nvSpPr>
          <p:cNvPr id="7241" name="Google Shape;7241;p5747"/>
          <p:cNvSpPr/>
          <p:nvPr/>
        </p:nvSpPr>
        <p:spPr>
          <a:xfrm>
            <a:off x="1427357"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7242" name="Google Shape;7242;p574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43" name="Google Shape;7243;p574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7244" name="Google Shape;7244;p574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7245" name="Google Shape;7245;p57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46" name="Google Shape;7246;p574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247" name="Google Shape;7247;p5747"/>
          <p:cNvGrpSpPr/>
          <p:nvPr/>
        </p:nvGrpSpPr>
        <p:grpSpPr>
          <a:xfrm>
            <a:off x="7191543" y="1"/>
            <a:ext cx="5000459" cy="1425992"/>
            <a:chOff x="7191542" y="1"/>
            <a:chExt cx="5000459" cy="1425992"/>
          </a:xfrm>
        </p:grpSpPr>
        <p:pic>
          <p:nvPicPr>
            <p:cNvPr id="7248" name="Google Shape;7248;p57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249" name="Google Shape;7249;p5747"/>
            <p:cNvGrpSpPr/>
            <p:nvPr/>
          </p:nvGrpSpPr>
          <p:grpSpPr>
            <a:xfrm>
              <a:off x="7191542" y="1"/>
              <a:ext cx="5000459" cy="1425992"/>
              <a:chOff x="7186272" y="0"/>
              <a:chExt cx="5005729" cy="1427495"/>
            </a:xfrm>
          </p:grpSpPr>
          <p:sp>
            <p:nvSpPr>
              <p:cNvPr id="7250" name="Google Shape;7250;p57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7251" name="Google Shape;7251;p57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7252" name="Google Shape;7252;p5747"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3335866723"/>
      </p:ext>
    </p:extLst>
  </p:cSld>
  <p:clrMapOvr>
    <a:masterClrMapping/>
  </p:clrMapOvr>
</p:sldLayout>
</file>

<file path=ppt/slideLayouts/slideLayout1919.xml><?xml version="1.0" encoding="utf-8"?>
<p:sldLayout xmlns:a="http://schemas.openxmlformats.org/drawingml/2006/main" xmlns:r="http://schemas.openxmlformats.org/officeDocument/2006/relationships" xmlns:p="http://schemas.openxmlformats.org/presentationml/2006/main" matchingName="65_Quotation">
  <p:cSld name="65_Quotation">
    <p:spTree>
      <p:nvGrpSpPr>
        <p:cNvPr id="1" name="Shape 7253"/>
        <p:cNvGrpSpPr/>
        <p:nvPr/>
      </p:nvGrpSpPr>
      <p:grpSpPr>
        <a:xfrm>
          <a:off x="0" y="0"/>
          <a:ext cx="0" cy="0"/>
          <a:chOff x="0" y="0"/>
          <a:chExt cx="0" cy="0"/>
        </a:xfrm>
      </p:grpSpPr>
      <p:sp>
        <p:nvSpPr>
          <p:cNvPr id="7254" name="Google Shape;7254;p5748"/>
          <p:cNvSpPr/>
          <p:nvPr/>
        </p:nvSpPr>
        <p:spPr>
          <a:xfrm>
            <a:off x="1427357"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7255" name="Google Shape;7255;p574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56" name="Google Shape;7256;p574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7257" name="Google Shape;7257;p574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7258" name="Google Shape;7258;p57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59" name="Google Shape;7259;p574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260" name="Google Shape;7260;p5748"/>
          <p:cNvGrpSpPr/>
          <p:nvPr/>
        </p:nvGrpSpPr>
        <p:grpSpPr>
          <a:xfrm>
            <a:off x="7191543" y="1"/>
            <a:ext cx="5000459" cy="1425992"/>
            <a:chOff x="7191542" y="1"/>
            <a:chExt cx="5000459" cy="1425992"/>
          </a:xfrm>
        </p:grpSpPr>
        <p:pic>
          <p:nvPicPr>
            <p:cNvPr id="7261" name="Google Shape;7261;p57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262" name="Google Shape;7262;p5748"/>
            <p:cNvGrpSpPr/>
            <p:nvPr/>
          </p:nvGrpSpPr>
          <p:grpSpPr>
            <a:xfrm>
              <a:off x="7191542" y="1"/>
              <a:ext cx="5000459" cy="1425992"/>
              <a:chOff x="7186272" y="0"/>
              <a:chExt cx="5005729" cy="1427495"/>
            </a:xfrm>
          </p:grpSpPr>
          <p:sp>
            <p:nvSpPr>
              <p:cNvPr id="7263" name="Google Shape;7263;p57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7264" name="Google Shape;7264;p57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7265" name="Google Shape;7265;p5748"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228317307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5">
    <p:spTree>
      <p:nvGrpSpPr>
        <p:cNvPr id="1" name="Shape 10900"/>
        <p:cNvGrpSpPr/>
        <p:nvPr/>
      </p:nvGrpSpPr>
      <p:grpSpPr>
        <a:xfrm>
          <a:off x="0" y="0"/>
          <a:ext cx="0" cy="0"/>
          <a:chOff x="0" y="0"/>
          <a:chExt cx="0" cy="0"/>
        </a:xfrm>
      </p:grpSpPr>
      <p:sp>
        <p:nvSpPr>
          <p:cNvPr id="10901" name="Google Shape;10901;p1496"/>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02" name="Google Shape;10902;p149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903" name="Google Shape;10903;p149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904" name="Google Shape;10904;p1496"/>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905" name="Google Shape;10905;p149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920.xml><?xml version="1.0" encoding="utf-8"?>
<p:sldLayout xmlns:a="http://schemas.openxmlformats.org/drawingml/2006/main" xmlns:r="http://schemas.openxmlformats.org/officeDocument/2006/relationships" xmlns:p="http://schemas.openxmlformats.org/presentationml/2006/main" matchingName="30_Cover">
  <p:cSld name="30_Cover">
    <p:spTree>
      <p:nvGrpSpPr>
        <p:cNvPr id="1" name="Shape 7266"/>
        <p:cNvGrpSpPr/>
        <p:nvPr/>
      </p:nvGrpSpPr>
      <p:grpSpPr>
        <a:xfrm>
          <a:off x="0" y="0"/>
          <a:ext cx="0" cy="0"/>
          <a:chOff x="0" y="0"/>
          <a:chExt cx="0" cy="0"/>
        </a:xfrm>
      </p:grpSpPr>
      <p:sp>
        <p:nvSpPr>
          <p:cNvPr id="7267" name="Google Shape;7267;p5749"/>
          <p:cNvSpPr/>
          <p:nvPr/>
        </p:nvSpPr>
        <p:spPr>
          <a:xfrm>
            <a:off x="902368" y="1294414"/>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7268" name="Google Shape;7268;p5749"/>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69" name="Google Shape;7269;p5749"/>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
        <p:nvSpPr>
          <p:cNvPr id="7270" name="Google Shape;7270;p5749"/>
          <p:cNvSpPr>
            <a:spLocks noGrp="1"/>
          </p:cNvSpPr>
          <p:nvPr>
            <p:ph type="pic" idx="2"/>
          </p:nvPr>
        </p:nvSpPr>
        <p:spPr>
          <a:xfrm>
            <a:off x="7118684" y="233915"/>
            <a:ext cx="5073316" cy="5943600"/>
          </a:xfrm>
          <a:prstGeom prst="rect">
            <a:avLst/>
          </a:prstGeom>
          <a:noFill/>
          <a:ln>
            <a:noFill/>
          </a:ln>
        </p:spPr>
      </p:sp>
      <p:grpSp>
        <p:nvGrpSpPr>
          <p:cNvPr id="7271" name="Google Shape;7271;p5749"/>
          <p:cNvGrpSpPr/>
          <p:nvPr/>
        </p:nvGrpSpPr>
        <p:grpSpPr>
          <a:xfrm>
            <a:off x="0" y="5020349"/>
            <a:ext cx="12192000" cy="1837653"/>
            <a:chOff x="0" y="5020348"/>
            <a:chExt cx="12192000" cy="1837653"/>
          </a:xfrm>
        </p:grpSpPr>
        <p:sp>
          <p:nvSpPr>
            <p:cNvPr id="7272" name="Google Shape;7272;p574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7273" name="Google Shape;7273;p574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7274" name="Google Shape;7274;p574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51178727"/>
      </p:ext>
    </p:extLst>
  </p:cSld>
  <p:clrMapOvr>
    <a:masterClrMapping/>
  </p:clrMapOvr>
</p:sldLayout>
</file>

<file path=ppt/slideLayouts/slideLayout1921.xml><?xml version="1.0" encoding="utf-8"?>
<p:sldLayout xmlns:a="http://schemas.openxmlformats.org/drawingml/2006/main" xmlns:r="http://schemas.openxmlformats.org/officeDocument/2006/relationships" xmlns:p="http://schemas.openxmlformats.org/presentationml/2006/main" matchingName="30_Divider">
  <p:cSld name="30_Divider">
    <p:bg>
      <p:bgPr>
        <a:solidFill>
          <a:schemeClr val="lt2"/>
        </a:solidFill>
        <a:effectLst/>
      </p:bgPr>
    </p:bg>
    <p:spTree>
      <p:nvGrpSpPr>
        <p:cNvPr id="1" name="Shape 7275"/>
        <p:cNvGrpSpPr/>
        <p:nvPr/>
      </p:nvGrpSpPr>
      <p:grpSpPr>
        <a:xfrm>
          <a:off x="0" y="0"/>
          <a:ext cx="0" cy="0"/>
          <a:chOff x="0" y="0"/>
          <a:chExt cx="0" cy="0"/>
        </a:xfrm>
      </p:grpSpPr>
      <p:grpSp>
        <p:nvGrpSpPr>
          <p:cNvPr id="7276" name="Google Shape;7276;p5750"/>
          <p:cNvGrpSpPr/>
          <p:nvPr/>
        </p:nvGrpSpPr>
        <p:grpSpPr>
          <a:xfrm>
            <a:off x="0" y="5020348"/>
            <a:ext cx="12192000" cy="1837653"/>
            <a:chOff x="0" y="5020347"/>
            <a:chExt cx="12192000" cy="1837653"/>
          </a:xfrm>
        </p:grpSpPr>
        <p:sp>
          <p:nvSpPr>
            <p:cNvPr id="7277" name="Google Shape;7277;p575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7278" name="Google Shape;7278;p575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7279" name="Google Shape;7279;p575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7280" name="Google Shape;7280;p575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7281" name="Google Shape;7281;p5750"/>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82" name="Google Shape;7282;p5750"/>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00"/>
              </a:spcBef>
              <a:spcAft>
                <a:spcPts val="0"/>
              </a:spcAft>
              <a:buClr>
                <a:schemeClr val="dk1"/>
              </a:buClr>
              <a:buSzPts val="2400"/>
              <a:buNone/>
              <a:defRPr sz="1600"/>
            </a:lvl7pPr>
            <a:lvl8pPr lvl="7" algn="ctr">
              <a:lnSpc>
                <a:spcPct val="90000"/>
              </a:lnSpc>
              <a:spcBef>
                <a:spcPts val="500"/>
              </a:spcBef>
              <a:spcAft>
                <a:spcPts val="0"/>
              </a:spcAft>
              <a:buClr>
                <a:schemeClr val="dk1"/>
              </a:buClr>
              <a:buSzPts val="2400"/>
              <a:buNone/>
              <a:defRPr sz="1600"/>
            </a:lvl8pPr>
            <a:lvl9pPr lvl="8" algn="ctr">
              <a:lnSpc>
                <a:spcPct val="90000"/>
              </a:lnSpc>
              <a:spcBef>
                <a:spcPts val="500"/>
              </a:spcBef>
              <a:spcAft>
                <a:spcPts val="0"/>
              </a:spcAft>
              <a:buClr>
                <a:schemeClr val="dk1"/>
              </a:buClr>
              <a:buSzPts val="2400"/>
              <a:buNone/>
              <a:defRPr sz="1600"/>
            </a:lvl9pPr>
          </a:lstStyle>
          <a:p>
            <a:endParaRPr/>
          </a:p>
        </p:txBody>
      </p:sp>
    </p:spTree>
    <p:extLst>
      <p:ext uri="{BB962C8B-B14F-4D97-AF65-F5344CB8AC3E}">
        <p14:creationId xmlns:p14="http://schemas.microsoft.com/office/powerpoint/2010/main" val="3487024202"/>
      </p:ext>
    </p:extLst>
  </p:cSld>
  <p:clrMapOvr>
    <a:masterClrMapping/>
  </p:clrMapOvr>
</p:sldLayout>
</file>

<file path=ppt/slideLayouts/slideLayout1922.xml><?xml version="1.0" encoding="utf-8"?>
<p:sldLayout xmlns:a="http://schemas.openxmlformats.org/drawingml/2006/main" xmlns:r="http://schemas.openxmlformats.org/officeDocument/2006/relationships" xmlns:p="http://schemas.openxmlformats.org/presentationml/2006/main" matchingName="66_Quotation">
  <p:cSld name="66_Quotation">
    <p:spTree>
      <p:nvGrpSpPr>
        <p:cNvPr id="1" name="Shape 7283"/>
        <p:cNvGrpSpPr/>
        <p:nvPr/>
      </p:nvGrpSpPr>
      <p:grpSpPr>
        <a:xfrm>
          <a:off x="0" y="0"/>
          <a:ext cx="0" cy="0"/>
          <a:chOff x="0" y="0"/>
          <a:chExt cx="0" cy="0"/>
        </a:xfrm>
      </p:grpSpPr>
      <p:sp>
        <p:nvSpPr>
          <p:cNvPr id="7284" name="Google Shape;7284;p5751"/>
          <p:cNvSpPr/>
          <p:nvPr/>
        </p:nvSpPr>
        <p:spPr>
          <a:xfrm>
            <a:off x="1427357"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7285" name="Google Shape;7285;p575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86" name="Google Shape;7286;p575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7287" name="Google Shape;7287;p575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7288" name="Google Shape;7288;p57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89" name="Google Shape;7289;p575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290" name="Google Shape;7290;p5751"/>
          <p:cNvGrpSpPr/>
          <p:nvPr/>
        </p:nvGrpSpPr>
        <p:grpSpPr>
          <a:xfrm>
            <a:off x="7191543" y="1"/>
            <a:ext cx="5000459" cy="1425992"/>
            <a:chOff x="7191542" y="1"/>
            <a:chExt cx="5000459" cy="1425992"/>
          </a:xfrm>
        </p:grpSpPr>
        <p:pic>
          <p:nvPicPr>
            <p:cNvPr id="7291" name="Google Shape;7291;p57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292" name="Google Shape;7292;p5751"/>
            <p:cNvGrpSpPr/>
            <p:nvPr/>
          </p:nvGrpSpPr>
          <p:grpSpPr>
            <a:xfrm>
              <a:off x="7191542" y="1"/>
              <a:ext cx="5000459" cy="1425992"/>
              <a:chOff x="7186272" y="0"/>
              <a:chExt cx="5005729" cy="1427495"/>
            </a:xfrm>
          </p:grpSpPr>
          <p:sp>
            <p:nvSpPr>
              <p:cNvPr id="7293" name="Google Shape;7293;p57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7294" name="Google Shape;7294;p57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7295" name="Google Shape;7295;p5751"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1247704455"/>
      </p:ext>
    </p:extLst>
  </p:cSld>
  <p:clrMapOvr>
    <a:masterClrMapping/>
  </p:clrMapOvr>
</p:sldLayout>
</file>

<file path=ppt/slideLayouts/slideLayout1923.xml><?xml version="1.0" encoding="utf-8"?>
<p:sldLayout xmlns:a="http://schemas.openxmlformats.org/drawingml/2006/main" xmlns:r="http://schemas.openxmlformats.org/officeDocument/2006/relationships" xmlns:p="http://schemas.openxmlformats.org/presentationml/2006/main" matchingName="67_Quotation">
  <p:cSld name="67_Quotation">
    <p:spTree>
      <p:nvGrpSpPr>
        <p:cNvPr id="1" name="Shape 7296"/>
        <p:cNvGrpSpPr/>
        <p:nvPr/>
      </p:nvGrpSpPr>
      <p:grpSpPr>
        <a:xfrm>
          <a:off x="0" y="0"/>
          <a:ext cx="0" cy="0"/>
          <a:chOff x="0" y="0"/>
          <a:chExt cx="0" cy="0"/>
        </a:xfrm>
      </p:grpSpPr>
      <p:sp>
        <p:nvSpPr>
          <p:cNvPr id="7297" name="Google Shape;7297;p5752"/>
          <p:cNvSpPr/>
          <p:nvPr/>
        </p:nvSpPr>
        <p:spPr>
          <a:xfrm>
            <a:off x="1427357"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7298" name="Google Shape;7298;p575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99" name="Google Shape;7299;p575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7300" name="Google Shape;7300;p575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7301" name="Google Shape;7301;p57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02" name="Google Shape;7302;p575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303" name="Google Shape;7303;p5752"/>
          <p:cNvGrpSpPr/>
          <p:nvPr/>
        </p:nvGrpSpPr>
        <p:grpSpPr>
          <a:xfrm>
            <a:off x="7191543" y="1"/>
            <a:ext cx="5000459" cy="1425992"/>
            <a:chOff x="7191542" y="1"/>
            <a:chExt cx="5000459" cy="1425992"/>
          </a:xfrm>
        </p:grpSpPr>
        <p:pic>
          <p:nvPicPr>
            <p:cNvPr id="7304" name="Google Shape;7304;p57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05" name="Google Shape;7305;p5752"/>
            <p:cNvGrpSpPr/>
            <p:nvPr/>
          </p:nvGrpSpPr>
          <p:grpSpPr>
            <a:xfrm>
              <a:off x="7191542" y="1"/>
              <a:ext cx="5000459" cy="1425992"/>
              <a:chOff x="7186272" y="0"/>
              <a:chExt cx="5005729" cy="1427495"/>
            </a:xfrm>
          </p:grpSpPr>
          <p:sp>
            <p:nvSpPr>
              <p:cNvPr id="7306" name="Google Shape;7306;p57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7307" name="Google Shape;7307;p57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7308" name="Google Shape;7308;p5752"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3733347610"/>
      </p:ext>
    </p:extLst>
  </p:cSld>
  <p:clrMapOvr>
    <a:masterClrMapping/>
  </p:clrMapOvr>
</p:sldLayout>
</file>

<file path=ppt/slideLayouts/slideLayout1924.xml><?xml version="1.0" encoding="utf-8"?>
<p:sldLayout xmlns:a="http://schemas.openxmlformats.org/drawingml/2006/main" xmlns:r="http://schemas.openxmlformats.org/officeDocument/2006/relationships" xmlns:p="http://schemas.openxmlformats.org/presentationml/2006/main" matchingName="29_Photo Slide">
  <p:cSld name="29_Photo Slide">
    <p:spTree>
      <p:nvGrpSpPr>
        <p:cNvPr id="1" name="Shape 7309"/>
        <p:cNvGrpSpPr/>
        <p:nvPr/>
      </p:nvGrpSpPr>
      <p:grpSpPr>
        <a:xfrm>
          <a:off x="0" y="0"/>
          <a:ext cx="0" cy="0"/>
          <a:chOff x="0" y="0"/>
          <a:chExt cx="0" cy="0"/>
        </a:xfrm>
      </p:grpSpPr>
      <p:sp>
        <p:nvSpPr>
          <p:cNvPr id="7310" name="Google Shape;7310;p5753"/>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7311" name="Google Shape;7311;p575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312" name="Google Shape;7312;p5753"/>
          <p:cNvGrpSpPr/>
          <p:nvPr/>
        </p:nvGrpSpPr>
        <p:grpSpPr>
          <a:xfrm>
            <a:off x="0" y="5379427"/>
            <a:ext cx="2807368" cy="753891"/>
            <a:chOff x="0" y="5379426"/>
            <a:chExt cx="2807368" cy="753891"/>
          </a:xfrm>
        </p:grpSpPr>
        <p:sp>
          <p:nvSpPr>
            <p:cNvPr id="7313" name="Google Shape;7313;p575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7314" name="Google Shape;7314;p575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7315" name="Google Shape;7315;p5753"/>
          <p:cNvSpPr>
            <a:spLocks noGrp="1"/>
          </p:cNvSpPr>
          <p:nvPr>
            <p:ph type="pic" idx="2"/>
          </p:nvPr>
        </p:nvSpPr>
        <p:spPr>
          <a:xfrm>
            <a:off x="2807368" y="457202"/>
            <a:ext cx="8915400" cy="5943598"/>
          </a:xfrm>
          <a:prstGeom prst="rect">
            <a:avLst/>
          </a:prstGeom>
          <a:noFill/>
          <a:ln>
            <a:noFill/>
          </a:ln>
        </p:spPr>
      </p:sp>
      <p:pic>
        <p:nvPicPr>
          <p:cNvPr id="7316" name="Google Shape;7316;p5753"/>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3999088073"/>
      </p:ext>
    </p:extLst>
  </p:cSld>
  <p:clrMapOvr>
    <a:masterClrMapping/>
  </p:clrMapOvr>
</p:sldLayout>
</file>

<file path=ppt/slideLayouts/slideLayout1925.xml><?xml version="1.0" encoding="utf-8"?>
<p:sldLayout xmlns:a="http://schemas.openxmlformats.org/drawingml/2006/main" xmlns:r="http://schemas.openxmlformats.org/officeDocument/2006/relationships" xmlns:p="http://schemas.openxmlformats.org/presentationml/2006/main" matchingName="53_Title and Content">
  <p:cSld name="53_Title and Content">
    <p:spTree>
      <p:nvGrpSpPr>
        <p:cNvPr id="1" name="Shape 7317"/>
        <p:cNvGrpSpPr/>
        <p:nvPr/>
      </p:nvGrpSpPr>
      <p:grpSpPr>
        <a:xfrm>
          <a:off x="0" y="0"/>
          <a:ext cx="0" cy="0"/>
          <a:chOff x="0" y="0"/>
          <a:chExt cx="0" cy="0"/>
        </a:xfrm>
      </p:grpSpPr>
      <p:grpSp>
        <p:nvGrpSpPr>
          <p:cNvPr id="7318" name="Google Shape;7318;p5754"/>
          <p:cNvGrpSpPr/>
          <p:nvPr/>
        </p:nvGrpSpPr>
        <p:grpSpPr>
          <a:xfrm>
            <a:off x="7191543" y="1"/>
            <a:ext cx="5000459" cy="1425992"/>
            <a:chOff x="7191542" y="1"/>
            <a:chExt cx="5000459" cy="1425992"/>
          </a:xfrm>
        </p:grpSpPr>
        <p:pic>
          <p:nvPicPr>
            <p:cNvPr id="7319" name="Google Shape;7319;p57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20" name="Google Shape;7320;p5754"/>
            <p:cNvGrpSpPr/>
            <p:nvPr/>
          </p:nvGrpSpPr>
          <p:grpSpPr>
            <a:xfrm>
              <a:off x="7191542" y="1"/>
              <a:ext cx="5000459" cy="1425992"/>
              <a:chOff x="7186272" y="0"/>
              <a:chExt cx="5005729" cy="1427495"/>
            </a:xfrm>
          </p:grpSpPr>
          <p:sp>
            <p:nvSpPr>
              <p:cNvPr id="7321" name="Google Shape;7321;p57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7322" name="Google Shape;7322;p57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7323" name="Google Shape;7323;p575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24" name="Google Shape;7324;p575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7325" name="Google Shape;7325;p575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7326" name="Google Shape;7326;p57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27" name="Google Shape;7327;p575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00952542"/>
      </p:ext>
    </p:extLst>
  </p:cSld>
  <p:clrMapOvr>
    <a:masterClrMapping/>
  </p:clrMapOvr>
</p:sldLayout>
</file>

<file path=ppt/slideLayouts/slideLayout1926.xml><?xml version="1.0" encoding="utf-8"?>
<p:sldLayout xmlns:a="http://schemas.openxmlformats.org/drawingml/2006/main" xmlns:r="http://schemas.openxmlformats.org/officeDocument/2006/relationships" xmlns:p="http://schemas.openxmlformats.org/presentationml/2006/main" matchingName="29_Two Content">
  <p:cSld name="29_Two Content">
    <p:spTree>
      <p:nvGrpSpPr>
        <p:cNvPr id="1" name="Shape 7328"/>
        <p:cNvGrpSpPr/>
        <p:nvPr/>
      </p:nvGrpSpPr>
      <p:grpSpPr>
        <a:xfrm>
          <a:off x="0" y="0"/>
          <a:ext cx="0" cy="0"/>
          <a:chOff x="0" y="0"/>
          <a:chExt cx="0" cy="0"/>
        </a:xfrm>
      </p:grpSpPr>
      <p:sp>
        <p:nvSpPr>
          <p:cNvPr id="7329" name="Google Shape;7329;p5755"/>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30" name="Google Shape;7330;p5755"/>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7331" name="Google Shape;7331;p5755"/>
          <p:cNvGrpSpPr/>
          <p:nvPr/>
        </p:nvGrpSpPr>
        <p:grpSpPr>
          <a:xfrm>
            <a:off x="7191543" y="1"/>
            <a:ext cx="5000459" cy="1425992"/>
            <a:chOff x="7191542" y="1"/>
            <a:chExt cx="5000459" cy="1425992"/>
          </a:xfrm>
        </p:grpSpPr>
        <p:pic>
          <p:nvPicPr>
            <p:cNvPr id="7332" name="Google Shape;7332;p57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33" name="Google Shape;7333;p5755"/>
            <p:cNvGrpSpPr/>
            <p:nvPr/>
          </p:nvGrpSpPr>
          <p:grpSpPr>
            <a:xfrm>
              <a:off x="7191542" y="1"/>
              <a:ext cx="5000459" cy="1425992"/>
              <a:chOff x="7186272" y="0"/>
              <a:chExt cx="5005729" cy="1427495"/>
            </a:xfrm>
          </p:grpSpPr>
          <p:sp>
            <p:nvSpPr>
              <p:cNvPr id="7334" name="Google Shape;7334;p57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7335" name="Google Shape;7335;p57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7336" name="Google Shape;7336;p5755"/>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7337" name="Google Shape;7337;p5755"/>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7338" name="Google Shape;7338;p57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39" name="Google Shape;7339;p575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335487968"/>
      </p:ext>
    </p:extLst>
  </p:cSld>
  <p:clrMapOvr>
    <a:masterClrMapping/>
  </p:clrMapOvr>
</p:sldLayout>
</file>

<file path=ppt/slideLayouts/slideLayout1927.xml><?xml version="1.0" encoding="utf-8"?>
<p:sldLayout xmlns:a="http://schemas.openxmlformats.org/drawingml/2006/main" xmlns:r="http://schemas.openxmlformats.org/officeDocument/2006/relationships" xmlns:p="http://schemas.openxmlformats.org/presentationml/2006/main" matchingName="29_Comparison">
  <p:cSld name="29_Comparison">
    <p:spTree>
      <p:nvGrpSpPr>
        <p:cNvPr id="1" name="Shape 7340"/>
        <p:cNvGrpSpPr/>
        <p:nvPr/>
      </p:nvGrpSpPr>
      <p:grpSpPr>
        <a:xfrm>
          <a:off x="0" y="0"/>
          <a:ext cx="0" cy="0"/>
          <a:chOff x="0" y="0"/>
          <a:chExt cx="0" cy="0"/>
        </a:xfrm>
      </p:grpSpPr>
      <p:grpSp>
        <p:nvGrpSpPr>
          <p:cNvPr id="7341" name="Google Shape;7341;p5756"/>
          <p:cNvGrpSpPr/>
          <p:nvPr/>
        </p:nvGrpSpPr>
        <p:grpSpPr>
          <a:xfrm>
            <a:off x="7191543" y="1"/>
            <a:ext cx="5000459" cy="1425992"/>
            <a:chOff x="7191542" y="1"/>
            <a:chExt cx="5000459" cy="1425992"/>
          </a:xfrm>
        </p:grpSpPr>
        <p:pic>
          <p:nvPicPr>
            <p:cNvPr id="7342" name="Google Shape;7342;p57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43" name="Google Shape;7343;p5756"/>
            <p:cNvGrpSpPr/>
            <p:nvPr/>
          </p:nvGrpSpPr>
          <p:grpSpPr>
            <a:xfrm>
              <a:off x="7191542" y="1"/>
              <a:ext cx="5000459" cy="1425992"/>
              <a:chOff x="7186272" y="0"/>
              <a:chExt cx="5005729" cy="1427495"/>
            </a:xfrm>
          </p:grpSpPr>
          <p:sp>
            <p:nvSpPr>
              <p:cNvPr id="7344" name="Google Shape;7344;p57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7345" name="Google Shape;7345;p57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7346" name="Google Shape;7346;p575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47" name="Google Shape;7347;p5756"/>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7348" name="Google Shape;7348;p5756"/>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7349" name="Google Shape;7349;p575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00"/>
              </a:spcBef>
              <a:spcAft>
                <a:spcPts val="0"/>
              </a:spcAft>
              <a:buClr>
                <a:schemeClr val="dk1"/>
              </a:buClr>
              <a:buSzPts val="2400"/>
              <a:buNone/>
              <a:defRPr sz="1600" b="1"/>
            </a:lvl7pPr>
            <a:lvl8pPr marL="2438522" lvl="7" indent="-152408" algn="l">
              <a:lnSpc>
                <a:spcPct val="90000"/>
              </a:lnSpc>
              <a:spcBef>
                <a:spcPts val="500"/>
              </a:spcBef>
              <a:spcAft>
                <a:spcPts val="0"/>
              </a:spcAft>
              <a:buClr>
                <a:schemeClr val="dk1"/>
              </a:buClr>
              <a:buSzPts val="2400"/>
              <a:buNone/>
              <a:defRPr sz="1600" b="1"/>
            </a:lvl8pPr>
            <a:lvl9pPr marL="2743337" lvl="8" indent="-152408" algn="l">
              <a:lnSpc>
                <a:spcPct val="90000"/>
              </a:lnSpc>
              <a:spcBef>
                <a:spcPts val="500"/>
              </a:spcBef>
              <a:spcAft>
                <a:spcPts val="0"/>
              </a:spcAft>
              <a:buClr>
                <a:schemeClr val="dk1"/>
              </a:buClr>
              <a:buSzPts val="2400"/>
              <a:buNone/>
              <a:defRPr sz="1600" b="1"/>
            </a:lvl9pPr>
          </a:lstStyle>
          <a:p>
            <a:endParaRPr/>
          </a:p>
        </p:txBody>
      </p:sp>
      <p:sp>
        <p:nvSpPr>
          <p:cNvPr id="7350" name="Google Shape;7350;p575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7351" name="Google Shape;7351;p575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7352" name="Google Shape;7352;p57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53" name="Google Shape;7353;p575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419685327"/>
      </p:ext>
    </p:extLst>
  </p:cSld>
  <p:clrMapOvr>
    <a:masterClrMapping/>
  </p:clrMapOvr>
</p:sldLayout>
</file>

<file path=ppt/slideLayouts/slideLayout1928.xml><?xml version="1.0" encoding="utf-8"?>
<p:sldLayout xmlns:a="http://schemas.openxmlformats.org/drawingml/2006/main" xmlns:r="http://schemas.openxmlformats.org/officeDocument/2006/relationships" xmlns:p="http://schemas.openxmlformats.org/presentationml/2006/main" matchingName="29_Title Only">
  <p:cSld name="29_Title Only">
    <p:spTree>
      <p:nvGrpSpPr>
        <p:cNvPr id="1" name="Shape 7354"/>
        <p:cNvGrpSpPr/>
        <p:nvPr/>
      </p:nvGrpSpPr>
      <p:grpSpPr>
        <a:xfrm>
          <a:off x="0" y="0"/>
          <a:ext cx="0" cy="0"/>
          <a:chOff x="0" y="0"/>
          <a:chExt cx="0" cy="0"/>
        </a:xfrm>
      </p:grpSpPr>
      <p:grpSp>
        <p:nvGrpSpPr>
          <p:cNvPr id="7355" name="Google Shape;7355;p5757"/>
          <p:cNvGrpSpPr/>
          <p:nvPr/>
        </p:nvGrpSpPr>
        <p:grpSpPr>
          <a:xfrm>
            <a:off x="7191543" y="1"/>
            <a:ext cx="5000459" cy="1425992"/>
            <a:chOff x="7191542" y="1"/>
            <a:chExt cx="5000459" cy="1425992"/>
          </a:xfrm>
        </p:grpSpPr>
        <p:pic>
          <p:nvPicPr>
            <p:cNvPr id="7356" name="Google Shape;7356;p57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57" name="Google Shape;7357;p5757"/>
            <p:cNvGrpSpPr/>
            <p:nvPr/>
          </p:nvGrpSpPr>
          <p:grpSpPr>
            <a:xfrm>
              <a:off x="7191542" y="1"/>
              <a:ext cx="5000459" cy="1425992"/>
              <a:chOff x="7186272" y="0"/>
              <a:chExt cx="5005729" cy="1427495"/>
            </a:xfrm>
          </p:grpSpPr>
          <p:sp>
            <p:nvSpPr>
              <p:cNvPr id="7358" name="Google Shape;7358;p57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7359" name="Google Shape;7359;p57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7360" name="Google Shape;7360;p575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61" name="Google Shape;7361;p575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7362" name="Google Shape;7362;p57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63" name="Google Shape;7363;p575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12473317"/>
      </p:ext>
    </p:extLst>
  </p:cSld>
  <p:clrMapOvr>
    <a:masterClrMapping/>
  </p:clrMapOvr>
</p:sldLayout>
</file>

<file path=ppt/slideLayouts/slideLayout1929.xml><?xml version="1.0" encoding="utf-8"?>
<p:sldLayout xmlns:a="http://schemas.openxmlformats.org/drawingml/2006/main" xmlns:r="http://schemas.openxmlformats.org/officeDocument/2006/relationships" xmlns:p="http://schemas.openxmlformats.org/presentationml/2006/main" matchingName="29_End">
  <p:cSld name="29_End">
    <p:spTree>
      <p:nvGrpSpPr>
        <p:cNvPr id="1" name="Shape 7364"/>
        <p:cNvGrpSpPr/>
        <p:nvPr/>
      </p:nvGrpSpPr>
      <p:grpSpPr>
        <a:xfrm>
          <a:off x="0" y="0"/>
          <a:ext cx="0" cy="0"/>
          <a:chOff x="0" y="0"/>
          <a:chExt cx="0" cy="0"/>
        </a:xfrm>
      </p:grpSpPr>
      <p:grpSp>
        <p:nvGrpSpPr>
          <p:cNvPr id="7365" name="Google Shape;7365;p5758"/>
          <p:cNvGrpSpPr/>
          <p:nvPr/>
        </p:nvGrpSpPr>
        <p:grpSpPr>
          <a:xfrm>
            <a:off x="0" y="0"/>
            <a:ext cx="12192000" cy="2148830"/>
            <a:chOff x="0" y="0"/>
            <a:chExt cx="12192000" cy="2148830"/>
          </a:xfrm>
        </p:grpSpPr>
        <p:sp>
          <p:nvSpPr>
            <p:cNvPr id="7366" name="Google Shape;7366;p575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7367" name="Google Shape;7367;p575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7368" name="Google Shape;7368;p5758"/>
          <p:cNvSpPr/>
          <p:nvPr/>
        </p:nvSpPr>
        <p:spPr>
          <a:xfrm>
            <a:off x="902368" y="1517698"/>
            <a:ext cx="11289632" cy="3822607"/>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7369" name="Google Shape;7369;p5758"/>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7370" name="Google Shape;7370;p575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9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371" name="Google Shape;7371;p5758"/>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7372" name="Google Shape;7372;p575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61368513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matchingName="1_Title and Content">
  <p:cSld name="1_Title and Content 5">
    <p:spTree>
      <p:nvGrpSpPr>
        <p:cNvPr id="1" name="Shape 10906"/>
        <p:cNvGrpSpPr/>
        <p:nvPr/>
      </p:nvGrpSpPr>
      <p:grpSpPr>
        <a:xfrm>
          <a:off x="0" y="0"/>
          <a:ext cx="0" cy="0"/>
          <a:chOff x="0" y="0"/>
          <a:chExt cx="0" cy="0"/>
        </a:xfrm>
      </p:grpSpPr>
      <p:sp>
        <p:nvSpPr>
          <p:cNvPr id="10907" name="Google Shape;10907;p149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0908" name="Google Shape;10908;p1497"/>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0909" name="Google Shape;10909;p149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910" name="Google Shape;10910;p1497"/>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11" name="Google Shape;10911;p1497"/>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930.xml><?xml version="1.0" encoding="utf-8"?>
<p:sldLayout xmlns:a="http://schemas.openxmlformats.org/drawingml/2006/main" xmlns:r="http://schemas.openxmlformats.org/officeDocument/2006/relationships" xmlns:p="http://schemas.openxmlformats.org/presentationml/2006/main" matchingName="29_Blank">
  <p:cSld name="29_Blank">
    <p:spTree>
      <p:nvGrpSpPr>
        <p:cNvPr id="1" name="Shape 7373"/>
        <p:cNvGrpSpPr/>
        <p:nvPr/>
      </p:nvGrpSpPr>
      <p:grpSpPr>
        <a:xfrm>
          <a:off x="0" y="0"/>
          <a:ext cx="0" cy="0"/>
          <a:chOff x="0" y="0"/>
          <a:chExt cx="0" cy="0"/>
        </a:xfrm>
      </p:grpSpPr>
      <p:sp>
        <p:nvSpPr>
          <p:cNvPr id="7374" name="Google Shape;7374;p575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7375" name="Google Shape;7375;p57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76" name="Google Shape;7376;p575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377" name="Google Shape;7377;p5759"/>
          <p:cNvGrpSpPr/>
          <p:nvPr/>
        </p:nvGrpSpPr>
        <p:grpSpPr>
          <a:xfrm>
            <a:off x="7191543" y="1"/>
            <a:ext cx="5000459" cy="1425992"/>
            <a:chOff x="7191542" y="1"/>
            <a:chExt cx="5000459" cy="1425992"/>
          </a:xfrm>
        </p:grpSpPr>
        <p:pic>
          <p:nvPicPr>
            <p:cNvPr id="7378" name="Google Shape;7378;p57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79" name="Google Shape;7379;p5759"/>
            <p:cNvGrpSpPr/>
            <p:nvPr/>
          </p:nvGrpSpPr>
          <p:grpSpPr>
            <a:xfrm>
              <a:off x="7191542" y="1"/>
              <a:ext cx="5000459" cy="1425992"/>
              <a:chOff x="7186272" y="0"/>
              <a:chExt cx="5005729" cy="1427495"/>
            </a:xfrm>
          </p:grpSpPr>
          <p:sp>
            <p:nvSpPr>
              <p:cNvPr id="7380" name="Google Shape;7380;p57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7381" name="Google Shape;7381;p57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extLst>
      <p:ext uri="{BB962C8B-B14F-4D97-AF65-F5344CB8AC3E}">
        <p14:creationId xmlns:p14="http://schemas.microsoft.com/office/powerpoint/2010/main" val="4282276960"/>
      </p:ext>
    </p:extLst>
  </p:cSld>
  <p:clrMapOvr>
    <a:masterClrMapping/>
  </p:clrMapOvr>
</p:sldLayout>
</file>

<file path=ppt/slideLayouts/slideLayout1931.xml><?xml version="1.0" encoding="utf-8"?>
<p:sldLayout xmlns:a="http://schemas.openxmlformats.org/drawingml/2006/main" xmlns:r="http://schemas.openxmlformats.org/officeDocument/2006/relationships" xmlns:p="http://schemas.openxmlformats.org/presentationml/2006/main" matchingName="Divider">
  <p:cSld name="24_Divider">
    <p:bg>
      <p:bgPr>
        <a:solidFill>
          <a:schemeClr val="lt2"/>
        </a:solidFill>
        <a:effectLst/>
      </p:bgPr>
    </p:bg>
    <p:spTree>
      <p:nvGrpSpPr>
        <p:cNvPr id="1" name="Shape 7382"/>
        <p:cNvGrpSpPr/>
        <p:nvPr/>
      </p:nvGrpSpPr>
      <p:grpSpPr>
        <a:xfrm>
          <a:off x="0" y="0"/>
          <a:ext cx="0" cy="0"/>
          <a:chOff x="0" y="0"/>
          <a:chExt cx="0" cy="0"/>
        </a:xfrm>
      </p:grpSpPr>
      <p:grpSp>
        <p:nvGrpSpPr>
          <p:cNvPr id="7383" name="Google Shape;7383;p5760"/>
          <p:cNvGrpSpPr/>
          <p:nvPr/>
        </p:nvGrpSpPr>
        <p:grpSpPr>
          <a:xfrm>
            <a:off x="0" y="5020348"/>
            <a:ext cx="12192000" cy="1837653"/>
            <a:chOff x="0" y="5020347"/>
            <a:chExt cx="12192000" cy="1837653"/>
          </a:xfrm>
        </p:grpSpPr>
        <p:sp>
          <p:nvSpPr>
            <p:cNvPr id="7384" name="Google Shape;7384;p576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7385" name="Google Shape;7385;p576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7386" name="Google Shape;7386;p576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700"/>
                <a:buFont typeface="Arial"/>
                <a:buNone/>
              </a:pPr>
              <a:endParaRPr sz="1800" b="0" i="0" u="none" strike="noStrike" cap="none">
                <a:solidFill>
                  <a:schemeClr val="lt1"/>
                </a:solidFill>
                <a:latin typeface="Calibri"/>
                <a:ea typeface="Calibri"/>
                <a:cs typeface="Calibri"/>
                <a:sym typeface="Calibri"/>
              </a:endParaRPr>
            </a:p>
          </p:txBody>
        </p:sp>
        <p:pic>
          <p:nvPicPr>
            <p:cNvPr id="7387" name="Google Shape;7387;p576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7388" name="Google Shape;7388;p5760"/>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89" name="Google Shape;7389;p5760"/>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896515810"/>
      </p:ext>
    </p:extLst>
  </p:cSld>
  <p:clrMapOvr>
    <a:masterClrMapping/>
  </p:clrMapOvr>
</p:sldLayout>
</file>

<file path=ppt/slideLayouts/slideLayout1932.xml><?xml version="1.0" encoding="utf-8"?>
<p:sldLayout xmlns:a="http://schemas.openxmlformats.org/drawingml/2006/main" xmlns:r="http://schemas.openxmlformats.org/officeDocument/2006/relationships" xmlns:p="http://schemas.openxmlformats.org/presentationml/2006/main" matchingName="135_Quotation">
  <p:cSld name="135_Quotation">
    <p:spTree>
      <p:nvGrpSpPr>
        <p:cNvPr id="1" name="Shape 7390"/>
        <p:cNvGrpSpPr/>
        <p:nvPr/>
      </p:nvGrpSpPr>
      <p:grpSpPr>
        <a:xfrm>
          <a:off x="0" y="0"/>
          <a:ext cx="0" cy="0"/>
          <a:chOff x="0" y="0"/>
          <a:chExt cx="0" cy="0"/>
        </a:xfrm>
      </p:grpSpPr>
      <p:sp>
        <p:nvSpPr>
          <p:cNvPr id="7391" name="Google Shape;7391;p5761"/>
          <p:cNvSpPr/>
          <p:nvPr/>
        </p:nvSpPr>
        <p:spPr>
          <a:xfrm>
            <a:off x="1427358"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7392" name="Google Shape;7392;p5761"/>
          <p:cNvSpPr txBox="1">
            <a:spLocks noGrp="1"/>
          </p:cNvSpPr>
          <p:nvPr>
            <p:ph type="title"/>
          </p:nvPr>
        </p:nvSpPr>
        <p:spPr>
          <a:xfrm>
            <a:off x="1427358"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93" name="Google Shape;7393;p576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7394" name="Google Shape;7394;p5761"/>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7395" name="Google Shape;7395;p57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96" name="Google Shape;7396;p576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397" name="Google Shape;7397;p5761"/>
          <p:cNvGrpSpPr/>
          <p:nvPr/>
        </p:nvGrpSpPr>
        <p:grpSpPr>
          <a:xfrm>
            <a:off x="7191544" y="1"/>
            <a:ext cx="5000459" cy="1425992"/>
            <a:chOff x="7191542" y="1"/>
            <a:chExt cx="5000459" cy="1425992"/>
          </a:xfrm>
        </p:grpSpPr>
        <p:pic>
          <p:nvPicPr>
            <p:cNvPr id="7398" name="Google Shape;7398;p57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99" name="Google Shape;7399;p5761"/>
            <p:cNvGrpSpPr/>
            <p:nvPr/>
          </p:nvGrpSpPr>
          <p:grpSpPr>
            <a:xfrm>
              <a:off x="7191542" y="1"/>
              <a:ext cx="5000459" cy="1425992"/>
              <a:chOff x="7186272" y="0"/>
              <a:chExt cx="5005729" cy="1427495"/>
            </a:xfrm>
          </p:grpSpPr>
          <p:sp>
            <p:nvSpPr>
              <p:cNvPr id="7400" name="Google Shape;7400;p57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7401" name="Google Shape;7401;p57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7402" name="Google Shape;7402;p5761"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3823201479"/>
      </p:ext>
    </p:extLst>
  </p:cSld>
  <p:clrMapOvr>
    <a:masterClrMapping/>
  </p:clrMapOvr>
</p:sldLayout>
</file>

<file path=ppt/slideLayouts/slideLayout1933.xml><?xml version="1.0" encoding="utf-8"?>
<p:sldLayout xmlns:a="http://schemas.openxmlformats.org/drawingml/2006/main" xmlns:r="http://schemas.openxmlformats.org/officeDocument/2006/relationships" xmlns:p="http://schemas.openxmlformats.org/presentationml/2006/main" matchingName="134_Quotation">
  <p:cSld name="134_Quotation">
    <p:spTree>
      <p:nvGrpSpPr>
        <p:cNvPr id="1" name="Shape 7403"/>
        <p:cNvGrpSpPr/>
        <p:nvPr/>
      </p:nvGrpSpPr>
      <p:grpSpPr>
        <a:xfrm>
          <a:off x="0" y="0"/>
          <a:ext cx="0" cy="0"/>
          <a:chOff x="0" y="0"/>
          <a:chExt cx="0" cy="0"/>
        </a:xfrm>
      </p:grpSpPr>
      <p:sp>
        <p:nvSpPr>
          <p:cNvPr id="7404" name="Google Shape;7404;p5762"/>
          <p:cNvSpPr/>
          <p:nvPr/>
        </p:nvSpPr>
        <p:spPr>
          <a:xfrm>
            <a:off x="1427358" y="1387869"/>
            <a:ext cx="10155043" cy="3506936"/>
          </a:xfrm>
          <a:prstGeom prst="rect">
            <a:avLst/>
          </a:prstGeom>
          <a:solidFill>
            <a:schemeClr val="lt2"/>
          </a:solidFill>
          <a:ln>
            <a:noFill/>
          </a:ln>
        </p:spPr>
        <p:txBody>
          <a:bodyPr spcFirstLastPara="1" wrap="square" lIns="60950" tIns="30467" rIns="60950" bIns="30467"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7405" name="Google Shape;7405;p5762"/>
          <p:cNvSpPr txBox="1">
            <a:spLocks noGrp="1"/>
          </p:cNvSpPr>
          <p:nvPr>
            <p:ph type="title"/>
          </p:nvPr>
        </p:nvSpPr>
        <p:spPr>
          <a:xfrm>
            <a:off x="1427358"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06" name="Google Shape;7406;p576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7407" name="Google Shape;7407;p576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7408" name="Google Shape;7408;p57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09" name="Google Shape;7409;p576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410" name="Google Shape;7410;p5762"/>
          <p:cNvGrpSpPr/>
          <p:nvPr/>
        </p:nvGrpSpPr>
        <p:grpSpPr>
          <a:xfrm>
            <a:off x="7191544" y="1"/>
            <a:ext cx="5000459" cy="1425992"/>
            <a:chOff x="7191542" y="1"/>
            <a:chExt cx="5000459" cy="1425992"/>
          </a:xfrm>
        </p:grpSpPr>
        <p:pic>
          <p:nvPicPr>
            <p:cNvPr id="7411" name="Google Shape;7411;p57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12" name="Google Shape;7412;p5762"/>
            <p:cNvGrpSpPr/>
            <p:nvPr/>
          </p:nvGrpSpPr>
          <p:grpSpPr>
            <a:xfrm>
              <a:off x="7191542" y="1"/>
              <a:ext cx="5000459" cy="1425992"/>
              <a:chOff x="7186272" y="0"/>
              <a:chExt cx="5005729" cy="1427495"/>
            </a:xfrm>
          </p:grpSpPr>
          <p:sp>
            <p:nvSpPr>
              <p:cNvPr id="7413" name="Google Shape;7413;p57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7414" name="Google Shape;7414;p57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7415" name="Google Shape;7415;p5762" descr="Open quotation mark with solid fill"/>
          <p:cNvSpPr/>
          <p:nvPr/>
        </p:nvSpPr>
        <p:spPr>
          <a:xfrm>
            <a:off x="111512" y="136525"/>
            <a:ext cx="2036762" cy="2036762"/>
          </a:xfrm>
          <a:prstGeom prst="rect">
            <a:avLst/>
          </a:prstGeom>
          <a:noFill/>
          <a:ln>
            <a:noFill/>
          </a:ln>
        </p:spPr>
      </p:sp>
    </p:spTree>
    <p:extLst>
      <p:ext uri="{BB962C8B-B14F-4D97-AF65-F5344CB8AC3E}">
        <p14:creationId xmlns:p14="http://schemas.microsoft.com/office/powerpoint/2010/main" val="3309630268"/>
      </p:ext>
    </p:extLst>
  </p:cSld>
  <p:clrMapOvr>
    <a:masterClrMapping/>
  </p:clrMapOvr>
</p:sldLayout>
</file>

<file path=ppt/slideLayouts/slideLayout193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5294"/>
        <p:cNvGrpSpPr/>
        <p:nvPr/>
      </p:nvGrpSpPr>
      <p:grpSpPr>
        <a:xfrm>
          <a:off x="0" y="0"/>
          <a:ext cx="0" cy="0"/>
          <a:chOff x="0" y="0"/>
          <a:chExt cx="0" cy="0"/>
        </a:xfrm>
      </p:grpSpPr>
      <p:sp>
        <p:nvSpPr>
          <p:cNvPr id="15295" name="Google Shape;15295;p10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919497"/>
              </a:buClr>
              <a:buSzPts val="1800"/>
              <a:buFont typeface="Arial"/>
              <a:buNone/>
              <a:defRPr sz="1200">
                <a:solidFill>
                  <a:srgbClr val="919497"/>
                </a:solidFill>
                <a:latin typeface="Arial"/>
                <a:ea typeface="Arial"/>
                <a:cs typeface="Arial"/>
                <a:sym typeface="Arial"/>
              </a:defRPr>
            </a:lvl1pPr>
            <a:lvl2pPr marL="0" lvl="1" indent="0" algn="r">
              <a:spcBef>
                <a:spcPts val="0"/>
              </a:spcBef>
              <a:buClr>
                <a:srgbClr val="919497"/>
              </a:buClr>
              <a:buSzPts val="1800"/>
              <a:buFont typeface="Arial"/>
              <a:buNone/>
              <a:defRPr sz="1200">
                <a:solidFill>
                  <a:srgbClr val="919497"/>
                </a:solidFill>
                <a:latin typeface="Arial"/>
                <a:ea typeface="Arial"/>
                <a:cs typeface="Arial"/>
                <a:sym typeface="Arial"/>
              </a:defRPr>
            </a:lvl2pPr>
            <a:lvl3pPr marL="0" lvl="2" indent="0" algn="r">
              <a:spcBef>
                <a:spcPts val="0"/>
              </a:spcBef>
              <a:buClr>
                <a:srgbClr val="919497"/>
              </a:buClr>
              <a:buSzPts val="1800"/>
              <a:buFont typeface="Arial"/>
              <a:buNone/>
              <a:defRPr sz="1200">
                <a:solidFill>
                  <a:srgbClr val="919497"/>
                </a:solidFill>
                <a:latin typeface="Arial"/>
                <a:ea typeface="Arial"/>
                <a:cs typeface="Arial"/>
                <a:sym typeface="Arial"/>
              </a:defRPr>
            </a:lvl3pPr>
            <a:lvl4pPr marL="0" lvl="3" indent="0" algn="r">
              <a:spcBef>
                <a:spcPts val="0"/>
              </a:spcBef>
              <a:buClr>
                <a:srgbClr val="919497"/>
              </a:buClr>
              <a:buSzPts val="1800"/>
              <a:buFont typeface="Arial"/>
              <a:buNone/>
              <a:defRPr sz="1200">
                <a:solidFill>
                  <a:srgbClr val="919497"/>
                </a:solidFill>
                <a:latin typeface="Arial"/>
                <a:ea typeface="Arial"/>
                <a:cs typeface="Arial"/>
                <a:sym typeface="Arial"/>
              </a:defRPr>
            </a:lvl4pPr>
            <a:lvl5pPr marL="0" lvl="4" indent="0" algn="r">
              <a:spcBef>
                <a:spcPts val="0"/>
              </a:spcBef>
              <a:buClr>
                <a:srgbClr val="919497"/>
              </a:buClr>
              <a:buSzPts val="1800"/>
              <a:buFont typeface="Arial"/>
              <a:buNone/>
              <a:defRPr sz="1200">
                <a:solidFill>
                  <a:srgbClr val="919497"/>
                </a:solidFill>
                <a:latin typeface="Arial"/>
                <a:ea typeface="Arial"/>
                <a:cs typeface="Arial"/>
                <a:sym typeface="Arial"/>
              </a:defRPr>
            </a:lvl5pPr>
            <a:lvl6pPr marL="0" lvl="5" indent="0" algn="r">
              <a:spcBef>
                <a:spcPts val="0"/>
              </a:spcBef>
              <a:buClr>
                <a:srgbClr val="919497"/>
              </a:buClr>
              <a:buSzPts val="1800"/>
              <a:buFont typeface="Arial"/>
              <a:buNone/>
              <a:defRPr sz="1200">
                <a:solidFill>
                  <a:srgbClr val="919497"/>
                </a:solidFill>
                <a:latin typeface="Arial"/>
                <a:ea typeface="Arial"/>
                <a:cs typeface="Arial"/>
                <a:sym typeface="Arial"/>
              </a:defRPr>
            </a:lvl6pPr>
            <a:lvl7pPr marL="0" lvl="6" indent="0" algn="r">
              <a:spcBef>
                <a:spcPts val="0"/>
              </a:spcBef>
              <a:buClr>
                <a:srgbClr val="919497"/>
              </a:buClr>
              <a:buSzPts val="1800"/>
              <a:buFont typeface="Arial"/>
              <a:buNone/>
              <a:defRPr sz="1200">
                <a:solidFill>
                  <a:srgbClr val="919497"/>
                </a:solidFill>
                <a:latin typeface="Arial"/>
                <a:ea typeface="Arial"/>
                <a:cs typeface="Arial"/>
                <a:sym typeface="Arial"/>
              </a:defRPr>
            </a:lvl7pPr>
            <a:lvl8pPr marL="0" lvl="7" indent="0" algn="r">
              <a:spcBef>
                <a:spcPts val="0"/>
              </a:spcBef>
              <a:buClr>
                <a:srgbClr val="919497"/>
              </a:buClr>
              <a:buSzPts val="1800"/>
              <a:buFont typeface="Arial"/>
              <a:buNone/>
              <a:defRPr sz="1200">
                <a:solidFill>
                  <a:srgbClr val="919497"/>
                </a:solidFill>
                <a:latin typeface="Arial"/>
                <a:ea typeface="Arial"/>
                <a:cs typeface="Arial"/>
                <a:sym typeface="Arial"/>
              </a:defRPr>
            </a:lvl8pPr>
            <a:lvl9pPr marL="0" lvl="8" indent="0" algn="r">
              <a:spcBef>
                <a:spcPts val="0"/>
              </a:spcBef>
              <a:buClr>
                <a:srgbClr val="919497"/>
              </a:buClr>
              <a:buSzPts val="1800"/>
              <a:buFont typeface="Arial"/>
              <a:buNone/>
              <a:defRPr sz="1200">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5296" name="Google Shape;15296;p1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297" name="Google Shape;15297;p10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Arial"/>
              <a:buNone/>
              <a:defRPr/>
            </a:lvl1pPr>
            <a:lvl2pPr lvl="1" algn="l">
              <a:spcBef>
                <a:spcPts val="0"/>
              </a:spcBef>
              <a:spcAft>
                <a:spcPts val="0"/>
              </a:spcAft>
              <a:buClr>
                <a:schemeClr val="dk1"/>
              </a:buClr>
              <a:buSzPts val="1400"/>
              <a:buFont typeface="Arial"/>
              <a:buNone/>
              <a:defRPr/>
            </a:lvl2pPr>
            <a:lvl3pPr lvl="2" algn="l">
              <a:spcBef>
                <a:spcPts val="0"/>
              </a:spcBef>
              <a:spcAft>
                <a:spcPts val="0"/>
              </a:spcAft>
              <a:buClr>
                <a:schemeClr val="dk1"/>
              </a:buClr>
              <a:buSzPts val="1400"/>
              <a:buFont typeface="Arial"/>
              <a:buNone/>
              <a:defRPr/>
            </a:lvl3pPr>
            <a:lvl4pPr lvl="3" algn="l">
              <a:spcBef>
                <a:spcPts val="0"/>
              </a:spcBef>
              <a:spcAft>
                <a:spcPts val="0"/>
              </a:spcAft>
              <a:buClr>
                <a:schemeClr val="dk1"/>
              </a:buClr>
              <a:buSzPts val="1400"/>
              <a:buFont typeface="Arial"/>
              <a:buNone/>
              <a:defRPr/>
            </a:lvl4pPr>
            <a:lvl5pPr lvl="4" algn="l">
              <a:spcBef>
                <a:spcPts val="0"/>
              </a:spcBef>
              <a:spcAft>
                <a:spcPts val="0"/>
              </a:spcAft>
              <a:buClr>
                <a:schemeClr val="dk1"/>
              </a:buClr>
              <a:buSzPts val="1400"/>
              <a:buFont typeface="Arial"/>
              <a:buNone/>
              <a:defRPr/>
            </a:lvl5pPr>
            <a:lvl6pPr lvl="5" algn="l">
              <a:spcBef>
                <a:spcPts val="0"/>
              </a:spcBef>
              <a:spcAft>
                <a:spcPts val="0"/>
              </a:spcAft>
              <a:buClr>
                <a:schemeClr val="dk1"/>
              </a:buClr>
              <a:buSzPts val="1400"/>
              <a:buFont typeface="Arial"/>
              <a:buNone/>
              <a:defRPr/>
            </a:lvl6pPr>
            <a:lvl7pPr lvl="6" algn="l">
              <a:spcBef>
                <a:spcPts val="0"/>
              </a:spcBef>
              <a:spcAft>
                <a:spcPts val="0"/>
              </a:spcAft>
              <a:buClr>
                <a:schemeClr val="dk1"/>
              </a:buClr>
              <a:buSzPts val="1400"/>
              <a:buFont typeface="Arial"/>
              <a:buNone/>
              <a:defRPr/>
            </a:lvl7pPr>
            <a:lvl8pPr lvl="7" algn="l">
              <a:spcBef>
                <a:spcPts val="0"/>
              </a:spcBef>
              <a:spcAft>
                <a:spcPts val="0"/>
              </a:spcAft>
              <a:buClr>
                <a:schemeClr val="dk1"/>
              </a:buClr>
              <a:buSzPts val="1400"/>
              <a:buFont typeface="Arial"/>
              <a:buNone/>
              <a:defRPr/>
            </a:lvl8pPr>
            <a:lvl9pPr lvl="8" algn="l">
              <a:spcBef>
                <a:spcPts val="0"/>
              </a:spcBef>
              <a:spcAft>
                <a:spcPts val="0"/>
              </a:spcAft>
              <a:buClr>
                <a:schemeClr val="dk1"/>
              </a:buClr>
              <a:buSzPts val="1400"/>
              <a:buFont typeface="Arial"/>
              <a:buNone/>
              <a:defRPr/>
            </a:lvl9pPr>
          </a:lstStyle>
          <a:p>
            <a:endParaRPr/>
          </a:p>
        </p:txBody>
      </p:sp>
      <p:grpSp>
        <p:nvGrpSpPr>
          <p:cNvPr id="15298" name="Google Shape;15298;p100"/>
          <p:cNvGrpSpPr/>
          <p:nvPr/>
        </p:nvGrpSpPr>
        <p:grpSpPr>
          <a:xfrm>
            <a:off x="7191543" y="1"/>
            <a:ext cx="5000459" cy="1425992"/>
            <a:chOff x="7191542" y="1"/>
            <a:chExt cx="5000459" cy="1425992"/>
          </a:xfrm>
        </p:grpSpPr>
        <p:pic>
          <p:nvPicPr>
            <p:cNvPr id="15299" name="Google Shape;15299;p1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300" name="Google Shape;15300;p100"/>
            <p:cNvGrpSpPr/>
            <p:nvPr/>
          </p:nvGrpSpPr>
          <p:grpSpPr>
            <a:xfrm>
              <a:off x="7191542" y="1"/>
              <a:ext cx="5000459" cy="1425992"/>
              <a:chOff x="7186272" y="0"/>
              <a:chExt cx="5005729" cy="1427495"/>
            </a:xfrm>
          </p:grpSpPr>
          <p:sp>
            <p:nvSpPr>
              <p:cNvPr id="15301" name="Google Shape;15301;p1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Arial"/>
                  <a:ea typeface="Arial"/>
                  <a:cs typeface="Arial"/>
                  <a:sym typeface="Arial"/>
                </a:endParaRPr>
              </a:p>
            </p:txBody>
          </p:sp>
          <p:sp>
            <p:nvSpPr>
              <p:cNvPr id="15302" name="Google Shape;15302;p1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Arial"/>
                  <a:ea typeface="Arial"/>
                  <a:cs typeface="Arial"/>
                  <a:sym typeface="Arial"/>
                </a:endParaRPr>
              </a:p>
            </p:txBody>
          </p:sp>
        </p:grpSp>
      </p:grpSp>
    </p:spTree>
  </p:cSld>
  <p:clrMapOvr>
    <a:masterClrMapping/>
  </p:clrMapOvr>
</p:sldLayout>
</file>

<file path=ppt/slideLayouts/slideLayout1935.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15303"/>
        <p:cNvGrpSpPr/>
        <p:nvPr/>
      </p:nvGrpSpPr>
      <p:grpSpPr>
        <a:xfrm>
          <a:off x="0" y="0"/>
          <a:ext cx="0" cy="0"/>
          <a:chOff x="0" y="0"/>
          <a:chExt cx="0" cy="0"/>
        </a:xfrm>
      </p:grpSpPr>
      <p:grpSp>
        <p:nvGrpSpPr>
          <p:cNvPr id="15304" name="Google Shape;15304;p1627"/>
          <p:cNvGrpSpPr/>
          <p:nvPr/>
        </p:nvGrpSpPr>
        <p:grpSpPr>
          <a:xfrm>
            <a:off x="7191543" y="1"/>
            <a:ext cx="5000459" cy="1425992"/>
            <a:chOff x="7191542" y="1"/>
            <a:chExt cx="5000459" cy="1425992"/>
          </a:xfrm>
        </p:grpSpPr>
        <p:pic>
          <p:nvPicPr>
            <p:cNvPr id="15305" name="Google Shape;15305;p16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306" name="Google Shape;15306;p1627"/>
            <p:cNvGrpSpPr/>
            <p:nvPr/>
          </p:nvGrpSpPr>
          <p:grpSpPr>
            <a:xfrm>
              <a:off x="7191542" y="1"/>
              <a:ext cx="5000459" cy="1425992"/>
              <a:chOff x="7186272" y="0"/>
              <a:chExt cx="5005729" cy="1427495"/>
            </a:xfrm>
          </p:grpSpPr>
          <p:sp>
            <p:nvSpPr>
              <p:cNvPr id="15307" name="Google Shape;15307;p16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Arial"/>
                  <a:ea typeface="Arial"/>
                  <a:cs typeface="Arial"/>
                  <a:sym typeface="Arial"/>
                </a:endParaRPr>
              </a:p>
            </p:txBody>
          </p:sp>
          <p:sp>
            <p:nvSpPr>
              <p:cNvPr id="15308" name="Google Shape;15308;p16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Arial"/>
                  <a:ea typeface="Arial"/>
                  <a:cs typeface="Arial"/>
                  <a:sym typeface="Arial"/>
                </a:endParaRPr>
              </a:p>
            </p:txBody>
          </p:sp>
        </p:grpSp>
      </p:grpSp>
      <p:sp>
        <p:nvSpPr>
          <p:cNvPr id="15309" name="Google Shape;15309;p162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310" name="Google Shape;15310;p1627"/>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rmAutofit/>
          </a:bodyPr>
          <a:lstStyle>
            <a:lvl1pPr marL="304815" lvl="0" indent="-228611" algn="l">
              <a:lnSpc>
                <a:spcPct val="90000"/>
              </a:lnSpc>
              <a:spcBef>
                <a:spcPts val="1000"/>
              </a:spcBef>
              <a:spcAft>
                <a:spcPts val="0"/>
              </a:spcAft>
              <a:buSzPts val="1800"/>
              <a:buChar char="•"/>
              <a:defRPr/>
            </a:lvl1pPr>
            <a:lvl2pPr marL="609630" lvl="1" indent="-228611" algn="l">
              <a:lnSpc>
                <a:spcPct val="90000"/>
              </a:lnSpc>
              <a:spcBef>
                <a:spcPts val="500"/>
              </a:spcBef>
              <a:spcAft>
                <a:spcPts val="0"/>
              </a:spcAft>
              <a:buSzPts val="1800"/>
              <a:buChar char="•"/>
              <a:defRPr/>
            </a:lvl2pPr>
            <a:lvl3pPr marL="914446" lvl="2" indent="-228611" algn="l">
              <a:lnSpc>
                <a:spcPct val="90000"/>
              </a:lnSpc>
              <a:spcBef>
                <a:spcPts val="500"/>
              </a:spcBef>
              <a:spcAft>
                <a:spcPts val="0"/>
              </a:spcAft>
              <a:buSzPts val="1800"/>
              <a:buChar char="•"/>
              <a:defRPr/>
            </a:lvl3pPr>
            <a:lvl4pPr marL="1219261" lvl="3" indent="-228611" algn="l">
              <a:lnSpc>
                <a:spcPct val="90000"/>
              </a:lnSpc>
              <a:spcBef>
                <a:spcPts val="500"/>
              </a:spcBef>
              <a:spcAft>
                <a:spcPts val="0"/>
              </a:spcAft>
              <a:buSzPts val="1800"/>
              <a:buChar char="•"/>
              <a:defRPr/>
            </a:lvl4pPr>
            <a:lvl5pPr marL="1524076" lvl="4" indent="-228611" algn="l">
              <a:lnSpc>
                <a:spcPct val="90000"/>
              </a:lnSpc>
              <a:spcBef>
                <a:spcPts val="500"/>
              </a:spcBef>
              <a:spcAft>
                <a:spcPts val="0"/>
              </a:spcAft>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5311" name="Google Shape;15311;p162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AEB3B7"/>
              </a:buClr>
              <a:buSzPts val="1800"/>
              <a:buFont typeface="Arial"/>
              <a:buNone/>
              <a:defRPr sz="1200">
                <a:solidFill>
                  <a:srgbClr val="AEB3B7"/>
                </a:solidFill>
                <a:latin typeface="Arial"/>
                <a:ea typeface="Arial"/>
                <a:cs typeface="Arial"/>
                <a:sym typeface="Arial"/>
              </a:defRPr>
            </a:lvl1pPr>
            <a:lvl2pPr marL="0" lvl="1" indent="0" algn="r">
              <a:spcBef>
                <a:spcPts val="0"/>
              </a:spcBef>
              <a:buClr>
                <a:srgbClr val="AEB3B7"/>
              </a:buClr>
              <a:buSzPts val="1800"/>
              <a:buFont typeface="Arial"/>
              <a:buNone/>
              <a:defRPr sz="1200">
                <a:solidFill>
                  <a:srgbClr val="AEB3B7"/>
                </a:solidFill>
                <a:latin typeface="Arial"/>
                <a:ea typeface="Arial"/>
                <a:cs typeface="Arial"/>
                <a:sym typeface="Arial"/>
              </a:defRPr>
            </a:lvl2pPr>
            <a:lvl3pPr marL="0" lvl="2" indent="0" algn="r">
              <a:spcBef>
                <a:spcPts val="0"/>
              </a:spcBef>
              <a:buClr>
                <a:srgbClr val="AEB3B7"/>
              </a:buClr>
              <a:buSzPts val="1800"/>
              <a:buFont typeface="Arial"/>
              <a:buNone/>
              <a:defRPr sz="1200">
                <a:solidFill>
                  <a:srgbClr val="AEB3B7"/>
                </a:solidFill>
                <a:latin typeface="Arial"/>
                <a:ea typeface="Arial"/>
                <a:cs typeface="Arial"/>
                <a:sym typeface="Arial"/>
              </a:defRPr>
            </a:lvl3pPr>
            <a:lvl4pPr marL="0" lvl="3" indent="0" algn="r">
              <a:spcBef>
                <a:spcPts val="0"/>
              </a:spcBef>
              <a:buClr>
                <a:srgbClr val="AEB3B7"/>
              </a:buClr>
              <a:buSzPts val="1800"/>
              <a:buFont typeface="Arial"/>
              <a:buNone/>
              <a:defRPr sz="1200">
                <a:solidFill>
                  <a:srgbClr val="AEB3B7"/>
                </a:solidFill>
                <a:latin typeface="Arial"/>
                <a:ea typeface="Arial"/>
                <a:cs typeface="Arial"/>
                <a:sym typeface="Arial"/>
              </a:defRPr>
            </a:lvl4pPr>
            <a:lvl5pPr marL="0" lvl="4" indent="0" algn="r">
              <a:spcBef>
                <a:spcPts val="0"/>
              </a:spcBef>
              <a:buClr>
                <a:srgbClr val="AEB3B7"/>
              </a:buClr>
              <a:buSzPts val="1800"/>
              <a:buFont typeface="Arial"/>
              <a:buNone/>
              <a:defRPr sz="1200">
                <a:solidFill>
                  <a:srgbClr val="AEB3B7"/>
                </a:solidFill>
                <a:latin typeface="Arial"/>
                <a:ea typeface="Arial"/>
                <a:cs typeface="Arial"/>
                <a:sym typeface="Arial"/>
              </a:defRPr>
            </a:lvl5pPr>
            <a:lvl6pPr marL="0" lvl="5" indent="0" algn="r">
              <a:spcBef>
                <a:spcPts val="0"/>
              </a:spcBef>
              <a:buClr>
                <a:srgbClr val="AEB3B7"/>
              </a:buClr>
              <a:buSzPts val="1800"/>
              <a:buFont typeface="Arial"/>
              <a:buNone/>
              <a:defRPr sz="1200">
                <a:solidFill>
                  <a:srgbClr val="AEB3B7"/>
                </a:solidFill>
                <a:latin typeface="Arial"/>
                <a:ea typeface="Arial"/>
                <a:cs typeface="Arial"/>
                <a:sym typeface="Arial"/>
              </a:defRPr>
            </a:lvl6pPr>
            <a:lvl7pPr marL="0" lvl="6" indent="0" algn="r">
              <a:spcBef>
                <a:spcPts val="0"/>
              </a:spcBef>
              <a:buClr>
                <a:srgbClr val="AEB3B7"/>
              </a:buClr>
              <a:buSzPts val="1800"/>
              <a:buFont typeface="Arial"/>
              <a:buNone/>
              <a:defRPr sz="1200">
                <a:solidFill>
                  <a:srgbClr val="AEB3B7"/>
                </a:solidFill>
                <a:latin typeface="Arial"/>
                <a:ea typeface="Arial"/>
                <a:cs typeface="Arial"/>
                <a:sym typeface="Arial"/>
              </a:defRPr>
            </a:lvl7pPr>
            <a:lvl8pPr marL="0" lvl="7" indent="0" algn="r">
              <a:spcBef>
                <a:spcPts val="0"/>
              </a:spcBef>
              <a:buClr>
                <a:srgbClr val="AEB3B7"/>
              </a:buClr>
              <a:buSzPts val="1800"/>
              <a:buFont typeface="Arial"/>
              <a:buNone/>
              <a:defRPr sz="1200">
                <a:solidFill>
                  <a:srgbClr val="AEB3B7"/>
                </a:solidFill>
                <a:latin typeface="Arial"/>
                <a:ea typeface="Arial"/>
                <a:cs typeface="Arial"/>
                <a:sym typeface="Arial"/>
              </a:defRPr>
            </a:lvl8pPr>
            <a:lvl9pPr marL="0" lvl="8" indent="0" algn="r">
              <a:spcBef>
                <a:spcPts val="0"/>
              </a:spcBef>
              <a:buClr>
                <a:srgbClr val="AEB3B7"/>
              </a:buClr>
              <a:buSzPts val="1800"/>
              <a:buFont typeface="Arial"/>
              <a:buNone/>
              <a:defRPr sz="1200">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5312" name="Google Shape;15312;p16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cxnSp>
        <p:nvCxnSpPr>
          <p:cNvPr id="15313" name="Google Shape;15313;p1627"/>
          <p:cNvCxnSpPr/>
          <p:nvPr/>
        </p:nvCxnSpPr>
        <p:spPr>
          <a:xfrm>
            <a:off x="704314" y="1425993"/>
            <a:ext cx="1097280" cy="0"/>
          </a:xfrm>
          <a:prstGeom prst="straightConnector1">
            <a:avLst/>
          </a:prstGeom>
          <a:noFill/>
          <a:ln w="31750" cap="flat" cmpd="sng">
            <a:solidFill>
              <a:schemeClr val="accent3"/>
            </a:solidFill>
            <a:prstDash val="solid"/>
            <a:miter lim="800000"/>
            <a:headEnd type="none" w="sm" len="sm"/>
            <a:tailEnd type="none" w="sm" len="sm"/>
          </a:ln>
        </p:spPr>
      </p:cxnSp>
      <p:sp>
        <p:nvSpPr>
          <p:cNvPr id="15314" name="Google Shape;15314;p162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Arial"/>
              <a:buNone/>
              <a:defRPr/>
            </a:lvl1pPr>
            <a:lvl2pPr lvl="1" algn="l">
              <a:spcBef>
                <a:spcPts val="0"/>
              </a:spcBef>
              <a:spcAft>
                <a:spcPts val="0"/>
              </a:spcAft>
              <a:buClr>
                <a:schemeClr val="dk1"/>
              </a:buClr>
              <a:buSzPts val="1400"/>
              <a:buFont typeface="Arial"/>
              <a:buNone/>
              <a:defRPr/>
            </a:lvl2pPr>
            <a:lvl3pPr lvl="2" algn="l">
              <a:spcBef>
                <a:spcPts val="0"/>
              </a:spcBef>
              <a:spcAft>
                <a:spcPts val="0"/>
              </a:spcAft>
              <a:buClr>
                <a:schemeClr val="dk1"/>
              </a:buClr>
              <a:buSzPts val="1400"/>
              <a:buFont typeface="Arial"/>
              <a:buNone/>
              <a:defRPr/>
            </a:lvl3pPr>
            <a:lvl4pPr lvl="3" algn="l">
              <a:spcBef>
                <a:spcPts val="0"/>
              </a:spcBef>
              <a:spcAft>
                <a:spcPts val="0"/>
              </a:spcAft>
              <a:buClr>
                <a:schemeClr val="dk1"/>
              </a:buClr>
              <a:buSzPts val="1400"/>
              <a:buFont typeface="Arial"/>
              <a:buNone/>
              <a:defRPr/>
            </a:lvl4pPr>
            <a:lvl5pPr lvl="4" algn="l">
              <a:spcBef>
                <a:spcPts val="0"/>
              </a:spcBef>
              <a:spcAft>
                <a:spcPts val="0"/>
              </a:spcAft>
              <a:buClr>
                <a:schemeClr val="dk1"/>
              </a:buClr>
              <a:buSzPts val="1400"/>
              <a:buFont typeface="Arial"/>
              <a:buNone/>
              <a:defRPr/>
            </a:lvl5pPr>
            <a:lvl6pPr lvl="5" algn="l">
              <a:spcBef>
                <a:spcPts val="0"/>
              </a:spcBef>
              <a:spcAft>
                <a:spcPts val="0"/>
              </a:spcAft>
              <a:buClr>
                <a:schemeClr val="dk1"/>
              </a:buClr>
              <a:buSzPts val="1400"/>
              <a:buFont typeface="Arial"/>
              <a:buNone/>
              <a:defRPr/>
            </a:lvl6pPr>
            <a:lvl7pPr lvl="6" algn="l">
              <a:spcBef>
                <a:spcPts val="0"/>
              </a:spcBef>
              <a:spcAft>
                <a:spcPts val="0"/>
              </a:spcAft>
              <a:buClr>
                <a:schemeClr val="dk1"/>
              </a:buClr>
              <a:buSzPts val="1400"/>
              <a:buFont typeface="Arial"/>
              <a:buNone/>
              <a:defRPr/>
            </a:lvl7pPr>
            <a:lvl8pPr lvl="7" algn="l">
              <a:spcBef>
                <a:spcPts val="0"/>
              </a:spcBef>
              <a:spcAft>
                <a:spcPts val="0"/>
              </a:spcAft>
              <a:buClr>
                <a:schemeClr val="dk1"/>
              </a:buClr>
              <a:buSzPts val="1400"/>
              <a:buFont typeface="Arial"/>
              <a:buNone/>
              <a:defRPr/>
            </a:lvl8pPr>
            <a:lvl9pPr lvl="8" algn="l">
              <a:spcBef>
                <a:spcPts val="0"/>
              </a:spcBef>
              <a:spcAft>
                <a:spcPts val="0"/>
              </a:spcAft>
              <a:buClr>
                <a:schemeClr val="dk1"/>
              </a:buClr>
              <a:buSzPts val="1400"/>
              <a:buFont typeface="Arial"/>
              <a:buNone/>
              <a:defRPr/>
            </a:lvl9pPr>
          </a:lstStyle>
          <a:p>
            <a:endParaRPr/>
          </a:p>
        </p:txBody>
      </p:sp>
    </p:spTree>
  </p:cSld>
  <p:clrMapOvr>
    <a:masterClrMapping/>
  </p:clrMapOvr>
</p:sldLayout>
</file>

<file path=ppt/slideLayouts/slideLayout1936.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15315"/>
        <p:cNvGrpSpPr/>
        <p:nvPr/>
      </p:nvGrpSpPr>
      <p:grpSpPr>
        <a:xfrm>
          <a:off x="0" y="0"/>
          <a:ext cx="0" cy="0"/>
          <a:chOff x="0" y="0"/>
          <a:chExt cx="0" cy="0"/>
        </a:xfrm>
      </p:grpSpPr>
      <p:grpSp>
        <p:nvGrpSpPr>
          <p:cNvPr id="15316" name="Google Shape;15316;p1628"/>
          <p:cNvGrpSpPr/>
          <p:nvPr/>
        </p:nvGrpSpPr>
        <p:grpSpPr>
          <a:xfrm>
            <a:off x="0" y="5020348"/>
            <a:ext cx="12192000" cy="1837653"/>
            <a:chOff x="0" y="5020347"/>
            <a:chExt cx="12192000" cy="1837653"/>
          </a:xfrm>
        </p:grpSpPr>
        <p:sp>
          <p:nvSpPr>
            <p:cNvPr id="15317" name="Google Shape;15317;p162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Arial"/>
                <a:ea typeface="Arial"/>
                <a:cs typeface="Arial"/>
                <a:sym typeface="Arial"/>
              </a:endParaRPr>
            </a:p>
          </p:txBody>
        </p:sp>
        <p:sp>
          <p:nvSpPr>
            <p:cNvPr id="15318" name="Google Shape;15318;p162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Arial"/>
                <a:ea typeface="Arial"/>
                <a:cs typeface="Arial"/>
                <a:sym typeface="Arial"/>
              </a:endParaRPr>
            </a:p>
          </p:txBody>
        </p:sp>
        <p:sp>
          <p:nvSpPr>
            <p:cNvPr id="15319" name="Google Shape;15319;p162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Arial"/>
                <a:ea typeface="Arial"/>
                <a:cs typeface="Arial"/>
                <a:sym typeface="Arial"/>
              </a:endParaRPr>
            </a:p>
          </p:txBody>
        </p:sp>
        <p:pic>
          <p:nvPicPr>
            <p:cNvPr id="15320" name="Google Shape;15320;p162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5321" name="Google Shape;15321;p1628"/>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322" name="Google Shape;15322;p1628"/>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SzPts val="2400"/>
              <a:buNone/>
              <a:defRPr sz="2400">
                <a:solidFill>
                  <a:schemeClr val="dk1"/>
                </a:solidFill>
              </a:defRPr>
            </a:lvl1pPr>
            <a:lvl2pPr lvl="1" algn="ctr">
              <a:lnSpc>
                <a:spcPct val="90000"/>
              </a:lnSpc>
              <a:spcBef>
                <a:spcPts val="500"/>
              </a:spcBef>
              <a:spcAft>
                <a:spcPts val="0"/>
              </a:spcAft>
              <a:buSzPts val="2000"/>
              <a:buNone/>
              <a:defRPr sz="2000"/>
            </a:lvl2pPr>
            <a:lvl3pPr lvl="2" algn="ctr">
              <a:lnSpc>
                <a:spcPct val="90000"/>
              </a:lnSpc>
              <a:spcBef>
                <a:spcPts val="500"/>
              </a:spcBef>
              <a:spcAft>
                <a:spcPts val="0"/>
              </a:spcAft>
              <a:buSzPts val="1800"/>
              <a:buNone/>
              <a:defRPr sz="1800"/>
            </a:lvl3pPr>
            <a:lvl4pPr lvl="3" algn="ctr">
              <a:lnSpc>
                <a:spcPct val="90000"/>
              </a:lnSpc>
              <a:spcBef>
                <a:spcPts val="500"/>
              </a:spcBef>
              <a:spcAft>
                <a:spcPts val="0"/>
              </a:spcAft>
              <a:buSzPts val="1600"/>
              <a:buNone/>
              <a:defRPr sz="1600"/>
            </a:lvl4pPr>
            <a:lvl5pPr lvl="4" algn="ctr">
              <a:lnSpc>
                <a:spcPct val="90000"/>
              </a:lnSpc>
              <a:spcBef>
                <a:spcPts val="500"/>
              </a:spcBef>
              <a:spcAft>
                <a:spcPts val="0"/>
              </a:spcAft>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cxnSp>
        <p:nvCxnSpPr>
          <p:cNvPr id="15323" name="Google Shape;15323;p1628"/>
          <p:cNvCxnSpPr/>
          <p:nvPr/>
        </p:nvCxnSpPr>
        <p:spPr>
          <a:xfrm>
            <a:off x="1520055" y="2811818"/>
            <a:ext cx="2286000" cy="0"/>
          </a:xfrm>
          <a:prstGeom prst="straightConnector1">
            <a:avLst/>
          </a:prstGeom>
          <a:noFill/>
          <a:ln w="31750" cap="flat" cmpd="sng">
            <a:solidFill>
              <a:schemeClr val="accent3"/>
            </a:solidFill>
            <a:prstDash val="solid"/>
            <a:miter lim="800000"/>
            <a:headEnd type="none" w="sm" len="sm"/>
            <a:tailEnd type="none" w="sm" len="sm"/>
          </a:ln>
        </p:spPr>
      </p:cxnSp>
    </p:spTree>
  </p:cSld>
  <p:clrMapOvr>
    <a:masterClrMapping/>
  </p:clrMapOvr>
</p:sldLayout>
</file>

<file path=ppt/slideLayouts/slideLayout1937.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15324"/>
        <p:cNvGrpSpPr/>
        <p:nvPr/>
      </p:nvGrpSpPr>
      <p:grpSpPr>
        <a:xfrm>
          <a:off x="0" y="0"/>
          <a:ext cx="0" cy="0"/>
          <a:chOff x="0" y="0"/>
          <a:chExt cx="0" cy="0"/>
        </a:xfrm>
      </p:grpSpPr>
      <p:sp>
        <p:nvSpPr>
          <p:cNvPr id="15325" name="Google Shape;15325;p1629"/>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rmAutofit/>
          </a:bodyPr>
          <a:lstStyle>
            <a:lvl1pPr marL="304815" lvl="0" indent="-152408" algn="l">
              <a:lnSpc>
                <a:spcPct val="90000"/>
              </a:lnSpc>
              <a:spcBef>
                <a:spcPts val="1000"/>
              </a:spcBef>
              <a:spcAft>
                <a:spcPts val="0"/>
              </a:spcAft>
              <a:buSzPts val="2400"/>
              <a:buNone/>
              <a:defRPr b="0">
                <a:solidFill>
                  <a:schemeClr val="dk1"/>
                </a:solidFill>
              </a:defRPr>
            </a:lvl1pPr>
            <a:lvl2pPr marL="609630" lvl="1" indent="-228611" algn="l">
              <a:lnSpc>
                <a:spcPct val="90000"/>
              </a:lnSpc>
              <a:spcBef>
                <a:spcPts val="500"/>
              </a:spcBef>
              <a:spcAft>
                <a:spcPts val="0"/>
              </a:spcAft>
              <a:buSzPts val="1800"/>
              <a:buChar char="•"/>
              <a:defRPr/>
            </a:lvl2pPr>
            <a:lvl3pPr marL="914446" lvl="2" indent="-228611" algn="l">
              <a:lnSpc>
                <a:spcPct val="90000"/>
              </a:lnSpc>
              <a:spcBef>
                <a:spcPts val="500"/>
              </a:spcBef>
              <a:spcAft>
                <a:spcPts val="0"/>
              </a:spcAft>
              <a:buSzPts val="1800"/>
              <a:buChar char="•"/>
              <a:defRPr/>
            </a:lvl3pPr>
            <a:lvl4pPr marL="1219261" lvl="3" indent="-228611" algn="l">
              <a:lnSpc>
                <a:spcPct val="90000"/>
              </a:lnSpc>
              <a:spcBef>
                <a:spcPts val="500"/>
              </a:spcBef>
              <a:spcAft>
                <a:spcPts val="0"/>
              </a:spcAft>
              <a:buSzPts val="1800"/>
              <a:buChar char="•"/>
              <a:defRPr/>
            </a:lvl4pPr>
            <a:lvl5pPr marL="1524076" lvl="4" indent="-228611" algn="l">
              <a:lnSpc>
                <a:spcPct val="90000"/>
              </a:lnSpc>
              <a:spcBef>
                <a:spcPts val="500"/>
              </a:spcBef>
              <a:spcAft>
                <a:spcPts val="0"/>
              </a:spcAft>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5326" name="Google Shape;15326;p162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5327" name="Google Shape;15327;p1629"/>
          <p:cNvGrpSpPr/>
          <p:nvPr/>
        </p:nvGrpSpPr>
        <p:grpSpPr>
          <a:xfrm>
            <a:off x="0" y="5379427"/>
            <a:ext cx="2807368" cy="753891"/>
            <a:chOff x="0" y="5379426"/>
            <a:chExt cx="2807368" cy="753891"/>
          </a:xfrm>
        </p:grpSpPr>
        <p:sp>
          <p:nvSpPr>
            <p:cNvPr id="15328" name="Google Shape;15328;p162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Arial"/>
                <a:ea typeface="Arial"/>
                <a:cs typeface="Arial"/>
                <a:sym typeface="Arial"/>
              </a:endParaRPr>
            </a:p>
          </p:txBody>
        </p:sp>
        <p:sp>
          <p:nvSpPr>
            <p:cNvPr id="15329" name="Google Shape;15329;p162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Arial"/>
                <a:ea typeface="Arial"/>
                <a:cs typeface="Arial"/>
                <a:sym typeface="Arial"/>
              </a:endParaRPr>
            </a:p>
          </p:txBody>
        </p:sp>
      </p:grpSp>
      <p:sp>
        <p:nvSpPr>
          <p:cNvPr id="15330" name="Google Shape;15330;p1629"/>
          <p:cNvSpPr>
            <a:spLocks noGrp="1"/>
          </p:cNvSpPr>
          <p:nvPr>
            <p:ph type="pic" idx="2"/>
          </p:nvPr>
        </p:nvSpPr>
        <p:spPr>
          <a:xfrm>
            <a:off x="2807368" y="457202"/>
            <a:ext cx="8915400" cy="5943598"/>
          </a:xfrm>
          <a:prstGeom prst="rect">
            <a:avLst/>
          </a:prstGeom>
          <a:noFill/>
          <a:ln>
            <a:noFill/>
          </a:ln>
        </p:spPr>
      </p:sp>
      <p:pic>
        <p:nvPicPr>
          <p:cNvPr id="15331" name="Google Shape;15331;p1629"/>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1938.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15332"/>
        <p:cNvGrpSpPr/>
        <p:nvPr/>
      </p:nvGrpSpPr>
      <p:grpSpPr>
        <a:xfrm>
          <a:off x="0" y="0"/>
          <a:ext cx="0" cy="0"/>
          <a:chOff x="0" y="0"/>
          <a:chExt cx="0" cy="0"/>
        </a:xfrm>
      </p:grpSpPr>
      <p:sp>
        <p:nvSpPr>
          <p:cNvPr id="15333" name="Google Shape;15333;p1630"/>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Arial"/>
              <a:ea typeface="Arial"/>
              <a:cs typeface="Arial"/>
              <a:sym typeface="Arial"/>
            </a:endParaRPr>
          </a:p>
        </p:txBody>
      </p:sp>
      <p:sp>
        <p:nvSpPr>
          <p:cNvPr id="15334" name="Google Shape;15334;p163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335" name="Google Shape;15335;p163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rmAutofit/>
          </a:bodyPr>
          <a:lstStyle>
            <a:lvl1pPr marL="304815" lvl="0" indent="-152408" algn="l">
              <a:lnSpc>
                <a:spcPct val="90000"/>
              </a:lnSpc>
              <a:spcBef>
                <a:spcPts val="1000"/>
              </a:spcBef>
              <a:spcAft>
                <a:spcPts val="0"/>
              </a:spcAft>
              <a:buSzPts val="2400"/>
              <a:buNone/>
              <a:defRPr/>
            </a:lvl1pPr>
            <a:lvl2pPr marL="609630" lvl="1" indent="-228611" algn="l">
              <a:lnSpc>
                <a:spcPct val="90000"/>
              </a:lnSpc>
              <a:spcBef>
                <a:spcPts val="500"/>
              </a:spcBef>
              <a:spcAft>
                <a:spcPts val="0"/>
              </a:spcAft>
              <a:buSzPts val="1800"/>
              <a:buChar char="•"/>
              <a:defRPr/>
            </a:lvl2pPr>
            <a:lvl3pPr marL="914446" lvl="2" indent="-228611" algn="l">
              <a:lnSpc>
                <a:spcPct val="90000"/>
              </a:lnSpc>
              <a:spcBef>
                <a:spcPts val="500"/>
              </a:spcBef>
              <a:spcAft>
                <a:spcPts val="0"/>
              </a:spcAft>
              <a:buSzPts val="1800"/>
              <a:buChar char="•"/>
              <a:defRPr/>
            </a:lvl3pPr>
            <a:lvl4pPr marL="1219261" lvl="3" indent="-228611" algn="l">
              <a:lnSpc>
                <a:spcPct val="90000"/>
              </a:lnSpc>
              <a:spcBef>
                <a:spcPts val="500"/>
              </a:spcBef>
              <a:spcAft>
                <a:spcPts val="0"/>
              </a:spcAft>
              <a:buSzPts val="1800"/>
              <a:buChar char="•"/>
              <a:defRPr/>
            </a:lvl4pPr>
            <a:lvl5pPr marL="1524076" lvl="4" indent="-228611" algn="l">
              <a:lnSpc>
                <a:spcPct val="90000"/>
              </a:lnSpc>
              <a:spcBef>
                <a:spcPts val="500"/>
              </a:spcBef>
              <a:spcAft>
                <a:spcPts val="0"/>
              </a:spcAft>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5336" name="Google Shape;15336;p163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AEB3B7"/>
              </a:buClr>
              <a:buSzPts val="1800"/>
              <a:buFont typeface="Arial"/>
              <a:buNone/>
              <a:defRPr sz="1200">
                <a:solidFill>
                  <a:srgbClr val="AEB3B7"/>
                </a:solidFill>
                <a:latin typeface="Arial"/>
                <a:ea typeface="Arial"/>
                <a:cs typeface="Arial"/>
                <a:sym typeface="Arial"/>
              </a:defRPr>
            </a:lvl1pPr>
            <a:lvl2pPr marL="0" lvl="1" indent="0" algn="r">
              <a:spcBef>
                <a:spcPts val="0"/>
              </a:spcBef>
              <a:buClr>
                <a:srgbClr val="AEB3B7"/>
              </a:buClr>
              <a:buSzPts val="1800"/>
              <a:buFont typeface="Arial"/>
              <a:buNone/>
              <a:defRPr sz="1200">
                <a:solidFill>
                  <a:srgbClr val="AEB3B7"/>
                </a:solidFill>
                <a:latin typeface="Arial"/>
                <a:ea typeface="Arial"/>
                <a:cs typeface="Arial"/>
                <a:sym typeface="Arial"/>
              </a:defRPr>
            </a:lvl2pPr>
            <a:lvl3pPr marL="0" lvl="2" indent="0" algn="r">
              <a:spcBef>
                <a:spcPts val="0"/>
              </a:spcBef>
              <a:buClr>
                <a:srgbClr val="AEB3B7"/>
              </a:buClr>
              <a:buSzPts val="1800"/>
              <a:buFont typeface="Arial"/>
              <a:buNone/>
              <a:defRPr sz="1200">
                <a:solidFill>
                  <a:srgbClr val="AEB3B7"/>
                </a:solidFill>
                <a:latin typeface="Arial"/>
                <a:ea typeface="Arial"/>
                <a:cs typeface="Arial"/>
                <a:sym typeface="Arial"/>
              </a:defRPr>
            </a:lvl3pPr>
            <a:lvl4pPr marL="0" lvl="3" indent="0" algn="r">
              <a:spcBef>
                <a:spcPts val="0"/>
              </a:spcBef>
              <a:buClr>
                <a:srgbClr val="AEB3B7"/>
              </a:buClr>
              <a:buSzPts val="1800"/>
              <a:buFont typeface="Arial"/>
              <a:buNone/>
              <a:defRPr sz="1200">
                <a:solidFill>
                  <a:srgbClr val="AEB3B7"/>
                </a:solidFill>
                <a:latin typeface="Arial"/>
                <a:ea typeface="Arial"/>
                <a:cs typeface="Arial"/>
                <a:sym typeface="Arial"/>
              </a:defRPr>
            </a:lvl4pPr>
            <a:lvl5pPr marL="0" lvl="4" indent="0" algn="r">
              <a:spcBef>
                <a:spcPts val="0"/>
              </a:spcBef>
              <a:buClr>
                <a:srgbClr val="AEB3B7"/>
              </a:buClr>
              <a:buSzPts val="1800"/>
              <a:buFont typeface="Arial"/>
              <a:buNone/>
              <a:defRPr sz="1200">
                <a:solidFill>
                  <a:srgbClr val="AEB3B7"/>
                </a:solidFill>
                <a:latin typeface="Arial"/>
                <a:ea typeface="Arial"/>
                <a:cs typeface="Arial"/>
                <a:sym typeface="Arial"/>
              </a:defRPr>
            </a:lvl5pPr>
            <a:lvl6pPr marL="0" lvl="5" indent="0" algn="r">
              <a:spcBef>
                <a:spcPts val="0"/>
              </a:spcBef>
              <a:buClr>
                <a:srgbClr val="AEB3B7"/>
              </a:buClr>
              <a:buSzPts val="1800"/>
              <a:buFont typeface="Arial"/>
              <a:buNone/>
              <a:defRPr sz="1200">
                <a:solidFill>
                  <a:srgbClr val="AEB3B7"/>
                </a:solidFill>
                <a:latin typeface="Arial"/>
                <a:ea typeface="Arial"/>
                <a:cs typeface="Arial"/>
                <a:sym typeface="Arial"/>
              </a:defRPr>
            </a:lvl6pPr>
            <a:lvl7pPr marL="0" lvl="6" indent="0" algn="r">
              <a:spcBef>
                <a:spcPts val="0"/>
              </a:spcBef>
              <a:buClr>
                <a:srgbClr val="AEB3B7"/>
              </a:buClr>
              <a:buSzPts val="1800"/>
              <a:buFont typeface="Arial"/>
              <a:buNone/>
              <a:defRPr sz="1200">
                <a:solidFill>
                  <a:srgbClr val="AEB3B7"/>
                </a:solidFill>
                <a:latin typeface="Arial"/>
                <a:ea typeface="Arial"/>
                <a:cs typeface="Arial"/>
                <a:sym typeface="Arial"/>
              </a:defRPr>
            </a:lvl7pPr>
            <a:lvl8pPr marL="0" lvl="7" indent="0" algn="r">
              <a:spcBef>
                <a:spcPts val="0"/>
              </a:spcBef>
              <a:buClr>
                <a:srgbClr val="AEB3B7"/>
              </a:buClr>
              <a:buSzPts val="1800"/>
              <a:buFont typeface="Arial"/>
              <a:buNone/>
              <a:defRPr sz="1200">
                <a:solidFill>
                  <a:srgbClr val="AEB3B7"/>
                </a:solidFill>
                <a:latin typeface="Arial"/>
                <a:ea typeface="Arial"/>
                <a:cs typeface="Arial"/>
                <a:sym typeface="Arial"/>
              </a:defRPr>
            </a:lvl8pPr>
            <a:lvl9pPr marL="0" lvl="8" indent="0" algn="r">
              <a:spcBef>
                <a:spcPts val="0"/>
              </a:spcBef>
              <a:buClr>
                <a:srgbClr val="AEB3B7"/>
              </a:buClr>
              <a:buSzPts val="1800"/>
              <a:buFont typeface="Arial"/>
              <a:buNone/>
              <a:defRPr sz="1200">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5337" name="Google Shape;15337;p16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338" name="Google Shape;15338;p163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Arial"/>
              <a:buNone/>
              <a:defRPr/>
            </a:lvl1pPr>
            <a:lvl2pPr lvl="1" algn="l">
              <a:spcBef>
                <a:spcPts val="0"/>
              </a:spcBef>
              <a:spcAft>
                <a:spcPts val="0"/>
              </a:spcAft>
              <a:buClr>
                <a:schemeClr val="dk1"/>
              </a:buClr>
              <a:buSzPts val="1400"/>
              <a:buFont typeface="Arial"/>
              <a:buNone/>
              <a:defRPr/>
            </a:lvl2pPr>
            <a:lvl3pPr lvl="2" algn="l">
              <a:spcBef>
                <a:spcPts val="0"/>
              </a:spcBef>
              <a:spcAft>
                <a:spcPts val="0"/>
              </a:spcAft>
              <a:buClr>
                <a:schemeClr val="dk1"/>
              </a:buClr>
              <a:buSzPts val="1400"/>
              <a:buFont typeface="Arial"/>
              <a:buNone/>
              <a:defRPr/>
            </a:lvl3pPr>
            <a:lvl4pPr lvl="3" algn="l">
              <a:spcBef>
                <a:spcPts val="0"/>
              </a:spcBef>
              <a:spcAft>
                <a:spcPts val="0"/>
              </a:spcAft>
              <a:buClr>
                <a:schemeClr val="dk1"/>
              </a:buClr>
              <a:buSzPts val="1400"/>
              <a:buFont typeface="Arial"/>
              <a:buNone/>
              <a:defRPr/>
            </a:lvl4pPr>
            <a:lvl5pPr lvl="4" algn="l">
              <a:spcBef>
                <a:spcPts val="0"/>
              </a:spcBef>
              <a:spcAft>
                <a:spcPts val="0"/>
              </a:spcAft>
              <a:buClr>
                <a:schemeClr val="dk1"/>
              </a:buClr>
              <a:buSzPts val="1400"/>
              <a:buFont typeface="Arial"/>
              <a:buNone/>
              <a:defRPr/>
            </a:lvl5pPr>
            <a:lvl6pPr lvl="5" algn="l">
              <a:spcBef>
                <a:spcPts val="0"/>
              </a:spcBef>
              <a:spcAft>
                <a:spcPts val="0"/>
              </a:spcAft>
              <a:buClr>
                <a:schemeClr val="dk1"/>
              </a:buClr>
              <a:buSzPts val="1400"/>
              <a:buFont typeface="Arial"/>
              <a:buNone/>
              <a:defRPr/>
            </a:lvl6pPr>
            <a:lvl7pPr lvl="6" algn="l">
              <a:spcBef>
                <a:spcPts val="0"/>
              </a:spcBef>
              <a:spcAft>
                <a:spcPts val="0"/>
              </a:spcAft>
              <a:buClr>
                <a:schemeClr val="dk1"/>
              </a:buClr>
              <a:buSzPts val="1400"/>
              <a:buFont typeface="Arial"/>
              <a:buNone/>
              <a:defRPr/>
            </a:lvl7pPr>
            <a:lvl8pPr lvl="7" algn="l">
              <a:spcBef>
                <a:spcPts val="0"/>
              </a:spcBef>
              <a:spcAft>
                <a:spcPts val="0"/>
              </a:spcAft>
              <a:buClr>
                <a:schemeClr val="dk1"/>
              </a:buClr>
              <a:buSzPts val="1400"/>
              <a:buFont typeface="Arial"/>
              <a:buNone/>
              <a:defRPr/>
            </a:lvl8pPr>
            <a:lvl9pPr lvl="8" algn="l">
              <a:spcBef>
                <a:spcPts val="0"/>
              </a:spcBef>
              <a:spcAft>
                <a:spcPts val="0"/>
              </a:spcAft>
              <a:buClr>
                <a:schemeClr val="dk1"/>
              </a:buClr>
              <a:buSzPts val="1400"/>
              <a:buFont typeface="Arial"/>
              <a:buNone/>
              <a:defRPr/>
            </a:lvl9pPr>
          </a:lstStyle>
          <a:p>
            <a:endParaRPr/>
          </a:p>
        </p:txBody>
      </p:sp>
      <p:grpSp>
        <p:nvGrpSpPr>
          <p:cNvPr id="15339" name="Google Shape;15339;p1630"/>
          <p:cNvGrpSpPr/>
          <p:nvPr/>
        </p:nvGrpSpPr>
        <p:grpSpPr>
          <a:xfrm>
            <a:off x="7191543" y="1"/>
            <a:ext cx="5000459" cy="1425992"/>
            <a:chOff x="7191542" y="1"/>
            <a:chExt cx="5000459" cy="1425992"/>
          </a:xfrm>
        </p:grpSpPr>
        <p:pic>
          <p:nvPicPr>
            <p:cNvPr id="15340" name="Google Shape;15340;p16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341" name="Google Shape;15341;p1630"/>
            <p:cNvGrpSpPr/>
            <p:nvPr/>
          </p:nvGrpSpPr>
          <p:grpSpPr>
            <a:xfrm>
              <a:off x="7191542" y="1"/>
              <a:ext cx="5000459" cy="1425992"/>
              <a:chOff x="7186272" y="0"/>
              <a:chExt cx="5005729" cy="1427495"/>
            </a:xfrm>
          </p:grpSpPr>
          <p:sp>
            <p:nvSpPr>
              <p:cNvPr id="15342" name="Google Shape;15342;p16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Arial"/>
                  <a:ea typeface="Arial"/>
                  <a:cs typeface="Arial"/>
                  <a:sym typeface="Arial"/>
                </a:endParaRPr>
              </a:p>
            </p:txBody>
          </p:sp>
          <p:sp>
            <p:nvSpPr>
              <p:cNvPr id="15343" name="Google Shape;15343;p16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Arial"/>
                  <a:ea typeface="Arial"/>
                  <a:cs typeface="Arial"/>
                  <a:sym typeface="Arial"/>
                </a:endParaRPr>
              </a:p>
            </p:txBody>
          </p:sp>
        </p:grpSp>
      </p:grpSp>
      <p:pic>
        <p:nvPicPr>
          <p:cNvPr id="15344" name="Google Shape;15344;p163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939.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5345"/>
        <p:cNvGrpSpPr/>
        <p:nvPr/>
      </p:nvGrpSpPr>
      <p:grpSpPr>
        <a:xfrm>
          <a:off x="0" y="0"/>
          <a:ext cx="0" cy="0"/>
          <a:chOff x="0" y="0"/>
          <a:chExt cx="0" cy="0"/>
        </a:xfrm>
      </p:grpSpPr>
      <p:grpSp>
        <p:nvGrpSpPr>
          <p:cNvPr id="15346" name="Google Shape;15346;p1631"/>
          <p:cNvGrpSpPr/>
          <p:nvPr/>
        </p:nvGrpSpPr>
        <p:grpSpPr>
          <a:xfrm>
            <a:off x="7191543" y="1"/>
            <a:ext cx="5000459" cy="1425992"/>
            <a:chOff x="7191542" y="1"/>
            <a:chExt cx="5000459" cy="1425992"/>
          </a:xfrm>
        </p:grpSpPr>
        <p:pic>
          <p:nvPicPr>
            <p:cNvPr id="15347" name="Google Shape;15347;p16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348" name="Google Shape;15348;p1631"/>
            <p:cNvGrpSpPr/>
            <p:nvPr/>
          </p:nvGrpSpPr>
          <p:grpSpPr>
            <a:xfrm>
              <a:off x="7191542" y="1"/>
              <a:ext cx="5000459" cy="1425992"/>
              <a:chOff x="7186272" y="0"/>
              <a:chExt cx="5005729" cy="1427495"/>
            </a:xfrm>
          </p:grpSpPr>
          <p:sp>
            <p:nvSpPr>
              <p:cNvPr id="15349" name="Google Shape;15349;p16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Arial"/>
                  <a:ea typeface="Arial"/>
                  <a:cs typeface="Arial"/>
                  <a:sym typeface="Arial"/>
                </a:endParaRPr>
              </a:p>
            </p:txBody>
          </p:sp>
          <p:sp>
            <p:nvSpPr>
              <p:cNvPr id="15350" name="Google Shape;15350;p16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Arial"/>
                  <a:ea typeface="Arial"/>
                  <a:cs typeface="Arial"/>
                  <a:sym typeface="Arial"/>
                </a:endParaRPr>
              </a:p>
            </p:txBody>
          </p:sp>
        </p:grpSp>
      </p:grpSp>
      <p:sp>
        <p:nvSpPr>
          <p:cNvPr id="15351" name="Google Shape;15351;p1631"/>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352" name="Google Shape;15352;p163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919497"/>
              </a:buClr>
              <a:buSzPts val="1800"/>
              <a:buFont typeface="Arial"/>
              <a:buNone/>
              <a:defRPr sz="1200">
                <a:solidFill>
                  <a:srgbClr val="919497"/>
                </a:solidFill>
                <a:latin typeface="Arial"/>
                <a:ea typeface="Arial"/>
                <a:cs typeface="Arial"/>
                <a:sym typeface="Arial"/>
              </a:defRPr>
            </a:lvl1pPr>
            <a:lvl2pPr marL="0" lvl="1" indent="0" algn="r">
              <a:spcBef>
                <a:spcPts val="0"/>
              </a:spcBef>
              <a:buClr>
                <a:srgbClr val="919497"/>
              </a:buClr>
              <a:buSzPts val="1800"/>
              <a:buFont typeface="Arial"/>
              <a:buNone/>
              <a:defRPr sz="1200">
                <a:solidFill>
                  <a:srgbClr val="919497"/>
                </a:solidFill>
                <a:latin typeface="Arial"/>
                <a:ea typeface="Arial"/>
                <a:cs typeface="Arial"/>
                <a:sym typeface="Arial"/>
              </a:defRPr>
            </a:lvl2pPr>
            <a:lvl3pPr marL="0" lvl="2" indent="0" algn="r">
              <a:spcBef>
                <a:spcPts val="0"/>
              </a:spcBef>
              <a:buClr>
                <a:srgbClr val="919497"/>
              </a:buClr>
              <a:buSzPts val="1800"/>
              <a:buFont typeface="Arial"/>
              <a:buNone/>
              <a:defRPr sz="1200">
                <a:solidFill>
                  <a:srgbClr val="919497"/>
                </a:solidFill>
                <a:latin typeface="Arial"/>
                <a:ea typeface="Arial"/>
                <a:cs typeface="Arial"/>
                <a:sym typeface="Arial"/>
              </a:defRPr>
            </a:lvl3pPr>
            <a:lvl4pPr marL="0" lvl="3" indent="0" algn="r">
              <a:spcBef>
                <a:spcPts val="0"/>
              </a:spcBef>
              <a:buClr>
                <a:srgbClr val="919497"/>
              </a:buClr>
              <a:buSzPts val="1800"/>
              <a:buFont typeface="Arial"/>
              <a:buNone/>
              <a:defRPr sz="1200">
                <a:solidFill>
                  <a:srgbClr val="919497"/>
                </a:solidFill>
                <a:latin typeface="Arial"/>
                <a:ea typeface="Arial"/>
                <a:cs typeface="Arial"/>
                <a:sym typeface="Arial"/>
              </a:defRPr>
            </a:lvl4pPr>
            <a:lvl5pPr marL="0" lvl="4" indent="0" algn="r">
              <a:spcBef>
                <a:spcPts val="0"/>
              </a:spcBef>
              <a:buClr>
                <a:srgbClr val="919497"/>
              </a:buClr>
              <a:buSzPts val="1800"/>
              <a:buFont typeface="Arial"/>
              <a:buNone/>
              <a:defRPr sz="1200">
                <a:solidFill>
                  <a:srgbClr val="919497"/>
                </a:solidFill>
                <a:latin typeface="Arial"/>
                <a:ea typeface="Arial"/>
                <a:cs typeface="Arial"/>
                <a:sym typeface="Arial"/>
              </a:defRPr>
            </a:lvl5pPr>
            <a:lvl6pPr marL="0" lvl="5" indent="0" algn="r">
              <a:spcBef>
                <a:spcPts val="0"/>
              </a:spcBef>
              <a:buClr>
                <a:srgbClr val="919497"/>
              </a:buClr>
              <a:buSzPts val="1800"/>
              <a:buFont typeface="Arial"/>
              <a:buNone/>
              <a:defRPr sz="1200">
                <a:solidFill>
                  <a:srgbClr val="919497"/>
                </a:solidFill>
                <a:latin typeface="Arial"/>
                <a:ea typeface="Arial"/>
                <a:cs typeface="Arial"/>
                <a:sym typeface="Arial"/>
              </a:defRPr>
            </a:lvl6pPr>
            <a:lvl7pPr marL="0" lvl="6" indent="0" algn="r">
              <a:spcBef>
                <a:spcPts val="0"/>
              </a:spcBef>
              <a:buClr>
                <a:srgbClr val="919497"/>
              </a:buClr>
              <a:buSzPts val="1800"/>
              <a:buFont typeface="Arial"/>
              <a:buNone/>
              <a:defRPr sz="1200">
                <a:solidFill>
                  <a:srgbClr val="919497"/>
                </a:solidFill>
                <a:latin typeface="Arial"/>
                <a:ea typeface="Arial"/>
                <a:cs typeface="Arial"/>
                <a:sym typeface="Arial"/>
              </a:defRPr>
            </a:lvl7pPr>
            <a:lvl8pPr marL="0" lvl="7" indent="0" algn="r">
              <a:spcBef>
                <a:spcPts val="0"/>
              </a:spcBef>
              <a:buClr>
                <a:srgbClr val="919497"/>
              </a:buClr>
              <a:buSzPts val="1800"/>
              <a:buFont typeface="Arial"/>
              <a:buNone/>
              <a:defRPr sz="1200">
                <a:solidFill>
                  <a:srgbClr val="919497"/>
                </a:solidFill>
                <a:latin typeface="Arial"/>
                <a:ea typeface="Arial"/>
                <a:cs typeface="Arial"/>
                <a:sym typeface="Arial"/>
              </a:defRPr>
            </a:lvl8pPr>
            <a:lvl9pPr marL="0" lvl="8" indent="0" algn="r">
              <a:spcBef>
                <a:spcPts val="0"/>
              </a:spcBef>
              <a:buClr>
                <a:srgbClr val="919497"/>
              </a:buClr>
              <a:buSzPts val="1800"/>
              <a:buFont typeface="Arial"/>
              <a:buNone/>
              <a:defRPr sz="1200">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5353" name="Google Shape;15353;p16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cxnSp>
        <p:nvCxnSpPr>
          <p:cNvPr id="15354" name="Google Shape;15354;p1631"/>
          <p:cNvCxnSpPr/>
          <p:nvPr/>
        </p:nvCxnSpPr>
        <p:spPr>
          <a:xfrm>
            <a:off x="707293" y="1425993"/>
            <a:ext cx="1097280" cy="0"/>
          </a:xfrm>
          <a:prstGeom prst="straightConnector1">
            <a:avLst/>
          </a:prstGeom>
          <a:noFill/>
          <a:ln w="31750" cap="flat" cmpd="sng">
            <a:solidFill>
              <a:schemeClr val="accent3"/>
            </a:solidFill>
            <a:prstDash val="solid"/>
            <a:miter lim="800000"/>
            <a:headEnd type="none" w="sm" len="sm"/>
            <a:tailEnd type="none" w="sm" len="sm"/>
          </a:ln>
        </p:spPr>
      </p:cxnSp>
      <p:sp>
        <p:nvSpPr>
          <p:cNvPr id="15355" name="Google Shape;15355;p163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Arial"/>
              <a:buNone/>
              <a:defRPr/>
            </a:lvl1pPr>
            <a:lvl2pPr lvl="1" algn="l">
              <a:spcBef>
                <a:spcPts val="0"/>
              </a:spcBef>
              <a:spcAft>
                <a:spcPts val="0"/>
              </a:spcAft>
              <a:buClr>
                <a:schemeClr val="dk1"/>
              </a:buClr>
              <a:buSzPts val="1400"/>
              <a:buFont typeface="Arial"/>
              <a:buNone/>
              <a:defRPr/>
            </a:lvl2pPr>
            <a:lvl3pPr lvl="2" algn="l">
              <a:spcBef>
                <a:spcPts val="0"/>
              </a:spcBef>
              <a:spcAft>
                <a:spcPts val="0"/>
              </a:spcAft>
              <a:buClr>
                <a:schemeClr val="dk1"/>
              </a:buClr>
              <a:buSzPts val="1400"/>
              <a:buFont typeface="Arial"/>
              <a:buNone/>
              <a:defRPr/>
            </a:lvl3pPr>
            <a:lvl4pPr lvl="3" algn="l">
              <a:spcBef>
                <a:spcPts val="0"/>
              </a:spcBef>
              <a:spcAft>
                <a:spcPts val="0"/>
              </a:spcAft>
              <a:buClr>
                <a:schemeClr val="dk1"/>
              </a:buClr>
              <a:buSzPts val="1400"/>
              <a:buFont typeface="Arial"/>
              <a:buNone/>
              <a:defRPr/>
            </a:lvl4pPr>
            <a:lvl5pPr lvl="4" algn="l">
              <a:spcBef>
                <a:spcPts val="0"/>
              </a:spcBef>
              <a:spcAft>
                <a:spcPts val="0"/>
              </a:spcAft>
              <a:buClr>
                <a:schemeClr val="dk1"/>
              </a:buClr>
              <a:buSzPts val="1400"/>
              <a:buFont typeface="Arial"/>
              <a:buNone/>
              <a:defRPr/>
            </a:lvl5pPr>
            <a:lvl6pPr lvl="5" algn="l">
              <a:spcBef>
                <a:spcPts val="0"/>
              </a:spcBef>
              <a:spcAft>
                <a:spcPts val="0"/>
              </a:spcAft>
              <a:buClr>
                <a:schemeClr val="dk1"/>
              </a:buClr>
              <a:buSzPts val="1400"/>
              <a:buFont typeface="Arial"/>
              <a:buNone/>
              <a:defRPr/>
            </a:lvl6pPr>
            <a:lvl7pPr lvl="6" algn="l">
              <a:spcBef>
                <a:spcPts val="0"/>
              </a:spcBef>
              <a:spcAft>
                <a:spcPts val="0"/>
              </a:spcAft>
              <a:buClr>
                <a:schemeClr val="dk1"/>
              </a:buClr>
              <a:buSzPts val="1400"/>
              <a:buFont typeface="Arial"/>
              <a:buNone/>
              <a:defRPr/>
            </a:lvl7pPr>
            <a:lvl8pPr lvl="7" algn="l">
              <a:spcBef>
                <a:spcPts val="0"/>
              </a:spcBef>
              <a:spcAft>
                <a:spcPts val="0"/>
              </a:spcAft>
              <a:buClr>
                <a:schemeClr val="dk1"/>
              </a:buClr>
              <a:buSzPts val="1400"/>
              <a:buFont typeface="Arial"/>
              <a:buNone/>
              <a:defRPr/>
            </a:lvl8pPr>
            <a:lvl9pPr lvl="8" algn="l">
              <a:spcBef>
                <a:spcPts val="0"/>
              </a:spcBef>
              <a:spcAft>
                <a:spcPts val="0"/>
              </a:spcAft>
              <a:buClr>
                <a:schemeClr val="dk1"/>
              </a:buClr>
              <a:buSzPts val="1400"/>
              <a:buFont typeface="Arial"/>
              <a:buNone/>
              <a:defRPr/>
            </a:lvl9pPr>
          </a:lstStyle>
          <a:p>
            <a:endParaRPr/>
          </a:p>
        </p:txBody>
      </p:sp>
    </p:spTree>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5">
    <p:spTree>
      <p:nvGrpSpPr>
        <p:cNvPr id="1" name="Shape 10912"/>
        <p:cNvGrpSpPr/>
        <p:nvPr/>
      </p:nvGrpSpPr>
      <p:grpSpPr>
        <a:xfrm>
          <a:off x="0" y="0"/>
          <a:ext cx="0" cy="0"/>
          <a:chOff x="0" y="0"/>
          <a:chExt cx="0" cy="0"/>
        </a:xfrm>
      </p:grpSpPr>
      <p:sp>
        <p:nvSpPr>
          <p:cNvPr id="10913" name="Google Shape;10913;p149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914" name="Google Shape;10914;p149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915" name="Google Shape;10915;p1498"/>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16" name="Google Shape;10916;p1498"/>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17" name="Google Shape;10917;p1498"/>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0918" name="Google Shape;10918;p149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940.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15356"/>
        <p:cNvGrpSpPr/>
        <p:nvPr/>
      </p:nvGrpSpPr>
      <p:grpSpPr>
        <a:xfrm>
          <a:off x="0" y="0"/>
          <a:ext cx="0" cy="0"/>
          <a:chOff x="0" y="0"/>
          <a:chExt cx="0" cy="0"/>
        </a:xfrm>
      </p:grpSpPr>
      <p:grpSp>
        <p:nvGrpSpPr>
          <p:cNvPr id="15357" name="Google Shape;15357;p1632"/>
          <p:cNvGrpSpPr/>
          <p:nvPr/>
        </p:nvGrpSpPr>
        <p:grpSpPr>
          <a:xfrm>
            <a:off x="0" y="0"/>
            <a:ext cx="12192000" cy="2148830"/>
            <a:chOff x="0" y="0"/>
            <a:chExt cx="12192000" cy="2148830"/>
          </a:xfrm>
        </p:grpSpPr>
        <p:sp>
          <p:nvSpPr>
            <p:cNvPr id="15358" name="Google Shape;15358;p163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Arial"/>
                <a:ea typeface="Arial"/>
                <a:cs typeface="Arial"/>
                <a:sym typeface="Arial"/>
              </a:endParaRPr>
            </a:p>
          </p:txBody>
        </p:sp>
        <p:sp>
          <p:nvSpPr>
            <p:cNvPr id="15359" name="Google Shape;15359;p163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Arial"/>
                <a:ea typeface="Arial"/>
                <a:cs typeface="Arial"/>
                <a:sym typeface="Arial"/>
              </a:endParaRPr>
            </a:p>
          </p:txBody>
        </p:sp>
      </p:grpSp>
      <p:sp>
        <p:nvSpPr>
          <p:cNvPr id="15360" name="Google Shape;15360;p1632"/>
          <p:cNvSpPr/>
          <p:nvPr/>
        </p:nvSpPr>
        <p:spPr>
          <a:xfrm>
            <a:off x="902368" y="1517698"/>
            <a:ext cx="11289632" cy="3822607"/>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Arial"/>
              <a:ea typeface="Arial"/>
              <a:cs typeface="Arial"/>
              <a:sym typeface="Arial"/>
            </a:endParaRPr>
          </a:p>
        </p:txBody>
      </p:sp>
      <p:cxnSp>
        <p:nvCxnSpPr>
          <p:cNvPr id="15361" name="Google Shape;15361;p1632"/>
          <p:cNvCxnSpPr/>
          <p:nvPr/>
        </p:nvCxnSpPr>
        <p:spPr>
          <a:xfrm>
            <a:off x="1325946" y="3080084"/>
            <a:ext cx="685399" cy="0"/>
          </a:xfrm>
          <a:prstGeom prst="straightConnector1">
            <a:avLst/>
          </a:prstGeom>
          <a:noFill/>
          <a:ln w="31750" cap="flat" cmpd="sng">
            <a:solidFill>
              <a:schemeClr val="accent3"/>
            </a:solidFill>
            <a:prstDash val="solid"/>
            <a:miter lim="800000"/>
            <a:headEnd type="none" w="sm" len="sm"/>
            <a:tailEnd type="none" w="sm" len="sm"/>
          </a:ln>
        </p:spPr>
      </p:cxnSp>
      <p:sp>
        <p:nvSpPr>
          <p:cNvPr id="15362" name="Google Shape;15362;p1632"/>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rmAutofit/>
          </a:bodyPr>
          <a:lstStyle>
            <a:lvl1pPr marL="304815" lvl="0" indent="-152408" algn="l">
              <a:lnSpc>
                <a:spcPct val="90000"/>
              </a:lnSpc>
              <a:spcBef>
                <a:spcPts val="1000"/>
              </a:spcBef>
              <a:spcAft>
                <a:spcPts val="0"/>
              </a:spcAft>
              <a:buSzPts val="2000"/>
              <a:buNone/>
              <a:defRPr sz="2000"/>
            </a:lvl1pPr>
            <a:lvl2pPr marL="609630" lvl="1" indent="-228611" algn="l">
              <a:lnSpc>
                <a:spcPct val="90000"/>
              </a:lnSpc>
              <a:spcBef>
                <a:spcPts val="500"/>
              </a:spcBef>
              <a:spcAft>
                <a:spcPts val="0"/>
              </a:spcAft>
              <a:buSzPts val="1800"/>
              <a:buChar char="•"/>
              <a:defRPr/>
            </a:lvl2pPr>
            <a:lvl3pPr marL="914446" lvl="2" indent="-228611" algn="l">
              <a:lnSpc>
                <a:spcPct val="90000"/>
              </a:lnSpc>
              <a:spcBef>
                <a:spcPts val="500"/>
              </a:spcBef>
              <a:spcAft>
                <a:spcPts val="0"/>
              </a:spcAft>
              <a:buSzPts val="1800"/>
              <a:buChar char="•"/>
              <a:defRPr/>
            </a:lvl3pPr>
            <a:lvl4pPr marL="1219261" lvl="3" indent="-228611" algn="l">
              <a:lnSpc>
                <a:spcPct val="90000"/>
              </a:lnSpc>
              <a:spcBef>
                <a:spcPts val="500"/>
              </a:spcBef>
              <a:spcAft>
                <a:spcPts val="0"/>
              </a:spcAft>
              <a:buSzPts val="1800"/>
              <a:buChar char="•"/>
              <a:defRPr/>
            </a:lvl4pPr>
            <a:lvl5pPr marL="1524076" lvl="4" indent="-228611" algn="l">
              <a:lnSpc>
                <a:spcPct val="90000"/>
              </a:lnSpc>
              <a:spcBef>
                <a:spcPts val="500"/>
              </a:spcBef>
              <a:spcAft>
                <a:spcPts val="0"/>
              </a:spcAft>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5363" name="Google Shape;15363;p163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6000"/>
              <a:buFont typeface="Arial"/>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5364" name="Google Shape;15364;p1632"/>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5365" name="Google Shape;15365;p163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941.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15366"/>
        <p:cNvGrpSpPr/>
        <p:nvPr/>
      </p:nvGrpSpPr>
      <p:grpSpPr>
        <a:xfrm>
          <a:off x="0" y="0"/>
          <a:ext cx="0" cy="0"/>
          <a:chOff x="0" y="0"/>
          <a:chExt cx="0" cy="0"/>
        </a:xfrm>
      </p:grpSpPr>
      <p:sp>
        <p:nvSpPr>
          <p:cNvPr id="15367" name="Google Shape;15367;p1633"/>
          <p:cNvSpPr txBox="1">
            <a:spLocks noGrp="1"/>
          </p:cNvSpPr>
          <p:nvPr>
            <p:ph type="ctrTitle"/>
          </p:nvPr>
        </p:nvSpPr>
        <p:spPr>
          <a:xfrm>
            <a:off x="513349" y="2633534"/>
            <a:ext cx="5194433" cy="23876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4000"/>
              <a:buFont typeface="Arial"/>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368" name="Google Shape;15368;p1633"/>
          <p:cNvSpPr txBox="1">
            <a:spLocks noGrp="1"/>
          </p:cNvSpPr>
          <p:nvPr>
            <p:ph type="subTitle" idx="1"/>
          </p:nvPr>
        </p:nvSpPr>
        <p:spPr>
          <a:xfrm>
            <a:off x="513349" y="5400326"/>
            <a:ext cx="5194433" cy="98656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SzPts val="2400"/>
              <a:buNone/>
              <a:defRPr sz="2400">
                <a:solidFill>
                  <a:schemeClr val="dk1"/>
                </a:solidFill>
              </a:defRPr>
            </a:lvl1pPr>
            <a:lvl2pPr lvl="1" algn="ctr">
              <a:lnSpc>
                <a:spcPct val="90000"/>
              </a:lnSpc>
              <a:spcBef>
                <a:spcPts val="500"/>
              </a:spcBef>
              <a:spcAft>
                <a:spcPts val="0"/>
              </a:spcAft>
              <a:buSzPts val="2000"/>
              <a:buNone/>
              <a:defRPr sz="2000"/>
            </a:lvl2pPr>
            <a:lvl3pPr lvl="2" algn="ctr">
              <a:lnSpc>
                <a:spcPct val="90000"/>
              </a:lnSpc>
              <a:spcBef>
                <a:spcPts val="500"/>
              </a:spcBef>
              <a:spcAft>
                <a:spcPts val="0"/>
              </a:spcAft>
              <a:buSzPts val="1800"/>
              <a:buNone/>
              <a:defRPr sz="1800"/>
            </a:lvl3pPr>
            <a:lvl4pPr lvl="3" algn="ctr">
              <a:lnSpc>
                <a:spcPct val="90000"/>
              </a:lnSpc>
              <a:spcBef>
                <a:spcPts val="500"/>
              </a:spcBef>
              <a:spcAft>
                <a:spcPts val="0"/>
              </a:spcAft>
              <a:buSzPts val="1600"/>
              <a:buNone/>
              <a:defRPr sz="1600"/>
            </a:lvl4pPr>
            <a:lvl5pPr lvl="4" algn="ctr">
              <a:lnSpc>
                <a:spcPct val="90000"/>
              </a:lnSpc>
              <a:spcBef>
                <a:spcPts val="500"/>
              </a:spcBef>
              <a:spcAft>
                <a:spcPts val="0"/>
              </a:spcAft>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cxnSp>
        <p:nvCxnSpPr>
          <p:cNvPr id="15369" name="Google Shape;15369;p1633"/>
          <p:cNvCxnSpPr/>
          <p:nvPr/>
        </p:nvCxnSpPr>
        <p:spPr>
          <a:xfrm>
            <a:off x="620093" y="5141451"/>
            <a:ext cx="2286000" cy="0"/>
          </a:xfrm>
          <a:prstGeom prst="straightConnector1">
            <a:avLst/>
          </a:prstGeom>
          <a:noFill/>
          <a:ln w="31750" cap="flat" cmpd="sng">
            <a:solidFill>
              <a:schemeClr val="accent3"/>
            </a:solidFill>
            <a:prstDash val="solid"/>
            <a:miter lim="800000"/>
            <a:headEnd type="none" w="sm" len="sm"/>
            <a:tailEnd type="none" w="sm" len="sm"/>
          </a:ln>
        </p:spPr>
      </p:cxnSp>
      <p:grpSp>
        <p:nvGrpSpPr>
          <p:cNvPr id="15370" name="Google Shape;15370;p1633"/>
          <p:cNvGrpSpPr/>
          <p:nvPr/>
        </p:nvGrpSpPr>
        <p:grpSpPr>
          <a:xfrm flipH="1">
            <a:off x="-1" y="2"/>
            <a:ext cx="6418725" cy="1509822"/>
            <a:chOff x="7522541" y="1"/>
            <a:chExt cx="4669459" cy="1098357"/>
          </a:xfrm>
        </p:grpSpPr>
        <p:sp>
          <p:nvSpPr>
            <p:cNvPr id="15371" name="Google Shape;15371;p1633"/>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Arial"/>
                <a:ea typeface="Arial"/>
                <a:cs typeface="Arial"/>
                <a:sym typeface="Arial"/>
              </a:endParaRPr>
            </a:p>
          </p:txBody>
        </p:sp>
        <p:sp>
          <p:nvSpPr>
            <p:cNvPr id="15372" name="Google Shape;15372;p1633"/>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Arial"/>
                <a:ea typeface="Arial"/>
                <a:cs typeface="Arial"/>
                <a:sym typeface="Arial"/>
              </a:endParaRPr>
            </a:p>
          </p:txBody>
        </p:sp>
      </p:grpSp>
      <p:pic>
        <p:nvPicPr>
          <p:cNvPr id="15373" name="Google Shape;15373;p1633"/>
          <p:cNvPicPr preferRelativeResize="0"/>
          <p:nvPr/>
        </p:nvPicPr>
        <p:blipFill rotWithShape="1">
          <a:blip r:embed="rId2">
            <a:alphaModFix/>
          </a:blip>
          <a:srcRect/>
          <a:stretch/>
        </p:blipFill>
        <p:spPr>
          <a:xfrm>
            <a:off x="513348" y="136526"/>
            <a:ext cx="1945206" cy="879974"/>
          </a:xfrm>
          <a:prstGeom prst="rect">
            <a:avLst/>
          </a:prstGeom>
          <a:noFill/>
          <a:ln>
            <a:noFill/>
          </a:ln>
        </p:spPr>
      </p:pic>
    </p:spTree>
  </p:cSld>
  <p:clrMapOvr>
    <a:masterClrMapping/>
  </p:clrMapOvr>
</p:sldLayout>
</file>

<file path=ppt/slideLayouts/slideLayout1942.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15374"/>
        <p:cNvGrpSpPr/>
        <p:nvPr/>
      </p:nvGrpSpPr>
      <p:grpSpPr>
        <a:xfrm>
          <a:off x="0" y="0"/>
          <a:ext cx="0" cy="0"/>
          <a:chOff x="0" y="0"/>
          <a:chExt cx="0" cy="0"/>
        </a:xfrm>
      </p:grpSpPr>
      <p:grpSp>
        <p:nvGrpSpPr>
          <p:cNvPr id="15375" name="Google Shape;15375;p1634"/>
          <p:cNvGrpSpPr/>
          <p:nvPr/>
        </p:nvGrpSpPr>
        <p:grpSpPr>
          <a:xfrm>
            <a:off x="7191543" y="1"/>
            <a:ext cx="5000459" cy="1425992"/>
            <a:chOff x="7191542" y="1"/>
            <a:chExt cx="5000459" cy="1425992"/>
          </a:xfrm>
        </p:grpSpPr>
        <p:pic>
          <p:nvPicPr>
            <p:cNvPr id="15376" name="Google Shape;15376;p16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377" name="Google Shape;15377;p1634"/>
            <p:cNvGrpSpPr/>
            <p:nvPr/>
          </p:nvGrpSpPr>
          <p:grpSpPr>
            <a:xfrm>
              <a:off x="7191542" y="1"/>
              <a:ext cx="5000459" cy="1425992"/>
              <a:chOff x="7186272" y="0"/>
              <a:chExt cx="5005729" cy="1427495"/>
            </a:xfrm>
          </p:grpSpPr>
          <p:sp>
            <p:nvSpPr>
              <p:cNvPr id="15378" name="Google Shape;15378;p16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Arial"/>
                  <a:ea typeface="Arial"/>
                  <a:cs typeface="Arial"/>
                  <a:sym typeface="Arial"/>
                </a:endParaRPr>
              </a:p>
            </p:txBody>
          </p:sp>
          <p:sp>
            <p:nvSpPr>
              <p:cNvPr id="15379" name="Google Shape;15379;p16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Arial"/>
                  <a:ea typeface="Arial"/>
                  <a:cs typeface="Arial"/>
                  <a:sym typeface="Arial"/>
                </a:endParaRPr>
              </a:p>
            </p:txBody>
          </p:sp>
        </p:grpSp>
      </p:grpSp>
      <p:sp>
        <p:nvSpPr>
          <p:cNvPr id="15380" name="Google Shape;15380;p163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381" name="Google Shape;15381;p1634"/>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rmAutofit/>
          </a:bodyPr>
          <a:lstStyle>
            <a:lvl1pPr marL="304815" lvl="0" indent="-152408" algn="l">
              <a:lnSpc>
                <a:spcPct val="90000"/>
              </a:lnSpc>
              <a:spcBef>
                <a:spcPts val="1000"/>
              </a:spcBef>
              <a:spcAft>
                <a:spcPts val="0"/>
              </a:spcAft>
              <a:buSzPts val="2400"/>
              <a:buNone/>
              <a:defRPr sz="2400" b="0" u="sng">
                <a:solidFill>
                  <a:schemeClr val="dk1"/>
                </a:solidFill>
                <a:latin typeface="Arial"/>
                <a:ea typeface="Arial"/>
                <a:cs typeface="Arial"/>
                <a:sym typeface="Arial"/>
              </a:defRPr>
            </a:lvl1pPr>
            <a:lvl2pPr marL="609630" lvl="1" indent="-152408" algn="l">
              <a:lnSpc>
                <a:spcPct val="90000"/>
              </a:lnSpc>
              <a:spcBef>
                <a:spcPts val="500"/>
              </a:spcBef>
              <a:spcAft>
                <a:spcPts val="0"/>
              </a:spcAft>
              <a:buSzPts val="2000"/>
              <a:buNone/>
              <a:defRPr sz="2000" b="1"/>
            </a:lvl2pPr>
            <a:lvl3pPr marL="914446" lvl="2" indent="-152408" algn="l">
              <a:lnSpc>
                <a:spcPct val="90000"/>
              </a:lnSpc>
              <a:spcBef>
                <a:spcPts val="500"/>
              </a:spcBef>
              <a:spcAft>
                <a:spcPts val="0"/>
              </a:spcAft>
              <a:buSzPts val="1800"/>
              <a:buNone/>
              <a:defRPr sz="1800" b="1"/>
            </a:lvl3pPr>
            <a:lvl4pPr marL="1219261" lvl="3" indent="-152408" algn="l">
              <a:lnSpc>
                <a:spcPct val="90000"/>
              </a:lnSpc>
              <a:spcBef>
                <a:spcPts val="500"/>
              </a:spcBef>
              <a:spcAft>
                <a:spcPts val="0"/>
              </a:spcAft>
              <a:buSzPts val="1600"/>
              <a:buNone/>
              <a:defRPr sz="1600" b="1"/>
            </a:lvl4pPr>
            <a:lvl5pPr marL="1524076" lvl="4" indent="-152408" algn="l">
              <a:lnSpc>
                <a:spcPct val="90000"/>
              </a:lnSpc>
              <a:spcBef>
                <a:spcPts val="500"/>
              </a:spcBef>
              <a:spcAft>
                <a:spcPts val="0"/>
              </a:spcAft>
              <a:buSzPts val="1600"/>
              <a:buNone/>
              <a:defRPr sz="1600" b="1"/>
            </a:lvl5pPr>
            <a:lvl6pPr marL="1828891" lvl="5" indent="-152408" algn="l">
              <a:lnSpc>
                <a:spcPct val="90000"/>
              </a:lnSpc>
              <a:spcBef>
                <a:spcPts val="5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15382" name="Google Shape;15382;p1634"/>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37079" algn="l">
              <a:lnSpc>
                <a:spcPct val="90000"/>
              </a:lnSpc>
              <a:spcBef>
                <a:spcPts val="1000"/>
              </a:spcBef>
              <a:spcAft>
                <a:spcPts val="0"/>
              </a:spcAft>
              <a:buSzPts val="2000"/>
              <a:buChar char="•"/>
              <a:defRPr sz="2000"/>
            </a:lvl1pPr>
            <a:lvl2pPr marL="609630" lvl="1" indent="-228611" algn="l">
              <a:lnSpc>
                <a:spcPct val="90000"/>
              </a:lnSpc>
              <a:spcBef>
                <a:spcPts val="500"/>
              </a:spcBef>
              <a:spcAft>
                <a:spcPts val="0"/>
              </a:spcAft>
              <a:buSzPts val="1800"/>
              <a:buChar char="•"/>
              <a:defRPr sz="1800"/>
            </a:lvl2pPr>
            <a:lvl3pPr marL="914446" lvl="2" indent="-220144" algn="l">
              <a:lnSpc>
                <a:spcPct val="90000"/>
              </a:lnSpc>
              <a:spcBef>
                <a:spcPts val="500"/>
              </a:spcBef>
              <a:spcAft>
                <a:spcPts val="0"/>
              </a:spcAft>
              <a:buSzPts val="1600"/>
              <a:buChar char="•"/>
              <a:defRPr sz="1600"/>
            </a:lvl3pPr>
            <a:lvl4pPr marL="1219261" lvl="3" indent="-211677" algn="l">
              <a:lnSpc>
                <a:spcPct val="90000"/>
              </a:lnSpc>
              <a:spcBef>
                <a:spcPts val="500"/>
              </a:spcBef>
              <a:spcAft>
                <a:spcPts val="0"/>
              </a:spcAft>
              <a:buSzPts val="1400"/>
              <a:buChar char="•"/>
              <a:defRPr sz="1400"/>
            </a:lvl4pPr>
            <a:lvl5pPr marL="1524076" lvl="4" indent="-211677" algn="l">
              <a:lnSpc>
                <a:spcPct val="90000"/>
              </a:lnSpc>
              <a:spcBef>
                <a:spcPts val="500"/>
              </a:spcBef>
              <a:spcAft>
                <a:spcPts val="0"/>
              </a:spcAft>
              <a:buSzPts val="1400"/>
              <a:buChar char="•"/>
              <a:defRPr sz="1400"/>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5383" name="Google Shape;15383;p163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rmAutofit/>
          </a:bodyPr>
          <a:lstStyle>
            <a:lvl1pPr marL="304815" lvl="0" indent="-152408" algn="l">
              <a:lnSpc>
                <a:spcPct val="90000"/>
              </a:lnSpc>
              <a:spcBef>
                <a:spcPts val="1000"/>
              </a:spcBef>
              <a:spcAft>
                <a:spcPts val="0"/>
              </a:spcAft>
              <a:buSzPts val="2400"/>
              <a:buNone/>
              <a:defRPr sz="2400" b="0" u="sng">
                <a:solidFill>
                  <a:schemeClr val="dk1"/>
                </a:solidFill>
                <a:latin typeface="Arial"/>
                <a:ea typeface="Arial"/>
                <a:cs typeface="Arial"/>
                <a:sym typeface="Arial"/>
              </a:defRPr>
            </a:lvl1pPr>
            <a:lvl2pPr marL="609630" lvl="1" indent="-152408" algn="l">
              <a:lnSpc>
                <a:spcPct val="90000"/>
              </a:lnSpc>
              <a:spcBef>
                <a:spcPts val="500"/>
              </a:spcBef>
              <a:spcAft>
                <a:spcPts val="0"/>
              </a:spcAft>
              <a:buSzPts val="2000"/>
              <a:buNone/>
              <a:defRPr sz="2000" b="1"/>
            </a:lvl2pPr>
            <a:lvl3pPr marL="914446" lvl="2" indent="-152408" algn="l">
              <a:lnSpc>
                <a:spcPct val="90000"/>
              </a:lnSpc>
              <a:spcBef>
                <a:spcPts val="500"/>
              </a:spcBef>
              <a:spcAft>
                <a:spcPts val="0"/>
              </a:spcAft>
              <a:buSzPts val="1800"/>
              <a:buNone/>
              <a:defRPr sz="1800" b="1"/>
            </a:lvl3pPr>
            <a:lvl4pPr marL="1219261" lvl="3" indent="-152408" algn="l">
              <a:lnSpc>
                <a:spcPct val="90000"/>
              </a:lnSpc>
              <a:spcBef>
                <a:spcPts val="500"/>
              </a:spcBef>
              <a:spcAft>
                <a:spcPts val="0"/>
              </a:spcAft>
              <a:buSzPts val="1600"/>
              <a:buNone/>
              <a:defRPr sz="1600" b="1"/>
            </a:lvl4pPr>
            <a:lvl5pPr marL="1524076" lvl="4" indent="-152408" algn="l">
              <a:lnSpc>
                <a:spcPct val="90000"/>
              </a:lnSpc>
              <a:spcBef>
                <a:spcPts val="500"/>
              </a:spcBef>
              <a:spcAft>
                <a:spcPts val="0"/>
              </a:spcAft>
              <a:buSzPts val="1600"/>
              <a:buNone/>
              <a:defRPr sz="1600" b="1"/>
            </a:lvl5pPr>
            <a:lvl6pPr marL="1828891" lvl="5" indent="-152408" algn="l">
              <a:lnSpc>
                <a:spcPct val="90000"/>
              </a:lnSpc>
              <a:spcBef>
                <a:spcPts val="5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15384" name="Google Shape;15384;p163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rmAutofit/>
          </a:bodyPr>
          <a:lstStyle>
            <a:lvl1pPr marL="304815" lvl="0" indent="-237079" algn="l">
              <a:lnSpc>
                <a:spcPct val="90000"/>
              </a:lnSpc>
              <a:spcBef>
                <a:spcPts val="1000"/>
              </a:spcBef>
              <a:spcAft>
                <a:spcPts val="0"/>
              </a:spcAft>
              <a:buSzPts val="2000"/>
              <a:buChar char="•"/>
              <a:defRPr sz="2000"/>
            </a:lvl1pPr>
            <a:lvl2pPr marL="609630" lvl="1" indent="-228611" algn="l">
              <a:lnSpc>
                <a:spcPct val="90000"/>
              </a:lnSpc>
              <a:spcBef>
                <a:spcPts val="500"/>
              </a:spcBef>
              <a:spcAft>
                <a:spcPts val="0"/>
              </a:spcAft>
              <a:buSzPts val="1800"/>
              <a:buChar char="•"/>
              <a:defRPr sz="1800"/>
            </a:lvl2pPr>
            <a:lvl3pPr marL="914446" lvl="2" indent="-220144" algn="l">
              <a:lnSpc>
                <a:spcPct val="90000"/>
              </a:lnSpc>
              <a:spcBef>
                <a:spcPts val="500"/>
              </a:spcBef>
              <a:spcAft>
                <a:spcPts val="0"/>
              </a:spcAft>
              <a:buSzPts val="1600"/>
              <a:buChar char="•"/>
              <a:defRPr sz="1600"/>
            </a:lvl3pPr>
            <a:lvl4pPr marL="1219261" lvl="3" indent="-211677" algn="l">
              <a:lnSpc>
                <a:spcPct val="90000"/>
              </a:lnSpc>
              <a:spcBef>
                <a:spcPts val="500"/>
              </a:spcBef>
              <a:spcAft>
                <a:spcPts val="0"/>
              </a:spcAft>
              <a:buSzPts val="1400"/>
              <a:buChar char="•"/>
              <a:defRPr sz="1400"/>
            </a:lvl4pPr>
            <a:lvl5pPr marL="1524076" lvl="4" indent="-211677" algn="l">
              <a:lnSpc>
                <a:spcPct val="90000"/>
              </a:lnSpc>
              <a:spcBef>
                <a:spcPts val="500"/>
              </a:spcBef>
              <a:spcAft>
                <a:spcPts val="0"/>
              </a:spcAft>
              <a:buSzPts val="1400"/>
              <a:buChar char="•"/>
              <a:defRPr sz="1400"/>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5385" name="Google Shape;15385;p163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919497"/>
              </a:buClr>
              <a:buSzPts val="1800"/>
              <a:buFont typeface="Arial"/>
              <a:buNone/>
              <a:defRPr sz="1200">
                <a:solidFill>
                  <a:srgbClr val="919497"/>
                </a:solidFill>
                <a:latin typeface="Arial"/>
                <a:ea typeface="Arial"/>
                <a:cs typeface="Arial"/>
                <a:sym typeface="Arial"/>
              </a:defRPr>
            </a:lvl1pPr>
            <a:lvl2pPr marL="0" lvl="1" indent="0" algn="r">
              <a:spcBef>
                <a:spcPts val="0"/>
              </a:spcBef>
              <a:buClr>
                <a:srgbClr val="919497"/>
              </a:buClr>
              <a:buSzPts val="1800"/>
              <a:buFont typeface="Arial"/>
              <a:buNone/>
              <a:defRPr sz="1200">
                <a:solidFill>
                  <a:srgbClr val="919497"/>
                </a:solidFill>
                <a:latin typeface="Arial"/>
                <a:ea typeface="Arial"/>
                <a:cs typeface="Arial"/>
                <a:sym typeface="Arial"/>
              </a:defRPr>
            </a:lvl2pPr>
            <a:lvl3pPr marL="0" lvl="2" indent="0" algn="r">
              <a:spcBef>
                <a:spcPts val="0"/>
              </a:spcBef>
              <a:buClr>
                <a:srgbClr val="919497"/>
              </a:buClr>
              <a:buSzPts val="1800"/>
              <a:buFont typeface="Arial"/>
              <a:buNone/>
              <a:defRPr sz="1200">
                <a:solidFill>
                  <a:srgbClr val="919497"/>
                </a:solidFill>
                <a:latin typeface="Arial"/>
                <a:ea typeface="Arial"/>
                <a:cs typeface="Arial"/>
                <a:sym typeface="Arial"/>
              </a:defRPr>
            </a:lvl3pPr>
            <a:lvl4pPr marL="0" lvl="3" indent="0" algn="r">
              <a:spcBef>
                <a:spcPts val="0"/>
              </a:spcBef>
              <a:buClr>
                <a:srgbClr val="919497"/>
              </a:buClr>
              <a:buSzPts val="1800"/>
              <a:buFont typeface="Arial"/>
              <a:buNone/>
              <a:defRPr sz="1200">
                <a:solidFill>
                  <a:srgbClr val="919497"/>
                </a:solidFill>
                <a:latin typeface="Arial"/>
                <a:ea typeface="Arial"/>
                <a:cs typeface="Arial"/>
                <a:sym typeface="Arial"/>
              </a:defRPr>
            </a:lvl4pPr>
            <a:lvl5pPr marL="0" lvl="4" indent="0" algn="r">
              <a:spcBef>
                <a:spcPts val="0"/>
              </a:spcBef>
              <a:buClr>
                <a:srgbClr val="919497"/>
              </a:buClr>
              <a:buSzPts val="1800"/>
              <a:buFont typeface="Arial"/>
              <a:buNone/>
              <a:defRPr sz="1200">
                <a:solidFill>
                  <a:srgbClr val="919497"/>
                </a:solidFill>
                <a:latin typeface="Arial"/>
                <a:ea typeface="Arial"/>
                <a:cs typeface="Arial"/>
                <a:sym typeface="Arial"/>
              </a:defRPr>
            </a:lvl5pPr>
            <a:lvl6pPr marL="0" lvl="5" indent="0" algn="r">
              <a:spcBef>
                <a:spcPts val="0"/>
              </a:spcBef>
              <a:buClr>
                <a:srgbClr val="919497"/>
              </a:buClr>
              <a:buSzPts val="1800"/>
              <a:buFont typeface="Arial"/>
              <a:buNone/>
              <a:defRPr sz="1200">
                <a:solidFill>
                  <a:srgbClr val="919497"/>
                </a:solidFill>
                <a:latin typeface="Arial"/>
                <a:ea typeface="Arial"/>
                <a:cs typeface="Arial"/>
                <a:sym typeface="Arial"/>
              </a:defRPr>
            </a:lvl6pPr>
            <a:lvl7pPr marL="0" lvl="6" indent="0" algn="r">
              <a:spcBef>
                <a:spcPts val="0"/>
              </a:spcBef>
              <a:buClr>
                <a:srgbClr val="919497"/>
              </a:buClr>
              <a:buSzPts val="1800"/>
              <a:buFont typeface="Arial"/>
              <a:buNone/>
              <a:defRPr sz="1200">
                <a:solidFill>
                  <a:srgbClr val="919497"/>
                </a:solidFill>
                <a:latin typeface="Arial"/>
                <a:ea typeface="Arial"/>
                <a:cs typeface="Arial"/>
                <a:sym typeface="Arial"/>
              </a:defRPr>
            </a:lvl7pPr>
            <a:lvl8pPr marL="0" lvl="7" indent="0" algn="r">
              <a:spcBef>
                <a:spcPts val="0"/>
              </a:spcBef>
              <a:buClr>
                <a:srgbClr val="919497"/>
              </a:buClr>
              <a:buSzPts val="1800"/>
              <a:buFont typeface="Arial"/>
              <a:buNone/>
              <a:defRPr sz="1200">
                <a:solidFill>
                  <a:srgbClr val="919497"/>
                </a:solidFill>
                <a:latin typeface="Arial"/>
                <a:ea typeface="Arial"/>
                <a:cs typeface="Arial"/>
                <a:sym typeface="Arial"/>
              </a:defRPr>
            </a:lvl8pPr>
            <a:lvl9pPr marL="0" lvl="8" indent="0" algn="r">
              <a:spcBef>
                <a:spcPts val="0"/>
              </a:spcBef>
              <a:buClr>
                <a:srgbClr val="919497"/>
              </a:buClr>
              <a:buSzPts val="1800"/>
              <a:buFont typeface="Arial"/>
              <a:buNone/>
              <a:defRPr sz="1200">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5386" name="Google Shape;15386;p16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387" name="Google Shape;15387;p163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Arial"/>
              <a:buNone/>
              <a:defRPr/>
            </a:lvl1pPr>
            <a:lvl2pPr lvl="1" algn="l">
              <a:spcBef>
                <a:spcPts val="0"/>
              </a:spcBef>
              <a:spcAft>
                <a:spcPts val="0"/>
              </a:spcAft>
              <a:buClr>
                <a:schemeClr val="dk1"/>
              </a:buClr>
              <a:buSzPts val="1400"/>
              <a:buFont typeface="Arial"/>
              <a:buNone/>
              <a:defRPr/>
            </a:lvl2pPr>
            <a:lvl3pPr lvl="2" algn="l">
              <a:spcBef>
                <a:spcPts val="0"/>
              </a:spcBef>
              <a:spcAft>
                <a:spcPts val="0"/>
              </a:spcAft>
              <a:buClr>
                <a:schemeClr val="dk1"/>
              </a:buClr>
              <a:buSzPts val="1400"/>
              <a:buFont typeface="Arial"/>
              <a:buNone/>
              <a:defRPr/>
            </a:lvl3pPr>
            <a:lvl4pPr lvl="3" algn="l">
              <a:spcBef>
                <a:spcPts val="0"/>
              </a:spcBef>
              <a:spcAft>
                <a:spcPts val="0"/>
              </a:spcAft>
              <a:buClr>
                <a:schemeClr val="dk1"/>
              </a:buClr>
              <a:buSzPts val="1400"/>
              <a:buFont typeface="Arial"/>
              <a:buNone/>
              <a:defRPr/>
            </a:lvl4pPr>
            <a:lvl5pPr lvl="4" algn="l">
              <a:spcBef>
                <a:spcPts val="0"/>
              </a:spcBef>
              <a:spcAft>
                <a:spcPts val="0"/>
              </a:spcAft>
              <a:buClr>
                <a:schemeClr val="dk1"/>
              </a:buClr>
              <a:buSzPts val="1400"/>
              <a:buFont typeface="Arial"/>
              <a:buNone/>
              <a:defRPr/>
            </a:lvl5pPr>
            <a:lvl6pPr lvl="5" algn="l">
              <a:spcBef>
                <a:spcPts val="0"/>
              </a:spcBef>
              <a:spcAft>
                <a:spcPts val="0"/>
              </a:spcAft>
              <a:buClr>
                <a:schemeClr val="dk1"/>
              </a:buClr>
              <a:buSzPts val="1400"/>
              <a:buFont typeface="Arial"/>
              <a:buNone/>
              <a:defRPr/>
            </a:lvl6pPr>
            <a:lvl7pPr lvl="6" algn="l">
              <a:spcBef>
                <a:spcPts val="0"/>
              </a:spcBef>
              <a:spcAft>
                <a:spcPts val="0"/>
              </a:spcAft>
              <a:buClr>
                <a:schemeClr val="dk1"/>
              </a:buClr>
              <a:buSzPts val="1400"/>
              <a:buFont typeface="Arial"/>
              <a:buNone/>
              <a:defRPr/>
            </a:lvl7pPr>
            <a:lvl8pPr lvl="7" algn="l">
              <a:spcBef>
                <a:spcPts val="0"/>
              </a:spcBef>
              <a:spcAft>
                <a:spcPts val="0"/>
              </a:spcAft>
              <a:buClr>
                <a:schemeClr val="dk1"/>
              </a:buClr>
              <a:buSzPts val="1400"/>
              <a:buFont typeface="Arial"/>
              <a:buNone/>
              <a:defRPr/>
            </a:lvl8pPr>
            <a:lvl9pPr lvl="8" algn="l">
              <a:spcBef>
                <a:spcPts val="0"/>
              </a:spcBef>
              <a:spcAft>
                <a:spcPts val="0"/>
              </a:spcAft>
              <a:buClr>
                <a:schemeClr val="dk1"/>
              </a:buClr>
              <a:buSzPts val="1400"/>
              <a:buFont typeface="Arial"/>
              <a:buNone/>
              <a:defRPr/>
            </a:lvl9pPr>
          </a:lstStyle>
          <a:p>
            <a:endParaRPr/>
          </a:p>
        </p:txBody>
      </p:sp>
    </p:spTree>
  </p:cSld>
  <p:clrMapOvr>
    <a:masterClrMapping/>
  </p:clrMapOvr>
</p:sldLayout>
</file>

<file path=ppt/slideLayouts/slideLayout1943.xml><?xml version="1.0" encoding="utf-8"?>
<p:sldLayout xmlns:a="http://schemas.openxmlformats.org/drawingml/2006/main" xmlns:r="http://schemas.openxmlformats.org/officeDocument/2006/relationships" xmlns:p="http://schemas.openxmlformats.org/presentationml/2006/main" matchingName="24_Photo Slide">
  <p:cSld name="24_Photo Slide">
    <p:spTree>
      <p:nvGrpSpPr>
        <p:cNvPr id="1" name="Shape 15388"/>
        <p:cNvGrpSpPr/>
        <p:nvPr/>
      </p:nvGrpSpPr>
      <p:grpSpPr>
        <a:xfrm>
          <a:off x="0" y="0"/>
          <a:ext cx="0" cy="0"/>
          <a:chOff x="0" y="0"/>
          <a:chExt cx="0" cy="0"/>
        </a:xfrm>
      </p:grpSpPr>
      <p:sp>
        <p:nvSpPr>
          <p:cNvPr id="15389" name="Google Shape;15389;p1635"/>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rmAutofit/>
          </a:bodyPr>
          <a:lstStyle>
            <a:lvl1pPr marL="304815" lvl="0" indent="-152408" algn="l">
              <a:lnSpc>
                <a:spcPct val="90000"/>
              </a:lnSpc>
              <a:spcBef>
                <a:spcPts val="667"/>
              </a:spcBef>
              <a:spcAft>
                <a:spcPts val="0"/>
              </a:spcAft>
              <a:buSzPts val="2400"/>
              <a:buNone/>
              <a:defRPr b="0">
                <a:solidFill>
                  <a:schemeClr val="dk1"/>
                </a:solidFill>
              </a:defRPr>
            </a:lvl1pPr>
            <a:lvl2pPr marL="609630" lvl="1" indent="-237079" algn="l">
              <a:lnSpc>
                <a:spcPct val="90000"/>
              </a:lnSpc>
              <a:spcBef>
                <a:spcPts val="333"/>
              </a:spcBef>
              <a:spcAft>
                <a:spcPts val="0"/>
              </a:spcAft>
              <a:buSzPts val="2000"/>
              <a:buChar char="•"/>
              <a:defRPr/>
            </a:lvl2pPr>
            <a:lvl3pPr marL="914446" lvl="2" indent="-228611" algn="l">
              <a:lnSpc>
                <a:spcPct val="90000"/>
              </a:lnSpc>
              <a:spcBef>
                <a:spcPts val="333"/>
              </a:spcBef>
              <a:spcAft>
                <a:spcPts val="0"/>
              </a:spcAft>
              <a:buSzPts val="1800"/>
              <a:buChar char="•"/>
              <a:defRPr/>
            </a:lvl3pPr>
            <a:lvl4pPr marL="1219261" lvl="3" indent="-220144" algn="l">
              <a:lnSpc>
                <a:spcPct val="90000"/>
              </a:lnSpc>
              <a:spcBef>
                <a:spcPts val="333"/>
              </a:spcBef>
              <a:spcAft>
                <a:spcPts val="0"/>
              </a:spcAft>
              <a:buSzPts val="1600"/>
              <a:buChar char="•"/>
              <a:defRPr/>
            </a:lvl4pPr>
            <a:lvl5pPr marL="1524076" lvl="4" indent="-220144" algn="l">
              <a:lnSpc>
                <a:spcPct val="90000"/>
              </a:lnSpc>
              <a:spcBef>
                <a:spcPts val="333"/>
              </a:spcBef>
              <a:spcAft>
                <a:spcPts val="0"/>
              </a:spcAft>
              <a:buSzPts val="1600"/>
              <a:buChar char="•"/>
              <a:defRPr/>
            </a:lvl5pPr>
            <a:lvl6pPr marL="1828891" lvl="5" indent="-228611" algn="l">
              <a:lnSpc>
                <a:spcPct val="90000"/>
              </a:lnSpc>
              <a:spcBef>
                <a:spcPts val="333"/>
              </a:spcBef>
              <a:spcAft>
                <a:spcPts val="0"/>
              </a:spcAft>
              <a:buSzPts val="1800"/>
              <a:buChar char="•"/>
              <a:defRPr/>
            </a:lvl6pPr>
            <a:lvl7pPr marL="2133707" lvl="6" indent="-228611" algn="l">
              <a:lnSpc>
                <a:spcPct val="90000"/>
              </a:lnSpc>
              <a:spcBef>
                <a:spcPts val="333"/>
              </a:spcBef>
              <a:spcAft>
                <a:spcPts val="0"/>
              </a:spcAft>
              <a:buSzPts val="1800"/>
              <a:buChar char="•"/>
              <a:defRPr/>
            </a:lvl7pPr>
            <a:lvl8pPr marL="2438522" lvl="7" indent="-228611" algn="l">
              <a:lnSpc>
                <a:spcPct val="90000"/>
              </a:lnSpc>
              <a:spcBef>
                <a:spcPts val="333"/>
              </a:spcBef>
              <a:spcAft>
                <a:spcPts val="0"/>
              </a:spcAft>
              <a:buSzPts val="1800"/>
              <a:buChar char="•"/>
              <a:defRPr/>
            </a:lvl8pPr>
            <a:lvl9pPr marL="2743337" lvl="8" indent="-228611" algn="l">
              <a:lnSpc>
                <a:spcPct val="90000"/>
              </a:lnSpc>
              <a:spcBef>
                <a:spcPts val="333"/>
              </a:spcBef>
              <a:spcAft>
                <a:spcPts val="0"/>
              </a:spcAft>
              <a:buSzPts val="1800"/>
              <a:buChar char="•"/>
              <a:defRPr/>
            </a:lvl9pPr>
          </a:lstStyle>
          <a:p>
            <a:endParaRPr/>
          </a:p>
        </p:txBody>
      </p:sp>
      <p:cxnSp>
        <p:nvCxnSpPr>
          <p:cNvPr id="15390" name="Google Shape;15390;p1635"/>
          <p:cNvCxnSpPr/>
          <p:nvPr/>
        </p:nvCxnSpPr>
        <p:spPr>
          <a:xfrm>
            <a:off x="457200" y="947987"/>
            <a:ext cx="2350168" cy="0"/>
          </a:xfrm>
          <a:prstGeom prst="straightConnector1">
            <a:avLst/>
          </a:prstGeom>
          <a:noFill/>
          <a:ln w="31750" cap="flat" cmpd="sng">
            <a:solidFill>
              <a:schemeClr val="accent3"/>
            </a:solidFill>
            <a:prstDash val="solid"/>
            <a:round/>
            <a:headEnd type="none" w="sm" len="sm"/>
            <a:tailEnd type="none" w="sm" len="sm"/>
          </a:ln>
        </p:spPr>
      </p:cxnSp>
      <p:grpSp>
        <p:nvGrpSpPr>
          <p:cNvPr id="15391" name="Google Shape;15391;p1635"/>
          <p:cNvGrpSpPr/>
          <p:nvPr/>
        </p:nvGrpSpPr>
        <p:grpSpPr>
          <a:xfrm>
            <a:off x="0" y="5379427"/>
            <a:ext cx="2807368" cy="753891"/>
            <a:chOff x="0" y="5379426"/>
            <a:chExt cx="2807368" cy="753891"/>
          </a:xfrm>
        </p:grpSpPr>
        <p:sp>
          <p:nvSpPr>
            <p:cNvPr id="15392" name="Google Shape;15392;p163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15393" name="Google Shape;15393;p163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grpSp>
      <p:sp>
        <p:nvSpPr>
          <p:cNvPr id="15394" name="Google Shape;15394;p1635"/>
          <p:cNvSpPr>
            <a:spLocks noGrp="1"/>
          </p:cNvSpPr>
          <p:nvPr>
            <p:ph type="pic" idx="2"/>
          </p:nvPr>
        </p:nvSpPr>
        <p:spPr>
          <a:xfrm>
            <a:off x="2807368" y="457202"/>
            <a:ext cx="8915400" cy="5943598"/>
          </a:xfrm>
          <a:prstGeom prst="rect">
            <a:avLst/>
          </a:prstGeom>
          <a:noFill/>
          <a:ln>
            <a:noFill/>
          </a:ln>
        </p:spPr>
      </p:sp>
      <p:pic>
        <p:nvPicPr>
          <p:cNvPr id="15395" name="Google Shape;15395;p1635"/>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1944.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15396"/>
        <p:cNvGrpSpPr/>
        <p:nvPr/>
      </p:nvGrpSpPr>
      <p:grpSpPr>
        <a:xfrm>
          <a:off x="0" y="0"/>
          <a:ext cx="0" cy="0"/>
          <a:chOff x="0" y="0"/>
          <a:chExt cx="0" cy="0"/>
        </a:xfrm>
      </p:grpSpPr>
      <p:sp>
        <p:nvSpPr>
          <p:cNvPr id="15397" name="Google Shape;15397;p163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398" name="Google Shape;15398;p1636"/>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5399" name="Google Shape;15399;p1636"/>
          <p:cNvGrpSpPr/>
          <p:nvPr/>
        </p:nvGrpSpPr>
        <p:grpSpPr>
          <a:xfrm>
            <a:off x="7191543" y="1"/>
            <a:ext cx="5000459" cy="1425992"/>
            <a:chOff x="7191542" y="1"/>
            <a:chExt cx="5000459" cy="1425992"/>
          </a:xfrm>
        </p:grpSpPr>
        <p:pic>
          <p:nvPicPr>
            <p:cNvPr id="15400" name="Google Shape;15400;p16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401" name="Google Shape;15401;p1636"/>
            <p:cNvGrpSpPr/>
            <p:nvPr/>
          </p:nvGrpSpPr>
          <p:grpSpPr>
            <a:xfrm>
              <a:off x="7191542" y="1"/>
              <a:ext cx="5000459" cy="1425992"/>
              <a:chOff x="7186272" y="0"/>
              <a:chExt cx="5005729" cy="1427495"/>
            </a:xfrm>
          </p:grpSpPr>
          <p:sp>
            <p:nvSpPr>
              <p:cNvPr id="15402" name="Google Shape;15402;p16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5403" name="Google Shape;15403;p16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sp>
        <p:nvSpPr>
          <p:cNvPr id="15404" name="Google Shape;15404;p1636"/>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5405" name="Google Shape;15405;p1636"/>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919497"/>
              </a:buClr>
              <a:buSzPts val="1800"/>
              <a:buFont typeface="Arial"/>
              <a:buNone/>
              <a:defRPr sz="1200">
                <a:solidFill>
                  <a:srgbClr val="919497"/>
                </a:solidFill>
                <a:latin typeface="Arial"/>
                <a:ea typeface="Arial"/>
                <a:cs typeface="Arial"/>
                <a:sym typeface="Arial"/>
              </a:defRPr>
            </a:lvl1pPr>
            <a:lvl2pPr marL="0" lvl="1" indent="0" algn="r">
              <a:spcBef>
                <a:spcPts val="0"/>
              </a:spcBef>
              <a:buClr>
                <a:srgbClr val="919497"/>
              </a:buClr>
              <a:buSzPts val="1800"/>
              <a:buFont typeface="Arial"/>
              <a:buNone/>
              <a:defRPr sz="1200">
                <a:solidFill>
                  <a:srgbClr val="919497"/>
                </a:solidFill>
                <a:latin typeface="Arial"/>
                <a:ea typeface="Arial"/>
                <a:cs typeface="Arial"/>
                <a:sym typeface="Arial"/>
              </a:defRPr>
            </a:lvl2pPr>
            <a:lvl3pPr marL="0" lvl="2" indent="0" algn="r">
              <a:spcBef>
                <a:spcPts val="0"/>
              </a:spcBef>
              <a:buClr>
                <a:srgbClr val="919497"/>
              </a:buClr>
              <a:buSzPts val="1800"/>
              <a:buFont typeface="Arial"/>
              <a:buNone/>
              <a:defRPr sz="1200">
                <a:solidFill>
                  <a:srgbClr val="919497"/>
                </a:solidFill>
                <a:latin typeface="Arial"/>
                <a:ea typeface="Arial"/>
                <a:cs typeface="Arial"/>
                <a:sym typeface="Arial"/>
              </a:defRPr>
            </a:lvl3pPr>
            <a:lvl4pPr marL="0" lvl="3" indent="0" algn="r">
              <a:spcBef>
                <a:spcPts val="0"/>
              </a:spcBef>
              <a:buClr>
                <a:srgbClr val="919497"/>
              </a:buClr>
              <a:buSzPts val="1800"/>
              <a:buFont typeface="Arial"/>
              <a:buNone/>
              <a:defRPr sz="1200">
                <a:solidFill>
                  <a:srgbClr val="919497"/>
                </a:solidFill>
                <a:latin typeface="Arial"/>
                <a:ea typeface="Arial"/>
                <a:cs typeface="Arial"/>
                <a:sym typeface="Arial"/>
              </a:defRPr>
            </a:lvl4pPr>
            <a:lvl5pPr marL="0" lvl="4" indent="0" algn="r">
              <a:spcBef>
                <a:spcPts val="0"/>
              </a:spcBef>
              <a:buClr>
                <a:srgbClr val="919497"/>
              </a:buClr>
              <a:buSzPts val="1800"/>
              <a:buFont typeface="Arial"/>
              <a:buNone/>
              <a:defRPr sz="1200">
                <a:solidFill>
                  <a:srgbClr val="919497"/>
                </a:solidFill>
                <a:latin typeface="Arial"/>
                <a:ea typeface="Arial"/>
                <a:cs typeface="Arial"/>
                <a:sym typeface="Arial"/>
              </a:defRPr>
            </a:lvl5pPr>
            <a:lvl6pPr marL="0" lvl="5" indent="0" algn="r">
              <a:spcBef>
                <a:spcPts val="0"/>
              </a:spcBef>
              <a:buClr>
                <a:srgbClr val="919497"/>
              </a:buClr>
              <a:buSzPts val="1800"/>
              <a:buFont typeface="Arial"/>
              <a:buNone/>
              <a:defRPr sz="1200">
                <a:solidFill>
                  <a:srgbClr val="919497"/>
                </a:solidFill>
                <a:latin typeface="Arial"/>
                <a:ea typeface="Arial"/>
                <a:cs typeface="Arial"/>
                <a:sym typeface="Arial"/>
              </a:defRPr>
            </a:lvl6pPr>
            <a:lvl7pPr marL="0" lvl="6" indent="0" algn="r">
              <a:spcBef>
                <a:spcPts val="0"/>
              </a:spcBef>
              <a:buClr>
                <a:srgbClr val="919497"/>
              </a:buClr>
              <a:buSzPts val="1800"/>
              <a:buFont typeface="Arial"/>
              <a:buNone/>
              <a:defRPr sz="1200">
                <a:solidFill>
                  <a:srgbClr val="919497"/>
                </a:solidFill>
                <a:latin typeface="Arial"/>
                <a:ea typeface="Arial"/>
                <a:cs typeface="Arial"/>
                <a:sym typeface="Arial"/>
              </a:defRPr>
            </a:lvl7pPr>
            <a:lvl8pPr marL="0" lvl="7" indent="0" algn="r">
              <a:spcBef>
                <a:spcPts val="0"/>
              </a:spcBef>
              <a:buClr>
                <a:srgbClr val="919497"/>
              </a:buClr>
              <a:buSzPts val="1800"/>
              <a:buFont typeface="Arial"/>
              <a:buNone/>
              <a:defRPr sz="1200">
                <a:solidFill>
                  <a:srgbClr val="919497"/>
                </a:solidFill>
                <a:latin typeface="Arial"/>
                <a:ea typeface="Arial"/>
                <a:cs typeface="Arial"/>
                <a:sym typeface="Arial"/>
              </a:defRPr>
            </a:lvl8pPr>
            <a:lvl9pPr marL="0" lvl="8" indent="0" algn="r">
              <a:spcBef>
                <a:spcPts val="0"/>
              </a:spcBef>
              <a:buClr>
                <a:srgbClr val="919497"/>
              </a:buClr>
              <a:buSzPts val="1800"/>
              <a:buFont typeface="Arial"/>
              <a:buNone/>
              <a:defRPr sz="1200">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5406" name="Google Shape;15406;p16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407" name="Google Shape;15407;p163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Arial"/>
              <a:buNone/>
              <a:defRPr/>
            </a:lvl1pPr>
            <a:lvl2pPr lvl="1" algn="l">
              <a:spcBef>
                <a:spcPts val="0"/>
              </a:spcBef>
              <a:spcAft>
                <a:spcPts val="0"/>
              </a:spcAft>
              <a:buClr>
                <a:schemeClr val="dk1"/>
              </a:buClr>
              <a:buSzPts val="1400"/>
              <a:buFont typeface="Arial"/>
              <a:buNone/>
              <a:defRPr/>
            </a:lvl2pPr>
            <a:lvl3pPr lvl="2" algn="l">
              <a:spcBef>
                <a:spcPts val="0"/>
              </a:spcBef>
              <a:spcAft>
                <a:spcPts val="0"/>
              </a:spcAft>
              <a:buClr>
                <a:schemeClr val="dk1"/>
              </a:buClr>
              <a:buSzPts val="1400"/>
              <a:buFont typeface="Arial"/>
              <a:buNone/>
              <a:defRPr/>
            </a:lvl3pPr>
            <a:lvl4pPr lvl="3" algn="l">
              <a:spcBef>
                <a:spcPts val="0"/>
              </a:spcBef>
              <a:spcAft>
                <a:spcPts val="0"/>
              </a:spcAft>
              <a:buClr>
                <a:schemeClr val="dk1"/>
              </a:buClr>
              <a:buSzPts val="1400"/>
              <a:buFont typeface="Arial"/>
              <a:buNone/>
              <a:defRPr/>
            </a:lvl4pPr>
            <a:lvl5pPr lvl="4" algn="l">
              <a:spcBef>
                <a:spcPts val="0"/>
              </a:spcBef>
              <a:spcAft>
                <a:spcPts val="0"/>
              </a:spcAft>
              <a:buClr>
                <a:schemeClr val="dk1"/>
              </a:buClr>
              <a:buSzPts val="1400"/>
              <a:buFont typeface="Arial"/>
              <a:buNone/>
              <a:defRPr/>
            </a:lvl5pPr>
            <a:lvl6pPr lvl="5" algn="l">
              <a:spcBef>
                <a:spcPts val="0"/>
              </a:spcBef>
              <a:spcAft>
                <a:spcPts val="0"/>
              </a:spcAft>
              <a:buClr>
                <a:schemeClr val="dk1"/>
              </a:buClr>
              <a:buSzPts val="1400"/>
              <a:buFont typeface="Arial"/>
              <a:buNone/>
              <a:defRPr/>
            </a:lvl6pPr>
            <a:lvl7pPr lvl="6" algn="l">
              <a:spcBef>
                <a:spcPts val="0"/>
              </a:spcBef>
              <a:spcAft>
                <a:spcPts val="0"/>
              </a:spcAft>
              <a:buClr>
                <a:schemeClr val="dk1"/>
              </a:buClr>
              <a:buSzPts val="1400"/>
              <a:buFont typeface="Arial"/>
              <a:buNone/>
              <a:defRPr/>
            </a:lvl7pPr>
            <a:lvl8pPr lvl="7" algn="l">
              <a:spcBef>
                <a:spcPts val="0"/>
              </a:spcBef>
              <a:spcAft>
                <a:spcPts val="0"/>
              </a:spcAft>
              <a:buClr>
                <a:schemeClr val="dk1"/>
              </a:buClr>
              <a:buSzPts val="1400"/>
              <a:buFont typeface="Arial"/>
              <a:buNone/>
              <a:defRPr/>
            </a:lvl8pPr>
            <a:lvl9pPr lvl="8" algn="l">
              <a:spcBef>
                <a:spcPts val="0"/>
              </a:spcBef>
              <a:spcAft>
                <a:spcPts val="0"/>
              </a:spcAft>
              <a:buClr>
                <a:schemeClr val="dk1"/>
              </a:buClr>
              <a:buSzPts val="1400"/>
              <a:buFont typeface="Arial"/>
              <a:buNone/>
              <a:defRPr/>
            </a:lvl9pPr>
          </a:lstStyle>
          <a:p>
            <a:endParaRPr/>
          </a:p>
        </p:txBody>
      </p:sp>
    </p:spTree>
  </p:cSld>
  <p:clrMapOvr>
    <a:masterClrMapping/>
  </p:clrMapOvr>
</p:sldLayout>
</file>

<file path=ppt/slideLayouts/slideLayout1945.xml><?xml version="1.0" encoding="utf-8"?>
<p:sldLayout xmlns:a="http://schemas.openxmlformats.org/drawingml/2006/main" xmlns:r="http://schemas.openxmlformats.org/officeDocument/2006/relationships" xmlns:p="http://schemas.openxmlformats.org/presentationml/2006/main" matchingName="TWO_OBJECTS" type="twoObj">
  <p:cSld name="TWO_OBJECTS">
    <p:spTree>
      <p:nvGrpSpPr>
        <p:cNvPr id="1" name="Shape 15413"/>
        <p:cNvGrpSpPr/>
        <p:nvPr/>
      </p:nvGrpSpPr>
      <p:grpSpPr>
        <a:xfrm>
          <a:off x="0" y="0"/>
          <a:ext cx="0" cy="0"/>
          <a:chOff x="0" y="0"/>
          <a:chExt cx="0" cy="0"/>
        </a:xfrm>
      </p:grpSpPr>
      <p:sp>
        <p:nvSpPr>
          <p:cNvPr id="15414" name="Google Shape;15414;p102"/>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rmAutofit/>
          </a:bodyPr>
          <a:lstStyle>
            <a:lvl1pPr lvl="0" algn="l">
              <a:lnSpc>
                <a:spcPct val="90000"/>
              </a:lnSpc>
              <a:spcBef>
                <a:spcPts val="0"/>
              </a:spcBef>
              <a:spcAft>
                <a:spcPts val="0"/>
              </a:spcAft>
              <a:buClr>
                <a:srgbClr val="444C55"/>
              </a:buClr>
              <a:buSzPts val="54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415" name="Google Shape;15415;p102"/>
          <p:cNvSpPr txBox="1">
            <a:spLocks noGrp="1"/>
          </p:cNvSpPr>
          <p:nvPr>
            <p:ph type="body" idx="1"/>
          </p:nvPr>
        </p:nvSpPr>
        <p:spPr>
          <a:xfrm>
            <a:off x="609604" y="1825627"/>
            <a:ext cx="5410203" cy="4351336"/>
          </a:xfrm>
          <a:prstGeom prst="rect">
            <a:avLst/>
          </a:prstGeom>
          <a:noFill/>
          <a:ln>
            <a:noFill/>
          </a:ln>
        </p:spPr>
        <p:txBody>
          <a:bodyPr spcFirstLastPara="1" wrap="square" lIns="91400" tIns="45700" rIns="91400" bIns="45700" anchor="t" anchorCtr="0">
            <a:normAutofit/>
          </a:bodyPr>
          <a:lstStyle>
            <a:lvl1pPr marL="304815" lvl="0" indent="-228611" algn="l">
              <a:lnSpc>
                <a:spcPct val="9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5416" name="Google Shape;15416;p102"/>
          <p:cNvGrpSpPr/>
          <p:nvPr/>
        </p:nvGrpSpPr>
        <p:grpSpPr>
          <a:xfrm>
            <a:off x="7191545" y="0"/>
            <a:ext cx="5000460" cy="1425988"/>
            <a:chOff x="7191545" y="0"/>
            <a:chExt cx="5000460" cy="1425988"/>
          </a:xfrm>
        </p:grpSpPr>
        <p:pic>
          <p:nvPicPr>
            <p:cNvPr id="15417" name="Google Shape;15417;p10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418" name="Google Shape;15418;p102"/>
            <p:cNvGrpSpPr/>
            <p:nvPr/>
          </p:nvGrpSpPr>
          <p:grpSpPr>
            <a:xfrm>
              <a:off x="7191545" y="0"/>
              <a:ext cx="5000460" cy="1425988"/>
              <a:chOff x="7191545" y="0"/>
              <a:chExt cx="5000460" cy="1425988"/>
            </a:xfrm>
          </p:grpSpPr>
          <p:sp>
            <p:nvSpPr>
              <p:cNvPr id="15419" name="Google Shape;15419;p10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Arial"/>
                  <a:buNone/>
                </a:pPr>
                <a:endParaRPr sz="1800" b="0" i="0" u="none" strike="noStrike" cap="none">
                  <a:solidFill>
                    <a:srgbClr val="444C55"/>
                  </a:solidFill>
                  <a:latin typeface="Arial"/>
                  <a:ea typeface="Arial"/>
                  <a:cs typeface="Arial"/>
                  <a:sym typeface="Arial"/>
                </a:endParaRPr>
              </a:p>
            </p:txBody>
          </p:sp>
          <p:sp>
            <p:nvSpPr>
              <p:cNvPr id="15420" name="Google Shape;15420;p10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Arial"/>
                  <a:buNone/>
                </a:pPr>
                <a:endParaRPr sz="1800" b="0" i="0" u="none" strike="noStrike" cap="none">
                  <a:solidFill>
                    <a:srgbClr val="444C55"/>
                  </a:solidFill>
                  <a:latin typeface="Arial"/>
                  <a:ea typeface="Arial"/>
                  <a:cs typeface="Arial"/>
                  <a:sym typeface="Arial"/>
                </a:endParaRPr>
              </a:p>
            </p:txBody>
          </p:sp>
        </p:grpSp>
      </p:grpSp>
      <p:sp>
        <p:nvSpPr>
          <p:cNvPr id="15421" name="Google Shape;15421;p102"/>
          <p:cNvSpPr txBox="1">
            <a:spLocks noGrp="1"/>
          </p:cNvSpPr>
          <p:nvPr>
            <p:ph type="body" idx="2"/>
          </p:nvPr>
        </p:nvSpPr>
        <p:spPr>
          <a:xfrm>
            <a:off x="6172201" y="1825627"/>
            <a:ext cx="5410203" cy="4351336"/>
          </a:xfrm>
          <a:prstGeom prst="rect">
            <a:avLst/>
          </a:prstGeom>
          <a:noFill/>
          <a:ln>
            <a:noFill/>
          </a:ln>
        </p:spPr>
        <p:txBody>
          <a:bodyPr spcFirstLastPara="1" wrap="square" lIns="91400" tIns="45700" rIns="91400" bIns="45700" anchor="t" anchorCtr="0">
            <a:normAutofit/>
          </a:bodyPr>
          <a:lstStyle>
            <a:lvl1pPr marL="304815" lvl="0" indent="-228611" algn="l">
              <a:lnSpc>
                <a:spcPct val="9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5422" name="Google Shape;15422;p102"/>
          <p:cNvSpPr txBox="1">
            <a:spLocks noGrp="1"/>
          </p:cNvSpPr>
          <p:nvPr>
            <p:ph type="sldNum" idx="12"/>
          </p:nvPr>
        </p:nvSpPr>
        <p:spPr>
          <a:xfrm>
            <a:off x="883919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Arial"/>
              <a:buNone/>
              <a:defRPr/>
            </a:lvl1pPr>
            <a:lvl2pPr marL="0" marR="0" lvl="1" indent="0" algn="r">
              <a:lnSpc>
                <a:spcPct val="100000"/>
              </a:lnSpc>
              <a:spcBef>
                <a:spcPts val="0"/>
              </a:spcBef>
              <a:spcAft>
                <a:spcPts val="0"/>
              </a:spcAft>
              <a:buClr>
                <a:srgbClr val="919497"/>
              </a:buClr>
              <a:buSzPts val="1800"/>
              <a:buFont typeface="Arial"/>
              <a:buNone/>
              <a:defRPr/>
            </a:lvl2pPr>
            <a:lvl3pPr marL="0" marR="0" lvl="2" indent="0" algn="r">
              <a:lnSpc>
                <a:spcPct val="100000"/>
              </a:lnSpc>
              <a:spcBef>
                <a:spcPts val="0"/>
              </a:spcBef>
              <a:spcAft>
                <a:spcPts val="0"/>
              </a:spcAft>
              <a:buClr>
                <a:srgbClr val="919497"/>
              </a:buClr>
              <a:buSzPts val="1800"/>
              <a:buFont typeface="Arial"/>
              <a:buNone/>
              <a:defRPr/>
            </a:lvl3pPr>
            <a:lvl4pPr marL="0" marR="0" lvl="3" indent="0" algn="r">
              <a:lnSpc>
                <a:spcPct val="100000"/>
              </a:lnSpc>
              <a:spcBef>
                <a:spcPts val="0"/>
              </a:spcBef>
              <a:spcAft>
                <a:spcPts val="0"/>
              </a:spcAft>
              <a:buClr>
                <a:srgbClr val="919497"/>
              </a:buClr>
              <a:buSzPts val="1800"/>
              <a:buFont typeface="Arial"/>
              <a:buNone/>
              <a:defRPr/>
            </a:lvl4pPr>
            <a:lvl5pPr marL="0" marR="0" lvl="4" indent="0" algn="r">
              <a:lnSpc>
                <a:spcPct val="100000"/>
              </a:lnSpc>
              <a:spcBef>
                <a:spcPts val="0"/>
              </a:spcBef>
              <a:spcAft>
                <a:spcPts val="0"/>
              </a:spcAft>
              <a:buClr>
                <a:srgbClr val="919497"/>
              </a:buClr>
              <a:buSzPts val="1800"/>
              <a:buFont typeface="Arial"/>
              <a:buNone/>
              <a:defRPr/>
            </a:lvl5pPr>
            <a:lvl6pPr marL="0" marR="0" lvl="5" indent="0" algn="r">
              <a:lnSpc>
                <a:spcPct val="100000"/>
              </a:lnSpc>
              <a:spcBef>
                <a:spcPts val="0"/>
              </a:spcBef>
              <a:spcAft>
                <a:spcPts val="0"/>
              </a:spcAft>
              <a:buClr>
                <a:srgbClr val="919497"/>
              </a:buClr>
              <a:buSzPts val="1800"/>
              <a:buFont typeface="Arial"/>
              <a:buNone/>
              <a:defRPr/>
            </a:lvl6pPr>
            <a:lvl7pPr marL="0" marR="0" lvl="6" indent="0" algn="r">
              <a:lnSpc>
                <a:spcPct val="100000"/>
              </a:lnSpc>
              <a:spcBef>
                <a:spcPts val="0"/>
              </a:spcBef>
              <a:spcAft>
                <a:spcPts val="0"/>
              </a:spcAft>
              <a:buClr>
                <a:srgbClr val="919497"/>
              </a:buClr>
              <a:buSzPts val="1800"/>
              <a:buFont typeface="Arial"/>
              <a:buNone/>
              <a:defRPr/>
            </a:lvl7pPr>
            <a:lvl8pPr marL="0" marR="0" lvl="7" indent="0" algn="r">
              <a:lnSpc>
                <a:spcPct val="100000"/>
              </a:lnSpc>
              <a:spcBef>
                <a:spcPts val="0"/>
              </a:spcBef>
              <a:spcAft>
                <a:spcPts val="0"/>
              </a:spcAft>
              <a:buClr>
                <a:srgbClr val="919497"/>
              </a:buClr>
              <a:buSzPts val="1800"/>
              <a:buFont typeface="Arial"/>
              <a:buNone/>
              <a:defRPr/>
            </a:lvl8pPr>
            <a:lvl9pPr marL="0" marR="0" lvl="8" indent="0" algn="r">
              <a:lnSpc>
                <a:spcPct val="100000"/>
              </a:lnSpc>
              <a:spcBef>
                <a:spcPts val="0"/>
              </a:spcBef>
              <a:spcAft>
                <a:spcPts val="0"/>
              </a:spcAft>
              <a:buClr>
                <a:srgbClr val="919497"/>
              </a:buClr>
              <a:buSzPts val="1800"/>
              <a:buFont typeface="Arial"/>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sz="1200" b="0" i="0" u="none" strike="noStrike" cap="none">
              <a:solidFill>
                <a:srgbClr val="919497"/>
              </a:solidFill>
              <a:latin typeface="Arial"/>
              <a:ea typeface="Arial"/>
              <a:cs typeface="Arial"/>
              <a:sym typeface="Arial"/>
            </a:endParaRPr>
          </a:p>
        </p:txBody>
      </p:sp>
      <p:cxnSp>
        <p:nvCxnSpPr>
          <p:cNvPr id="15423" name="Google Shape;15423;p10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cxnSp>
        <p:nvCxnSpPr>
          <p:cNvPr id="15424" name="Google Shape;15424;p102"/>
          <p:cNvCxnSpPr/>
          <p:nvPr/>
        </p:nvCxnSpPr>
        <p:spPr>
          <a:xfrm>
            <a:off x="704316" y="1425988"/>
            <a:ext cx="1097280" cy="0"/>
          </a:xfrm>
          <a:prstGeom prst="straightConnector1">
            <a:avLst/>
          </a:prstGeom>
          <a:noFill/>
          <a:ln w="31725" cap="flat" cmpd="sng">
            <a:solidFill>
              <a:srgbClr val="F58366"/>
            </a:solidFill>
            <a:prstDash val="solid"/>
            <a:miter lim="8000"/>
            <a:headEnd type="none" w="sm" len="sm"/>
            <a:tailEnd type="none" w="sm" len="sm"/>
          </a:ln>
        </p:spPr>
      </p:cxnSp>
      <p:sp>
        <p:nvSpPr>
          <p:cNvPr id="15425" name="Google Shape;15425;p102"/>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Arial"/>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946.xml><?xml version="1.0" encoding="utf-8"?>
<p:sldLayout xmlns:a="http://schemas.openxmlformats.org/drawingml/2006/main" xmlns:r="http://schemas.openxmlformats.org/officeDocument/2006/relationships" xmlns:p="http://schemas.openxmlformats.org/presentationml/2006/main" matchingName="OBJECT" type="obj">
  <p:cSld name="OBJECT">
    <p:spTree>
      <p:nvGrpSpPr>
        <p:cNvPr id="1" name="Shape 15426"/>
        <p:cNvGrpSpPr/>
        <p:nvPr/>
      </p:nvGrpSpPr>
      <p:grpSpPr>
        <a:xfrm>
          <a:off x="0" y="0"/>
          <a:ext cx="0" cy="0"/>
          <a:chOff x="0" y="0"/>
          <a:chExt cx="0" cy="0"/>
        </a:xfrm>
      </p:grpSpPr>
      <p:grpSp>
        <p:nvGrpSpPr>
          <p:cNvPr id="15427" name="Google Shape;15427;p1302"/>
          <p:cNvGrpSpPr/>
          <p:nvPr/>
        </p:nvGrpSpPr>
        <p:grpSpPr>
          <a:xfrm>
            <a:off x="7191545" y="0"/>
            <a:ext cx="5000460" cy="1425988"/>
            <a:chOff x="7191545" y="0"/>
            <a:chExt cx="5000460" cy="1425988"/>
          </a:xfrm>
        </p:grpSpPr>
        <p:pic>
          <p:nvPicPr>
            <p:cNvPr id="15428" name="Google Shape;15428;p130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429" name="Google Shape;15429;p1302"/>
            <p:cNvGrpSpPr/>
            <p:nvPr/>
          </p:nvGrpSpPr>
          <p:grpSpPr>
            <a:xfrm>
              <a:off x="7191545" y="0"/>
              <a:ext cx="5000460" cy="1425988"/>
              <a:chOff x="7191545" y="0"/>
              <a:chExt cx="5000460" cy="1425988"/>
            </a:xfrm>
          </p:grpSpPr>
          <p:sp>
            <p:nvSpPr>
              <p:cNvPr id="15430" name="Google Shape;15430;p130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Arial"/>
                  <a:buNone/>
                </a:pPr>
                <a:endParaRPr sz="1800" b="0" i="0" u="none" strike="noStrike" cap="none">
                  <a:solidFill>
                    <a:srgbClr val="444C55"/>
                  </a:solidFill>
                  <a:latin typeface="Arial"/>
                  <a:ea typeface="Arial"/>
                  <a:cs typeface="Arial"/>
                  <a:sym typeface="Arial"/>
                </a:endParaRPr>
              </a:p>
            </p:txBody>
          </p:sp>
          <p:sp>
            <p:nvSpPr>
              <p:cNvPr id="15431" name="Google Shape;15431;p130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Arial"/>
                  <a:buNone/>
                </a:pPr>
                <a:endParaRPr sz="1800" b="0" i="0" u="none" strike="noStrike" cap="none">
                  <a:solidFill>
                    <a:srgbClr val="444C55"/>
                  </a:solidFill>
                  <a:latin typeface="Arial"/>
                  <a:ea typeface="Arial"/>
                  <a:cs typeface="Arial"/>
                  <a:sym typeface="Arial"/>
                </a:endParaRPr>
              </a:p>
            </p:txBody>
          </p:sp>
        </p:grpSp>
      </p:grpSp>
      <p:sp>
        <p:nvSpPr>
          <p:cNvPr id="15432" name="Google Shape;15432;p1302"/>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rmAutofit/>
          </a:bodyPr>
          <a:lstStyle>
            <a:lvl1pPr lvl="0" algn="l">
              <a:lnSpc>
                <a:spcPct val="90000"/>
              </a:lnSpc>
              <a:spcBef>
                <a:spcPts val="0"/>
              </a:spcBef>
              <a:spcAft>
                <a:spcPts val="0"/>
              </a:spcAft>
              <a:buClr>
                <a:srgbClr val="444C55"/>
              </a:buClr>
              <a:buSzPts val="54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433" name="Google Shape;15433;p1302"/>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rmAutofit/>
          </a:bodyPr>
          <a:lstStyle>
            <a:lvl1pPr marL="304815" lvl="0" indent="-228611" algn="l">
              <a:lnSpc>
                <a:spcPct val="9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5434" name="Google Shape;15434;p1302"/>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Arial"/>
              <a:buNone/>
              <a:defRPr>
                <a:solidFill>
                  <a:srgbClr val="AEB3B7"/>
                </a:solidFill>
              </a:defRPr>
            </a:lvl1pPr>
            <a:lvl2pPr marL="0" marR="0" lvl="1" indent="0" algn="r">
              <a:lnSpc>
                <a:spcPct val="100000"/>
              </a:lnSpc>
              <a:spcBef>
                <a:spcPts val="0"/>
              </a:spcBef>
              <a:spcAft>
                <a:spcPts val="0"/>
              </a:spcAft>
              <a:buClr>
                <a:srgbClr val="AEB3B7"/>
              </a:buClr>
              <a:buSzPts val="1800"/>
              <a:buFont typeface="Arial"/>
              <a:buNone/>
              <a:defRPr>
                <a:solidFill>
                  <a:srgbClr val="AEB3B7"/>
                </a:solidFill>
              </a:defRPr>
            </a:lvl2pPr>
            <a:lvl3pPr marL="0" marR="0" lvl="2" indent="0" algn="r">
              <a:lnSpc>
                <a:spcPct val="100000"/>
              </a:lnSpc>
              <a:spcBef>
                <a:spcPts val="0"/>
              </a:spcBef>
              <a:spcAft>
                <a:spcPts val="0"/>
              </a:spcAft>
              <a:buClr>
                <a:srgbClr val="AEB3B7"/>
              </a:buClr>
              <a:buSzPts val="1800"/>
              <a:buFont typeface="Arial"/>
              <a:buNone/>
              <a:defRPr>
                <a:solidFill>
                  <a:srgbClr val="AEB3B7"/>
                </a:solidFill>
              </a:defRPr>
            </a:lvl3pPr>
            <a:lvl4pPr marL="0" marR="0" lvl="3" indent="0" algn="r">
              <a:lnSpc>
                <a:spcPct val="100000"/>
              </a:lnSpc>
              <a:spcBef>
                <a:spcPts val="0"/>
              </a:spcBef>
              <a:spcAft>
                <a:spcPts val="0"/>
              </a:spcAft>
              <a:buClr>
                <a:srgbClr val="AEB3B7"/>
              </a:buClr>
              <a:buSzPts val="1800"/>
              <a:buFont typeface="Arial"/>
              <a:buNone/>
              <a:defRPr>
                <a:solidFill>
                  <a:srgbClr val="AEB3B7"/>
                </a:solidFill>
              </a:defRPr>
            </a:lvl4pPr>
            <a:lvl5pPr marL="0" marR="0" lvl="4" indent="0" algn="r">
              <a:lnSpc>
                <a:spcPct val="100000"/>
              </a:lnSpc>
              <a:spcBef>
                <a:spcPts val="0"/>
              </a:spcBef>
              <a:spcAft>
                <a:spcPts val="0"/>
              </a:spcAft>
              <a:buClr>
                <a:srgbClr val="AEB3B7"/>
              </a:buClr>
              <a:buSzPts val="1800"/>
              <a:buFont typeface="Arial"/>
              <a:buNone/>
              <a:defRPr>
                <a:solidFill>
                  <a:srgbClr val="AEB3B7"/>
                </a:solidFill>
              </a:defRPr>
            </a:lvl5pPr>
            <a:lvl6pPr marL="0" marR="0" lvl="5" indent="0" algn="r">
              <a:lnSpc>
                <a:spcPct val="100000"/>
              </a:lnSpc>
              <a:spcBef>
                <a:spcPts val="0"/>
              </a:spcBef>
              <a:spcAft>
                <a:spcPts val="0"/>
              </a:spcAft>
              <a:buClr>
                <a:srgbClr val="AEB3B7"/>
              </a:buClr>
              <a:buSzPts val="1800"/>
              <a:buFont typeface="Arial"/>
              <a:buNone/>
              <a:defRPr>
                <a:solidFill>
                  <a:srgbClr val="AEB3B7"/>
                </a:solidFill>
              </a:defRPr>
            </a:lvl6pPr>
            <a:lvl7pPr marL="0" marR="0" lvl="6" indent="0" algn="r">
              <a:lnSpc>
                <a:spcPct val="100000"/>
              </a:lnSpc>
              <a:spcBef>
                <a:spcPts val="0"/>
              </a:spcBef>
              <a:spcAft>
                <a:spcPts val="0"/>
              </a:spcAft>
              <a:buClr>
                <a:srgbClr val="AEB3B7"/>
              </a:buClr>
              <a:buSzPts val="1800"/>
              <a:buFont typeface="Arial"/>
              <a:buNone/>
              <a:defRPr>
                <a:solidFill>
                  <a:srgbClr val="AEB3B7"/>
                </a:solidFill>
              </a:defRPr>
            </a:lvl7pPr>
            <a:lvl8pPr marL="0" marR="0" lvl="7" indent="0" algn="r">
              <a:lnSpc>
                <a:spcPct val="100000"/>
              </a:lnSpc>
              <a:spcBef>
                <a:spcPts val="0"/>
              </a:spcBef>
              <a:spcAft>
                <a:spcPts val="0"/>
              </a:spcAft>
              <a:buClr>
                <a:srgbClr val="AEB3B7"/>
              </a:buClr>
              <a:buSzPts val="1800"/>
              <a:buFont typeface="Arial"/>
              <a:buNone/>
              <a:defRPr>
                <a:solidFill>
                  <a:srgbClr val="AEB3B7"/>
                </a:solidFill>
              </a:defRPr>
            </a:lvl8pPr>
            <a:lvl9pPr marL="0" marR="0" lvl="8" indent="0" algn="r">
              <a:lnSpc>
                <a:spcPct val="100000"/>
              </a:lnSpc>
              <a:spcBef>
                <a:spcPts val="0"/>
              </a:spcBef>
              <a:spcAft>
                <a:spcPts val="0"/>
              </a:spcAft>
              <a:buClr>
                <a:srgbClr val="AEB3B7"/>
              </a:buClr>
              <a:buSzPts val="1800"/>
              <a:buFont typeface="Arial"/>
              <a:buNone/>
              <a:defRPr>
                <a:solidFill>
                  <a:srgbClr val="AEB3B7"/>
                </a:solidFil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sz="1200" b="0" i="0" u="none" strike="noStrike" cap="none">
              <a:latin typeface="Arial"/>
              <a:ea typeface="Arial"/>
              <a:cs typeface="Arial"/>
              <a:sym typeface="Arial"/>
            </a:endParaRPr>
          </a:p>
        </p:txBody>
      </p:sp>
      <p:cxnSp>
        <p:nvCxnSpPr>
          <p:cNvPr id="15435" name="Google Shape;15435;p130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cxnSp>
        <p:nvCxnSpPr>
          <p:cNvPr id="15436" name="Google Shape;15436;p1302"/>
          <p:cNvCxnSpPr/>
          <p:nvPr/>
        </p:nvCxnSpPr>
        <p:spPr>
          <a:xfrm>
            <a:off x="704316" y="1425988"/>
            <a:ext cx="1097280" cy="0"/>
          </a:xfrm>
          <a:prstGeom prst="straightConnector1">
            <a:avLst/>
          </a:prstGeom>
          <a:noFill/>
          <a:ln w="31725" cap="flat" cmpd="sng">
            <a:solidFill>
              <a:srgbClr val="F58366"/>
            </a:solidFill>
            <a:prstDash val="solid"/>
            <a:miter lim="8000"/>
            <a:headEnd type="none" w="sm" len="sm"/>
            <a:tailEnd type="none" w="sm" len="sm"/>
          </a:ln>
        </p:spPr>
      </p:cxnSp>
      <p:sp>
        <p:nvSpPr>
          <p:cNvPr id="15437" name="Google Shape;15437;p1302"/>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Arial"/>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947.xml><?xml version="1.0" encoding="utf-8"?>
<p:sldLayout xmlns:a="http://schemas.openxmlformats.org/drawingml/2006/main" xmlns:r="http://schemas.openxmlformats.org/officeDocument/2006/relationships" xmlns:p="http://schemas.openxmlformats.org/presentationml/2006/main" matchingName="Divider">
  <p:cSld name="Divider">
    <p:spTree>
      <p:nvGrpSpPr>
        <p:cNvPr id="1" name="Shape 15438"/>
        <p:cNvGrpSpPr/>
        <p:nvPr/>
      </p:nvGrpSpPr>
      <p:grpSpPr>
        <a:xfrm>
          <a:off x="0" y="0"/>
          <a:ext cx="0" cy="0"/>
          <a:chOff x="0" y="0"/>
          <a:chExt cx="0" cy="0"/>
        </a:xfrm>
      </p:grpSpPr>
      <p:grpSp>
        <p:nvGrpSpPr>
          <p:cNvPr id="15439" name="Google Shape;15439;p1303"/>
          <p:cNvGrpSpPr/>
          <p:nvPr/>
        </p:nvGrpSpPr>
        <p:grpSpPr>
          <a:xfrm>
            <a:off x="0" y="5020349"/>
            <a:ext cx="12191996" cy="1837651"/>
            <a:chOff x="0" y="5020348"/>
            <a:chExt cx="12191996" cy="1837651"/>
          </a:xfrm>
        </p:grpSpPr>
        <p:sp>
          <p:nvSpPr>
            <p:cNvPr id="15440" name="Google Shape;15440;p1303"/>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Arial"/>
                <a:buNone/>
              </a:pPr>
              <a:endParaRPr sz="1800" b="0" i="0" u="none" strike="noStrike" cap="none">
                <a:solidFill>
                  <a:srgbClr val="FFFFFF"/>
                </a:solidFill>
                <a:latin typeface="Arial"/>
                <a:ea typeface="Arial"/>
                <a:cs typeface="Arial"/>
                <a:sym typeface="Arial"/>
              </a:endParaRPr>
            </a:p>
          </p:txBody>
        </p:sp>
        <p:sp>
          <p:nvSpPr>
            <p:cNvPr id="15441" name="Google Shape;15441;p1303"/>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Arial"/>
                <a:buNone/>
              </a:pPr>
              <a:endParaRPr sz="1800" b="0" i="0" u="none" strike="noStrike" cap="none">
                <a:solidFill>
                  <a:srgbClr val="FFFFFF"/>
                </a:solidFill>
                <a:latin typeface="Arial"/>
                <a:ea typeface="Arial"/>
                <a:cs typeface="Arial"/>
                <a:sym typeface="Arial"/>
              </a:endParaRPr>
            </a:p>
          </p:txBody>
        </p:sp>
        <p:sp>
          <p:nvSpPr>
            <p:cNvPr id="15442" name="Google Shape;15442;p1303"/>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Arial"/>
                <a:buNone/>
              </a:pPr>
              <a:endParaRPr sz="1800" b="0" i="0" u="none" strike="noStrike" cap="none">
                <a:solidFill>
                  <a:srgbClr val="FFFFFF"/>
                </a:solidFill>
                <a:latin typeface="Arial"/>
                <a:ea typeface="Arial"/>
                <a:cs typeface="Arial"/>
                <a:sym typeface="Arial"/>
              </a:endParaRPr>
            </a:p>
          </p:txBody>
        </p:sp>
        <p:pic>
          <p:nvPicPr>
            <p:cNvPr id="15443" name="Google Shape;15443;p1303"/>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15444" name="Google Shape;15444;p1303"/>
          <p:cNvSpPr txBox="1">
            <a:spLocks noGrp="1"/>
          </p:cNvSpPr>
          <p:nvPr>
            <p:ph type="title"/>
          </p:nvPr>
        </p:nvSpPr>
        <p:spPr>
          <a:xfrm>
            <a:off x="1413305" y="701748"/>
            <a:ext cx="9365376" cy="2014679"/>
          </a:xfrm>
          <a:prstGeom prst="rect">
            <a:avLst/>
          </a:prstGeom>
          <a:noFill/>
          <a:ln>
            <a:noFill/>
          </a:ln>
        </p:spPr>
        <p:txBody>
          <a:bodyPr spcFirstLastPara="1" wrap="square" lIns="91400" tIns="45700" rIns="91400" bIns="45700" anchor="b" anchorCtr="0">
            <a:normAutofit/>
          </a:bodyPr>
          <a:lstStyle>
            <a:lvl1pPr lvl="0" algn="l">
              <a:lnSpc>
                <a:spcPct val="90000"/>
              </a:lnSpc>
              <a:spcBef>
                <a:spcPts val="0"/>
              </a:spcBef>
              <a:spcAft>
                <a:spcPts val="0"/>
              </a:spcAft>
              <a:buClr>
                <a:srgbClr val="444C55"/>
              </a:buClr>
              <a:buSzPts val="54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445" name="Google Shape;15445;p1303"/>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rmAutofit/>
          </a:bodyPr>
          <a:lstStyle>
            <a:lvl1pPr lvl="0" algn="l">
              <a:lnSpc>
                <a:spcPct val="9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cxnSp>
        <p:nvCxnSpPr>
          <p:cNvPr id="15446" name="Google Shape;15446;p1303"/>
          <p:cNvCxnSpPr/>
          <p:nvPr/>
        </p:nvCxnSpPr>
        <p:spPr>
          <a:xfrm>
            <a:off x="1520052" y="2811816"/>
            <a:ext cx="2286000" cy="0"/>
          </a:xfrm>
          <a:prstGeom prst="straightConnector1">
            <a:avLst/>
          </a:prstGeom>
          <a:noFill/>
          <a:ln w="31725" cap="flat" cmpd="sng">
            <a:solidFill>
              <a:srgbClr val="F58366"/>
            </a:solidFill>
            <a:prstDash val="solid"/>
            <a:miter lim="8000"/>
            <a:headEnd type="none" w="sm" len="sm"/>
            <a:tailEnd type="none" w="sm" len="sm"/>
          </a:ln>
        </p:spPr>
      </p:cxnSp>
    </p:spTree>
  </p:cSld>
  <p:clrMapOvr>
    <a:masterClrMapping/>
  </p:clrMapOvr>
</p:sldLayout>
</file>

<file path=ppt/slideLayouts/slideLayout1948.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15447"/>
        <p:cNvGrpSpPr/>
        <p:nvPr/>
      </p:nvGrpSpPr>
      <p:grpSpPr>
        <a:xfrm>
          <a:off x="0" y="0"/>
          <a:ext cx="0" cy="0"/>
          <a:chOff x="0" y="0"/>
          <a:chExt cx="0" cy="0"/>
        </a:xfrm>
      </p:grpSpPr>
      <p:sp>
        <p:nvSpPr>
          <p:cNvPr id="15448" name="Google Shape;15448;p1304"/>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rmAutofit/>
          </a:bodyPr>
          <a:lstStyle>
            <a:lvl1pPr marL="304815" lvl="0" indent="-152408" algn="l">
              <a:lnSpc>
                <a:spcPct val="9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5449" name="Google Shape;15449;p1304"/>
          <p:cNvCxnSpPr/>
          <p:nvPr/>
        </p:nvCxnSpPr>
        <p:spPr>
          <a:xfrm>
            <a:off x="457201"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5450" name="Google Shape;15450;p1304"/>
          <p:cNvGrpSpPr/>
          <p:nvPr/>
        </p:nvGrpSpPr>
        <p:grpSpPr>
          <a:xfrm>
            <a:off x="1" y="5379425"/>
            <a:ext cx="2807363" cy="753895"/>
            <a:chOff x="0" y="5379424"/>
            <a:chExt cx="2807363" cy="753895"/>
          </a:xfrm>
        </p:grpSpPr>
        <p:sp>
          <p:nvSpPr>
            <p:cNvPr id="15451" name="Google Shape;15451;p1304"/>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Arial"/>
                <a:buNone/>
              </a:pPr>
              <a:endParaRPr sz="1800" b="0" i="0" u="none" strike="noStrike" cap="none">
                <a:solidFill>
                  <a:srgbClr val="FFFFFF"/>
                </a:solidFill>
                <a:latin typeface="Arial"/>
                <a:ea typeface="Arial"/>
                <a:cs typeface="Arial"/>
                <a:sym typeface="Arial"/>
              </a:endParaRPr>
            </a:p>
          </p:txBody>
        </p:sp>
        <p:sp>
          <p:nvSpPr>
            <p:cNvPr id="15452" name="Google Shape;15452;p1304"/>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Arial"/>
                <a:buNone/>
              </a:pPr>
              <a:endParaRPr sz="1800" b="0" i="0" u="none" strike="noStrike" cap="none">
                <a:solidFill>
                  <a:srgbClr val="FFFFFF"/>
                </a:solidFill>
                <a:latin typeface="Arial"/>
                <a:ea typeface="Arial"/>
                <a:cs typeface="Arial"/>
                <a:sym typeface="Arial"/>
              </a:endParaRPr>
            </a:p>
          </p:txBody>
        </p:sp>
      </p:grpSp>
      <p:pic>
        <p:nvPicPr>
          <p:cNvPr id="15453" name="Google Shape;15453;p1304"/>
          <p:cNvPicPr preferRelativeResize="0"/>
          <p:nvPr/>
        </p:nvPicPr>
        <p:blipFill rotWithShape="1">
          <a:blip r:embed="rId2">
            <a:alphaModFix/>
          </a:blip>
          <a:srcRect/>
          <a:stretch/>
        </p:blipFill>
        <p:spPr>
          <a:xfrm>
            <a:off x="513345" y="4385535"/>
            <a:ext cx="2025313" cy="911940"/>
          </a:xfrm>
          <a:prstGeom prst="rect">
            <a:avLst/>
          </a:prstGeom>
          <a:noFill/>
          <a:ln>
            <a:noFill/>
          </a:ln>
        </p:spPr>
      </p:pic>
    </p:spTree>
  </p:cSld>
  <p:clrMapOvr>
    <a:masterClrMapping/>
  </p:clrMapOvr>
</p:sldLayout>
</file>

<file path=ppt/slideLayouts/slideLayout1949.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15454"/>
        <p:cNvGrpSpPr/>
        <p:nvPr/>
      </p:nvGrpSpPr>
      <p:grpSpPr>
        <a:xfrm>
          <a:off x="0" y="0"/>
          <a:ext cx="0" cy="0"/>
          <a:chOff x="0" y="0"/>
          <a:chExt cx="0" cy="0"/>
        </a:xfrm>
      </p:grpSpPr>
      <p:sp>
        <p:nvSpPr>
          <p:cNvPr id="15455" name="Google Shape;15455;p1305"/>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Arial"/>
              <a:buNone/>
            </a:pPr>
            <a:endParaRPr sz="1800" b="0" i="0" u="none" strike="noStrike" cap="none">
              <a:solidFill>
                <a:srgbClr val="FFFFFF"/>
              </a:solidFill>
              <a:latin typeface="Arial"/>
              <a:ea typeface="Arial"/>
              <a:cs typeface="Arial"/>
              <a:sym typeface="Arial"/>
            </a:endParaRPr>
          </a:p>
        </p:txBody>
      </p:sp>
      <p:sp>
        <p:nvSpPr>
          <p:cNvPr id="15456" name="Google Shape;15456;p130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rmAutofit/>
          </a:bodyPr>
          <a:lstStyle>
            <a:lvl1pPr lvl="0" algn="l">
              <a:lnSpc>
                <a:spcPct val="90000"/>
              </a:lnSpc>
              <a:spcBef>
                <a:spcPts val="0"/>
              </a:spcBef>
              <a:spcAft>
                <a:spcPts val="0"/>
              </a:spcAft>
              <a:buClr>
                <a:srgbClr val="444C55"/>
              </a:buClr>
              <a:buSzPts val="54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457" name="Google Shape;15457;p1305"/>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rmAutofit/>
          </a:bodyPr>
          <a:lstStyle>
            <a:lvl1pPr marL="304815" lvl="0" indent="-152408" algn="l">
              <a:lnSpc>
                <a:spcPct val="9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5458" name="Google Shape;15458;p1305"/>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Arial"/>
              <a:buNone/>
              <a:defRPr>
                <a:solidFill>
                  <a:srgbClr val="AEB3B7"/>
                </a:solidFill>
              </a:defRPr>
            </a:lvl1pPr>
            <a:lvl2pPr marL="0" marR="0" lvl="1" indent="0" algn="r">
              <a:lnSpc>
                <a:spcPct val="100000"/>
              </a:lnSpc>
              <a:spcBef>
                <a:spcPts val="0"/>
              </a:spcBef>
              <a:spcAft>
                <a:spcPts val="0"/>
              </a:spcAft>
              <a:buClr>
                <a:srgbClr val="AEB3B7"/>
              </a:buClr>
              <a:buSzPts val="1800"/>
              <a:buFont typeface="Arial"/>
              <a:buNone/>
              <a:defRPr>
                <a:solidFill>
                  <a:srgbClr val="AEB3B7"/>
                </a:solidFill>
              </a:defRPr>
            </a:lvl2pPr>
            <a:lvl3pPr marL="0" marR="0" lvl="2" indent="0" algn="r">
              <a:lnSpc>
                <a:spcPct val="100000"/>
              </a:lnSpc>
              <a:spcBef>
                <a:spcPts val="0"/>
              </a:spcBef>
              <a:spcAft>
                <a:spcPts val="0"/>
              </a:spcAft>
              <a:buClr>
                <a:srgbClr val="AEB3B7"/>
              </a:buClr>
              <a:buSzPts val="1800"/>
              <a:buFont typeface="Arial"/>
              <a:buNone/>
              <a:defRPr>
                <a:solidFill>
                  <a:srgbClr val="AEB3B7"/>
                </a:solidFill>
              </a:defRPr>
            </a:lvl3pPr>
            <a:lvl4pPr marL="0" marR="0" lvl="3" indent="0" algn="r">
              <a:lnSpc>
                <a:spcPct val="100000"/>
              </a:lnSpc>
              <a:spcBef>
                <a:spcPts val="0"/>
              </a:spcBef>
              <a:spcAft>
                <a:spcPts val="0"/>
              </a:spcAft>
              <a:buClr>
                <a:srgbClr val="AEB3B7"/>
              </a:buClr>
              <a:buSzPts val="1800"/>
              <a:buFont typeface="Arial"/>
              <a:buNone/>
              <a:defRPr>
                <a:solidFill>
                  <a:srgbClr val="AEB3B7"/>
                </a:solidFill>
              </a:defRPr>
            </a:lvl4pPr>
            <a:lvl5pPr marL="0" marR="0" lvl="4" indent="0" algn="r">
              <a:lnSpc>
                <a:spcPct val="100000"/>
              </a:lnSpc>
              <a:spcBef>
                <a:spcPts val="0"/>
              </a:spcBef>
              <a:spcAft>
                <a:spcPts val="0"/>
              </a:spcAft>
              <a:buClr>
                <a:srgbClr val="AEB3B7"/>
              </a:buClr>
              <a:buSzPts val="1800"/>
              <a:buFont typeface="Arial"/>
              <a:buNone/>
              <a:defRPr>
                <a:solidFill>
                  <a:srgbClr val="AEB3B7"/>
                </a:solidFill>
              </a:defRPr>
            </a:lvl5pPr>
            <a:lvl6pPr marL="0" marR="0" lvl="5" indent="0" algn="r">
              <a:lnSpc>
                <a:spcPct val="100000"/>
              </a:lnSpc>
              <a:spcBef>
                <a:spcPts val="0"/>
              </a:spcBef>
              <a:spcAft>
                <a:spcPts val="0"/>
              </a:spcAft>
              <a:buClr>
                <a:srgbClr val="AEB3B7"/>
              </a:buClr>
              <a:buSzPts val="1800"/>
              <a:buFont typeface="Arial"/>
              <a:buNone/>
              <a:defRPr>
                <a:solidFill>
                  <a:srgbClr val="AEB3B7"/>
                </a:solidFill>
              </a:defRPr>
            </a:lvl6pPr>
            <a:lvl7pPr marL="0" marR="0" lvl="6" indent="0" algn="r">
              <a:lnSpc>
                <a:spcPct val="100000"/>
              </a:lnSpc>
              <a:spcBef>
                <a:spcPts val="0"/>
              </a:spcBef>
              <a:spcAft>
                <a:spcPts val="0"/>
              </a:spcAft>
              <a:buClr>
                <a:srgbClr val="AEB3B7"/>
              </a:buClr>
              <a:buSzPts val="1800"/>
              <a:buFont typeface="Arial"/>
              <a:buNone/>
              <a:defRPr>
                <a:solidFill>
                  <a:srgbClr val="AEB3B7"/>
                </a:solidFill>
              </a:defRPr>
            </a:lvl7pPr>
            <a:lvl8pPr marL="0" marR="0" lvl="7" indent="0" algn="r">
              <a:lnSpc>
                <a:spcPct val="100000"/>
              </a:lnSpc>
              <a:spcBef>
                <a:spcPts val="0"/>
              </a:spcBef>
              <a:spcAft>
                <a:spcPts val="0"/>
              </a:spcAft>
              <a:buClr>
                <a:srgbClr val="AEB3B7"/>
              </a:buClr>
              <a:buSzPts val="1800"/>
              <a:buFont typeface="Arial"/>
              <a:buNone/>
              <a:defRPr>
                <a:solidFill>
                  <a:srgbClr val="AEB3B7"/>
                </a:solidFill>
              </a:defRPr>
            </a:lvl8pPr>
            <a:lvl9pPr marL="0" marR="0" lvl="8" indent="0" algn="r">
              <a:lnSpc>
                <a:spcPct val="100000"/>
              </a:lnSpc>
              <a:spcBef>
                <a:spcPts val="0"/>
              </a:spcBef>
              <a:spcAft>
                <a:spcPts val="0"/>
              </a:spcAft>
              <a:buClr>
                <a:srgbClr val="AEB3B7"/>
              </a:buClr>
              <a:buSzPts val="1800"/>
              <a:buFont typeface="Arial"/>
              <a:buNone/>
              <a:defRPr>
                <a:solidFill>
                  <a:srgbClr val="AEB3B7"/>
                </a:solidFil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sz="1200" b="0" i="0" u="none" strike="noStrike" cap="none">
              <a:latin typeface="Arial"/>
              <a:ea typeface="Arial"/>
              <a:cs typeface="Arial"/>
              <a:sym typeface="Arial"/>
            </a:endParaRPr>
          </a:p>
        </p:txBody>
      </p:sp>
      <p:cxnSp>
        <p:nvCxnSpPr>
          <p:cNvPr id="15459" name="Google Shape;15459;p130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460" name="Google Shape;15460;p1305"/>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Arial"/>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461" name="Google Shape;15461;p1305"/>
          <p:cNvGrpSpPr/>
          <p:nvPr/>
        </p:nvGrpSpPr>
        <p:grpSpPr>
          <a:xfrm>
            <a:off x="7191545" y="0"/>
            <a:ext cx="5000460" cy="1425988"/>
            <a:chOff x="7191545" y="0"/>
            <a:chExt cx="5000460" cy="1425988"/>
          </a:xfrm>
        </p:grpSpPr>
        <p:pic>
          <p:nvPicPr>
            <p:cNvPr id="15462" name="Google Shape;15462;p130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463" name="Google Shape;15463;p1305"/>
            <p:cNvGrpSpPr/>
            <p:nvPr/>
          </p:nvGrpSpPr>
          <p:grpSpPr>
            <a:xfrm>
              <a:off x="7191545" y="0"/>
              <a:ext cx="5000460" cy="1425988"/>
              <a:chOff x="7191545" y="0"/>
              <a:chExt cx="5000460" cy="1425988"/>
            </a:xfrm>
          </p:grpSpPr>
          <p:sp>
            <p:nvSpPr>
              <p:cNvPr id="15464" name="Google Shape;15464;p130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Arial"/>
                  <a:buNone/>
                </a:pPr>
                <a:endParaRPr sz="1800" b="0" i="0" u="none" strike="noStrike" cap="none">
                  <a:solidFill>
                    <a:srgbClr val="444C55"/>
                  </a:solidFill>
                  <a:latin typeface="Arial"/>
                  <a:ea typeface="Arial"/>
                  <a:cs typeface="Arial"/>
                  <a:sym typeface="Arial"/>
                </a:endParaRPr>
              </a:p>
            </p:txBody>
          </p:sp>
          <p:sp>
            <p:nvSpPr>
              <p:cNvPr id="15465" name="Google Shape;15465;p130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Arial"/>
                  <a:buNone/>
                </a:pPr>
                <a:endParaRPr sz="1800" b="0" i="0" u="none" strike="noStrike" cap="none">
                  <a:solidFill>
                    <a:srgbClr val="444C55"/>
                  </a:solidFill>
                  <a:latin typeface="Arial"/>
                  <a:ea typeface="Arial"/>
                  <a:cs typeface="Arial"/>
                  <a:sym typeface="Arial"/>
                </a:endParaRPr>
              </a:p>
            </p:txBody>
          </p:sp>
        </p:grpSp>
      </p:grpSp>
      <p:pic>
        <p:nvPicPr>
          <p:cNvPr id="15466" name="Google Shape;15466;p1305"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6">
    <p:spTree>
      <p:nvGrpSpPr>
        <p:cNvPr id="1" name="Shape 10919"/>
        <p:cNvGrpSpPr/>
        <p:nvPr/>
      </p:nvGrpSpPr>
      <p:grpSpPr>
        <a:xfrm>
          <a:off x="0" y="0"/>
          <a:ext cx="0" cy="0"/>
          <a:chOff x="0" y="0"/>
          <a:chExt cx="0" cy="0"/>
        </a:xfrm>
      </p:grpSpPr>
      <p:sp>
        <p:nvSpPr>
          <p:cNvPr id="10920" name="Google Shape;10920;p1499"/>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21" name="Google Shape;10921;p149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922" name="Google Shape;10922;p149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923" name="Google Shape;10923;p1499"/>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924" name="Google Shape;10924;p149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950.xml><?xml version="1.0" encoding="utf-8"?>
<p:sldLayout xmlns:a="http://schemas.openxmlformats.org/drawingml/2006/main" xmlns:r="http://schemas.openxmlformats.org/officeDocument/2006/relationships" xmlns:p="http://schemas.openxmlformats.org/presentationml/2006/main" matchingName="TWO_OBJECTS_WITH_TEXT" type="twoTxTwoObj">
  <p:cSld name="TWO_OBJECTS_WITH_TEXT">
    <p:spTree>
      <p:nvGrpSpPr>
        <p:cNvPr id="1" name="Shape 15467"/>
        <p:cNvGrpSpPr/>
        <p:nvPr/>
      </p:nvGrpSpPr>
      <p:grpSpPr>
        <a:xfrm>
          <a:off x="0" y="0"/>
          <a:ext cx="0" cy="0"/>
          <a:chOff x="0" y="0"/>
          <a:chExt cx="0" cy="0"/>
        </a:xfrm>
      </p:grpSpPr>
      <p:grpSp>
        <p:nvGrpSpPr>
          <p:cNvPr id="15468" name="Google Shape;15468;p1306"/>
          <p:cNvGrpSpPr/>
          <p:nvPr/>
        </p:nvGrpSpPr>
        <p:grpSpPr>
          <a:xfrm>
            <a:off x="7191545" y="0"/>
            <a:ext cx="5000460" cy="1425988"/>
            <a:chOff x="7191545" y="0"/>
            <a:chExt cx="5000460" cy="1425988"/>
          </a:xfrm>
        </p:grpSpPr>
        <p:pic>
          <p:nvPicPr>
            <p:cNvPr id="15469" name="Google Shape;15469;p130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470" name="Google Shape;15470;p1306"/>
            <p:cNvGrpSpPr/>
            <p:nvPr/>
          </p:nvGrpSpPr>
          <p:grpSpPr>
            <a:xfrm>
              <a:off x="7191545" y="0"/>
              <a:ext cx="5000460" cy="1425988"/>
              <a:chOff x="7191545" y="0"/>
              <a:chExt cx="5000460" cy="1425988"/>
            </a:xfrm>
          </p:grpSpPr>
          <p:sp>
            <p:nvSpPr>
              <p:cNvPr id="15471" name="Google Shape;15471;p130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Arial"/>
                  <a:buNone/>
                </a:pPr>
                <a:endParaRPr sz="1800" b="0" i="0" u="none" strike="noStrike" cap="none">
                  <a:solidFill>
                    <a:srgbClr val="444C55"/>
                  </a:solidFill>
                  <a:latin typeface="Arial"/>
                  <a:ea typeface="Arial"/>
                  <a:cs typeface="Arial"/>
                  <a:sym typeface="Arial"/>
                </a:endParaRPr>
              </a:p>
            </p:txBody>
          </p:sp>
          <p:sp>
            <p:nvSpPr>
              <p:cNvPr id="15472" name="Google Shape;15472;p130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Arial"/>
                  <a:buNone/>
                </a:pPr>
                <a:endParaRPr sz="1800" b="0" i="0" u="none" strike="noStrike" cap="none">
                  <a:solidFill>
                    <a:srgbClr val="444C55"/>
                  </a:solidFill>
                  <a:latin typeface="Arial"/>
                  <a:ea typeface="Arial"/>
                  <a:cs typeface="Arial"/>
                  <a:sym typeface="Arial"/>
                </a:endParaRPr>
              </a:p>
            </p:txBody>
          </p:sp>
        </p:grpSp>
      </p:grpSp>
      <p:sp>
        <p:nvSpPr>
          <p:cNvPr id="15473" name="Google Shape;15473;p1306"/>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rmAutofit/>
          </a:bodyPr>
          <a:lstStyle>
            <a:lvl1pPr lvl="0" algn="l">
              <a:lnSpc>
                <a:spcPct val="90000"/>
              </a:lnSpc>
              <a:spcBef>
                <a:spcPts val="0"/>
              </a:spcBef>
              <a:spcAft>
                <a:spcPts val="0"/>
              </a:spcAft>
              <a:buClr>
                <a:srgbClr val="444C55"/>
              </a:buClr>
              <a:buSzPts val="54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474" name="Google Shape;15474;p1306"/>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rmAutofit/>
          </a:bodyPr>
          <a:lstStyle>
            <a:lvl1pPr marL="304815" lvl="0" indent="-152408" algn="l">
              <a:lnSpc>
                <a:spcPct val="9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5475" name="Google Shape;15475;p1306"/>
          <p:cNvSpPr txBox="1">
            <a:spLocks noGrp="1"/>
          </p:cNvSpPr>
          <p:nvPr>
            <p:ph type="body" idx="2"/>
          </p:nvPr>
        </p:nvSpPr>
        <p:spPr>
          <a:xfrm>
            <a:off x="609604" y="2505072"/>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9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5476" name="Google Shape;15476;p1306"/>
          <p:cNvSpPr txBox="1">
            <a:spLocks noGrp="1"/>
          </p:cNvSpPr>
          <p:nvPr>
            <p:ph type="body" idx="3"/>
          </p:nvPr>
        </p:nvSpPr>
        <p:spPr>
          <a:xfrm>
            <a:off x="6172201" y="1681160"/>
            <a:ext cx="5410203" cy="823910"/>
          </a:xfrm>
          <a:prstGeom prst="rect">
            <a:avLst/>
          </a:prstGeom>
          <a:solidFill>
            <a:srgbClr val="F3F6FB"/>
          </a:solidFill>
          <a:ln>
            <a:noFill/>
          </a:ln>
        </p:spPr>
        <p:txBody>
          <a:bodyPr spcFirstLastPara="1" wrap="square" lIns="182850" tIns="0" rIns="182850" bIns="0" anchor="ctr" anchorCtr="0">
            <a:normAutofit/>
          </a:bodyPr>
          <a:lstStyle>
            <a:lvl1pPr marL="304815" lvl="0" indent="-152408" algn="l">
              <a:lnSpc>
                <a:spcPct val="9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5477" name="Google Shape;15477;p1306"/>
          <p:cNvSpPr txBox="1">
            <a:spLocks noGrp="1"/>
          </p:cNvSpPr>
          <p:nvPr>
            <p:ph type="body" idx="4"/>
          </p:nvPr>
        </p:nvSpPr>
        <p:spPr>
          <a:xfrm>
            <a:off x="6172201" y="2505072"/>
            <a:ext cx="541020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9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5478" name="Google Shape;15478;p1306"/>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Arial"/>
              <a:buNone/>
              <a:defRPr/>
            </a:lvl1pPr>
            <a:lvl2pPr marL="0" marR="0" lvl="1" indent="0" algn="r">
              <a:lnSpc>
                <a:spcPct val="100000"/>
              </a:lnSpc>
              <a:spcBef>
                <a:spcPts val="0"/>
              </a:spcBef>
              <a:spcAft>
                <a:spcPts val="0"/>
              </a:spcAft>
              <a:buClr>
                <a:srgbClr val="919497"/>
              </a:buClr>
              <a:buSzPts val="1800"/>
              <a:buFont typeface="Arial"/>
              <a:buNone/>
              <a:defRPr/>
            </a:lvl2pPr>
            <a:lvl3pPr marL="0" marR="0" lvl="2" indent="0" algn="r">
              <a:lnSpc>
                <a:spcPct val="100000"/>
              </a:lnSpc>
              <a:spcBef>
                <a:spcPts val="0"/>
              </a:spcBef>
              <a:spcAft>
                <a:spcPts val="0"/>
              </a:spcAft>
              <a:buClr>
                <a:srgbClr val="919497"/>
              </a:buClr>
              <a:buSzPts val="1800"/>
              <a:buFont typeface="Arial"/>
              <a:buNone/>
              <a:defRPr/>
            </a:lvl3pPr>
            <a:lvl4pPr marL="0" marR="0" lvl="3" indent="0" algn="r">
              <a:lnSpc>
                <a:spcPct val="100000"/>
              </a:lnSpc>
              <a:spcBef>
                <a:spcPts val="0"/>
              </a:spcBef>
              <a:spcAft>
                <a:spcPts val="0"/>
              </a:spcAft>
              <a:buClr>
                <a:srgbClr val="919497"/>
              </a:buClr>
              <a:buSzPts val="1800"/>
              <a:buFont typeface="Arial"/>
              <a:buNone/>
              <a:defRPr/>
            </a:lvl4pPr>
            <a:lvl5pPr marL="0" marR="0" lvl="4" indent="0" algn="r">
              <a:lnSpc>
                <a:spcPct val="100000"/>
              </a:lnSpc>
              <a:spcBef>
                <a:spcPts val="0"/>
              </a:spcBef>
              <a:spcAft>
                <a:spcPts val="0"/>
              </a:spcAft>
              <a:buClr>
                <a:srgbClr val="919497"/>
              </a:buClr>
              <a:buSzPts val="1800"/>
              <a:buFont typeface="Arial"/>
              <a:buNone/>
              <a:defRPr/>
            </a:lvl5pPr>
            <a:lvl6pPr marL="0" marR="0" lvl="5" indent="0" algn="r">
              <a:lnSpc>
                <a:spcPct val="100000"/>
              </a:lnSpc>
              <a:spcBef>
                <a:spcPts val="0"/>
              </a:spcBef>
              <a:spcAft>
                <a:spcPts val="0"/>
              </a:spcAft>
              <a:buClr>
                <a:srgbClr val="919497"/>
              </a:buClr>
              <a:buSzPts val="1800"/>
              <a:buFont typeface="Arial"/>
              <a:buNone/>
              <a:defRPr/>
            </a:lvl6pPr>
            <a:lvl7pPr marL="0" marR="0" lvl="6" indent="0" algn="r">
              <a:lnSpc>
                <a:spcPct val="100000"/>
              </a:lnSpc>
              <a:spcBef>
                <a:spcPts val="0"/>
              </a:spcBef>
              <a:spcAft>
                <a:spcPts val="0"/>
              </a:spcAft>
              <a:buClr>
                <a:srgbClr val="919497"/>
              </a:buClr>
              <a:buSzPts val="1800"/>
              <a:buFont typeface="Arial"/>
              <a:buNone/>
              <a:defRPr/>
            </a:lvl7pPr>
            <a:lvl8pPr marL="0" marR="0" lvl="7" indent="0" algn="r">
              <a:lnSpc>
                <a:spcPct val="100000"/>
              </a:lnSpc>
              <a:spcBef>
                <a:spcPts val="0"/>
              </a:spcBef>
              <a:spcAft>
                <a:spcPts val="0"/>
              </a:spcAft>
              <a:buClr>
                <a:srgbClr val="919497"/>
              </a:buClr>
              <a:buSzPts val="1800"/>
              <a:buFont typeface="Arial"/>
              <a:buNone/>
              <a:defRPr/>
            </a:lvl8pPr>
            <a:lvl9pPr marL="0" marR="0" lvl="8" indent="0" algn="r">
              <a:lnSpc>
                <a:spcPct val="100000"/>
              </a:lnSpc>
              <a:spcBef>
                <a:spcPts val="0"/>
              </a:spcBef>
              <a:spcAft>
                <a:spcPts val="0"/>
              </a:spcAft>
              <a:buClr>
                <a:srgbClr val="919497"/>
              </a:buClr>
              <a:buSzPts val="1800"/>
              <a:buFont typeface="Arial"/>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sz="1200" b="0" i="0" u="none" strike="noStrike" cap="none">
              <a:solidFill>
                <a:srgbClr val="919497"/>
              </a:solidFill>
              <a:latin typeface="Arial"/>
              <a:ea typeface="Arial"/>
              <a:cs typeface="Arial"/>
              <a:sym typeface="Arial"/>
            </a:endParaRPr>
          </a:p>
        </p:txBody>
      </p:sp>
      <p:cxnSp>
        <p:nvCxnSpPr>
          <p:cNvPr id="15479" name="Google Shape;15479;p130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480" name="Google Shape;15480;p1306"/>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Arial"/>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951.xml><?xml version="1.0" encoding="utf-8"?>
<p:sldLayout xmlns:a="http://schemas.openxmlformats.org/drawingml/2006/main" xmlns:r="http://schemas.openxmlformats.org/officeDocument/2006/relationships" xmlns:p="http://schemas.openxmlformats.org/presentationml/2006/main" matchingName="TITLE_ONLY" type="titleOnly">
  <p:cSld name="TITLE_ONLY">
    <p:spTree>
      <p:nvGrpSpPr>
        <p:cNvPr id="1" name="Shape 15481"/>
        <p:cNvGrpSpPr/>
        <p:nvPr/>
      </p:nvGrpSpPr>
      <p:grpSpPr>
        <a:xfrm>
          <a:off x="0" y="0"/>
          <a:ext cx="0" cy="0"/>
          <a:chOff x="0" y="0"/>
          <a:chExt cx="0" cy="0"/>
        </a:xfrm>
      </p:grpSpPr>
      <p:grpSp>
        <p:nvGrpSpPr>
          <p:cNvPr id="15482" name="Google Shape;15482;p1307"/>
          <p:cNvGrpSpPr/>
          <p:nvPr/>
        </p:nvGrpSpPr>
        <p:grpSpPr>
          <a:xfrm>
            <a:off x="7191545" y="0"/>
            <a:ext cx="5000460" cy="1425988"/>
            <a:chOff x="7191545" y="0"/>
            <a:chExt cx="5000460" cy="1425988"/>
          </a:xfrm>
        </p:grpSpPr>
        <p:pic>
          <p:nvPicPr>
            <p:cNvPr id="15483" name="Google Shape;15483;p130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484" name="Google Shape;15484;p1307"/>
            <p:cNvGrpSpPr/>
            <p:nvPr/>
          </p:nvGrpSpPr>
          <p:grpSpPr>
            <a:xfrm>
              <a:off x="7191545" y="0"/>
              <a:ext cx="5000460" cy="1425988"/>
              <a:chOff x="7191545" y="0"/>
              <a:chExt cx="5000460" cy="1425988"/>
            </a:xfrm>
          </p:grpSpPr>
          <p:sp>
            <p:nvSpPr>
              <p:cNvPr id="15485" name="Google Shape;15485;p130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Arial"/>
                  <a:buNone/>
                </a:pPr>
                <a:endParaRPr sz="1800" b="0" i="0" u="none" strike="noStrike" cap="none">
                  <a:solidFill>
                    <a:srgbClr val="444C55"/>
                  </a:solidFill>
                  <a:latin typeface="Arial"/>
                  <a:ea typeface="Arial"/>
                  <a:cs typeface="Arial"/>
                  <a:sym typeface="Arial"/>
                </a:endParaRPr>
              </a:p>
            </p:txBody>
          </p:sp>
          <p:sp>
            <p:nvSpPr>
              <p:cNvPr id="15486" name="Google Shape;15486;p130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Arial"/>
                  <a:buNone/>
                </a:pPr>
                <a:endParaRPr sz="1800" b="0" i="0" u="none" strike="noStrike" cap="none">
                  <a:solidFill>
                    <a:srgbClr val="444C55"/>
                  </a:solidFill>
                  <a:latin typeface="Arial"/>
                  <a:ea typeface="Arial"/>
                  <a:cs typeface="Arial"/>
                  <a:sym typeface="Arial"/>
                </a:endParaRPr>
              </a:p>
            </p:txBody>
          </p:sp>
        </p:grpSp>
      </p:grpSp>
      <p:sp>
        <p:nvSpPr>
          <p:cNvPr id="15487" name="Google Shape;15487;p1307"/>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rmAutofit/>
          </a:bodyPr>
          <a:lstStyle>
            <a:lvl1pPr lvl="0" algn="l">
              <a:lnSpc>
                <a:spcPct val="90000"/>
              </a:lnSpc>
              <a:spcBef>
                <a:spcPts val="0"/>
              </a:spcBef>
              <a:spcAft>
                <a:spcPts val="0"/>
              </a:spcAft>
              <a:buClr>
                <a:srgbClr val="444C55"/>
              </a:buClr>
              <a:buSzPts val="54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488" name="Google Shape;15488;p1307"/>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Arial"/>
              <a:buNone/>
              <a:defRPr/>
            </a:lvl1pPr>
            <a:lvl2pPr marL="0" marR="0" lvl="1" indent="0" algn="r">
              <a:lnSpc>
                <a:spcPct val="100000"/>
              </a:lnSpc>
              <a:spcBef>
                <a:spcPts val="0"/>
              </a:spcBef>
              <a:spcAft>
                <a:spcPts val="0"/>
              </a:spcAft>
              <a:buClr>
                <a:srgbClr val="919497"/>
              </a:buClr>
              <a:buSzPts val="1800"/>
              <a:buFont typeface="Arial"/>
              <a:buNone/>
              <a:defRPr/>
            </a:lvl2pPr>
            <a:lvl3pPr marL="0" marR="0" lvl="2" indent="0" algn="r">
              <a:lnSpc>
                <a:spcPct val="100000"/>
              </a:lnSpc>
              <a:spcBef>
                <a:spcPts val="0"/>
              </a:spcBef>
              <a:spcAft>
                <a:spcPts val="0"/>
              </a:spcAft>
              <a:buClr>
                <a:srgbClr val="919497"/>
              </a:buClr>
              <a:buSzPts val="1800"/>
              <a:buFont typeface="Arial"/>
              <a:buNone/>
              <a:defRPr/>
            </a:lvl3pPr>
            <a:lvl4pPr marL="0" marR="0" lvl="3" indent="0" algn="r">
              <a:lnSpc>
                <a:spcPct val="100000"/>
              </a:lnSpc>
              <a:spcBef>
                <a:spcPts val="0"/>
              </a:spcBef>
              <a:spcAft>
                <a:spcPts val="0"/>
              </a:spcAft>
              <a:buClr>
                <a:srgbClr val="919497"/>
              </a:buClr>
              <a:buSzPts val="1800"/>
              <a:buFont typeface="Arial"/>
              <a:buNone/>
              <a:defRPr/>
            </a:lvl4pPr>
            <a:lvl5pPr marL="0" marR="0" lvl="4" indent="0" algn="r">
              <a:lnSpc>
                <a:spcPct val="100000"/>
              </a:lnSpc>
              <a:spcBef>
                <a:spcPts val="0"/>
              </a:spcBef>
              <a:spcAft>
                <a:spcPts val="0"/>
              </a:spcAft>
              <a:buClr>
                <a:srgbClr val="919497"/>
              </a:buClr>
              <a:buSzPts val="1800"/>
              <a:buFont typeface="Arial"/>
              <a:buNone/>
              <a:defRPr/>
            </a:lvl5pPr>
            <a:lvl6pPr marL="0" marR="0" lvl="5" indent="0" algn="r">
              <a:lnSpc>
                <a:spcPct val="100000"/>
              </a:lnSpc>
              <a:spcBef>
                <a:spcPts val="0"/>
              </a:spcBef>
              <a:spcAft>
                <a:spcPts val="0"/>
              </a:spcAft>
              <a:buClr>
                <a:srgbClr val="919497"/>
              </a:buClr>
              <a:buSzPts val="1800"/>
              <a:buFont typeface="Arial"/>
              <a:buNone/>
              <a:defRPr/>
            </a:lvl6pPr>
            <a:lvl7pPr marL="0" marR="0" lvl="6" indent="0" algn="r">
              <a:lnSpc>
                <a:spcPct val="100000"/>
              </a:lnSpc>
              <a:spcBef>
                <a:spcPts val="0"/>
              </a:spcBef>
              <a:spcAft>
                <a:spcPts val="0"/>
              </a:spcAft>
              <a:buClr>
                <a:srgbClr val="919497"/>
              </a:buClr>
              <a:buSzPts val="1800"/>
              <a:buFont typeface="Arial"/>
              <a:buNone/>
              <a:defRPr/>
            </a:lvl7pPr>
            <a:lvl8pPr marL="0" marR="0" lvl="7" indent="0" algn="r">
              <a:lnSpc>
                <a:spcPct val="100000"/>
              </a:lnSpc>
              <a:spcBef>
                <a:spcPts val="0"/>
              </a:spcBef>
              <a:spcAft>
                <a:spcPts val="0"/>
              </a:spcAft>
              <a:buClr>
                <a:srgbClr val="919497"/>
              </a:buClr>
              <a:buSzPts val="1800"/>
              <a:buFont typeface="Arial"/>
              <a:buNone/>
              <a:defRPr/>
            </a:lvl8pPr>
            <a:lvl9pPr marL="0" marR="0" lvl="8" indent="0" algn="r">
              <a:lnSpc>
                <a:spcPct val="100000"/>
              </a:lnSpc>
              <a:spcBef>
                <a:spcPts val="0"/>
              </a:spcBef>
              <a:spcAft>
                <a:spcPts val="0"/>
              </a:spcAft>
              <a:buClr>
                <a:srgbClr val="919497"/>
              </a:buClr>
              <a:buSzPts val="1800"/>
              <a:buFont typeface="Arial"/>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sz="1200" b="0" i="0" u="none" strike="noStrike" cap="none">
              <a:solidFill>
                <a:srgbClr val="919497"/>
              </a:solidFill>
              <a:latin typeface="Arial"/>
              <a:ea typeface="Arial"/>
              <a:cs typeface="Arial"/>
              <a:sym typeface="Arial"/>
            </a:endParaRPr>
          </a:p>
        </p:txBody>
      </p:sp>
      <p:cxnSp>
        <p:nvCxnSpPr>
          <p:cNvPr id="15489" name="Google Shape;15489;p130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cxnSp>
        <p:nvCxnSpPr>
          <p:cNvPr id="15490" name="Google Shape;15490;p1307"/>
          <p:cNvCxnSpPr/>
          <p:nvPr/>
        </p:nvCxnSpPr>
        <p:spPr>
          <a:xfrm>
            <a:off x="707297" y="1425988"/>
            <a:ext cx="1097280" cy="0"/>
          </a:xfrm>
          <a:prstGeom prst="straightConnector1">
            <a:avLst/>
          </a:prstGeom>
          <a:noFill/>
          <a:ln w="31725" cap="flat" cmpd="sng">
            <a:solidFill>
              <a:srgbClr val="F58366"/>
            </a:solidFill>
            <a:prstDash val="solid"/>
            <a:miter lim="8000"/>
            <a:headEnd type="none" w="sm" len="sm"/>
            <a:tailEnd type="none" w="sm" len="sm"/>
          </a:ln>
        </p:spPr>
      </p:cxnSp>
      <p:sp>
        <p:nvSpPr>
          <p:cNvPr id="15491" name="Google Shape;15491;p1307"/>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Arial"/>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952.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15492"/>
        <p:cNvGrpSpPr/>
        <p:nvPr/>
      </p:nvGrpSpPr>
      <p:grpSpPr>
        <a:xfrm>
          <a:off x="0" y="0"/>
          <a:ext cx="0" cy="0"/>
          <a:chOff x="0" y="0"/>
          <a:chExt cx="0" cy="0"/>
        </a:xfrm>
      </p:grpSpPr>
      <p:grpSp>
        <p:nvGrpSpPr>
          <p:cNvPr id="15493" name="Google Shape;15493;p1308"/>
          <p:cNvGrpSpPr/>
          <p:nvPr/>
        </p:nvGrpSpPr>
        <p:grpSpPr>
          <a:xfrm>
            <a:off x="0" y="0"/>
            <a:ext cx="12191996" cy="2148830"/>
            <a:chOff x="0" y="0"/>
            <a:chExt cx="12191996" cy="2148830"/>
          </a:xfrm>
        </p:grpSpPr>
        <p:sp>
          <p:nvSpPr>
            <p:cNvPr id="15494" name="Google Shape;15494;p1308"/>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Arial"/>
                <a:buNone/>
              </a:pPr>
              <a:endParaRPr sz="1800" b="0" i="0" u="none" strike="noStrike" cap="none">
                <a:solidFill>
                  <a:srgbClr val="444C55"/>
                </a:solidFill>
                <a:latin typeface="Arial"/>
                <a:ea typeface="Arial"/>
                <a:cs typeface="Arial"/>
                <a:sym typeface="Arial"/>
              </a:endParaRPr>
            </a:p>
          </p:txBody>
        </p:sp>
        <p:sp>
          <p:nvSpPr>
            <p:cNvPr id="15495" name="Google Shape;15495;p1308"/>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Arial"/>
                <a:buNone/>
              </a:pPr>
              <a:endParaRPr sz="1800" b="0" i="0" u="none" strike="noStrike" cap="none">
                <a:solidFill>
                  <a:srgbClr val="444C55"/>
                </a:solidFill>
                <a:latin typeface="Arial"/>
                <a:ea typeface="Arial"/>
                <a:cs typeface="Arial"/>
                <a:sym typeface="Arial"/>
              </a:endParaRPr>
            </a:p>
          </p:txBody>
        </p:sp>
      </p:grpSp>
      <p:sp>
        <p:nvSpPr>
          <p:cNvPr id="15496" name="Google Shape;15496;p1308"/>
          <p:cNvSpPr/>
          <p:nvPr/>
        </p:nvSpPr>
        <p:spPr>
          <a:xfrm>
            <a:off x="902366" y="1517694"/>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Arial"/>
              <a:buNone/>
            </a:pPr>
            <a:endParaRPr sz="1800" b="0" i="0" u="none" strike="noStrike" cap="none">
              <a:solidFill>
                <a:srgbClr val="FFFFFF"/>
              </a:solidFill>
              <a:latin typeface="Arial"/>
              <a:ea typeface="Arial"/>
              <a:cs typeface="Arial"/>
              <a:sym typeface="Arial"/>
            </a:endParaRPr>
          </a:p>
        </p:txBody>
      </p:sp>
      <p:cxnSp>
        <p:nvCxnSpPr>
          <p:cNvPr id="15497" name="Google Shape;15497;p1308"/>
          <p:cNvCxnSpPr/>
          <p:nvPr/>
        </p:nvCxnSpPr>
        <p:spPr>
          <a:xfrm>
            <a:off x="1325945" y="3080083"/>
            <a:ext cx="685397" cy="0"/>
          </a:xfrm>
          <a:prstGeom prst="straightConnector1">
            <a:avLst/>
          </a:prstGeom>
          <a:noFill/>
          <a:ln w="31725" cap="flat" cmpd="sng">
            <a:solidFill>
              <a:srgbClr val="F58366"/>
            </a:solidFill>
            <a:prstDash val="solid"/>
            <a:miter lim="8000"/>
            <a:headEnd type="none" w="sm" len="sm"/>
            <a:tailEnd type="none" w="sm" len="sm"/>
          </a:ln>
        </p:spPr>
      </p:cxnSp>
      <p:sp>
        <p:nvSpPr>
          <p:cNvPr id="15498" name="Google Shape;15498;p1308"/>
          <p:cNvSpPr txBox="1">
            <a:spLocks noGrp="1"/>
          </p:cNvSpPr>
          <p:nvPr>
            <p:ph type="body" idx="1"/>
          </p:nvPr>
        </p:nvSpPr>
        <p:spPr>
          <a:xfrm>
            <a:off x="1219197" y="3429001"/>
            <a:ext cx="5582649" cy="1413561"/>
          </a:xfrm>
          <a:prstGeom prst="rect">
            <a:avLst/>
          </a:prstGeom>
          <a:noFill/>
          <a:ln>
            <a:noFill/>
          </a:ln>
        </p:spPr>
        <p:txBody>
          <a:bodyPr spcFirstLastPara="1" wrap="square" lIns="91400" tIns="45700" rIns="91400" bIns="45700" anchor="t" anchorCtr="0">
            <a:normAutofit/>
          </a:bodyPr>
          <a:lstStyle>
            <a:lvl1pPr marL="304815" lvl="0" indent="-152408" algn="l">
              <a:lnSpc>
                <a:spcPct val="9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5499" name="Google Shape;15499;p1308"/>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rmAutofit/>
          </a:bodyPr>
          <a:lstStyle>
            <a:lvl1pPr lvl="0" algn="l">
              <a:lnSpc>
                <a:spcPct val="90000"/>
              </a:lnSpc>
              <a:spcBef>
                <a:spcPts val="0"/>
              </a:spcBef>
              <a:spcAft>
                <a:spcPts val="0"/>
              </a:spcAft>
              <a:buClr>
                <a:srgbClr val="444C55"/>
              </a:buClr>
              <a:buSzPts val="9000"/>
              <a:buFont typeface="Arial"/>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5500" name="Google Shape;15500;p1308"/>
          <p:cNvPicPr preferRelativeResize="0"/>
          <p:nvPr/>
        </p:nvPicPr>
        <p:blipFill rotWithShape="1">
          <a:blip r:embed="rId2">
            <a:alphaModFix/>
          </a:blip>
          <a:srcRect/>
          <a:stretch/>
        </p:blipFill>
        <p:spPr>
          <a:xfrm>
            <a:off x="902366" y="228371"/>
            <a:ext cx="2025313" cy="911940"/>
          </a:xfrm>
          <a:prstGeom prst="rect">
            <a:avLst/>
          </a:prstGeom>
          <a:noFill/>
          <a:ln>
            <a:noFill/>
          </a:ln>
        </p:spPr>
      </p:pic>
    </p:spTree>
  </p:cSld>
  <p:clrMapOvr>
    <a:masterClrMapping/>
  </p:clrMapOvr>
</p:sldLayout>
</file>

<file path=ppt/slideLayouts/slideLayout1953.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15501"/>
        <p:cNvGrpSpPr/>
        <p:nvPr/>
      </p:nvGrpSpPr>
      <p:grpSpPr>
        <a:xfrm>
          <a:off x="0" y="0"/>
          <a:ext cx="0" cy="0"/>
          <a:chOff x="0" y="0"/>
          <a:chExt cx="0" cy="0"/>
        </a:xfrm>
      </p:grpSpPr>
      <p:sp>
        <p:nvSpPr>
          <p:cNvPr id="15502" name="Google Shape;15502;p1309"/>
          <p:cNvSpPr txBox="1">
            <a:spLocks noGrp="1"/>
          </p:cNvSpPr>
          <p:nvPr>
            <p:ph type="title"/>
          </p:nvPr>
        </p:nvSpPr>
        <p:spPr>
          <a:xfrm>
            <a:off x="513344" y="2633536"/>
            <a:ext cx="5194432" cy="2387598"/>
          </a:xfrm>
          <a:prstGeom prst="rect">
            <a:avLst/>
          </a:prstGeom>
          <a:noFill/>
          <a:ln>
            <a:noFill/>
          </a:ln>
        </p:spPr>
        <p:txBody>
          <a:bodyPr spcFirstLastPara="1" wrap="square" lIns="91400" tIns="45700" rIns="91400" bIns="45700" anchor="b" anchorCtr="0">
            <a:normAutofit/>
          </a:bodyPr>
          <a:lstStyle>
            <a:lvl1pPr lvl="0" algn="l">
              <a:lnSpc>
                <a:spcPct val="90000"/>
              </a:lnSpc>
              <a:spcBef>
                <a:spcPts val="0"/>
              </a:spcBef>
              <a:spcAft>
                <a:spcPts val="0"/>
              </a:spcAft>
              <a:buClr>
                <a:srgbClr val="444C55"/>
              </a:buClr>
              <a:buSzPts val="6000"/>
              <a:buFont typeface="Arial"/>
              <a:buNone/>
              <a:defRPr sz="4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503" name="Google Shape;15503;p1309"/>
          <p:cNvSpPr txBox="1">
            <a:spLocks noGrp="1"/>
          </p:cNvSpPr>
          <p:nvPr>
            <p:ph type="subTitle" idx="1"/>
          </p:nvPr>
        </p:nvSpPr>
        <p:spPr>
          <a:xfrm>
            <a:off x="513344" y="5400327"/>
            <a:ext cx="5194432" cy="986564"/>
          </a:xfrm>
          <a:prstGeom prst="rect">
            <a:avLst/>
          </a:prstGeom>
          <a:noFill/>
          <a:ln>
            <a:noFill/>
          </a:ln>
        </p:spPr>
        <p:txBody>
          <a:bodyPr spcFirstLastPara="1" wrap="square" lIns="91400" tIns="45700" rIns="91400" bIns="45700" anchor="t" anchorCtr="0">
            <a:normAutofit/>
          </a:bodyPr>
          <a:lstStyle>
            <a:lvl1pPr lvl="0" algn="l">
              <a:lnSpc>
                <a:spcPct val="9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cxnSp>
        <p:nvCxnSpPr>
          <p:cNvPr id="15504" name="Google Shape;15504;p1309"/>
          <p:cNvCxnSpPr/>
          <p:nvPr/>
        </p:nvCxnSpPr>
        <p:spPr>
          <a:xfrm>
            <a:off x="620091" y="5141451"/>
            <a:ext cx="2286000" cy="0"/>
          </a:xfrm>
          <a:prstGeom prst="straightConnector1">
            <a:avLst/>
          </a:prstGeom>
          <a:noFill/>
          <a:ln w="31725" cap="flat" cmpd="sng">
            <a:solidFill>
              <a:srgbClr val="F58366"/>
            </a:solidFill>
            <a:prstDash val="solid"/>
            <a:miter lim="8000"/>
            <a:headEnd type="none" w="sm" len="sm"/>
            <a:tailEnd type="none" w="sm" len="sm"/>
          </a:ln>
        </p:spPr>
      </p:cxnSp>
      <p:grpSp>
        <p:nvGrpSpPr>
          <p:cNvPr id="15505" name="Google Shape;15505;p1309"/>
          <p:cNvGrpSpPr/>
          <p:nvPr/>
        </p:nvGrpSpPr>
        <p:grpSpPr>
          <a:xfrm>
            <a:off x="0" y="0"/>
            <a:ext cx="6418722" cy="1509820"/>
            <a:chOff x="0" y="0"/>
            <a:chExt cx="6418722" cy="1509820"/>
          </a:xfrm>
        </p:grpSpPr>
        <p:sp>
          <p:nvSpPr>
            <p:cNvPr id="15506" name="Google Shape;15506;p1309"/>
            <p:cNvSpPr/>
            <p:nvPr/>
          </p:nvSpPr>
          <p:spPr>
            <a:xfrm flipH="1">
              <a:off x="0" y="0"/>
              <a:ext cx="6418722" cy="1509820"/>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Arial"/>
                <a:buNone/>
              </a:pPr>
              <a:endParaRPr sz="1800" b="0" i="0" u="none" strike="noStrike" cap="none">
                <a:solidFill>
                  <a:srgbClr val="444C55"/>
                </a:solidFill>
                <a:latin typeface="Arial"/>
                <a:ea typeface="Arial"/>
                <a:cs typeface="Arial"/>
                <a:sym typeface="Arial"/>
              </a:endParaRPr>
            </a:p>
          </p:txBody>
        </p:sp>
        <p:sp>
          <p:nvSpPr>
            <p:cNvPr id="15507" name="Google Shape;15507;p1309"/>
            <p:cNvSpPr/>
            <p:nvPr/>
          </p:nvSpPr>
          <p:spPr>
            <a:xfrm flipH="1">
              <a:off x="0" y="0"/>
              <a:ext cx="6244227" cy="1352022"/>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Arial"/>
                <a:buNone/>
              </a:pPr>
              <a:endParaRPr sz="1800" b="0" i="0" u="none" strike="noStrike" cap="none">
                <a:solidFill>
                  <a:srgbClr val="444C55"/>
                </a:solidFill>
                <a:latin typeface="Arial"/>
                <a:ea typeface="Arial"/>
                <a:cs typeface="Arial"/>
                <a:sym typeface="Arial"/>
              </a:endParaRPr>
            </a:p>
          </p:txBody>
        </p:sp>
      </p:grpSp>
      <p:pic>
        <p:nvPicPr>
          <p:cNvPr id="15508" name="Google Shape;15508;p1309"/>
          <p:cNvPicPr preferRelativeResize="0"/>
          <p:nvPr/>
        </p:nvPicPr>
        <p:blipFill rotWithShape="1">
          <a:blip r:embed="rId2">
            <a:alphaModFix/>
          </a:blip>
          <a:srcRect/>
          <a:stretch/>
        </p:blipFill>
        <p:spPr>
          <a:xfrm>
            <a:off x="513345" y="136529"/>
            <a:ext cx="1945203" cy="879972"/>
          </a:xfrm>
          <a:prstGeom prst="rect">
            <a:avLst/>
          </a:prstGeom>
          <a:noFill/>
          <a:ln>
            <a:noFill/>
          </a:ln>
        </p:spPr>
      </p:pic>
    </p:spTree>
  </p:cSld>
  <p:clrMapOvr>
    <a:masterClrMapping/>
  </p:clrMapOvr>
</p:sldLayout>
</file>

<file path=ppt/slideLayouts/slideLayout195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5509"/>
        <p:cNvGrpSpPr/>
        <p:nvPr/>
      </p:nvGrpSpPr>
      <p:grpSpPr>
        <a:xfrm>
          <a:off x="0" y="0"/>
          <a:ext cx="0" cy="0"/>
          <a:chOff x="0" y="0"/>
          <a:chExt cx="0" cy="0"/>
        </a:xfrm>
      </p:grpSpPr>
      <p:sp>
        <p:nvSpPr>
          <p:cNvPr id="15510" name="Google Shape;15510;p1310"/>
          <p:cNvSpPr txBox="1">
            <a:spLocks noGrp="1"/>
          </p:cNvSpPr>
          <p:nvPr>
            <p:ph type="dt" idx="10"/>
          </p:nvPr>
        </p:nvSpPr>
        <p:spPr>
          <a:xfrm>
            <a:off x="0" y="0"/>
            <a:ext cx="0" cy="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444C55"/>
              </a:buClr>
              <a:buSzPts val="2700"/>
              <a:buFont typeface="Arial"/>
              <a:buNone/>
              <a:defRPr sz="1800" b="0" i="0" u="none" strike="noStrike" cap="none">
                <a:solidFill>
                  <a:srgbClr val="444C55"/>
                </a:solidFill>
                <a:latin typeface="Arial"/>
                <a:ea typeface="Arial"/>
                <a:cs typeface="Arial"/>
                <a:sym typeface="Arial"/>
              </a:defRPr>
            </a:lvl1pPr>
            <a:lvl2pPr marR="0" lvl="1" algn="l" rtl="0">
              <a:spcBef>
                <a:spcPts val="0"/>
              </a:spcBef>
              <a:spcAft>
                <a:spcPts val="0"/>
              </a:spcAft>
              <a:buSzPts val="1400"/>
              <a:buNone/>
              <a:defRPr sz="12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2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2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2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2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2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2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200" b="0" i="0" u="none" strike="noStrike" cap="none">
                <a:solidFill>
                  <a:schemeClr val="dk1"/>
                </a:solidFill>
                <a:latin typeface="Arial"/>
                <a:ea typeface="Arial"/>
                <a:cs typeface="Arial"/>
                <a:sym typeface="Arial"/>
              </a:defRPr>
            </a:lvl9pPr>
          </a:lstStyle>
          <a:p>
            <a:endParaRPr/>
          </a:p>
        </p:txBody>
      </p:sp>
      <p:sp>
        <p:nvSpPr>
          <p:cNvPr id="15511" name="Google Shape;15511;p1310"/>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Arial"/>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512" name="Google Shape;15512;p1310"/>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Arial"/>
              <a:buNone/>
              <a:defRPr/>
            </a:lvl1pPr>
            <a:lvl2pPr marL="0" marR="0" lvl="1" indent="0" algn="r">
              <a:lnSpc>
                <a:spcPct val="100000"/>
              </a:lnSpc>
              <a:spcBef>
                <a:spcPts val="0"/>
              </a:spcBef>
              <a:spcAft>
                <a:spcPts val="0"/>
              </a:spcAft>
              <a:buClr>
                <a:srgbClr val="919497"/>
              </a:buClr>
              <a:buSzPts val="1800"/>
              <a:buFont typeface="Arial"/>
              <a:buNone/>
              <a:defRPr/>
            </a:lvl2pPr>
            <a:lvl3pPr marL="0" marR="0" lvl="2" indent="0" algn="r">
              <a:lnSpc>
                <a:spcPct val="100000"/>
              </a:lnSpc>
              <a:spcBef>
                <a:spcPts val="0"/>
              </a:spcBef>
              <a:spcAft>
                <a:spcPts val="0"/>
              </a:spcAft>
              <a:buClr>
                <a:srgbClr val="919497"/>
              </a:buClr>
              <a:buSzPts val="1800"/>
              <a:buFont typeface="Arial"/>
              <a:buNone/>
              <a:defRPr/>
            </a:lvl3pPr>
            <a:lvl4pPr marL="0" marR="0" lvl="3" indent="0" algn="r">
              <a:lnSpc>
                <a:spcPct val="100000"/>
              </a:lnSpc>
              <a:spcBef>
                <a:spcPts val="0"/>
              </a:spcBef>
              <a:spcAft>
                <a:spcPts val="0"/>
              </a:spcAft>
              <a:buClr>
                <a:srgbClr val="919497"/>
              </a:buClr>
              <a:buSzPts val="1800"/>
              <a:buFont typeface="Arial"/>
              <a:buNone/>
              <a:defRPr/>
            </a:lvl4pPr>
            <a:lvl5pPr marL="0" marR="0" lvl="4" indent="0" algn="r">
              <a:lnSpc>
                <a:spcPct val="100000"/>
              </a:lnSpc>
              <a:spcBef>
                <a:spcPts val="0"/>
              </a:spcBef>
              <a:spcAft>
                <a:spcPts val="0"/>
              </a:spcAft>
              <a:buClr>
                <a:srgbClr val="919497"/>
              </a:buClr>
              <a:buSzPts val="1800"/>
              <a:buFont typeface="Arial"/>
              <a:buNone/>
              <a:defRPr/>
            </a:lvl5pPr>
            <a:lvl6pPr marL="0" marR="0" lvl="5" indent="0" algn="r">
              <a:lnSpc>
                <a:spcPct val="100000"/>
              </a:lnSpc>
              <a:spcBef>
                <a:spcPts val="0"/>
              </a:spcBef>
              <a:spcAft>
                <a:spcPts val="0"/>
              </a:spcAft>
              <a:buClr>
                <a:srgbClr val="919497"/>
              </a:buClr>
              <a:buSzPts val="1800"/>
              <a:buFont typeface="Arial"/>
              <a:buNone/>
              <a:defRPr/>
            </a:lvl6pPr>
            <a:lvl7pPr marL="0" marR="0" lvl="6" indent="0" algn="r">
              <a:lnSpc>
                <a:spcPct val="100000"/>
              </a:lnSpc>
              <a:spcBef>
                <a:spcPts val="0"/>
              </a:spcBef>
              <a:spcAft>
                <a:spcPts val="0"/>
              </a:spcAft>
              <a:buClr>
                <a:srgbClr val="919497"/>
              </a:buClr>
              <a:buSzPts val="1800"/>
              <a:buFont typeface="Arial"/>
              <a:buNone/>
              <a:defRPr/>
            </a:lvl7pPr>
            <a:lvl8pPr marL="0" marR="0" lvl="7" indent="0" algn="r">
              <a:lnSpc>
                <a:spcPct val="100000"/>
              </a:lnSpc>
              <a:spcBef>
                <a:spcPts val="0"/>
              </a:spcBef>
              <a:spcAft>
                <a:spcPts val="0"/>
              </a:spcAft>
              <a:buClr>
                <a:srgbClr val="919497"/>
              </a:buClr>
              <a:buSzPts val="1800"/>
              <a:buFont typeface="Arial"/>
              <a:buNone/>
              <a:defRPr/>
            </a:lvl8pPr>
            <a:lvl9pPr marL="0" marR="0" lvl="8" indent="0" algn="r">
              <a:lnSpc>
                <a:spcPct val="100000"/>
              </a:lnSpc>
              <a:spcBef>
                <a:spcPts val="0"/>
              </a:spcBef>
              <a:spcAft>
                <a:spcPts val="0"/>
              </a:spcAft>
              <a:buClr>
                <a:srgbClr val="919497"/>
              </a:buClr>
              <a:buSzPts val="1800"/>
              <a:buFont typeface="Arial"/>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sz="1200" b="0" i="0" u="none" strike="noStrike" cap="none">
              <a:solidFill>
                <a:srgbClr val="919497"/>
              </a:solidFill>
              <a:latin typeface="Arial"/>
              <a:ea typeface="Arial"/>
              <a:cs typeface="Arial"/>
              <a:sym typeface="Arial"/>
            </a:endParaRPr>
          </a:p>
        </p:txBody>
      </p:sp>
    </p:spTree>
  </p:cSld>
  <p:clrMapOvr>
    <a:masterClrMapping/>
  </p:clrMapOvr>
</p:sldLayout>
</file>

<file path=ppt/slideLayouts/slideLayout1955.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18429"/>
        <p:cNvGrpSpPr/>
        <p:nvPr/>
      </p:nvGrpSpPr>
      <p:grpSpPr>
        <a:xfrm>
          <a:off x="0" y="0"/>
          <a:ext cx="0" cy="0"/>
          <a:chOff x="0" y="0"/>
          <a:chExt cx="0" cy="0"/>
        </a:xfrm>
      </p:grpSpPr>
      <p:sp>
        <p:nvSpPr>
          <p:cNvPr id="18430" name="Google Shape;18430;p11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31" name="Google Shape;18431;p110"/>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8432" name="Google Shape;18432;p110"/>
          <p:cNvGrpSpPr/>
          <p:nvPr/>
        </p:nvGrpSpPr>
        <p:grpSpPr>
          <a:xfrm>
            <a:off x="7191543" y="1"/>
            <a:ext cx="5000459" cy="1425992"/>
            <a:chOff x="7191542" y="1"/>
            <a:chExt cx="5000459" cy="1425992"/>
          </a:xfrm>
        </p:grpSpPr>
        <p:pic>
          <p:nvPicPr>
            <p:cNvPr id="18433" name="Google Shape;18433;p1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434" name="Google Shape;18434;p110"/>
            <p:cNvGrpSpPr/>
            <p:nvPr/>
          </p:nvGrpSpPr>
          <p:grpSpPr>
            <a:xfrm>
              <a:off x="7191542" y="1"/>
              <a:ext cx="5000459" cy="1425992"/>
              <a:chOff x="7186272" y="0"/>
              <a:chExt cx="5005729" cy="1427495"/>
            </a:xfrm>
          </p:grpSpPr>
          <p:sp>
            <p:nvSpPr>
              <p:cNvPr id="18435" name="Google Shape;18435;p1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8436" name="Google Shape;18436;p1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sp>
        <p:nvSpPr>
          <p:cNvPr id="18437" name="Google Shape;18437;p110"/>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438" name="Google Shape;18438;p110"/>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lvl="1"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lvl="2"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lvl="3"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lvl="4"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lvl="5"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lvl="6"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lvl="7"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lvl="8"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8439" name="Google Shape;18439;p1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440" name="Google Shape;18440;p11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1956.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18441"/>
        <p:cNvGrpSpPr/>
        <p:nvPr/>
      </p:nvGrpSpPr>
      <p:grpSpPr>
        <a:xfrm>
          <a:off x="0" y="0"/>
          <a:ext cx="0" cy="0"/>
          <a:chOff x="0" y="0"/>
          <a:chExt cx="0" cy="0"/>
        </a:xfrm>
      </p:grpSpPr>
      <p:sp>
        <p:nvSpPr>
          <p:cNvPr id="18442" name="Google Shape;18442;p2038"/>
          <p:cNvSpPr/>
          <p:nvPr/>
        </p:nvSpPr>
        <p:spPr>
          <a:xfrm>
            <a:off x="902368" y="1294414"/>
            <a:ext cx="11289632" cy="3822607"/>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8443" name="Google Shape;18443;p2038"/>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44" name="Google Shape;18444;p2038"/>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445" name="Google Shape;18445;p2038"/>
          <p:cNvSpPr>
            <a:spLocks noGrp="1"/>
          </p:cNvSpPr>
          <p:nvPr>
            <p:ph type="pic" idx="2"/>
          </p:nvPr>
        </p:nvSpPr>
        <p:spPr>
          <a:xfrm>
            <a:off x="7118684" y="233915"/>
            <a:ext cx="5073316" cy="5943600"/>
          </a:xfrm>
          <a:prstGeom prst="rect">
            <a:avLst/>
          </a:prstGeom>
          <a:noFill/>
          <a:ln>
            <a:noFill/>
          </a:ln>
        </p:spPr>
      </p:sp>
      <p:grpSp>
        <p:nvGrpSpPr>
          <p:cNvPr id="18446" name="Google Shape;18446;p2038"/>
          <p:cNvGrpSpPr/>
          <p:nvPr/>
        </p:nvGrpSpPr>
        <p:grpSpPr>
          <a:xfrm>
            <a:off x="0" y="5020349"/>
            <a:ext cx="12192000" cy="1837653"/>
            <a:chOff x="0" y="5020348"/>
            <a:chExt cx="12192000" cy="1837653"/>
          </a:xfrm>
        </p:grpSpPr>
        <p:sp>
          <p:nvSpPr>
            <p:cNvPr id="18447" name="Google Shape;18447;p203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8448" name="Google Shape;18448;p203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pic>
          <p:nvPicPr>
            <p:cNvPr id="18449" name="Google Shape;18449;p203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957.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18450"/>
        <p:cNvGrpSpPr/>
        <p:nvPr/>
      </p:nvGrpSpPr>
      <p:grpSpPr>
        <a:xfrm>
          <a:off x="0" y="0"/>
          <a:ext cx="0" cy="0"/>
          <a:chOff x="0" y="0"/>
          <a:chExt cx="0" cy="0"/>
        </a:xfrm>
      </p:grpSpPr>
      <p:grpSp>
        <p:nvGrpSpPr>
          <p:cNvPr id="18451" name="Google Shape;18451;p2039"/>
          <p:cNvGrpSpPr/>
          <p:nvPr/>
        </p:nvGrpSpPr>
        <p:grpSpPr>
          <a:xfrm>
            <a:off x="0" y="5020348"/>
            <a:ext cx="12192000" cy="1837653"/>
            <a:chOff x="0" y="5020347"/>
            <a:chExt cx="12192000" cy="1837653"/>
          </a:xfrm>
        </p:grpSpPr>
        <p:sp>
          <p:nvSpPr>
            <p:cNvPr id="18452" name="Google Shape;18452;p203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8453" name="Google Shape;18453;p203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8454" name="Google Shape;18454;p203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pic>
          <p:nvPicPr>
            <p:cNvPr id="18455" name="Google Shape;18455;p203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8456" name="Google Shape;18456;p2039"/>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57" name="Google Shape;18457;p2039"/>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958.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18458"/>
        <p:cNvGrpSpPr/>
        <p:nvPr/>
      </p:nvGrpSpPr>
      <p:grpSpPr>
        <a:xfrm>
          <a:off x="0" y="0"/>
          <a:ext cx="0" cy="0"/>
          <a:chOff x="0" y="0"/>
          <a:chExt cx="0" cy="0"/>
        </a:xfrm>
      </p:grpSpPr>
      <p:grpSp>
        <p:nvGrpSpPr>
          <p:cNvPr id="18459" name="Google Shape;18459;p2040"/>
          <p:cNvGrpSpPr/>
          <p:nvPr/>
        </p:nvGrpSpPr>
        <p:grpSpPr>
          <a:xfrm>
            <a:off x="7191543" y="1"/>
            <a:ext cx="5000459" cy="1425992"/>
            <a:chOff x="7191542" y="1"/>
            <a:chExt cx="5000459" cy="1425992"/>
          </a:xfrm>
        </p:grpSpPr>
        <p:pic>
          <p:nvPicPr>
            <p:cNvPr id="18460" name="Google Shape;18460;p204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461" name="Google Shape;18461;p2040"/>
            <p:cNvGrpSpPr/>
            <p:nvPr/>
          </p:nvGrpSpPr>
          <p:grpSpPr>
            <a:xfrm>
              <a:off x="7191542" y="1"/>
              <a:ext cx="5000459" cy="1425992"/>
              <a:chOff x="7186272" y="0"/>
              <a:chExt cx="5005729" cy="1427495"/>
            </a:xfrm>
          </p:grpSpPr>
          <p:sp>
            <p:nvSpPr>
              <p:cNvPr id="18462" name="Google Shape;18462;p20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8463" name="Google Shape;18463;p20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sp>
        <p:nvSpPr>
          <p:cNvPr id="18464" name="Google Shape;18464;p204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65" name="Google Shape;18465;p2040"/>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466" name="Google Shape;18466;p204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lvl="1"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lvl="2"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lvl="3"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lvl="4"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lvl="5"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lvl="6"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lvl="7"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lvl="8"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8467" name="Google Shape;18467;p20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468" name="Google Shape;18468;p204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1959.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18469"/>
        <p:cNvGrpSpPr/>
        <p:nvPr/>
      </p:nvGrpSpPr>
      <p:grpSpPr>
        <a:xfrm>
          <a:off x="0" y="0"/>
          <a:ext cx="0" cy="0"/>
          <a:chOff x="0" y="0"/>
          <a:chExt cx="0" cy="0"/>
        </a:xfrm>
      </p:grpSpPr>
      <p:sp>
        <p:nvSpPr>
          <p:cNvPr id="18470" name="Google Shape;18470;p20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8471" name="Google Shape;18471;p20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472" name="Google Shape;18472;p2041"/>
          <p:cNvGrpSpPr/>
          <p:nvPr/>
        </p:nvGrpSpPr>
        <p:grpSpPr>
          <a:xfrm>
            <a:off x="0" y="5379427"/>
            <a:ext cx="2807368" cy="753891"/>
            <a:chOff x="0" y="5379426"/>
            <a:chExt cx="2807368" cy="753891"/>
          </a:xfrm>
        </p:grpSpPr>
        <p:sp>
          <p:nvSpPr>
            <p:cNvPr id="18473" name="Google Shape;18473;p20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8474" name="Google Shape;18474;p20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grpSp>
      <p:sp>
        <p:nvSpPr>
          <p:cNvPr id="18475" name="Google Shape;18475;p2041"/>
          <p:cNvSpPr>
            <a:spLocks noGrp="1"/>
          </p:cNvSpPr>
          <p:nvPr>
            <p:ph type="pic" idx="2"/>
          </p:nvPr>
        </p:nvSpPr>
        <p:spPr>
          <a:xfrm>
            <a:off x="2807368" y="457202"/>
            <a:ext cx="8915400" cy="5943598"/>
          </a:xfrm>
          <a:prstGeom prst="rect">
            <a:avLst/>
          </a:prstGeom>
          <a:noFill/>
          <a:ln>
            <a:noFill/>
          </a:ln>
        </p:spPr>
      </p:sp>
      <p:pic>
        <p:nvPicPr>
          <p:cNvPr id="18476" name="Google Shape;18476;p204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matchingName="1_Title and Content">
  <p:cSld name="1_Title and Content 6">
    <p:spTree>
      <p:nvGrpSpPr>
        <p:cNvPr id="1" name="Shape 10925"/>
        <p:cNvGrpSpPr/>
        <p:nvPr/>
      </p:nvGrpSpPr>
      <p:grpSpPr>
        <a:xfrm>
          <a:off x="0" y="0"/>
          <a:ext cx="0" cy="0"/>
          <a:chOff x="0" y="0"/>
          <a:chExt cx="0" cy="0"/>
        </a:xfrm>
      </p:grpSpPr>
      <p:sp>
        <p:nvSpPr>
          <p:cNvPr id="10926" name="Google Shape;10926;p150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0927" name="Google Shape;10927;p150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0928" name="Google Shape;10928;p150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929" name="Google Shape;10929;p1500"/>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30" name="Google Shape;10930;p1500"/>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960.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18477"/>
        <p:cNvGrpSpPr/>
        <p:nvPr/>
      </p:nvGrpSpPr>
      <p:grpSpPr>
        <a:xfrm>
          <a:off x="0" y="0"/>
          <a:ext cx="0" cy="0"/>
          <a:chOff x="0" y="0"/>
          <a:chExt cx="0" cy="0"/>
        </a:xfrm>
      </p:grpSpPr>
      <p:grpSp>
        <p:nvGrpSpPr>
          <p:cNvPr id="18478" name="Google Shape;18478;p2042"/>
          <p:cNvGrpSpPr/>
          <p:nvPr/>
        </p:nvGrpSpPr>
        <p:grpSpPr>
          <a:xfrm>
            <a:off x="7191543" y="1"/>
            <a:ext cx="5000459" cy="1425992"/>
            <a:chOff x="7191542" y="1"/>
            <a:chExt cx="5000459" cy="1425992"/>
          </a:xfrm>
        </p:grpSpPr>
        <p:pic>
          <p:nvPicPr>
            <p:cNvPr id="18479" name="Google Shape;18479;p20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480" name="Google Shape;18480;p2042"/>
            <p:cNvGrpSpPr/>
            <p:nvPr/>
          </p:nvGrpSpPr>
          <p:grpSpPr>
            <a:xfrm>
              <a:off x="7191542" y="1"/>
              <a:ext cx="5000459" cy="1425992"/>
              <a:chOff x="7186272" y="0"/>
              <a:chExt cx="5005729" cy="1427495"/>
            </a:xfrm>
          </p:grpSpPr>
          <p:sp>
            <p:nvSpPr>
              <p:cNvPr id="18481" name="Google Shape;18481;p20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8482" name="Google Shape;18482;p20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sp>
        <p:nvSpPr>
          <p:cNvPr id="18483" name="Google Shape;18483;p2042"/>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84" name="Google Shape;18484;p2042"/>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2000"/>
              <a:buNone/>
              <a:defRPr sz="2000" b="1"/>
            </a:lvl2pPr>
            <a:lvl3pPr marL="914446" lvl="2" indent="-152408" algn="l">
              <a:lnSpc>
                <a:spcPct val="100000"/>
              </a:lnSpc>
              <a:spcBef>
                <a:spcPts val="1000"/>
              </a:spcBef>
              <a:spcAft>
                <a:spcPts val="0"/>
              </a:spcAft>
              <a:buSzPts val="1800"/>
              <a:buNone/>
              <a:defRPr sz="1800" b="1"/>
            </a:lvl3pPr>
            <a:lvl4pPr marL="1219261" lvl="3" indent="-152408" algn="l">
              <a:lnSpc>
                <a:spcPct val="100000"/>
              </a:lnSpc>
              <a:spcBef>
                <a:spcPts val="1000"/>
              </a:spcBef>
              <a:spcAft>
                <a:spcPts val="0"/>
              </a:spcAft>
              <a:buSzPts val="1600"/>
              <a:buNone/>
              <a:defRPr sz="1600" b="1"/>
            </a:lvl4pPr>
            <a:lvl5pPr marL="1524076" lvl="4" indent="-152408" algn="l">
              <a:lnSpc>
                <a:spcPct val="100000"/>
              </a:lnSpc>
              <a:spcBef>
                <a:spcPts val="1000"/>
              </a:spcBef>
              <a:spcAft>
                <a:spcPts val="0"/>
              </a:spcAft>
              <a:buSzPts val="1600"/>
              <a:buNone/>
              <a:defRPr sz="1600" b="1"/>
            </a:lvl5pPr>
            <a:lvl6pPr marL="1828891" lvl="5" indent="-152408" algn="l">
              <a:lnSpc>
                <a:spcPct val="90000"/>
              </a:lnSpc>
              <a:spcBef>
                <a:spcPts val="10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18485" name="Google Shape;18485;p2042"/>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100000"/>
              </a:lnSpc>
              <a:spcBef>
                <a:spcPts val="1000"/>
              </a:spcBef>
              <a:spcAft>
                <a:spcPts val="0"/>
              </a:spcAft>
              <a:buSzPts val="1800"/>
              <a:buChar char="•"/>
              <a:defRPr sz="1800"/>
            </a:lvl2pPr>
            <a:lvl3pPr marL="914446" lvl="2" indent="-220144" algn="l">
              <a:lnSpc>
                <a:spcPct val="100000"/>
              </a:lnSpc>
              <a:spcBef>
                <a:spcPts val="1000"/>
              </a:spcBef>
              <a:spcAft>
                <a:spcPts val="0"/>
              </a:spcAft>
              <a:buSzPts val="1600"/>
              <a:buChar char="•"/>
              <a:defRPr sz="1600"/>
            </a:lvl3pPr>
            <a:lvl4pPr marL="1219261" lvl="3" indent="-211677" algn="l">
              <a:lnSpc>
                <a:spcPct val="100000"/>
              </a:lnSpc>
              <a:spcBef>
                <a:spcPts val="1000"/>
              </a:spcBef>
              <a:spcAft>
                <a:spcPts val="0"/>
              </a:spcAft>
              <a:buSzPts val="1400"/>
              <a:buChar char="•"/>
              <a:defRPr sz="1400"/>
            </a:lvl4pPr>
            <a:lvl5pPr marL="1524076" lvl="4" indent="-211677" algn="l">
              <a:lnSpc>
                <a:spcPct val="100000"/>
              </a:lnSpc>
              <a:spcBef>
                <a:spcPts val="1000"/>
              </a:spcBef>
              <a:spcAft>
                <a:spcPts val="0"/>
              </a:spcAft>
              <a:buSzPts val="14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486" name="Google Shape;18486;p204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2000"/>
              <a:buNone/>
              <a:defRPr sz="2000" b="1"/>
            </a:lvl2pPr>
            <a:lvl3pPr marL="914446" lvl="2" indent="-152408" algn="l">
              <a:lnSpc>
                <a:spcPct val="100000"/>
              </a:lnSpc>
              <a:spcBef>
                <a:spcPts val="1000"/>
              </a:spcBef>
              <a:spcAft>
                <a:spcPts val="0"/>
              </a:spcAft>
              <a:buSzPts val="1800"/>
              <a:buNone/>
              <a:defRPr sz="1800" b="1"/>
            </a:lvl3pPr>
            <a:lvl4pPr marL="1219261" lvl="3" indent="-152408" algn="l">
              <a:lnSpc>
                <a:spcPct val="100000"/>
              </a:lnSpc>
              <a:spcBef>
                <a:spcPts val="1000"/>
              </a:spcBef>
              <a:spcAft>
                <a:spcPts val="0"/>
              </a:spcAft>
              <a:buSzPts val="1600"/>
              <a:buNone/>
              <a:defRPr sz="1600" b="1"/>
            </a:lvl4pPr>
            <a:lvl5pPr marL="1524076" lvl="4" indent="-152408" algn="l">
              <a:lnSpc>
                <a:spcPct val="100000"/>
              </a:lnSpc>
              <a:spcBef>
                <a:spcPts val="1000"/>
              </a:spcBef>
              <a:spcAft>
                <a:spcPts val="0"/>
              </a:spcAft>
              <a:buSzPts val="1600"/>
              <a:buNone/>
              <a:defRPr sz="1600" b="1"/>
            </a:lvl5pPr>
            <a:lvl6pPr marL="1828891" lvl="5" indent="-152408" algn="l">
              <a:lnSpc>
                <a:spcPct val="90000"/>
              </a:lnSpc>
              <a:spcBef>
                <a:spcPts val="10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18487" name="Google Shape;18487;p204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100000"/>
              </a:lnSpc>
              <a:spcBef>
                <a:spcPts val="1000"/>
              </a:spcBef>
              <a:spcAft>
                <a:spcPts val="0"/>
              </a:spcAft>
              <a:buSzPts val="1800"/>
              <a:buChar char="•"/>
              <a:defRPr sz="1800"/>
            </a:lvl2pPr>
            <a:lvl3pPr marL="914446" lvl="2" indent="-220144" algn="l">
              <a:lnSpc>
                <a:spcPct val="100000"/>
              </a:lnSpc>
              <a:spcBef>
                <a:spcPts val="1000"/>
              </a:spcBef>
              <a:spcAft>
                <a:spcPts val="0"/>
              </a:spcAft>
              <a:buSzPts val="1600"/>
              <a:buChar char="•"/>
              <a:defRPr sz="1600"/>
            </a:lvl3pPr>
            <a:lvl4pPr marL="1219261" lvl="3" indent="-211677" algn="l">
              <a:lnSpc>
                <a:spcPct val="100000"/>
              </a:lnSpc>
              <a:spcBef>
                <a:spcPts val="1000"/>
              </a:spcBef>
              <a:spcAft>
                <a:spcPts val="0"/>
              </a:spcAft>
              <a:buSzPts val="1400"/>
              <a:buChar char="•"/>
              <a:defRPr sz="1400"/>
            </a:lvl4pPr>
            <a:lvl5pPr marL="1524076" lvl="4" indent="-211677" algn="l">
              <a:lnSpc>
                <a:spcPct val="100000"/>
              </a:lnSpc>
              <a:spcBef>
                <a:spcPts val="1000"/>
              </a:spcBef>
              <a:spcAft>
                <a:spcPts val="0"/>
              </a:spcAft>
              <a:buSzPts val="14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488" name="Google Shape;18488;p204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lvl="1"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lvl="2"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lvl="3"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lvl="4"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lvl="5"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lvl="6"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lvl="7"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lvl="8"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8489" name="Google Shape;18489;p20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490" name="Google Shape;18490;p204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1961.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8491"/>
        <p:cNvGrpSpPr/>
        <p:nvPr/>
      </p:nvGrpSpPr>
      <p:grpSpPr>
        <a:xfrm>
          <a:off x="0" y="0"/>
          <a:ext cx="0" cy="0"/>
          <a:chOff x="0" y="0"/>
          <a:chExt cx="0" cy="0"/>
        </a:xfrm>
      </p:grpSpPr>
      <p:sp>
        <p:nvSpPr>
          <p:cNvPr id="18492" name="Google Shape;18492;p2043"/>
          <p:cNvSpPr/>
          <p:nvPr/>
        </p:nvSpPr>
        <p:spPr>
          <a:xfrm>
            <a:off x="902368" y="1294414"/>
            <a:ext cx="11289632" cy="3822607"/>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8493" name="Google Shape;18493;p2043"/>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94" name="Google Shape;18494;p2043"/>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495" name="Google Shape;18495;p2043"/>
          <p:cNvSpPr>
            <a:spLocks noGrp="1"/>
          </p:cNvSpPr>
          <p:nvPr>
            <p:ph type="pic" idx="2"/>
          </p:nvPr>
        </p:nvSpPr>
        <p:spPr>
          <a:xfrm>
            <a:off x="7118684" y="233915"/>
            <a:ext cx="5073316" cy="5943600"/>
          </a:xfrm>
          <a:prstGeom prst="rect">
            <a:avLst/>
          </a:prstGeom>
          <a:noFill/>
          <a:ln>
            <a:noFill/>
          </a:ln>
        </p:spPr>
      </p:sp>
      <p:grpSp>
        <p:nvGrpSpPr>
          <p:cNvPr id="18496" name="Google Shape;18496;p2043"/>
          <p:cNvGrpSpPr/>
          <p:nvPr/>
        </p:nvGrpSpPr>
        <p:grpSpPr>
          <a:xfrm>
            <a:off x="0" y="5020349"/>
            <a:ext cx="12192000" cy="1837653"/>
            <a:chOff x="0" y="5020348"/>
            <a:chExt cx="12192000" cy="1837653"/>
          </a:xfrm>
        </p:grpSpPr>
        <p:sp>
          <p:nvSpPr>
            <p:cNvPr id="18497" name="Google Shape;18497;p204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8498" name="Google Shape;18498;p204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pic>
          <p:nvPicPr>
            <p:cNvPr id="18499" name="Google Shape;18499;p204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962.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8500"/>
        <p:cNvGrpSpPr/>
        <p:nvPr/>
      </p:nvGrpSpPr>
      <p:grpSpPr>
        <a:xfrm>
          <a:off x="0" y="0"/>
          <a:ext cx="0" cy="0"/>
          <a:chOff x="0" y="0"/>
          <a:chExt cx="0" cy="0"/>
        </a:xfrm>
      </p:grpSpPr>
      <p:grpSp>
        <p:nvGrpSpPr>
          <p:cNvPr id="18501" name="Google Shape;18501;p2044"/>
          <p:cNvGrpSpPr/>
          <p:nvPr/>
        </p:nvGrpSpPr>
        <p:grpSpPr>
          <a:xfrm>
            <a:off x="0" y="5020348"/>
            <a:ext cx="12192000" cy="1837653"/>
            <a:chOff x="0" y="5020347"/>
            <a:chExt cx="12192000" cy="1837653"/>
          </a:xfrm>
        </p:grpSpPr>
        <p:sp>
          <p:nvSpPr>
            <p:cNvPr id="18502" name="Google Shape;18502;p204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8503" name="Google Shape;18503;p204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8504" name="Google Shape;18504;p204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pic>
          <p:nvPicPr>
            <p:cNvPr id="18505" name="Google Shape;18505;p204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8506" name="Google Shape;18506;p2044"/>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507" name="Google Shape;18507;p2044"/>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96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8508"/>
        <p:cNvGrpSpPr/>
        <p:nvPr/>
      </p:nvGrpSpPr>
      <p:grpSpPr>
        <a:xfrm>
          <a:off x="0" y="0"/>
          <a:ext cx="0" cy="0"/>
          <a:chOff x="0" y="0"/>
          <a:chExt cx="0" cy="0"/>
        </a:xfrm>
      </p:grpSpPr>
      <p:sp>
        <p:nvSpPr>
          <p:cNvPr id="18509" name="Google Shape;18509;p2045"/>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8510" name="Google Shape;18510;p204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511" name="Google Shape;18511;p2045"/>
          <p:cNvGrpSpPr/>
          <p:nvPr/>
        </p:nvGrpSpPr>
        <p:grpSpPr>
          <a:xfrm>
            <a:off x="0" y="5379427"/>
            <a:ext cx="2807368" cy="753891"/>
            <a:chOff x="0" y="5379426"/>
            <a:chExt cx="2807368" cy="753891"/>
          </a:xfrm>
        </p:grpSpPr>
        <p:sp>
          <p:nvSpPr>
            <p:cNvPr id="18512" name="Google Shape;18512;p204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8513" name="Google Shape;18513;p204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grpSp>
      <p:sp>
        <p:nvSpPr>
          <p:cNvPr id="18514" name="Google Shape;18514;p2045"/>
          <p:cNvSpPr>
            <a:spLocks noGrp="1"/>
          </p:cNvSpPr>
          <p:nvPr>
            <p:ph type="pic" idx="2"/>
          </p:nvPr>
        </p:nvSpPr>
        <p:spPr>
          <a:xfrm>
            <a:off x="2807368" y="457202"/>
            <a:ext cx="8915400" cy="5943598"/>
          </a:xfrm>
          <a:prstGeom prst="rect">
            <a:avLst/>
          </a:prstGeom>
          <a:noFill/>
          <a:ln>
            <a:noFill/>
          </a:ln>
        </p:spPr>
      </p:sp>
      <p:pic>
        <p:nvPicPr>
          <p:cNvPr id="18515" name="Google Shape;18515;p2045"/>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1964.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18516"/>
        <p:cNvGrpSpPr/>
        <p:nvPr/>
      </p:nvGrpSpPr>
      <p:grpSpPr>
        <a:xfrm>
          <a:off x="0" y="0"/>
          <a:ext cx="0" cy="0"/>
          <a:chOff x="0" y="0"/>
          <a:chExt cx="0" cy="0"/>
        </a:xfrm>
      </p:grpSpPr>
      <p:sp>
        <p:nvSpPr>
          <p:cNvPr id="18517" name="Google Shape;18517;p2046"/>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8518" name="Google Shape;18518;p204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519" name="Google Shape;18519;p204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520" name="Google Shape;18520;p204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lvl="1"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lvl="2"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lvl="3"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lvl="4"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lvl="5"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lvl="6"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lvl="7"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lvl="8"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8521" name="Google Shape;18521;p20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522" name="Google Shape;18522;p204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grpSp>
        <p:nvGrpSpPr>
          <p:cNvPr id="18523" name="Google Shape;18523;p2046"/>
          <p:cNvGrpSpPr/>
          <p:nvPr/>
        </p:nvGrpSpPr>
        <p:grpSpPr>
          <a:xfrm>
            <a:off x="7191543" y="1"/>
            <a:ext cx="5000459" cy="1425992"/>
            <a:chOff x="7191542" y="1"/>
            <a:chExt cx="5000459" cy="1425992"/>
          </a:xfrm>
        </p:grpSpPr>
        <p:pic>
          <p:nvPicPr>
            <p:cNvPr id="18524" name="Google Shape;18524;p20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525" name="Google Shape;18525;p2046"/>
            <p:cNvGrpSpPr/>
            <p:nvPr/>
          </p:nvGrpSpPr>
          <p:grpSpPr>
            <a:xfrm>
              <a:off x="7191542" y="1"/>
              <a:ext cx="5000459" cy="1425992"/>
              <a:chOff x="7186272" y="0"/>
              <a:chExt cx="5005729" cy="1427495"/>
            </a:xfrm>
          </p:grpSpPr>
          <p:sp>
            <p:nvSpPr>
              <p:cNvPr id="18526" name="Google Shape;18526;p20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8527" name="Google Shape;18527;p20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pic>
        <p:nvPicPr>
          <p:cNvPr id="18528" name="Google Shape;18528;p204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965.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8529"/>
        <p:cNvGrpSpPr/>
        <p:nvPr/>
      </p:nvGrpSpPr>
      <p:grpSpPr>
        <a:xfrm>
          <a:off x="0" y="0"/>
          <a:ext cx="0" cy="0"/>
          <a:chOff x="0" y="0"/>
          <a:chExt cx="0" cy="0"/>
        </a:xfrm>
      </p:grpSpPr>
      <p:grpSp>
        <p:nvGrpSpPr>
          <p:cNvPr id="18530" name="Google Shape;18530;p2047"/>
          <p:cNvGrpSpPr/>
          <p:nvPr/>
        </p:nvGrpSpPr>
        <p:grpSpPr>
          <a:xfrm>
            <a:off x="7191543" y="1"/>
            <a:ext cx="5000459" cy="1425992"/>
            <a:chOff x="7191542" y="1"/>
            <a:chExt cx="5000459" cy="1425992"/>
          </a:xfrm>
        </p:grpSpPr>
        <p:pic>
          <p:nvPicPr>
            <p:cNvPr id="18531" name="Google Shape;18531;p20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532" name="Google Shape;18532;p2047"/>
            <p:cNvGrpSpPr/>
            <p:nvPr/>
          </p:nvGrpSpPr>
          <p:grpSpPr>
            <a:xfrm>
              <a:off x="7191542" y="1"/>
              <a:ext cx="5000459" cy="1425992"/>
              <a:chOff x="7186272" y="0"/>
              <a:chExt cx="5005729" cy="1427495"/>
            </a:xfrm>
          </p:grpSpPr>
          <p:sp>
            <p:nvSpPr>
              <p:cNvPr id="18533" name="Google Shape;18533;p20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8534" name="Google Shape;18534;p20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sp>
        <p:nvSpPr>
          <p:cNvPr id="18535" name="Google Shape;18535;p204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536" name="Google Shape;18536;p2047"/>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537" name="Google Shape;18537;p204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lvl="1"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lvl="2"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lvl="3"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lvl="4"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lvl="5"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lvl="6"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lvl="7"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lvl="8"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8538" name="Google Shape;18538;p20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539" name="Google Shape;18539;p204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1966.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8540"/>
        <p:cNvGrpSpPr/>
        <p:nvPr/>
      </p:nvGrpSpPr>
      <p:grpSpPr>
        <a:xfrm>
          <a:off x="0" y="0"/>
          <a:ext cx="0" cy="0"/>
          <a:chOff x="0" y="0"/>
          <a:chExt cx="0" cy="0"/>
        </a:xfrm>
      </p:grpSpPr>
      <p:sp>
        <p:nvSpPr>
          <p:cNvPr id="18541" name="Google Shape;18541;p204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542" name="Google Shape;18542;p2048"/>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8543" name="Google Shape;18543;p2048"/>
          <p:cNvGrpSpPr/>
          <p:nvPr/>
        </p:nvGrpSpPr>
        <p:grpSpPr>
          <a:xfrm>
            <a:off x="7191543" y="1"/>
            <a:ext cx="5000459" cy="1425992"/>
            <a:chOff x="7191542" y="1"/>
            <a:chExt cx="5000459" cy="1425992"/>
          </a:xfrm>
        </p:grpSpPr>
        <p:pic>
          <p:nvPicPr>
            <p:cNvPr id="18544" name="Google Shape;18544;p20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545" name="Google Shape;18545;p2048"/>
            <p:cNvGrpSpPr/>
            <p:nvPr/>
          </p:nvGrpSpPr>
          <p:grpSpPr>
            <a:xfrm>
              <a:off x="7191542" y="1"/>
              <a:ext cx="5000459" cy="1425992"/>
              <a:chOff x="7186272" y="0"/>
              <a:chExt cx="5005729" cy="1427495"/>
            </a:xfrm>
          </p:grpSpPr>
          <p:sp>
            <p:nvSpPr>
              <p:cNvPr id="18546" name="Google Shape;18546;p20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8547" name="Google Shape;18547;p20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sp>
        <p:nvSpPr>
          <p:cNvPr id="18548" name="Google Shape;18548;p2048"/>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549" name="Google Shape;18549;p2048"/>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lvl="1"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lvl="2"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lvl="3"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lvl="4"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lvl="5"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lvl="6"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lvl="7"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lvl="8"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8550" name="Google Shape;18550;p20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551" name="Google Shape;18551;p204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1967.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8552"/>
        <p:cNvGrpSpPr/>
        <p:nvPr/>
      </p:nvGrpSpPr>
      <p:grpSpPr>
        <a:xfrm>
          <a:off x="0" y="0"/>
          <a:ext cx="0" cy="0"/>
          <a:chOff x="0" y="0"/>
          <a:chExt cx="0" cy="0"/>
        </a:xfrm>
      </p:grpSpPr>
      <p:grpSp>
        <p:nvGrpSpPr>
          <p:cNvPr id="18553" name="Google Shape;18553;p2049"/>
          <p:cNvGrpSpPr/>
          <p:nvPr/>
        </p:nvGrpSpPr>
        <p:grpSpPr>
          <a:xfrm>
            <a:off x="7191543" y="1"/>
            <a:ext cx="5000459" cy="1425992"/>
            <a:chOff x="7191542" y="1"/>
            <a:chExt cx="5000459" cy="1425992"/>
          </a:xfrm>
        </p:grpSpPr>
        <p:pic>
          <p:nvPicPr>
            <p:cNvPr id="18554" name="Google Shape;18554;p20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555" name="Google Shape;18555;p2049"/>
            <p:cNvGrpSpPr/>
            <p:nvPr/>
          </p:nvGrpSpPr>
          <p:grpSpPr>
            <a:xfrm>
              <a:off x="7191542" y="1"/>
              <a:ext cx="5000459" cy="1425992"/>
              <a:chOff x="7186272" y="0"/>
              <a:chExt cx="5005729" cy="1427495"/>
            </a:xfrm>
          </p:grpSpPr>
          <p:sp>
            <p:nvSpPr>
              <p:cNvPr id="18556" name="Google Shape;18556;p20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8557" name="Google Shape;18557;p20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sp>
        <p:nvSpPr>
          <p:cNvPr id="18558" name="Google Shape;18558;p2049"/>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559" name="Google Shape;18559;p2049"/>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2000"/>
              <a:buNone/>
              <a:defRPr sz="2000" b="1"/>
            </a:lvl2pPr>
            <a:lvl3pPr marL="914446" lvl="2" indent="-152408" algn="l">
              <a:lnSpc>
                <a:spcPct val="100000"/>
              </a:lnSpc>
              <a:spcBef>
                <a:spcPts val="1000"/>
              </a:spcBef>
              <a:spcAft>
                <a:spcPts val="0"/>
              </a:spcAft>
              <a:buSzPts val="1800"/>
              <a:buNone/>
              <a:defRPr sz="1800" b="1"/>
            </a:lvl3pPr>
            <a:lvl4pPr marL="1219261" lvl="3" indent="-152408" algn="l">
              <a:lnSpc>
                <a:spcPct val="100000"/>
              </a:lnSpc>
              <a:spcBef>
                <a:spcPts val="1000"/>
              </a:spcBef>
              <a:spcAft>
                <a:spcPts val="0"/>
              </a:spcAft>
              <a:buSzPts val="1600"/>
              <a:buNone/>
              <a:defRPr sz="1600" b="1"/>
            </a:lvl4pPr>
            <a:lvl5pPr marL="1524076" lvl="4" indent="-152408" algn="l">
              <a:lnSpc>
                <a:spcPct val="100000"/>
              </a:lnSpc>
              <a:spcBef>
                <a:spcPts val="1000"/>
              </a:spcBef>
              <a:spcAft>
                <a:spcPts val="0"/>
              </a:spcAft>
              <a:buSzPts val="1600"/>
              <a:buNone/>
              <a:defRPr sz="1600" b="1"/>
            </a:lvl5pPr>
            <a:lvl6pPr marL="1828891" lvl="5" indent="-152408" algn="l">
              <a:lnSpc>
                <a:spcPct val="90000"/>
              </a:lnSpc>
              <a:spcBef>
                <a:spcPts val="10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18560" name="Google Shape;18560;p2049"/>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100000"/>
              </a:lnSpc>
              <a:spcBef>
                <a:spcPts val="1000"/>
              </a:spcBef>
              <a:spcAft>
                <a:spcPts val="0"/>
              </a:spcAft>
              <a:buSzPts val="1800"/>
              <a:buChar char="•"/>
              <a:defRPr sz="1800"/>
            </a:lvl2pPr>
            <a:lvl3pPr marL="914446" lvl="2" indent="-220144" algn="l">
              <a:lnSpc>
                <a:spcPct val="100000"/>
              </a:lnSpc>
              <a:spcBef>
                <a:spcPts val="1000"/>
              </a:spcBef>
              <a:spcAft>
                <a:spcPts val="0"/>
              </a:spcAft>
              <a:buSzPts val="1600"/>
              <a:buChar char="•"/>
              <a:defRPr sz="1600"/>
            </a:lvl3pPr>
            <a:lvl4pPr marL="1219261" lvl="3" indent="-211677" algn="l">
              <a:lnSpc>
                <a:spcPct val="100000"/>
              </a:lnSpc>
              <a:spcBef>
                <a:spcPts val="1000"/>
              </a:spcBef>
              <a:spcAft>
                <a:spcPts val="0"/>
              </a:spcAft>
              <a:buSzPts val="1400"/>
              <a:buChar char="•"/>
              <a:defRPr sz="1400"/>
            </a:lvl4pPr>
            <a:lvl5pPr marL="1524076" lvl="4" indent="-211677" algn="l">
              <a:lnSpc>
                <a:spcPct val="100000"/>
              </a:lnSpc>
              <a:spcBef>
                <a:spcPts val="1000"/>
              </a:spcBef>
              <a:spcAft>
                <a:spcPts val="0"/>
              </a:spcAft>
              <a:buSzPts val="14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561" name="Google Shape;18561;p204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2000"/>
              <a:buNone/>
              <a:defRPr sz="2000" b="1"/>
            </a:lvl2pPr>
            <a:lvl3pPr marL="914446" lvl="2" indent="-152408" algn="l">
              <a:lnSpc>
                <a:spcPct val="100000"/>
              </a:lnSpc>
              <a:spcBef>
                <a:spcPts val="1000"/>
              </a:spcBef>
              <a:spcAft>
                <a:spcPts val="0"/>
              </a:spcAft>
              <a:buSzPts val="1800"/>
              <a:buNone/>
              <a:defRPr sz="1800" b="1"/>
            </a:lvl3pPr>
            <a:lvl4pPr marL="1219261" lvl="3" indent="-152408" algn="l">
              <a:lnSpc>
                <a:spcPct val="100000"/>
              </a:lnSpc>
              <a:spcBef>
                <a:spcPts val="1000"/>
              </a:spcBef>
              <a:spcAft>
                <a:spcPts val="0"/>
              </a:spcAft>
              <a:buSzPts val="1600"/>
              <a:buNone/>
              <a:defRPr sz="1600" b="1"/>
            </a:lvl4pPr>
            <a:lvl5pPr marL="1524076" lvl="4" indent="-152408" algn="l">
              <a:lnSpc>
                <a:spcPct val="100000"/>
              </a:lnSpc>
              <a:spcBef>
                <a:spcPts val="1000"/>
              </a:spcBef>
              <a:spcAft>
                <a:spcPts val="0"/>
              </a:spcAft>
              <a:buSzPts val="1600"/>
              <a:buNone/>
              <a:defRPr sz="1600" b="1"/>
            </a:lvl5pPr>
            <a:lvl6pPr marL="1828891" lvl="5" indent="-152408" algn="l">
              <a:lnSpc>
                <a:spcPct val="90000"/>
              </a:lnSpc>
              <a:spcBef>
                <a:spcPts val="10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18562" name="Google Shape;18562;p204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100000"/>
              </a:lnSpc>
              <a:spcBef>
                <a:spcPts val="1000"/>
              </a:spcBef>
              <a:spcAft>
                <a:spcPts val="0"/>
              </a:spcAft>
              <a:buSzPts val="1800"/>
              <a:buChar char="•"/>
              <a:defRPr sz="1800"/>
            </a:lvl2pPr>
            <a:lvl3pPr marL="914446" lvl="2" indent="-220144" algn="l">
              <a:lnSpc>
                <a:spcPct val="100000"/>
              </a:lnSpc>
              <a:spcBef>
                <a:spcPts val="1000"/>
              </a:spcBef>
              <a:spcAft>
                <a:spcPts val="0"/>
              </a:spcAft>
              <a:buSzPts val="1600"/>
              <a:buChar char="•"/>
              <a:defRPr sz="1600"/>
            </a:lvl3pPr>
            <a:lvl4pPr marL="1219261" lvl="3" indent="-211677" algn="l">
              <a:lnSpc>
                <a:spcPct val="100000"/>
              </a:lnSpc>
              <a:spcBef>
                <a:spcPts val="1000"/>
              </a:spcBef>
              <a:spcAft>
                <a:spcPts val="0"/>
              </a:spcAft>
              <a:buSzPts val="1400"/>
              <a:buChar char="•"/>
              <a:defRPr sz="1400"/>
            </a:lvl4pPr>
            <a:lvl5pPr marL="1524076" lvl="4" indent="-211677" algn="l">
              <a:lnSpc>
                <a:spcPct val="100000"/>
              </a:lnSpc>
              <a:spcBef>
                <a:spcPts val="1000"/>
              </a:spcBef>
              <a:spcAft>
                <a:spcPts val="0"/>
              </a:spcAft>
              <a:buSzPts val="14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563" name="Google Shape;18563;p204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lvl="1"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lvl="2"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lvl="3"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lvl="4"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lvl="5"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lvl="6"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lvl="7"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lvl="8"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8564" name="Google Shape;18564;p20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565" name="Google Shape;18565;p204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1968.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8566"/>
        <p:cNvGrpSpPr/>
        <p:nvPr/>
      </p:nvGrpSpPr>
      <p:grpSpPr>
        <a:xfrm>
          <a:off x="0" y="0"/>
          <a:ext cx="0" cy="0"/>
          <a:chOff x="0" y="0"/>
          <a:chExt cx="0" cy="0"/>
        </a:xfrm>
      </p:grpSpPr>
      <p:grpSp>
        <p:nvGrpSpPr>
          <p:cNvPr id="18567" name="Google Shape;18567;p2050"/>
          <p:cNvGrpSpPr/>
          <p:nvPr/>
        </p:nvGrpSpPr>
        <p:grpSpPr>
          <a:xfrm>
            <a:off x="7191543" y="1"/>
            <a:ext cx="5000459" cy="1425992"/>
            <a:chOff x="7191542" y="1"/>
            <a:chExt cx="5000459" cy="1425992"/>
          </a:xfrm>
        </p:grpSpPr>
        <p:pic>
          <p:nvPicPr>
            <p:cNvPr id="18568" name="Google Shape;18568;p20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569" name="Google Shape;18569;p2050"/>
            <p:cNvGrpSpPr/>
            <p:nvPr/>
          </p:nvGrpSpPr>
          <p:grpSpPr>
            <a:xfrm>
              <a:off x="7191542" y="1"/>
              <a:ext cx="5000459" cy="1425992"/>
              <a:chOff x="7186272" y="0"/>
              <a:chExt cx="5005729" cy="1427495"/>
            </a:xfrm>
          </p:grpSpPr>
          <p:sp>
            <p:nvSpPr>
              <p:cNvPr id="18570" name="Google Shape;18570;p20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8571" name="Google Shape;18571;p20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sp>
        <p:nvSpPr>
          <p:cNvPr id="18572" name="Google Shape;18572;p205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573" name="Google Shape;18573;p205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lvl="1"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lvl="2"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lvl="3"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lvl="4"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lvl="5"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lvl="6"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lvl="7"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lvl="8"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8574" name="Google Shape;18574;p20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575" name="Google Shape;18575;p205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1969.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18576"/>
        <p:cNvGrpSpPr/>
        <p:nvPr/>
      </p:nvGrpSpPr>
      <p:grpSpPr>
        <a:xfrm>
          <a:off x="0" y="0"/>
          <a:ext cx="0" cy="0"/>
          <a:chOff x="0" y="0"/>
          <a:chExt cx="0" cy="0"/>
        </a:xfrm>
      </p:grpSpPr>
      <p:grpSp>
        <p:nvGrpSpPr>
          <p:cNvPr id="18577" name="Google Shape;18577;p2051"/>
          <p:cNvGrpSpPr/>
          <p:nvPr/>
        </p:nvGrpSpPr>
        <p:grpSpPr>
          <a:xfrm>
            <a:off x="0" y="0"/>
            <a:ext cx="12192000" cy="2148830"/>
            <a:chOff x="0" y="0"/>
            <a:chExt cx="12192000" cy="2148830"/>
          </a:xfrm>
        </p:grpSpPr>
        <p:sp>
          <p:nvSpPr>
            <p:cNvPr id="18578" name="Google Shape;18578;p205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8579" name="Google Shape;18579;p205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sp>
        <p:nvSpPr>
          <p:cNvPr id="18580" name="Google Shape;18580;p2051"/>
          <p:cNvSpPr/>
          <p:nvPr/>
        </p:nvSpPr>
        <p:spPr>
          <a:xfrm>
            <a:off x="902368" y="1517698"/>
            <a:ext cx="11289632" cy="3822607"/>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8581" name="Google Shape;18581;p2051"/>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582" name="Google Shape;18582;p205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8583" name="Google Shape;18583;p2051"/>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8584" name="Google Shape;18584;p205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6">
    <p:spTree>
      <p:nvGrpSpPr>
        <p:cNvPr id="1" name="Shape 10931"/>
        <p:cNvGrpSpPr/>
        <p:nvPr/>
      </p:nvGrpSpPr>
      <p:grpSpPr>
        <a:xfrm>
          <a:off x="0" y="0"/>
          <a:ext cx="0" cy="0"/>
          <a:chOff x="0" y="0"/>
          <a:chExt cx="0" cy="0"/>
        </a:xfrm>
      </p:grpSpPr>
      <p:sp>
        <p:nvSpPr>
          <p:cNvPr id="10932" name="Google Shape;10932;p150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933" name="Google Shape;10933;p150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934" name="Google Shape;10934;p1501"/>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35" name="Google Shape;10935;p1501"/>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36" name="Google Shape;10936;p1501"/>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0937" name="Google Shape;10937;p150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970.xml><?xml version="1.0" encoding="utf-8"?>
<p:sldLayout xmlns:a="http://schemas.openxmlformats.org/drawingml/2006/main" xmlns:r="http://schemas.openxmlformats.org/officeDocument/2006/relationships" xmlns:p="http://schemas.openxmlformats.org/presentationml/2006/main" matchingName="Cover">
  <p:cSld name="1_Cover 2">
    <p:spTree>
      <p:nvGrpSpPr>
        <p:cNvPr id="1" name="Shape 18585"/>
        <p:cNvGrpSpPr/>
        <p:nvPr/>
      </p:nvGrpSpPr>
      <p:grpSpPr>
        <a:xfrm>
          <a:off x="0" y="0"/>
          <a:ext cx="0" cy="0"/>
          <a:chOff x="0" y="0"/>
          <a:chExt cx="0" cy="0"/>
        </a:xfrm>
      </p:grpSpPr>
      <p:sp>
        <p:nvSpPr>
          <p:cNvPr id="18586" name="Google Shape;18586;p2052"/>
          <p:cNvSpPr/>
          <p:nvPr/>
        </p:nvSpPr>
        <p:spPr>
          <a:xfrm>
            <a:off x="902368" y="1294414"/>
            <a:ext cx="11289632" cy="3822607"/>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8587" name="Google Shape;18587;p2052"/>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588" name="Google Shape;18588;p2052"/>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589" name="Google Shape;18589;p2052"/>
          <p:cNvSpPr>
            <a:spLocks noGrp="1"/>
          </p:cNvSpPr>
          <p:nvPr>
            <p:ph type="pic" idx="2"/>
          </p:nvPr>
        </p:nvSpPr>
        <p:spPr>
          <a:xfrm>
            <a:off x="7118684" y="233915"/>
            <a:ext cx="5073316" cy="5943600"/>
          </a:xfrm>
          <a:prstGeom prst="rect">
            <a:avLst/>
          </a:prstGeom>
          <a:noFill/>
          <a:ln>
            <a:noFill/>
          </a:ln>
        </p:spPr>
      </p:sp>
      <p:grpSp>
        <p:nvGrpSpPr>
          <p:cNvPr id="18590" name="Google Shape;18590;p2052"/>
          <p:cNvGrpSpPr/>
          <p:nvPr/>
        </p:nvGrpSpPr>
        <p:grpSpPr>
          <a:xfrm>
            <a:off x="0" y="5020349"/>
            <a:ext cx="12192000" cy="1837653"/>
            <a:chOff x="0" y="5020348"/>
            <a:chExt cx="12192000" cy="1837653"/>
          </a:xfrm>
        </p:grpSpPr>
        <p:sp>
          <p:nvSpPr>
            <p:cNvPr id="18591" name="Google Shape;18591;p205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8592" name="Google Shape;18592;p205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pic>
          <p:nvPicPr>
            <p:cNvPr id="18593" name="Google Shape;18593;p205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971.xml><?xml version="1.0" encoding="utf-8"?>
<p:sldLayout xmlns:a="http://schemas.openxmlformats.org/drawingml/2006/main" xmlns:r="http://schemas.openxmlformats.org/officeDocument/2006/relationships" xmlns:p="http://schemas.openxmlformats.org/presentationml/2006/main" matchingName="Divider">
  <p:cSld name="1_Divider 2">
    <p:bg>
      <p:bgPr>
        <a:solidFill>
          <a:schemeClr val="lt2"/>
        </a:solidFill>
        <a:effectLst/>
      </p:bgPr>
    </p:bg>
    <p:spTree>
      <p:nvGrpSpPr>
        <p:cNvPr id="1" name="Shape 18594"/>
        <p:cNvGrpSpPr/>
        <p:nvPr/>
      </p:nvGrpSpPr>
      <p:grpSpPr>
        <a:xfrm>
          <a:off x="0" y="0"/>
          <a:ext cx="0" cy="0"/>
          <a:chOff x="0" y="0"/>
          <a:chExt cx="0" cy="0"/>
        </a:xfrm>
      </p:grpSpPr>
      <p:grpSp>
        <p:nvGrpSpPr>
          <p:cNvPr id="18595" name="Google Shape;18595;p2053"/>
          <p:cNvGrpSpPr/>
          <p:nvPr/>
        </p:nvGrpSpPr>
        <p:grpSpPr>
          <a:xfrm>
            <a:off x="0" y="5020348"/>
            <a:ext cx="12192000" cy="1837653"/>
            <a:chOff x="0" y="5020347"/>
            <a:chExt cx="12192000" cy="1837653"/>
          </a:xfrm>
        </p:grpSpPr>
        <p:sp>
          <p:nvSpPr>
            <p:cNvPr id="18596" name="Google Shape;18596;p205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8597" name="Google Shape;18597;p205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8598" name="Google Shape;18598;p205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pic>
          <p:nvPicPr>
            <p:cNvPr id="18599" name="Google Shape;18599;p205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8600" name="Google Shape;18600;p2053"/>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601" name="Google Shape;18601;p2053"/>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972.xml><?xml version="1.0" encoding="utf-8"?>
<p:sldLayout xmlns:a="http://schemas.openxmlformats.org/drawingml/2006/main" xmlns:r="http://schemas.openxmlformats.org/officeDocument/2006/relationships" xmlns:p="http://schemas.openxmlformats.org/presentationml/2006/main" matchingName="Photo Slide">
  <p:cSld name="1_Photo Slide 2">
    <p:spTree>
      <p:nvGrpSpPr>
        <p:cNvPr id="1" name="Shape 18602"/>
        <p:cNvGrpSpPr/>
        <p:nvPr/>
      </p:nvGrpSpPr>
      <p:grpSpPr>
        <a:xfrm>
          <a:off x="0" y="0"/>
          <a:ext cx="0" cy="0"/>
          <a:chOff x="0" y="0"/>
          <a:chExt cx="0" cy="0"/>
        </a:xfrm>
      </p:grpSpPr>
      <p:sp>
        <p:nvSpPr>
          <p:cNvPr id="18603" name="Google Shape;18603;p2054"/>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8604" name="Google Shape;18604;p205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605" name="Google Shape;18605;p2054"/>
          <p:cNvGrpSpPr/>
          <p:nvPr/>
        </p:nvGrpSpPr>
        <p:grpSpPr>
          <a:xfrm>
            <a:off x="0" y="5379427"/>
            <a:ext cx="2807368" cy="753891"/>
            <a:chOff x="0" y="5379426"/>
            <a:chExt cx="2807368" cy="753891"/>
          </a:xfrm>
        </p:grpSpPr>
        <p:sp>
          <p:nvSpPr>
            <p:cNvPr id="18606" name="Google Shape;18606;p205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8607" name="Google Shape;18607;p205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grpSp>
      <p:sp>
        <p:nvSpPr>
          <p:cNvPr id="18608" name="Google Shape;18608;p2054"/>
          <p:cNvSpPr>
            <a:spLocks noGrp="1"/>
          </p:cNvSpPr>
          <p:nvPr>
            <p:ph type="pic" idx="2"/>
          </p:nvPr>
        </p:nvSpPr>
        <p:spPr>
          <a:xfrm>
            <a:off x="2807368" y="457202"/>
            <a:ext cx="8915400" cy="5943598"/>
          </a:xfrm>
          <a:prstGeom prst="rect">
            <a:avLst/>
          </a:prstGeom>
          <a:noFill/>
          <a:ln>
            <a:noFill/>
          </a:ln>
        </p:spPr>
      </p:sp>
      <p:pic>
        <p:nvPicPr>
          <p:cNvPr id="18609" name="Google Shape;18609;p2054"/>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1973.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8610"/>
        <p:cNvGrpSpPr/>
        <p:nvPr/>
      </p:nvGrpSpPr>
      <p:grpSpPr>
        <a:xfrm>
          <a:off x="0" y="0"/>
          <a:ext cx="0" cy="0"/>
          <a:chOff x="0" y="0"/>
          <a:chExt cx="0" cy="0"/>
        </a:xfrm>
      </p:grpSpPr>
      <p:sp>
        <p:nvSpPr>
          <p:cNvPr id="18611" name="Google Shape;18611;p2055"/>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8612" name="Google Shape;18612;p205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613" name="Google Shape;18613;p205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614" name="Google Shape;18614;p205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lvl="1"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lvl="2"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lvl="3"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lvl="4"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lvl="5"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lvl="6"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lvl="7"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lvl="8"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8615" name="Google Shape;18615;p20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616" name="Google Shape;18616;p205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grpSp>
        <p:nvGrpSpPr>
          <p:cNvPr id="18617" name="Google Shape;18617;p2055"/>
          <p:cNvGrpSpPr/>
          <p:nvPr/>
        </p:nvGrpSpPr>
        <p:grpSpPr>
          <a:xfrm>
            <a:off x="7191543" y="1"/>
            <a:ext cx="5000459" cy="1425992"/>
            <a:chOff x="7191542" y="1"/>
            <a:chExt cx="5000459" cy="1425992"/>
          </a:xfrm>
        </p:grpSpPr>
        <p:pic>
          <p:nvPicPr>
            <p:cNvPr id="18618" name="Google Shape;18618;p20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619" name="Google Shape;18619;p2055"/>
            <p:cNvGrpSpPr/>
            <p:nvPr/>
          </p:nvGrpSpPr>
          <p:grpSpPr>
            <a:xfrm>
              <a:off x="7191542" y="1"/>
              <a:ext cx="5000459" cy="1425992"/>
              <a:chOff x="7186272" y="0"/>
              <a:chExt cx="5005729" cy="1427495"/>
            </a:xfrm>
          </p:grpSpPr>
          <p:sp>
            <p:nvSpPr>
              <p:cNvPr id="18620" name="Google Shape;18620;p20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8621" name="Google Shape;18621;p20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pic>
        <p:nvPicPr>
          <p:cNvPr id="18622" name="Google Shape;18622;p205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974.xml><?xml version="1.0" encoding="utf-8"?>
<p:sldLayout xmlns:a="http://schemas.openxmlformats.org/drawingml/2006/main" xmlns:r="http://schemas.openxmlformats.org/officeDocument/2006/relationships" xmlns:p="http://schemas.openxmlformats.org/presentationml/2006/main" matchingName="Title and Content">
  <p:cSld name="1_Title and Content 2">
    <p:spTree>
      <p:nvGrpSpPr>
        <p:cNvPr id="1" name="Shape 18623"/>
        <p:cNvGrpSpPr/>
        <p:nvPr/>
      </p:nvGrpSpPr>
      <p:grpSpPr>
        <a:xfrm>
          <a:off x="0" y="0"/>
          <a:ext cx="0" cy="0"/>
          <a:chOff x="0" y="0"/>
          <a:chExt cx="0" cy="0"/>
        </a:xfrm>
      </p:grpSpPr>
      <p:grpSp>
        <p:nvGrpSpPr>
          <p:cNvPr id="18624" name="Google Shape;18624;p2056"/>
          <p:cNvGrpSpPr/>
          <p:nvPr/>
        </p:nvGrpSpPr>
        <p:grpSpPr>
          <a:xfrm>
            <a:off x="7191543" y="1"/>
            <a:ext cx="5000459" cy="1425992"/>
            <a:chOff x="7191542" y="1"/>
            <a:chExt cx="5000459" cy="1425992"/>
          </a:xfrm>
        </p:grpSpPr>
        <p:pic>
          <p:nvPicPr>
            <p:cNvPr id="18625" name="Google Shape;18625;p20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626" name="Google Shape;18626;p2056"/>
            <p:cNvGrpSpPr/>
            <p:nvPr/>
          </p:nvGrpSpPr>
          <p:grpSpPr>
            <a:xfrm>
              <a:off x="7191542" y="1"/>
              <a:ext cx="5000459" cy="1425992"/>
              <a:chOff x="7186272" y="0"/>
              <a:chExt cx="5005729" cy="1427495"/>
            </a:xfrm>
          </p:grpSpPr>
          <p:sp>
            <p:nvSpPr>
              <p:cNvPr id="18627" name="Google Shape;18627;p20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8628" name="Google Shape;18628;p20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sp>
        <p:nvSpPr>
          <p:cNvPr id="18629" name="Google Shape;18629;p205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630" name="Google Shape;18630;p205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631" name="Google Shape;18631;p205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lvl="1"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lvl="2"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lvl="3"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lvl="4"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lvl="5"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lvl="6"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lvl="7"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lvl="8"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8632" name="Google Shape;18632;p20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633" name="Google Shape;18633;p205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1975.xml><?xml version="1.0" encoding="utf-8"?>
<p:sldLayout xmlns:a="http://schemas.openxmlformats.org/drawingml/2006/main" xmlns:r="http://schemas.openxmlformats.org/officeDocument/2006/relationships" xmlns:p="http://schemas.openxmlformats.org/presentationml/2006/main" matchingName="Two Content">
  <p:cSld name="1_Two Content 2">
    <p:spTree>
      <p:nvGrpSpPr>
        <p:cNvPr id="1" name="Shape 18634"/>
        <p:cNvGrpSpPr/>
        <p:nvPr/>
      </p:nvGrpSpPr>
      <p:grpSpPr>
        <a:xfrm>
          <a:off x="0" y="0"/>
          <a:ext cx="0" cy="0"/>
          <a:chOff x="0" y="0"/>
          <a:chExt cx="0" cy="0"/>
        </a:xfrm>
      </p:grpSpPr>
      <p:sp>
        <p:nvSpPr>
          <p:cNvPr id="18635" name="Google Shape;18635;p205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636" name="Google Shape;18636;p2057"/>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8637" name="Google Shape;18637;p2057"/>
          <p:cNvGrpSpPr/>
          <p:nvPr/>
        </p:nvGrpSpPr>
        <p:grpSpPr>
          <a:xfrm>
            <a:off x="7191543" y="1"/>
            <a:ext cx="5000459" cy="1425992"/>
            <a:chOff x="7191542" y="1"/>
            <a:chExt cx="5000459" cy="1425992"/>
          </a:xfrm>
        </p:grpSpPr>
        <p:pic>
          <p:nvPicPr>
            <p:cNvPr id="18638" name="Google Shape;18638;p20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639" name="Google Shape;18639;p2057"/>
            <p:cNvGrpSpPr/>
            <p:nvPr/>
          </p:nvGrpSpPr>
          <p:grpSpPr>
            <a:xfrm>
              <a:off x="7191542" y="1"/>
              <a:ext cx="5000459" cy="1425992"/>
              <a:chOff x="7186272" y="0"/>
              <a:chExt cx="5005729" cy="1427495"/>
            </a:xfrm>
          </p:grpSpPr>
          <p:sp>
            <p:nvSpPr>
              <p:cNvPr id="18640" name="Google Shape;18640;p20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8641" name="Google Shape;18641;p20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sp>
        <p:nvSpPr>
          <p:cNvPr id="18642" name="Google Shape;18642;p2057"/>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643" name="Google Shape;18643;p2057"/>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lvl="1"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lvl="2"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lvl="3"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lvl="4"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lvl="5"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lvl="6"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lvl="7"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lvl="8"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8644" name="Google Shape;18644;p20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645" name="Google Shape;18645;p205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1976.xml><?xml version="1.0" encoding="utf-8"?>
<p:sldLayout xmlns:a="http://schemas.openxmlformats.org/drawingml/2006/main" xmlns:r="http://schemas.openxmlformats.org/officeDocument/2006/relationships" xmlns:p="http://schemas.openxmlformats.org/presentationml/2006/main" matchingName="Comparison">
  <p:cSld name="1_Comparison 2">
    <p:spTree>
      <p:nvGrpSpPr>
        <p:cNvPr id="1" name="Shape 18646"/>
        <p:cNvGrpSpPr/>
        <p:nvPr/>
      </p:nvGrpSpPr>
      <p:grpSpPr>
        <a:xfrm>
          <a:off x="0" y="0"/>
          <a:ext cx="0" cy="0"/>
          <a:chOff x="0" y="0"/>
          <a:chExt cx="0" cy="0"/>
        </a:xfrm>
      </p:grpSpPr>
      <p:grpSp>
        <p:nvGrpSpPr>
          <p:cNvPr id="18647" name="Google Shape;18647;p2058"/>
          <p:cNvGrpSpPr/>
          <p:nvPr/>
        </p:nvGrpSpPr>
        <p:grpSpPr>
          <a:xfrm>
            <a:off x="7191543" y="1"/>
            <a:ext cx="5000459" cy="1425992"/>
            <a:chOff x="7191542" y="1"/>
            <a:chExt cx="5000459" cy="1425992"/>
          </a:xfrm>
        </p:grpSpPr>
        <p:pic>
          <p:nvPicPr>
            <p:cNvPr id="18648" name="Google Shape;18648;p20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649" name="Google Shape;18649;p2058"/>
            <p:cNvGrpSpPr/>
            <p:nvPr/>
          </p:nvGrpSpPr>
          <p:grpSpPr>
            <a:xfrm>
              <a:off x="7191542" y="1"/>
              <a:ext cx="5000459" cy="1425992"/>
              <a:chOff x="7186272" y="0"/>
              <a:chExt cx="5005729" cy="1427495"/>
            </a:xfrm>
          </p:grpSpPr>
          <p:sp>
            <p:nvSpPr>
              <p:cNvPr id="18650" name="Google Shape;18650;p20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8651" name="Google Shape;18651;p20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sp>
        <p:nvSpPr>
          <p:cNvPr id="18652" name="Google Shape;18652;p205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653" name="Google Shape;18653;p2058"/>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2000"/>
              <a:buNone/>
              <a:defRPr sz="2000" b="1"/>
            </a:lvl2pPr>
            <a:lvl3pPr marL="914446" lvl="2" indent="-152408" algn="l">
              <a:lnSpc>
                <a:spcPct val="100000"/>
              </a:lnSpc>
              <a:spcBef>
                <a:spcPts val="1000"/>
              </a:spcBef>
              <a:spcAft>
                <a:spcPts val="0"/>
              </a:spcAft>
              <a:buSzPts val="1800"/>
              <a:buNone/>
              <a:defRPr sz="1800" b="1"/>
            </a:lvl3pPr>
            <a:lvl4pPr marL="1219261" lvl="3" indent="-152408" algn="l">
              <a:lnSpc>
                <a:spcPct val="100000"/>
              </a:lnSpc>
              <a:spcBef>
                <a:spcPts val="1000"/>
              </a:spcBef>
              <a:spcAft>
                <a:spcPts val="0"/>
              </a:spcAft>
              <a:buSzPts val="1600"/>
              <a:buNone/>
              <a:defRPr sz="1600" b="1"/>
            </a:lvl4pPr>
            <a:lvl5pPr marL="1524076" lvl="4" indent="-152408" algn="l">
              <a:lnSpc>
                <a:spcPct val="100000"/>
              </a:lnSpc>
              <a:spcBef>
                <a:spcPts val="1000"/>
              </a:spcBef>
              <a:spcAft>
                <a:spcPts val="0"/>
              </a:spcAft>
              <a:buSzPts val="1600"/>
              <a:buNone/>
              <a:defRPr sz="1600" b="1"/>
            </a:lvl5pPr>
            <a:lvl6pPr marL="1828891" lvl="5" indent="-152408" algn="l">
              <a:lnSpc>
                <a:spcPct val="90000"/>
              </a:lnSpc>
              <a:spcBef>
                <a:spcPts val="10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18654" name="Google Shape;18654;p2058"/>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100000"/>
              </a:lnSpc>
              <a:spcBef>
                <a:spcPts val="1000"/>
              </a:spcBef>
              <a:spcAft>
                <a:spcPts val="0"/>
              </a:spcAft>
              <a:buSzPts val="1800"/>
              <a:buChar char="•"/>
              <a:defRPr sz="1800"/>
            </a:lvl2pPr>
            <a:lvl3pPr marL="914446" lvl="2" indent="-220144" algn="l">
              <a:lnSpc>
                <a:spcPct val="100000"/>
              </a:lnSpc>
              <a:spcBef>
                <a:spcPts val="1000"/>
              </a:spcBef>
              <a:spcAft>
                <a:spcPts val="0"/>
              </a:spcAft>
              <a:buSzPts val="1600"/>
              <a:buChar char="•"/>
              <a:defRPr sz="1600"/>
            </a:lvl3pPr>
            <a:lvl4pPr marL="1219261" lvl="3" indent="-211677" algn="l">
              <a:lnSpc>
                <a:spcPct val="100000"/>
              </a:lnSpc>
              <a:spcBef>
                <a:spcPts val="1000"/>
              </a:spcBef>
              <a:spcAft>
                <a:spcPts val="0"/>
              </a:spcAft>
              <a:buSzPts val="1400"/>
              <a:buChar char="•"/>
              <a:defRPr sz="1400"/>
            </a:lvl4pPr>
            <a:lvl5pPr marL="1524076" lvl="4" indent="-211677" algn="l">
              <a:lnSpc>
                <a:spcPct val="100000"/>
              </a:lnSpc>
              <a:spcBef>
                <a:spcPts val="1000"/>
              </a:spcBef>
              <a:spcAft>
                <a:spcPts val="0"/>
              </a:spcAft>
              <a:buSzPts val="14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655" name="Google Shape;18655;p205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2000"/>
              <a:buNone/>
              <a:defRPr sz="2000" b="1"/>
            </a:lvl2pPr>
            <a:lvl3pPr marL="914446" lvl="2" indent="-152408" algn="l">
              <a:lnSpc>
                <a:spcPct val="100000"/>
              </a:lnSpc>
              <a:spcBef>
                <a:spcPts val="1000"/>
              </a:spcBef>
              <a:spcAft>
                <a:spcPts val="0"/>
              </a:spcAft>
              <a:buSzPts val="1800"/>
              <a:buNone/>
              <a:defRPr sz="1800" b="1"/>
            </a:lvl3pPr>
            <a:lvl4pPr marL="1219261" lvl="3" indent="-152408" algn="l">
              <a:lnSpc>
                <a:spcPct val="100000"/>
              </a:lnSpc>
              <a:spcBef>
                <a:spcPts val="1000"/>
              </a:spcBef>
              <a:spcAft>
                <a:spcPts val="0"/>
              </a:spcAft>
              <a:buSzPts val="1600"/>
              <a:buNone/>
              <a:defRPr sz="1600" b="1"/>
            </a:lvl4pPr>
            <a:lvl5pPr marL="1524076" lvl="4" indent="-152408" algn="l">
              <a:lnSpc>
                <a:spcPct val="100000"/>
              </a:lnSpc>
              <a:spcBef>
                <a:spcPts val="1000"/>
              </a:spcBef>
              <a:spcAft>
                <a:spcPts val="0"/>
              </a:spcAft>
              <a:buSzPts val="1600"/>
              <a:buNone/>
              <a:defRPr sz="1600" b="1"/>
            </a:lvl5pPr>
            <a:lvl6pPr marL="1828891" lvl="5" indent="-152408" algn="l">
              <a:lnSpc>
                <a:spcPct val="90000"/>
              </a:lnSpc>
              <a:spcBef>
                <a:spcPts val="10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18656" name="Google Shape;18656;p205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100000"/>
              </a:lnSpc>
              <a:spcBef>
                <a:spcPts val="1000"/>
              </a:spcBef>
              <a:spcAft>
                <a:spcPts val="0"/>
              </a:spcAft>
              <a:buSzPts val="1800"/>
              <a:buChar char="•"/>
              <a:defRPr sz="1800"/>
            </a:lvl2pPr>
            <a:lvl3pPr marL="914446" lvl="2" indent="-220144" algn="l">
              <a:lnSpc>
                <a:spcPct val="100000"/>
              </a:lnSpc>
              <a:spcBef>
                <a:spcPts val="1000"/>
              </a:spcBef>
              <a:spcAft>
                <a:spcPts val="0"/>
              </a:spcAft>
              <a:buSzPts val="1600"/>
              <a:buChar char="•"/>
              <a:defRPr sz="1600"/>
            </a:lvl3pPr>
            <a:lvl4pPr marL="1219261" lvl="3" indent="-211677" algn="l">
              <a:lnSpc>
                <a:spcPct val="100000"/>
              </a:lnSpc>
              <a:spcBef>
                <a:spcPts val="1000"/>
              </a:spcBef>
              <a:spcAft>
                <a:spcPts val="0"/>
              </a:spcAft>
              <a:buSzPts val="1400"/>
              <a:buChar char="•"/>
              <a:defRPr sz="1400"/>
            </a:lvl4pPr>
            <a:lvl5pPr marL="1524076" lvl="4" indent="-211677" algn="l">
              <a:lnSpc>
                <a:spcPct val="100000"/>
              </a:lnSpc>
              <a:spcBef>
                <a:spcPts val="1000"/>
              </a:spcBef>
              <a:spcAft>
                <a:spcPts val="0"/>
              </a:spcAft>
              <a:buSzPts val="14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657" name="Google Shape;18657;p205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lvl="1"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lvl="2"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lvl="3"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lvl="4"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lvl="5"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lvl="6"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lvl="7"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lvl="8"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8658" name="Google Shape;18658;p20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659" name="Google Shape;18659;p205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1977.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8660"/>
        <p:cNvGrpSpPr/>
        <p:nvPr/>
      </p:nvGrpSpPr>
      <p:grpSpPr>
        <a:xfrm>
          <a:off x="0" y="0"/>
          <a:ext cx="0" cy="0"/>
          <a:chOff x="0" y="0"/>
          <a:chExt cx="0" cy="0"/>
        </a:xfrm>
      </p:grpSpPr>
      <p:grpSp>
        <p:nvGrpSpPr>
          <p:cNvPr id="18661" name="Google Shape;18661;p2059"/>
          <p:cNvGrpSpPr/>
          <p:nvPr/>
        </p:nvGrpSpPr>
        <p:grpSpPr>
          <a:xfrm>
            <a:off x="7191543" y="1"/>
            <a:ext cx="5000459" cy="1425992"/>
            <a:chOff x="7191542" y="1"/>
            <a:chExt cx="5000459" cy="1425992"/>
          </a:xfrm>
        </p:grpSpPr>
        <p:pic>
          <p:nvPicPr>
            <p:cNvPr id="18662" name="Google Shape;18662;p20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663" name="Google Shape;18663;p2059"/>
            <p:cNvGrpSpPr/>
            <p:nvPr/>
          </p:nvGrpSpPr>
          <p:grpSpPr>
            <a:xfrm>
              <a:off x="7191542" y="1"/>
              <a:ext cx="5000459" cy="1425992"/>
              <a:chOff x="7186272" y="0"/>
              <a:chExt cx="5005729" cy="1427495"/>
            </a:xfrm>
          </p:grpSpPr>
          <p:sp>
            <p:nvSpPr>
              <p:cNvPr id="18664" name="Google Shape;18664;p20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8665" name="Google Shape;18665;p20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sp>
        <p:nvSpPr>
          <p:cNvPr id="18666" name="Google Shape;18666;p2059"/>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667" name="Google Shape;18667;p205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lvl="1"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lvl="2"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lvl="3"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lvl="4"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lvl="5"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lvl="6"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lvl="7"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lvl="8"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8668" name="Google Shape;18668;p20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669" name="Google Shape;18669;p205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1978.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8670"/>
        <p:cNvGrpSpPr/>
        <p:nvPr/>
      </p:nvGrpSpPr>
      <p:grpSpPr>
        <a:xfrm>
          <a:off x="0" y="0"/>
          <a:ext cx="0" cy="0"/>
          <a:chOff x="0" y="0"/>
          <a:chExt cx="0" cy="0"/>
        </a:xfrm>
      </p:grpSpPr>
      <p:grpSp>
        <p:nvGrpSpPr>
          <p:cNvPr id="18671" name="Google Shape;18671;p2060"/>
          <p:cNvGrpSpPr/>
          <p:nvPr/>
        </p:nvGrpSpPr>
        <p:grpSpPr>
          <a:xfrm>
            <a:off x="0" y="0"/>
            <a:ext cx="12192000" cy="2148830"/>
            <a:chOff x="0" y="0"/>
            <a:chExt cx="12192000" cy="2148830"/>
          </a:xfrm>
        </p:grpSpPr>
        <p:sp>
          <p:nvSpPr>
            <p:cNvPr id="18672" name="Google Shape;18672;p206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8673" name="Google Shape;18673;p206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sp>
        <p:nvSpPr>
          <p:cNvPr id="18674" name="Google Shape;18674;p2060"/>
          <p:cNvSpPr/>
          <p:nvPr/>
        </p:nvSpPr>
        <p:spPr>
          <a:xfrm>
            <a:off x="902368" y="1517698"/>
            <a:ext cx="11289632" cy="3822607"/>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8675" name="Google Shape;18675;p2060"/>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676" name="Google Shape;18676;p206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8677" name="Google Shape;18677;p2060"/>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8678" name="Google Shape;18678;p206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979.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18679"/>
        <p:cNvGrpSpPr/>
        <p:nvPr/>
      </p:nvGrpSpPr>
      <p:grpSpPr>
        <a:xfrm>
          <a:off x="0" y="0"/>
          <a:ext cx="0" cy="0"/>
          <a:chOff x="0" y="0"/>
          <a:chExt cx="0" cy="0"/>
        </a:xfrm>
      </p:grpSpPr>
      <p:sp>
        <p:nvSpPr>
          <p:cNvPr id="18680" name="Google Shape;18680;p206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lvl="1"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lvl="2"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lvl="3"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lvl="4"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lvl="5"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lvl="6"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lvl="7"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lvl="8"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8681" name="Google Shape;18681;p20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682" name="Google Shape;18682;p206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grpSp>
        <p:nvGrpSpPr>
          <p:cNvPr id="18683" name="Google Shape;18683;p2061"/>
          <p:cNvGrpSpPr/>
          <p:nvPr/>
        </p:nvGrpSpPr>
        <p:grpSpPr>
          <a:xfrm>
            <a:off x="7191543" y="1"/>
            <a:ext cx="5000459" cy="1425992"/>
            <a:chOff x="7191542" y="1"/>
            <a:chExt cx="5000459" cy="1425992"/>
          </a:xfrm>
        </p:grpSpPr>
        <p:pic>
          <p:nvPicPr>
            <p:cNvPr id="18684" name="Google Shape;18684;p20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685" name="Google Shape;18685;p2061"/>
            <p:cNvGrpSpPr/>
            <p:nvPr/>
          </p:nvGrpSpPr>
          <p:grpSpPr>
            <a:xfrm>
              <a:off x="7191542" y="1"/>
              <a:ext cx="5000459" cy="1425992"/>
              <a:chOff x="7186272" y="0"/>
              <a:chExt cx="5005729" cy="1427495"/>
            </a:xfrm>
          </p:grpSpPr>
          <p:sp>
            <p:nvSpPr>
              <p:cNvPr id="18686" name="Google Shape;18686;p20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8687" name="Google Shape;18687;p20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5 2">
    <p:spTree>
      <p:nvGrpSpPr>
        <p:cNvPr id="1" name="Shape 10938"/>
        <p:cNvGrpSpPr/>
        <p:nvPr/>
      </p:nvGrpSpPr>
      <p:grpSpPr>
        <a:xfrm>
          <a:off x="0" y="0"/>
          <a:ext cx="0" cy="0"/>
          <a:chOff x="0" y="0"/>
          <a:chExt cx="0" cy="0"/>
        </a:xfrm>
      </p:grpSpPr>
      <p:sp>
        <p:nvSpPr>
          <p:cNvPr id="10939" name="Google Shape;10939;p1502"/>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40" name="Google Shape;10940;p1502"/>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41" name="Google Shape;10941;p150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0942" name="Google Shape;10942;p15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43" name="Google Shape;10943;p15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0944" name="Google Shape;10944;p1502"/>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0945" name="Google Shape;10945;p1502"/>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0946" name="Google Shape;10946;p1502"/>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947" name="Google Shape;10947;p1502"/>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980.xml><?xml version="1.0" encoding="utf-8"?>
<p:sldLayout xmlns:a="http://schemas.openxmlformats.org/drawingml/2006/main" xmlns:r="http://schemas.openxmlformats.org/officeDocument/2006/relationships" xmlns:p="http://schemas.openxmlformats.org/presentationml/2006/main" matchingName="Quotation">
  <p:cSld name="1_Quotation 2">
    <p:spTree>
      <p:nvGrpSpPr>
        <p:cNvPr id="1" name="Shape 18688"/>
        <p:cNvGrpSpPr/>
        <p:nvPr/>
      </p:nvGrpSpPr>
      <p:grpSpPr>
        <a:xfrm>
          <a:off x="0" y="0"/>
          <a:ext cx="0" cy="0"/>
          <a:chOff x="0" y="0"/>
          <a:chExt cx="0" cy="0"/>
        </a:xfrm>
      </p:grpSpPr>
      <p:sp>
        <p:nvSpPr>
          <p:cNvPr id="18689" name="Google Shape;18689;p2062"/>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8690" name="Google Shape;18690;p206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691" name="Google Shape;18691;p206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692" name="Google Shape;18692;p206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lvl="1"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lvl="2"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lvl="3"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lvl="4"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lvl="5"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lvl="6"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lvl="7"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lvl="8"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8693" name="Google Shape;18693;p20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694" name="Google Shape;18694;p206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grpSp>
        <p:nvGrpSpPr>
          <p:cNvPr id="18695" name="Google Shape;18695;p2062"/>
          <p:cNvGrpSpPr/>
          <p:nvPr/>
        </p:nvGrpSpPr>
        <p:grpSpPr>
          <a:xfrm>
            <a:off x="7191543" y="1"/>
            <a:ext cx="5000459" cy="1425992"/>
            <a:chOff x="7191542" y="1"/>
            <a:chExt cx="5000459" cy="1425992"/>
          </a:xfrm>
        </p:grpSpPr>
        <p:pic>
          <p:nvPicPr>
            <p:cNvPr id="18696" name="Google Shape;18696;p20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697" name="Google Shape;18697;p2062"/>
            <p:cNvGrpSpPr/>
            <p:nvPr/>
          </p:nvGrpSpPr>
          <p:grpSpPr>
            <a:xfrm>
              <a:off x="7191542" y="1"/>
              <a:ext cx="5000459" cy="1425992"/>
              <a:chOff x="7186272" y="0"/>
              <a:chExt cx="5005729" cy="1427495"/>
            </a:xfrm>
          </p:grpSpPr>
          <p:sp>
            <p:nvSpPr>
              <p:cNvPr id="18698" name="Google Shape;18698;p20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8699" name="Google Shape;18699;p20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pic>
        <p:nvPicPr>
          <p:cNvPr id="18700" name="Google Shape;18700;p206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981.xml><?xml version="1.0" encoding="utf-8"?>
<p:sldLayout xmlns:a="http://schemas.openxmlformats.org/drawingml/2006/main" xmlns:r="http://schemas.openxmlformats.org/officeDocument/2006/relationships" xmlns:p="http://schemas.openxmlformats.org/presentationml/2006/main" matchingName="Cover">
  <p:cSld name="1_Cover 3">
    <p:spTree>
      <p:nvGrpSpPr>
        <p:cNvPr id="1" name="Shape 18701"/>
        <p:cNvGrpSpPr/>
        <p:nvPr/>
      </p:nvGrpSpPr>
      <p:grpSpPr>
        <a:xfrm>
          <a:off x="0" y="0"/>
          <a:ext cx="0" cy="0"/>
          <a:chOff x="0" y="0"/>
          <a:chExt cx="0" cy="0"/>
        </a:xfrm>
      </p:grpSpPr>
      <p:sp>
        <p:nvSpPr>
          <p:cNvPr id="18702" name="Google Shape;18702;p2063"/>
          <p:cNvSpPr/>
          <p:nvPr/>
        </p:nvSpPr>
        <p:spPr>
          <a:xfrm>
            <a:off x="902368" y="1294414"/>
            <a:ext cx="11289632" cy="3822607"/>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8703" name="Google Shape;18703;p2063"/>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704" name="Google Shape;18704;p2063"/>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705" name="Google Shape;18705;p2063"/>
          <p:cNvSpPr>
            <a:spLocks noGrp="1"/>
          </p:cNvSpPr>
          <p:nvPr>
            <p:ph type="pic" idx="2"/>
          </p:nvPr>
        </p:nvSpPr>
        <p:spPr>
          <a:xfrm>
            <a:off x="7118684" y="233915"/>
            <a:ext cx="5073316" cy="5943600"/>
          </a:xfrm>
          <a:prstGeom prst="rect">
            <a:avLst/>
          </a:prstGeom>
          <a:noFill/>
          <a:ln>
            <a:noFill/>
          </a:ln>
        </p:spPr>
      </p:sp>
      <p:grpSp>
        <p:nvGrpSpPr>
          <p:cNvPr id="18706" name="Google Shape;18706;p2063"/>
          <p:cNvGrpSpPr/>
          <p:nvPr/>
        </p:nvGrpSpPr>
        <p:grpSpPr>
          <a:xfrm>
            <a:off x="0" y="5020349"/>
            <a:ext cx="12192000" cy="1837653"/>
            <a:chOff x="0" y="5020348"/>
            <a:chExt cx="12192000" cy="1837653"/>
          </a:xfrm>
        </p:grpSpPr>
        <p:sp>
          <p:nvSpPr>
            <p:cNvPr id="18707" name="Google Shape;18707;p206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8708" name="Google Shape;18708;p206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pic>
          <p:nvPicPr>
            <p:cNvPr id="18709" name="Google Shape;18709;p206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982.xml><?xml version="1.0" encoding="utf-8"?>
<p:sldLayout xmlns:a="http://schemas.openxmlformats.org/drawingml/2006/main" xmlns:r="http://schemas.openxmlformats.org/officeDocument/2006/relationships" xmlns:p="http://schemas.openxmlformats.org/presentationml/2006/main" matchingName="Divider">
  <p:cSld name="1_Divider 3">
    <p:bg>
      <p:bgPr>
        <a:solidFill>
          <a:schemeClr val="lt2"/>
        </a:solidFill>
        <a:effectLst/>
      </p:bgPr>
    </p:bg>
    <p:spTree>
      <p:nvGrpSpPr>
        <p:cNvPr id="1" name="Shape 18710"/>
        <p:cNvGrpSpPr/>
        <p:nvPr/>
      </p:nvGrpSpPr>
      <p:grpSpPr>
        <a:xfrm>
          <a:off x="0" y="0"/>
          <a:ext cx="0" cy="0"/>
          <a:chOff x="0" y="0"/>
          <a:chExt cx="0" cy="0"/>
        </a:xfrm>
      </p:grpSpPr>
      <p:grpSp>
        <p:nvGrpSpPr>
          <p:cNvPr id="18711" name="Google Shape;18711;p2064"/>
          <p:cNvGrpSpPr/>
          <p:nvPr/>
        </p:nvGrpSpPr>
        <p:grpSpPr>
          <a:xfrm>
            <a:off x="0" y="5020348"/>
            <a:ext cx="12192000" cy="1837653"/>
            <a:chOff x="0" y="5020347"/>
            <a:chExt cx="12192000" cy="1837653"/>
          </a:xfrm>
        </p:grpSpPr>
        <p:sp>
          <p:nvSpPr>
            <p:cNvPr id="18712" name="Google Shape;18712;p206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8713" name="Google Shape;18713;p206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8714" name="Google Shape;18714;p206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pic>
          <p:nvPicPr>
            <p:cNvPr id="18715" name="Google Shape;18715;p206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8716" name="Google Shape;18716;p2064"/>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717" name="Google Shape;18717;p2064"/>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983.xml><?xml version="1.0" encoding="utf-8"?>
<p:sldLayout xmlns:a="http://schemas.openxmlformats.org/drawingml/2006/main" xmlns:r="http://schemas.openxmlformats.org/officeDocument/2006/relationships" xmlns:p="http://schemas.openxmlformats.org/presentationml/2006/main" matchingName="Quotation">
  <p:cSld name="1_Quotation 3">
    <p:spTree>
      <p:nvGrpSpPr>
        <p:cNvPr id="1" name="Shape 18718"/>
        <p:cNvGrpSpPr/>
        <p:nvPr/>
      </p:nvGrpSpPr>
      <p:grpSpPr>
        <a:xfrm>
          <a:off x="0" y="0"/>
          <a:ext cx="0" cy="0"/>
          <a:chOff x="0" y="0"/>
          <a:chExt cx="0" cy="0"/>
        </a:xfrm>
      </p:grpSpPr>
      <p:sp>
        <p:nvSpPr>
          <p:cNvPr id="18719" name="Google Shape;18719;p2065"/>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8720" name="Google Shape;18720;p206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721" name="Google Shape;18721;p206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722" name="Google Shape;18722;p206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lvl="1"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lvl="2"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lvl="3"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lvl="4"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lvl="5"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lvl="6"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lvl="7"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lvl="8"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8723" name="Google Shape;18723;p20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24" name="Google Shape;18724;p206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grpSp>
        <p:nvGrpSpPr>
          <p:cNvPr id="18725" name="Google Shape;18725;p2065"/>
          <p:cNvGrpSpPr/>
          <p:nvPr/>
        </p:nvGrpSpPr>
        <p:grpSpPr>
          <a:xfrm>
            <a:off x="7191543" y="1"/>
            <a:ext cx="5000459" cy="1425992"/>
            <a:chOff x="7191542" y="1"/>
            <a:chExt cx="5000459" cy="1425992"/>
          </a:xfrm>
        </p:grpSpPr>
        <p:pic>
          <p:nvPicPr>
            <p:cNvPr id="18726" name="Google Shape;18726;p20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727" name="Google Shape;18727;p2065"/>
            <p:cNvGrpSpPr/>
            <p:nvPr/>
          </p:nvGrpSpPr>
          <p:grpSpPr>
            <a:xfrm>
              <a:off x="7191542" y="1"/>
              <a:ext cx="5000459" cy="1425992"/>
              <a:chOff x="7186272" y="0"/>
              <a:chExt cx="5005729" cy="1427495"/>
            </a:xfrm>
          </p:grpSpPr>
          <p:sp>
            <p:nvSpPr>
              <p:cNvPr id="18728" name="Google Shape;18728;p20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8729" name="Google Shape;18729;p20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pic>
        <p:nvPicPr>
          <p:cNvPr id="18730" name="Google Shape;18730;p206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984.xml><?xml version="1.0" encoding="utf-8"?>
<p:sldLayout xmlns:a="http://schemas.openxmlformats.org/drawingml/2006/main" xmlns:r="http://schemas.openxmlformats.org/officeDocument/2006/relationships" xmlns:p="http://schemas.openxmlformats.org/presentationml/2006/main" matchingName="Quotation">
  <p:cSld name="1_Quotation 4">
    <p:spTree>
      <p:nvGrpSpPr>
        <p:cNvPr id="1" name="Shape 18731"/>
        <p:cNvGrpSpPr/>
        <p:nvPr/>
      </p:nvGrpSpPr>
      <p:grpSpPr>
        <a:xfrm>
          <a:off x="0" y="0"/>
          <a:ext cx="0" cy="0"/>
          <a:chOff x="0" y="0"/>
          <a:chExt cx="0" cy="0"/>
        </a:xfrm>
      </p:grpSpPr>
      <p:sp>
        <p:nvSpPr>
          <p:cNvPr id="18732" name="Google Shape;18732;p2066"/>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8733" name="Google Shape;18733;p206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734" name="Google Shape;18734;p20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735" name="Google Shape;18735;p206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lvl="1"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lvl="2"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lvl="3"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lvl="4"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lvl="5"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lvl="6"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lvl="7"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lvl="8"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8736" name="Google Shape;18736;p20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37" name="Google Shape;18737;p206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grpSp>
        <p:nvGrpSpPr>
          <p:cNvPr id="18738" name="Google Shape;18738;p2066"/>
          <p:cNvGrpSpPr/>
          <p:nvPr/>
        </p:nvGrpSpPr>
        <p:grpSpPr>
          <a:xfrm>
            <a:off x="7191543" y="1"/>
            <a:ext cx="5000459" cy="1425992"/>
            <a:chOff x="7191542" y="1"/>
            <a:chExt cx="5000459" cy="1425992"/>
          </a:xfrm>
        </p:grpSpPr>
        <p:pic>
          <p:nvPicPr>
            <p:cNvPr id="18739" name="Google Shape;18739;p20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740" name="Google Shape;18740;p2066"/>
            <p:cNvGrpSpPr/>
            <p:nvPr/>
          </p:nvGrpSpPr>
          <p:grpSpPr>
            <a:xfrm>
              <a:off x="7191542" y="1"/>
              <a:ext cx="5000459" cy="1425992"/>
              <a:chOff x="7186272" y="0"/>
              <a:chExt cx="5005729" cy="1427495"/>
            </a:xfrm>
          </p:grpSpPr>
          <p:sp>
            <p:nvSpPr>
              <p:cNvPr id="18741" name="Google Shape;18741;p20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8742" name="Google Shape;18742;p20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pic>
        <p:nvPicPr>
          <p:cNvPr id="18743" name="Google Shape;18743;p206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985.xml><?xml version="1.0" encoding="utf-8"?>
<p:sldLayout xmlns:a="http://schemas.openxmlformats.org/drawingml/2006/main" xmlns:r="http://schemas.openxmlformats.org/officeDocument/2006/relationships" xmlns:p="http://schemas.openxmlformats.org/presentationml/2006/main" matchingName="Title and Content">
  <p:cSld name="1_Title and Content 3">
    <p:spTree>
      <p:nvGrpSpPr>
        <p:cNvPr id="1" name="Shape 18744"/>
        <p:cNvGrpSpPr/>
        <p:nvPr/>
      </p:nvGrpSpPr>
      <p:grpSpPr>
        <a:xfrm>
          <a:off x="0" y="0"/>
          <a:ext cx="0" cy="0"/>
          <a:chOff x="0" y="0"/>
          <a:chExt cx="0" cy="0"/>
        </a:xfrm>
      </p:grpSpPr>
      <p:grpSp>
        <p:nvGrpSpPr>
          <p:cNvPr id="18745" name="Google Shape;18745;p2067"/>
          <p:cNvGrpSpPr/>
          <p:nvPr/>
        </p:nvGrpSpPr>
        <p:grpSpPr>
          <a:xfrm>
            <a:off x="7191543" y="1"/>
            <a:ext cx="5000459" cy="1425992"/>
            <a:chOff x="7191542" y="1"/>
            <a:chExt cx="5000459" cy="1425992"/>
          </a:xfrm>
        </p:grpSpPr>
        <p:pic>
          <p:nvPicPr>
            <p:cNvPr id="18746" name="Google Shape;18746;p20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747" name="Google Shape;18747;p2067"/>
            <p:cNvGrpSpPr/>
            <p:nvPr/>
          </p:nvGrpSpPr>
          <p:grpSpPr>
            <a:xfrm>
              <a:off x="7191542" y="1"/>
              <a:ext cx="5000459" cy="1425992"/>
              <a:chOff x="7186272" y="0"/>
              <a:chExt cx="5005729" cy="1427495"/>
            </a:xfrm>
          </p:grpSpPr>
          <p:sp>
            <p:nvSpPr>
              <p:cNvPr id="18748" name="Google Shape;18748;p20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8749" name="Google Shape;18749;p20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sp>
        <p:nvSpPr>
          <p:cNvPr id="18750" name="Google Shape;18750;p206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751" name="Google Shape;18751;p2067"/>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752" name="Google Shape;18752;p206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lvl="1"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lvl="2"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lvl="3"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lvl="4"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lvl="5"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lvl="6"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lvl="7"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lvl="8"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8753" name="Google Shape;18753;p20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54" name="Google Shape;18754;p206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1986.xml><?xml version="1.0" encoding="utf-8"?>
<p:sldLayout xmlns:a="http://schemas.openxmlformats.org/drawingml/2006/main" xmlns:r="http://schemas.openxmlformats.org/officeDocument/2006/relationships" xmlns:p="http://schemas.openxmlformats.org/presentationml/2006/main" matchingName="Two Content">
  <p:cSld name="1_Two Content 3">
    <p:spTree>
      <p:nvGrpSpPr>
        <p:cNvPr id="1" name="Shape 18755"/>
        <p:cNvGrpSpPr/>
        <p:nvPr/>
      </p:nvGrpSpPr>
      <p:grpSpPr>
        <a:xfrm>
          <a:off x="0" y="0"/>
          <a:ext cx="0" cy="0"/>
          <a:chOff x="0" y="0"/>
          <a:chExt cx="0" cy="0"/>
        </a:xfrm>
      </p:grpSpPr>
      <p:sp>
        <p:nvSpPr>
          <p:cNvPr id="18756" name="Google Shape;18756;p206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757" name="Google Shape;18757;p2068"/>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8758" name="Google Shape;18758;p2068"/>
          <p:cNvGrpSpPr/>
          <p:nvPr/>
        </p:nvGrpSpPr>
        <p:grpSpPr>
          <a:xfrm>
            <a:off x="7191543" y="1"/>
            <a:ext cx="5000459" cy="1425992"/>
            <a:chOff x="7191542" y="1"/>
            <a:chExt cx="5000459" cy="1425992"/>
          </a:xfrm>
        </p:grpSpPr>
        <p:pic>
          <p:nvPicPr>
            <p:cNvPr id="18759" name="Google Shape;18759;p20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760" name="Google Shape;18760;p2068"/>
            <p:cNvGrpSpPr/>
            <p:nvPr/>
          </p:nvGrpSpPr>
          <p:grpSpPr>
            <a:xfrm>
              <a:off x="7191542" y="1"/>
              <a:ext cx="5000459" cy="1425992"/>
              <a:chOff x="7186272" y="0"/>
              <a:chExt cx="5005729" cy="1427495"/>
            </a:xfrm>
          </p:grpSpPr>
          <p:sp>
            <p:nvSpPr>
              <p:cNvPr id="18761" name="Google Shape;18761;p20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8762" name="Google Shape;18762;p20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sp>
        <p:nvSpPr>
          <p:cNvPr id="18763" name="Google Shape;18763;p2068"/>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764" name="Google Shape;18764;p2068"/>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lvl="1"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lvl="2"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lvl="3"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lvl="4"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lvl="5"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lvl="6"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lvl="7"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lvl="8"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8765" name="Google Shape;18765;p20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66" name="Google Shape;18766;p206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1987.xml><?xml version="1.0" encoding="utf-8"?>
<p:sldLayout xmlns:a="http://schemas.openxmlformats.org/drawingml/2006/main" xmlns:r="http://schemas.openxmlformats.org/officeDocument/2006/relationships" xmlns:p="http://schemas.openxmlformats.org/presentationml/2006/main" matchingName="Comparison">
  <p:cSld name="1_Comparison 3">
    <p:spTree>
      <p:nvGrpSpPr>
        <p:cNvPr id="1" name="Shape 18767"/>
        <p:cNvGrpSpPr/>
        <p:nvPr/>
      </p:nvGrpSpPr>
      <p:grpSpPr>
        <a:xfrm>
          <a:off x="0" y="0"/>
          <a:ext cx="0" cy="0"/>
          <a:chOff x="0" y="0"/>
          <a:chExt cx="0" cy="0"/>
        </a:xfrm>
      </p:grpSpPr>
      <p:grpSp>
        <p:nvGrpSpPr>
          <p:cNvPr id="18768" name="Google Shape;18768;p2069"/>
          <p:cNvGrpSpPr/>
          <p:nvPr/>
        </p:nvGrpSpPr>
        <p:grpSpPr>
          <a:xfrm>
            <a:off x="7191543" y="1"/>
            <a:ext cx="5000459" cy="1425992"/>
            <a:chOff x="7191542" y="1"/>
            <a:chExt cx="5000459" cy="1425992"/>
          </a:xfrm>
        </p:grpSpPr>
        <p:pic>
          <p:nvPicPr>
            <p:cNvPr id="18769" name="Google Shape;18769;p20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770" name="Google Shape;18770;p2069"/>
            <p:cNvGrpSpPr/>
            <p:nvPr/>
          </p:nvGrpSpPr>
          <p:grpSpPr>
            <a:xfrm>
              <a:off x="7191542" y="1"/>
              <a:ext cx="5000459" cy="1425992"/>
              <a:chOff x="7186272" y="0"/>
              <a:chExt cx="5005729" cy="1427495"/>
            </a:xfrm>
          </p:grpSpPr>
          <p:sp>
            <p:nvSpPr>
              <p:cNvPr id="18771" name="Google Shape;18771;p20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8772" name="Google Shape;18772;p20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sp>
        <p:nvSpPr>
          <p:cNvPr id="18773" name="Google Shape;18773;p2069"/>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774" name="Google Shape;18774;p2069"/>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2000"/>
              <a:buNone/>
              <a:defRPr sz="2000" b="1"/>
            </a:lvl2pPr>
            <a:lvl3pPr marL="914446" lvl="2" indent="-152408" algn="l">
              <a:lnSpc>
                <a:spcPct val="100000"/>
              </a:lnSpc>
              <a:spcBef>
                <a:spcPts val="1000"/>
              </a:spcBef>
              <a:spcAft>
                <a:spcPts val="0"/>
              </a:spcAft>
              <a:buSzPts val="1800"/>
              <a:buNone/>
              <a:defRPr sz="1800" b="1"/>
            </a:lvl3pPr>
            <a:lvl4pPr marL="1219261" lvl="3" indent="-152408" algn="l">
              <a:lnSpc>
                <a:spcPct val="100000"/>
              </a:lnSpc>
              <a:spcBef>
                <a:spcPts val="1000"/>
              </a:spcBef>
              <a:spcAft>
                <a:spcPts val="0"/>
              </a:spcAft>
              <a:buSzPts val="1600"/>
              <a:buNone/>
              <a:defRPr sz="1600" b="1"/>
            </a:lvl4pPr>
            <a:lvl5pPr marL="1524076" lvl="4" indent="-152408" algn="l">
              <a:lnSpc>
                <a:spcPct val="100000"/>
              </a:lnSpc>
              <a:spcBef>
                <a:spcPts val="1000"/>
              </a:spcBef>
              <a:spcAft>
                <a:spcPts val="0"/>
              </a:spcAft>
              <a:buSzPts val="1600"/>
              <a:buNone/>
              <a:defRPr sz="1600" b="1"/>
            </a:lvl5pPr>
            <a:lvl6pPr marL="1828891" lvl="5" indent="-152408" algn="l">
              <a:lnSpc>
                <a:spcPct val="90000"/>
              </a:lnSpc>
              <a:spcBef>
                <a:spcPts val="10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18775" name="Google Shape;18775;p2069"/>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100000"/>
              </a:lnSpc>
              <a:spcBef>
                <a:spcPts val="1000"/>
              </a:spcBef>
              <a:spcAft>
                <a:spcPts val="0"/>
              </a:spcAft>
              <a:buSzPts val="1800"/>
              <a:buChar char="•"/>
              <a:defRPr sz="1800"/>
            </a:lvl2pPr>
            <a:lvl3pPr marL="914446" lvl="2" indent="-220144" algn="l">
              <a:lnSpc>
                <a:spcPct val="100000"/>
              </a:lnSpc>
              <a:spcBef>
                <a:spcPts val="1000"/>
              </a:spcBef>
              <a:spcAft>
                <a:spcPts val="0"/>
              </a:spcAft>
              <a:buSzPts val="1600"/>
              <a:buChar char="•"/>
              <a:defRPr sz="1600"/>
            </a:lvl3pPr>
            <a:lvl4pPr marL="1219261" lvl="3" indent="-211677" algn="l">
              <a:lnSpc>
                <a:spcPct val="100000"/>
              </a:lnSpc>
              <a:spcBef>
                <a:spcPts val="1000"/>
              </a:spcBef>
              <a:spcAft>
                <a:spcPts val="0"/>
              </a:spcAft>
              <a:buSzPts val="1400"/>
              <a:buChar char="•"/>
              <a:defRPr sz="1400"/>
            </a:lvl4pPr>
            <a:lvl5pPr marL="1524076" lvl="4" indent="-211677" algn="l">
              <a:lnSpc>
                <a:spcPct val="100000"/>
              </a:lnSpc>
              <a:spcBef>
                <a:spcPts val="1000"/>
              </a:spcBef>
              <a:spcAft>
                <a:spcPts val="0"/>
              </a:spcAft>
              <a:buSzPts val="14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776" name="Google Shape;18776;p206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2000"/>
              <a:buNone/>
              <a:defRPr sz="2000" b="1"/>
            </a:lvl2pPr>
            <a:lvl3pPr marL="914446" lvl="2" indent="-152408" algn="l">
              <a:lnSpc>
                <a:spcPct val="100000"/>
              </a:lnSpc>
              <a:spcBef>
                <a:spcPts val="1000"/>
              </a:spcBef>
              <a:spcAft>
                <a:spcPts val="0"/>
              </a:spcAft>
              <a:buSzPts val="1800"/>
              <a:buNone/>
              <a:defRPr sz="1800" b="1"/>
            </a:lvl3pPr>
            <a:lvl4pPr marL="1219261" lvl="3" indent="-152408" algn="l">
              <a:lnSpc>
                <a:spcPct val="100000"/>
              </a:lnSpc>
              <a:spcBef>
                <a:spcPts val="1000"/>
              </a:spcBef>
              <a:spcAft>
                <a:spcPts val="0"/>
              </a:spcAft>
              <a:buSzPts val="1600"/>
              <a:buNone/>
              <a:defRPr sz="1600" b="1"/>
            </a:lvl4pPr>
            <a:lvl5pPr marL="1524076" lvl="4" indent="-152408" algn="l">
              <a:lnSpc>
                <a:spcPct val="100000"/>
              </a:lnSpc>
              <a:spcBef>
                <a:spcPts val="1000"/>
              </a:spcBef>
              <a:spcAft>
                <a:spcPts val="0"/>
              </a:spcAft>
              <a:buSzPts val="1600"/>
              <a:buNone/>
              <a:defRPr sz="1600" b="1"/>
            </a:lvl5pPr>
            <a:lvl6pPr marL="1828891" lvl="5" indent="-152408" algn="l">
              <a:lnSpc>
                <a:spcPct val="90000"/>
              </a:lnSpc>
              <a:spcBef>
                <a:spcPts val="10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18777" name="Google Shape;18777;p206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100000"/>
              </a:lnSpc>
              <a:spcBef>
                <a:spcPts val="1000"/>
              </a:spcBef>
              <a:spcAft>
                <a:spcPts val="0"/>
              </a:spcAft>
              <a:buSzPts val="1800"/>
              <a:buChar char="•"/>
              <a:defRPr sz="1800"/>
            </a:lvl2pPr>
            <a:lvl3pPr marL="914446" lvl="2" indent="-220144" algn="l">
              <a:lnSpc>
                <a:spcPct val="100000"/>
              </a:lnSpc>
              <a:spcBef>
                <a:spcPts val="1000"/>
              </a:spcBef>
              <a:spcAft>
                <a:spcPts val="0"/>
              </a:spcAft>
              <a:buSzPts val="1600"/>
              <a:buChar char="•"/>
              <a:defRPr sz="1600"/>
            </a:lvl3pPr>
            <a:lvl4pPr marL="1219261" lvl="3" indent="-211677" algn="l">
              <a:lnSpc>
                <a:spcPct val="100000"/>
              </a:lnSpc>
              <a:spcBef>
                <a:spcPts val="1000"/>
              </a:spcBef>
              <a:spcAft>
                <a:spcPts val="0"/>
              </a:spcAft>
              <a:buSzPts val="1400"/>
              <a:buChar char="•"/>
              <a:defRPr sz="1400"/>
            </a:lvl4pPr>
            <a:lvl5pPr marL="1524076" lvl="4" indent="-211677" algn="l">
              <a:lnSpc>
                <a:spcPct val="100000"/>
              </a:lnSpc>
              <a:spcBef>
                <a:spcPts val="1000"/>
              </a:spcBef>
              <a:spcAft>
                <a:spcPts val="0"/>
              </a:spcAft>
              <a:buSzPts val="14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778" name="Google Shape;18778;p206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lvl="1"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lvl="2"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lvl="3"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lvl="4"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lvl="5"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lvl="6"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lvl="7"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lvl="8"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8779" name="Google Shape;18779;p20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80" name="Google Shape;18780;p206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1988.xml><?xml version="1.0" encoding="utf-8"?>
<p:sldLayout xmlns:a="http://schemas.openxmlformats.org/drawingml/2006/main" xmlns:r="http://schemas.openxmlformats.org/officeDocument/2006/relationships" xmlns:p="http://schemas.openxmlformats.org/presentationml/2006/main" matchingName="Title Only">
  <p:cSld name="1_Title Only 2">
    <p:spTree>
      <p:nvGrpSpPr>
        <p:cNvPr id="1" name="Shape 18781"/>
        <p:cNvGrpSpPr/>
        <p:nvPr/>
      </p:nvGrpSpPr>
      <p:grpSpPr>
        <a:xfrm>
          <a:off x="0" y="0"/>
          <a:ext cx="0" cy="0"/>
          <a:chOff x="0" y="0"/>
          <a:chExt cx="0" cy="0"/>
        </a:xfrm>
      </p:grpSpPr>
      <p:grpSp>
        <p:nvGrpSpPr>
          <p:cNvPr id="18782" name="Google Shape;18782;p2070"/>
          <p:cNvGrpSpPr/>
          <p:nvPr/>
        </p:nvGrpSpPr>
        <p:grpSpPr>
          <a:xfrm>
            <a:off x="7191543" y="1"/>
            <a:ext cx="5000459" cy="1425992"/>
            <a:chOff x="7191542" y="1"/>
            <a:chExt cx="5000459" cy="1425992"/>
          </a:xfrm>
        </p:grpSpPr>
        <p:pic>
          <p:nvPicPr>
            <p:cNvPr id="18783" name="Google Shape;18783;p20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784" name="Google Shape;18784;p2070"/>
            <p:cNvGrpSpPr/>
            <p:nvPr/>
          </p:nvGrpSpPr>
          <p:grpSpPr>
            <a:xfrm>
              <a:off x="7191542" y="1"/>
              <a:ext cx="5000459" cy="1425992"/>
              <a:chOff x="7186272" y="0"/>
              <a:chExt cx="5005729" cy="1427495"/>
            </a:xfrm>
          </p:grpSpPr>
          <p:sp>
            <p:nvSpPr>
              <p:cNvPr id="18785" name="Google Shape;18785;p20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8786" name="Google Shape;18786;p20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sp>
        <p:nvSpPr>
          <p:cNvPr id="18787" name="Google Shape;18787;p207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788" name="Google Shape;18788;p207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lvl="1"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lvl="2"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lvl="3"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lvl="4"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lvl="5"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lvl="6"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lvl="7"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lvl="8"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8789" name="Google Shape;18789;p20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90" name="Google Shape;18790;p207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1989.xml><?xml version="1.0" encoding="utf-8"?>
<p:sldLayout xmlns:a="http://schemas.openxmlformats.org/drawingml/2006/main" xmlns:r="http://schemas.openxmlformats.org/officeDocument/2006/relationships" xmlns:p="http://schemas.openxmlformats.org/presentationml/2006/main" matchingName="End">
  <p:cSld name="1_End 2">
    <p:spTree>
      <p:nvGrpSpPr>
        <p:cNvPr id="1" name="Shape 18791"/>
        <p:cNvGrpSpPr/>
        <p:nvPr/>
      </p:nvGrpSpPr>
      <p:grpSpPr>
        <a:xfrm>
          <a:off x="0" y="0"/>
          <a:ext cx="0" cy="0"/>
          <a:chOff x="0" y="0"/>
          <a:chExt cx="0" cy="0"/>
        </a:xfrm>
      </p:grpSpPr>
      <p:grpSp>
        <p:nvGrpSpPr>
          <p:cNvPr id="18792" name="Google Shape;18792;p2071"/>
          <p:cNvGrpSpPr/>
          <p:nvPr/>
        </p:nvGrpSpPr>
        <p:grpSpPr>
          <a:xfrm>
            <a:off x="0" y="0"/>
            <a:ext cx="12192000" cy="2148830"/>
            <a:chOff x="0" y="0"/>
            <a:chExt cx="12192000" cy="2148830"/>
          </a:xfrm>
        </p:grpSpPr>
        <p:sp>
          <p:nvSpPr>
            <p:cNvPr id="18793" name="Google Shape;18793;p207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8794" name="Google Shape;18794;p207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sp>
        <p:nvSpPr>
          <p:cNvPr id="18795" name="Google Shape;18795;p2071"/>
          <p:cNvSpPr/>
          <p:nvPr/>
        </p:nvSpPr>
        <p:spPr>
          <a:xfrm>
            <a:off x="902368" y="1517698"/>
            <a:ext cx="11289632" cy="3822607"/>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8796" name="Google Shape;18796;p2071"/>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797" name="Google Shape;18797;p207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8798" name="Google Shape;18798;p2071"/>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8799" name="Google Shape;18799;p207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6 2">
    <p:spTree>
      <p:nvGrpSpPr>
        <p:cNvPr id="1" name="Shape 10948"/>
        <p:cNvGrpSpPr/>
        <p:nvPr/>
      </p:nvGrpSpPr>
      <p:grpSpPr>
        <a:xfrm>
          <a:off x="0" y="0"/>
          <a:ext cx="0" cy="0"/>
          <a:chOff x="0" y="0"/>
          <a:chExt cx="0" cy="0"/>
        </a:xfrm>
      </p:grpSpPr>
      <p:sp>
        <p:nvSpPr>
          <p:cNvPr id="10949" name="Google Shape;10949;p1503"/>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50" name="Google Shape;10950;p1503"/>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51" name="Google Shape;10951;p150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0952" name="Google Shape;10952;p15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53" name="Google Shape;10953;p15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0954" name="Google Shape;10954;p1503"/>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0955" name="Google Shape;10955;p1503"/>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0956" name="Google Shape;10956;p1503"/>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957" name="Google Shape;10957;p1503"/>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990.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8800"/>
        <p:cNvGrpSpPr/>
        <p:nvPr/>
      </p:nvGrpSpPr>
      <p:grpSpPr>
        <a:xfrm>
          <a:off x="0" y="0"/>
          <a:ext cx="0" cy="0"/>
          <a:chOff x="0" y="0"/>
          <a:chExt cx="0" cy="0"/>
        </a:xfrm>
      </p:grpSpPr>
      <p:sp>
        <p:nvSpPr>
          <p:cNvPr id="18801" name="Google Shape;18801;p207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lvl="1"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lvl="2"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lvl="3"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lvl="4"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lvl="5"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lvl="6"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lvl="7"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lvl="8"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8802" name="Google Shape;18802;p20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803" name="Google Shape;18803;p207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grpSp>
        <p:nvGrpSpPr>
          <p:cNvPr id="18804" name="Google Shape;18804;p2072"/>
          <p:cNvGrpSpPr/>
          <p:nvPr/>
        </p:nvGrpSpPr>
        <p:grpSpPr>
          <a:xfrm>
            <a:off x="7191543" y="1"/>
            <a:ext cx="5000459" cy="1425992"/>
            <a:chOff x="7191542" y="1"/>
            <a:chExt cx="5000459" cy="1425992"/>
          </a:xfrm>
        </p:grpSpPr>
        <p:pic>
          <p:nvPicPr>
            <p:cNvPr id="18805" name="Google Shape;18805;p20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806" name="Google Shape;18806;p2072"/>
            <p:cNvGrpSpPr/>
            <p:nvPr/>
          </p:nvGrpSpPr>
          <p:grpSpPr>
            <a:xfrm>
              <a:off x="7191542" y="1"/>
              <a:ext cx="5000459" cy="1425992"/>
              <a:chOff x="7186272" y="0"/>
              <a:chExt cx="5005729" cy="1427495"/>
            </a:xfrm>
          </p:grpSpPr>
          <p:sp>
            <p:nvSpPr>
              <p:cNvPr id="18807" name="Google Shape;18807;p20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8808" name="Google Shape;18808;p20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1991.xml><?xml version="1.0" encoding="utf-8"?>
<p:sldLayout xmlns:a="http://schemas.openxmlformats.org/drawingml/2006/main" xmlns:r="http://schemas.openxmlformats.org/officeDocument/2006/relationships" xmlns:p="http://schemas.openxmlformats.org/presentationml/2006/main" matchingName="Cover">
  <p:cSld name="1_Cover 4">
    <p:spTree>
      <p:nvGrpSpPr>
        <p:cNvPr id="1" name="Shape 18809"/>
        <p:cNvGrpSpPr/>
        <p:nvPr/>
      </p:nvGrpSpPr>
      <p:grpSpPr>
        <a:xfrm>
          <a:off x="0" y="0"/>
          <a:ext cx="0" cy="0"/>
          <a:chOff x="0" y="0"/>
          <a:chExt cx="0" cy="0"/>
        </a:xfrm>
      </p:grpSpPr>
      <p:sp>
        <p:nvSpPr>
          <p:cNvPr id="18810" name="Google Shape;18810;p2073"/>
          <p:cNvSpPr/>
          <p:nvPr/>
        </p:nvSpPr>
        <p:spPr>
          <a:xfrm>
            <a:off x="902368" y="1294414"/>
            <a:ext cx="11289632" cy="3822607"/>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8811" name="Google Shape;18811;p2073"/>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812" name="Google Shape;18812;p2073"/>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813" name="Google Shape;18813;p2073"/>
          <p:cNvSpPr>
            <a:spLocks noGrp="1"/>
          </p:cNvSpPr>
          <p:nvPr>
            <p:ph type="pic" idx="2"/>
          </p:nvPr>
        </p:nvSpPr>
        <p:spPr>
          <a:xfrm>
            <a:off x="7118684" y="233915"/>
            <a:ext cx="5073316" cy="5943600"/>
          </a:xfrm>
          <a:prstGeom prst="rect">
            <a:avLst/>
          </a:prstGeom>
          <a:noFill/>
          <a:ln>
            <a:noFill/>
          </a:ln>
        </p:spPr>
      </p:sp>
      <p:grpSp>
        <p:nvGrpSpPr>
          <p:cNvPr id="18814" name="Google Shape;18814;p2073"/>
          <p:cNvGrpSpPr/>
          <p:nvPr/>
        </p:nvGrpSpPr>
        <p:grpSpPr>
          <a:xfrm>
            <a:off x="0" y="5020349"/>
            <a:ext cx="12192000" cy="1837653"/>
            <a:chOff x="0" y="5020348"/>
            <a:chExt cx="12192000" cy="1837653"/>
          </a:xfrm>
        </p:grpSpPr>
        <p:sp>
          <p:nvSpPr>
            <p:cNvPr id="18815" name="Google Shape;18815;p207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8816" name="Google Shape;18816;p207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pic>
          <p:nvPicPr>
            <p:cNvPr id="18817" name="Google Shape;18817;p207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992.xml><?xml version="1.0" encoding="utf-8"?>
<p:sldLayout xmlns:a="http://schemas.openxmlformats.org/drawingml/2006/main" xmlns:r="http://schemas.openxmlformats.org/officeDocument/2006/relationships" xmlns:p="http://schemas.openxmlformats.org/presentationml/2006/main" matchingName="Divider">
  <p:cSld name="1_Divider 4">
    <p:bg>
      <p:bgPr>
        <a:solidFill>
          <a:schemeClr val="lt2"/>
        </a:solidFill>
        <a:effectLst/>
      </p:bgPr>
    </p:bg>
    <p:spTree>
      <p:nvGrpSpPr>
        <p:cNvPr id="1" name="Shape 18818"/>
        <p:cNvGrpSpPr/>
        <p:nvPr/>
      </p:nvGrpSpPr>
      <p:grpSpPr>
        <a:xfrm>
          <a:off x="0" y="0"/>
          <a:ext cx="0" cy="0"/>
          <a:chOff x="0" y="0"/>
          <a:chExt cx="0" cy="0"/>
        </a:xfrm>
      </p:grpSpPr>
      <p:grpSp>
        <p:nvGrpSpPr>
          <p:cNvPr id="18819" name="Google Shape;18819;p2074"/>
          <p:cNvGrpSpPr/>
          <p:nvPr/>
        </p:nvGrpSpPr>
        <p:grpSpPr>
          <a:xfrm>
            <a:off x="0" y="5020348"/>
            <a:ext cx="12192000" cy="1837653"/>
            <a:chOff x="0" y="5020347"/>
            <a:chExt cx="12192000" cy="1837653"/>
          </a:xfrm>
        </p:grpSpPr>
        <p:sp>
          <p:nvSpPr>
            <p:cNvPr id="18820" name="Google Shape;18820;p207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8821" name="Google Shape;18821;p207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8822" name="Google Shape;18822;p207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pic>
          <p:nvPicPr>
            <p:cNvPr id="18823" name="Google Shape;18823;p207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8824" name="Google Shape;18824;p2074"/>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825" name="Google Shape;18825;p2074"/>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993.xml><?xml version="1.0" encoding="utf-8"?>
<p:sldLayout xmlns:a="http://schemas.openxmlformats.org/drawingml/2006/main" xmlns:r="http://schemas.openxmlformats.org/officeDocument/2006/relationships" xmlns:p="http://schemas.openxmlformats.org/presentationml/2006/main" matchingName="Quotation">
  <p:cSld name="1_Quotation 5">
    <p:spTree>
      <p:nvGrpSpPr>
        <p:cNvPr id="1" name="Shape 18826"/>
        <p:cNvGrpSpPr/>
        <p:nvPr/>
      </p:nvGrpSpPr>
      <p:grpSpPr>
        <a:xfrm>
          <a:off x="0" y="0"/>
          <a:ext cx="0" cy="0"/>
          <a:chOff x="0" y="0"/>
          <a:chExt cx="0" cy="0"/>
        </a:xfrm>
      </p:grpSpPr>
      <p:sp>
        <p:nvSpPr>
          <p:cNvPr id="18827" name="Google Shape;18827;p2075"/>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8828" name="Google Shape;18828;p207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829" name="Google Shape;18829;p207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830" name="Google Shape;18830;p207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lvl="1"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lvl="2"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lvl="3"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lvl="4"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lvl="5"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lvl="6"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lvl="7"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lvl="8"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8831" name="Google Shape;18831;p20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832" name="Google Shape;18832;p207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grpSp>
        <p:nvGrpSpPr>
          <p:cNvPr id="18833" name="Google Shape;18833;p2075"/>
          <p:cNvGrpSpPr/>
          <p:nvPr/>
        </p:nvGrpSpPr>
        <p:grpSpPr>
          <a:xfrm>
            <a:off x="7191543" y="1"/>
            <a:ext cx="5000459" cy="1425992"/>
            <a:chOff x="7191542" y="1"/>
            <a:chExt cx="5000459" cy="1425992"/>
          </a:xfrm>
        </p:grpSpPr>
        <p:pic>
          <p:nvPicPr>
            <p:cNvPr id="18834" name="Google Shape;18834;p20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835" name="Google Shape;18835;p2075"/>
            <p:cNvGrpSpPr/>
            <p:nvPr/>
          </p:nvGrpSpPr>
          <p:grpSpPr>
            <a:xfrm>
              <a:off x="7191542" y="1"/>
              <a:ext cx="5000459" cy="1425992"/>
              <a:chOff x="7186272" y="0"/>
              <a:chExt cx="5005729" cy="1427495"/>
            </a:xfrm>
          </p:grpSpPr>
          <p:sp>
            <p:nvSpPr>
              <p:cNvPr id="18836" name="Google Shape;18836;p20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8837" name="Google Shape;18837;p20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pic>
        <p:nvPicPr>
          <p:cNvPr id="18838" name="Google Shape;18838;p207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994.xml><?xml version="1.0" encoding="utf-8"?>
<p:sldLayout xmlns:a="http://schemas.openxmlformats.org/drawingml/2006/main" xmlns:r="http://schemas.openxmlformats.org/officeDocument/2006/relationships" xmlns:p="http://schemas.openxmlformats.org/presentationml/2006/main" matchingName="Title and Content">
  <p:cSld name="1_Title and Content 4">
    <p:spTree>
      <p:nvGrpSpPr>
        <p:cNvPr id="1" name="Shape 18839"/>
        <p:cNvGrpSpPr/>
        <p:nvPr/>
      </p:nvGrpSpPr>
      <p:grpSpPr>
        <a:xfrm>
          <a:off x="0" y="0"/>
          <a:ext cx="0" cy="0"/>
          <a:chOff x="0" y="0"/>
          <a:chExt cx="0" cy="0"/>
        </a:xfrm>
      </p:grpSpPr>
      <p:grpSp>
        <p:nvGrpSpPr>
          <p:cNvPr id="18840" name="Google Shape;18840;p2076"/>
          <p:cNvGrpSpPr/>
          <p:nvPr/>
        </p:nvGrpSpPr>
        <p:grpSpPr>
          <a:xfrm>
            <a:off x="7191543" y="1"/>
            <a:ext cx="5000459" cy="1425992"/>
            <a:chOff x="7191542" y="1"/>
            <a:chExt cx="5000459" cy="1425992"/>
          </a:xfrm>
        </p:grpSpPr>
        <p:pic>
          <p:nvPicPr>
            <p:cNvPr id="18841" name="Google Shape;18841;p20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842" name="Google Shape;18842;p2076"/>
            <p:cNvGrpSpPr/>
            <p:nvPr/>
          </p:nvGrpSpPr>
          <p:grpSpPr>
            <a:xfrm>
              <a:off x="7191542" y="1"/>
              <a:ext cx="5000459" cy="1425992"/>
              <a:chOff x="7186272" y="0"/>
              <a:chExt cx="5005729" cy="1427495"/>
            </a:xfrm>
          </p:grpSpPr>
          <p:sp>
            <p:nvSpPr>
              <p:cNvPr id="18843" name="Google Shape;18843;p20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8844" name="Google Shape;18844;p20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sp>
        <p:nvSpPr>
          <p:cNvPr id="18845" name="Google Shape;18845;p207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846" name="Google Shape;18846;p207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847" name="Google Shape;18847;p207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lvl="1"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lvl="2"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lvl="3"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lvl="4"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lvl="5"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lvl="6"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lvl="7"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lvl="8"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8848" name="Google Shape;18848;p20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849" name="Google Shape;18849;p207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1995.xml><?xml version="1.0" encoding="utf-8"?>
<p:sldLayout xmlns:a="http://schemas.openxmlformats.org/drawingml/2006/main" xmlns:r="http://schemas.openxmlformats.org/officeDocument/2006/relationships" xmlns:p="http://schemas.openxmlformats.org/presentationml/2006/main" matchingName="Two Content">
  <p:cSld name="1_Two Content 4">
    <p:spTree>
      <p:nvGrpSpPr>
        <p:cNvPr id="1" name="Shape 18850"/>
        <p:cNvGrpSpPr/>
        <p:nvPr/>
      </p:nvGrpSpPr>
      <p:grpSpPr>
        <a:xfrm>
          <a:off x="0" y="0"/>
          <a:ext cx="0" cy="0"/>
          <a:chOff x="0" y="0"/>
          <a:chExt cx="0" cy="0"/>
        </a:xfrm>
      </p:grpSpPr>
      <p:sp>
        <p:nvSpPr>
          <p:cNvPr id="18851" name="Google Shape;18851;p207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852" name="Google Shape;18852;p2077"/>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8853" name="Google Shape;18853;p2077"/>
          <p:cNvGrpSpPr/>
          <p:nvPr/>
        </p:nvGrpSpPr>
        <p:grpSpPr>
          <a:xfrm>
            <a:off x="7191543" y="1"/>
            <a:ext cx="5000459" cy="1425992"/>
            <a:chOff x="7191542" y="1"/>
            <a:chExt cx="5000459" cy="1425992"/>
          </a:xfrm>
        </p:grpSpPr>
        <p:pic>
          <p:nvPicPr>
            <p:cNvPr id="18854" name="Google Shape;18854;p20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855" name="Google Shape;18855;p2077"/>
            <p:cNvGrpSpPr/>
            <p:nvPr/>
          </p:nvGrpSpPr>
          <p:grpSpPr>
            <a:xfrm>
              <a:off x="7191542" y="1"/>
              <a:ext cx="5000459" cy="1425992"/>
              <a:chOff x="7186272" y="0"/>
              <a:chExt cx="5005729" cy="1427495"/>
            </a:xfrm>
          </p:grpSpPr>
          <p:sp>
            <p:nvSpPr>
              <p:cNvPr id="18856" name="Google Shape;18856;p20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8857" name="Google Shape;18857;p20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sp>
        <p:nvSpPr>
          <p:cNvPr id="18858" name="Google Shape;18858;p2077"/>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859" name="Google Shape;18859;p2077"/>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lvl="1"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lvl="2"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lvl="3"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lvl="4"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lvl="5"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lvl="6"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lvl="7"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lvl="8"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8860" name="Google Shape;18860;p20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861" name="Google Shape;18861;p207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1996.xml><?xml version="1.0" encoding="utf-8"?>
<p:sldLayout xmlns:a="http://schemas.openxmlformats.org/drawingml/2006/main" xmlns:r="http://schemas.openxmlformats.org/officeDocument/2006/relationships" xmlns:p="http://schemas.openxmlformats.org/presentationml/2006/main" matchingName="Comparison">
  <p:cSld name="1_Comparison 4">
    <p:spTree>
      <p:nvGrpSpPr>
        <p:cNvPr id="1" name="Shape 18862"/>
        <p:cNvGrpSpPr/>
        <p:nvPr/>
      </p:nvGrpSpPr>
      <p:grpSpPr>
        <a:xfrm>
          <a:off x="0" y="0"/>
          <a:ext cx="0" cy="0"/>
          <a:chOff x="0" y="0"/>
          <a:chExt cx="0" cy="0"/>
        </a:xfrm>
      </p:grpSpPr>
      <p:grpSp>
        <p:nvGrpSpPr>
          <p:cNvPr id="18863" name="Google Shape;18863;p2078"/>
          <p:cNvGrpSpPr/>
          <p:nvPr/>
        </p:nvGrpSpPr>
        <p:grpSpPr>
          <a:xfrm>
            <a:off x="7191543" y="1"/>
            <a:ext cx="5000459" cy="1425992"/>
            <a:chOff x="7191542" y="1"/>
            <a:chExt cx="5000459" cy="1425992"/>
          </a:xfrm>
        </p:grpSpPr>
        <p:pic>
          <p:nvPicPr>
            <p:cNvPr id="18864" name="Google Shape;18864;p20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865" name="Google Shape;18865;p2078"/>
            <p:cNvGrpSpPr/>
            <p:nvPr/>
          </p:nvGrpSpPr>
          <p:grpSpPr>
            <a:xfrm>
              <a:off x="7191542" y="1"/>
              <a:ext cx="5000459" cy="1425992"/>
              <a:chOff x="7186272" y="0"/>
              <a:chExt cx="5005729" cy="1427495"/>
            </a:xfrm>
          </p:grpSpPr>
          <p:sp>
            <p:nvSpPr>
              <p:cNvPr id="18866" name="Google Shape;18866;p20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8867" name="Google Shape;18867;p20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sp>
        <p:nvSpPr>
          <p:cNvPr id="18868" name="Google Shape;18868;p207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869" name="Google Shape;18869;p2078"/>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2000"/>
              <a:buNone/>
              <a:defRPr sz="2000" b="1"/>
            </a:lvl2pPr>
            <a:lvl3pPr marL="914446" lvl="2" indent="-152408" algn="l">
              <a:lnSpc>
                <a:spcPct val="100000"/>
              </a:lnSpc>
              <a:spcBef>
                <a:spcPts val="1000"/>
              </a:spcBef>
              <a:spcAft>
                <a:spcPts val="0"/>
              </a:spcAft>
              <a:buSzPts val="1800"/>
              <a:buNone/>
              <a:defRPr sz="1800" b="1"/>
            </a:lvl3pPr>
            <a:lvl4pPr marL="1219261" lvl="3" indent="-152408" algn="l">
              <a:lnSpc>
                <a:spcPct val="100000"/>
              </a:lnSpc>
              <a:spcBef>
                <a:spcPts val="1000"/>
              </a:spcBef>
              <a:spcAft>
                <a:spcPts val="0"/>
              </a:spcAft>
              <a:buSzPts val="1600"/>
              <a:buNone/>
              <a:defRPr sz="1600" b="1"/>
            </a:lvl4pPr>
            <a:lvl5pPr marL="1524076" lvl="4" indent="-152408" algn="l">
              <a:lnSpc>
                <a:spcPct val="100000"/>
              </a:lnSpc>
              <a:spcBef>
                <a:spcPts val="1000"/>
              </a:spcBef>
              <a:spcAft>
                <a:spcPts val="0"/>
              </a:spcAft>
              <a:buSzPts val="1600"/>
              <a:buNone/>
              <a:defRPr sz="1600" b="1"/>
            </a:lvl5pPr>
            <a:lvl6pPr marL="1828891" lvl="5" indent="-152408" algn="l">
              <a:lnSpc>
                <a:spcPct val="90000"/>
              </a:lnSpc>
              <a:spcBef>
                <a:spcPts val="10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18870" name="Google Shape;18870;p2078"/>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100000"/>
              </a:lnSpc>
              <a:spcBef>
                <a:spcPts val="1000"/>
              </a:spcBef>
              <a:spcAft>
                <a:spcPts val="0"/>
              </a:spcAft>
              <a:buSzPts val="1800"/>
              <a:buChar char="•"/>
              <a:defRPr sz="1800"/>
            </a:lvl2pPr>
            <a:lvl3pPr marL="914446" lvl="2" indent="-220144" algn="l">
              <a:lnSpc>
                <a:spcPct val="100000"/>
              </a:lnSpc>
              <a:spcBef>
                <a:spcPts val="1000"/>
              </a:spcBef>
              <a:spcAft>
                <a:spcPts val="0"/>
              </a:spcAft>
              <a:buSzPts val="1600"/>
              <a:buChar char="•"/>
              <a:defRPr sz="1600"/>
            </a:lvl3pPr>
            <a:lvl4pPr marL="1219261" lvl="3" indent="-211677" algn="l">
              <a:lnSpc>
                <a:spcPct val="100000"/>
              </a:lnSpc>
              <a:spcBef>
                <a:spcPts val="1000"/>
              </a:spcBef>
              <a:spcAft>
                <a:spcPts val="0"/>
              </a:spcAft>
              <a:buSzPts val="1400"/>
              <a:buChar char="•"/>
              <a:defRPr sz="1400"/>
            </a:lvl4pPr>
            <a:lvl5pPr marL="1524076" lvl="4" indent="-211677" algn="l">
              <a:lnSpc>
                <a:spcPct val="100000"/>
              </a:lnSpc>
              <a:spcBef>
                <a:spcPts val="1000"/>
              </a:spcBef>
              <a:spcAft>
                <a:spcPts val="0"/>
              </a:spcAft>
              <a:buSzPts val="14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871" name="Google Shape;18871;p207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2000"/>
              <a:buNone/>
              <a:defRPr sz="2000" b="1"/>
            </a:lvl2pPr>
            <a:lvl3pPr marL="914446" lvl="2" indent="-152408" algn="l">
              <a:lnSpc>
                <a:spcPct val="100000"/>
              </a:lnSpc>
              <a:spcBef>
                <a:spcPts val="1000"/>
              </a:spcBef>
              <a:spcAft>
                <a:spcPts val="0"/>
              </a:spcAft>
              <a:buSzPts val="1800"/>
              <a:buNone/>
              <a:defRPr sz="1800" b="1"/>
            </a:lvl3pPr>
            <a:lvl4pPr marL="1219261" lvl="3" indent="-152408" algn="l">
              <a:lnSpc>
                <a:spcPct val="100000"/>
              </a:lnSpc>
              <a:spcBef>
                <a:spcPts val="1000"/>
              </a:spcBef>
              <a:spcAft>
                <a:spcPts val="0"/>
              </a:spcAft>
              <a:buSzPts val="1600"/>
              <a:buNone/>
              <a:defRPr sz="1600" b="1"/>
            </a:lvl4pPr>
            <a:lvl5pPr marL="1524076" lvl="4" indent="-152408" algn="l">
              <a:lnSpc>
                <a:spcPct val="100000"/>
              </a:lnSpc>
              <a:spcBef>
                <a:spcPts val="1000"/>
              </a:spcBef>
              <a:spcAft>
                <a:spcPts val="0"/>
              </a:spcAft>
              <a:buSzPts val="1600"/>
              <a:buNone/>
              <a:defRPr sz="1600" b="1"/>
            </a:lvl5pPr>
            <a:lvl6pPr marL="1828891" lvl="5" indent="-152408" algn="l">
              <a:lnSpc>
                <a:spcPct val="90000"/>
              </a:lnSpc>
              <a:spcBef>
                <a:spcPts val="10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18872" name="Google Shape;18872;p207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100000"/>
              </a:lnSpc>
              <a:spcBef>
                <a:spcPts val="1000"/>
              </a:spcBef>
              <a:spcAft>
                <a:spcPts val="0"/>
              </a:spcAft>
              <a:buSzPts val="1800"/>
              <a:buChar char="•"/>
              <a:defRPr sz="1800"/>
            </a:lvl2pPr>
            <a:lvl3pPr marL="914446" lvl="2" indent="-220144" algn="l">
              <a:lnSpc>
                <a:spcPct val="100000"/>
              </a:lnSpc>
              <a:spcBef>
                <a:spcPts val="1000"/>
              </a:spcBef>
              <a:spcAft>
                <a:spcPts val="0"/>
              </a:spcAft>
              <a:buSzPts val="1600"/>
              <a:buChar char="•"/>
              <a:defRPr sz="1600"/>
            </a:lvl3pPr>
            <a:lvl4pPr marL="1219261" lvl="3" indent="-211677" algn="l">
              <a:lnSpc>
                <a:spcPct val="100000"/>
              </a:lnSpc>
              <a:spcBef>
                <a:spcPts val="1000"/>
              </a:spcBef>
              <a:spcAft>
                <a:spcPts val="0"/>
              </a:spcAft>
              <a:buSzPts val="1400"/>
              <a:buChar char="•"/>
              <a:defRPr sz="1400"/>
            </a:lvl4pPr>
            <a:lvl5pPr marL="1524076" lvl="4" indent="-211677" algn="l">
              <a:lnSpc>
                <a:spcPct val="100000"/>
              </a:lnSpc>
              <a:spcBef>
                <a:spcPts val="1000"/>
              </a:spcBef>
              <a:spcAft>
                <a:spcPts val="0"/>
              </a:spcAft>
              <a:buSzPts val="14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873" name="Google Shape;18873;p207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lvl="1"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lvl="2"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lvl="3"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lvl="4"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lvl="5"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lvl="6"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lvl="7"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lvl="8"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8874" name="Google Shape;18874;p20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875" name="Google Shape;18875;p207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1997.xml><?xml version="1.0" encoding="utf-8"?>
<p:sldLayout xmlns:a="http://schemas.openxmlformats.org/drawingml/2006/main" xmlns:r="http://schemas.openxmlformats.org/officeDocument/2006/relationships" xmlns:p="http://schemas.openxmlformats.org/presentationml/2006/main" matchingName="Photo Slide">
  <p:cSld name="1_Photo Slide 3">
    <p:spTree>
      <p:nvGrpSpPr>
        <p:cNvPr id="1" name="Shape 18876"/>
        <p:cNvGrpSpPr/>
        <p:nvPr/>
      </p:nvGrpSpPr>
      <p:grpSpPr>
        <a:xfrm>
          <a:off x="0" y="0"/>
          <a:ext cx="0" cy="0"/>
          <a:chOff x="0" y="0"/>
          <a:chExt cx="0" cy="0"/>
        </a:xfrm>
      </p:grpSpPr>
      <p:sp>
        <p:nvSpPr>
          <p:cNvPr id="18877" name="Google Shape;18877;p2079"/>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8878" name="Google Shape;18878;p207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879" name="Google Shape;18879;p2079"/>
          <p:cNvGrpSpPr/>
          <p:nvPr/>
        </p:nvGrpSpPr>
        <p:grpSpPr>
          <a:xfrm>
            <a:off x="0" y="5379427"/>
            <a:ext cx="2807368" cy="753891"/>
            <a:chOff x="0" y="5379426"/>
            <a:chExt cx="2807368" cy="753891"/>
          </a:xfrm>
        </p:grpSpPr>
        <p:sp>
          <p:nvSpPr>
            <p:cNvPr id="18880" name="Google Shape;18880;p207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8881" name="Google Shape;18881;p207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grpSp>
      <p:sp>
        <p:nvSpPr>
          <p:cNvPr id="18882" name="Google Shape;18882;p2079"/>
          <p:cNvSpPr>
            <a:spLocks noGrp="1"/>
          </p:cNvSpPr>
          <p:nvPr>
            <p:ph type="pic" idx="2"/>
          </p:nvPr>
        </p:nvSpPr>
        <p:spPr>
          <a:xfrm>
            <a:off x="2807368" y="457202"/>
            <a:ext cx="8915400" cy="5943598"/>
          </a:xfrm>
          <a:prstGeom prst="rect">
            <a:avLst/>
          </a:prstGeom>
          <a:noFill/>
          <a:ln>
            <a:noFill/>
          </a:ln>
        </p:spPr>
      </p:sp>
      <p:pic>
        <p:nvPicPr>
          <p:cNvPr id="18883" name="Google Shape;18883;p2079"/>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1998.xml><?xml version="1.0" encoding="utf-8"?>
<p:sldLayout xmlns:a="http://schemas.openxmlformats.org/drawingml/2006/main" xmlns:r="http://schemas.openxmlformats.org/officeDocument/2006/relationships" xmlns:p="http://schemas.openxmlformats.org/presentationml/2006/main" matchingName="End">
  <p:cSld name="1_End 3">
    <p:spTree>
      <p:nvGrpSpPr>
        <p:cNvPr id="1" name="Shape 18884"/>
        <p:cNvGrpSpPr/>
        <p:nvPr/>
      </p:nvGrpSpPr>
      <p:grpSpPr>
        <a:xfrm>
          <a:off x="0" y="0"/>
          <a:ext cx="0" cy="0"/>
          <a:chOff x="0" y="0"/>
          <a:chExt cx="0" cy="0"/>
        </a:xfrm>
      </p:grpSpPr>
      <p:grpSp>
        <p:nvGrpSpPr>
          <p:cNvPr id="18885" name="Google Shape;18885;p2080"/>
          <p:cNvGrpSpPr/>
          <p:nvPr/>
        </p:nvGrpSpPr>
        <p:grpSpPr>
          <a:xfrm>
            <a:off x="0" y="0"/>
            <a:ext cx="12192000" cy="2148830"/>
            <a:chOff x="0" y="0"/>
            <a:chExt cx="12192000" cy="2148830"/>
          </a:xfrm>
        </p:grpSpPr>
        <p:sp>
          <p:nvSpPr>
            <p:cNvPr id="18886" name="Google Shape;18886;p208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8887" name="Google Shape;18887;p208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sp>
        <p:nvSpPr>
          <p:cNvPr id="18888" name="Google Shape;18888;p2080"/>
          <p:cNvSpPr/>
          <p:nvPr/>
        </p:nvSpPr>
        <p:spPr>
          <a:xfrm>
            <a:off x="902368" y="1517698"/>
            <a:ext cx="11289632" cy="3822607"/>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8889" name="Google Shape;18889;p2080"/>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890" name="Google Shape;18890;p208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8891" name="Google Shape;18891;p2080"/>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8892" name="Google Shape;18892;p208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999.xml><?xml version="1.0" encoding="utf-8"?>
<p:sldLayout xmlns:a="http://schemas.openxmlformats.org/drawingml/2006/main" xmlns:r="http://schemas.openxmlformats.org/officeDocument/2006/relationships" xmlns:p="http://schemas.openxmlformats.org/presentationml/2006/main" matchingName="Blank">
  <p:cSld name="1_Blank 2">
    <p:spTree>
      <p:nvGrpSpPr>
        <p:cNvPr id="1" name="Shape 18893"/>
        <p:cNvGrpSpPr/>
        <p:nvPr/>
      </p:nvGrpSpPr>
      <p:grpSpPr>
        <a:xfrm>
          <a:off x="0" y="0"/>
          <a:ext cx="0" cy="0"/>
          <a:chOff x="0" y="0"/>
          <a:chExt cx="0" cy="0"/>
        </a:xfrm>
      </p:grpSpPr>
      <p:sp>
        <p:nvSpPr>
          <p:cNvPr id="18894" name="Google Shape;18894;p208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lvl="1"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lvl="2"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lvl="3"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lvl="4"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lvl="5"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lvl="6"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lvl="7"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lvl="8"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8895" name="Google Shape;18895;p20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896" name="Google Shape;18896;p208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grpSp>
        <p:nvGrpSpPr>
          <p:cNvPr id="18897" name="Google Shape;18897;p2081"/>
          <p:cNvGrpSpPr/>
          <p:nvPr/>
        </p:nvGrpSpPr>
        <p:grpSpPr>
          <a:xfrm>
            <a:off x="7191543" y="1"/>
            <a:ext cx="5000459" cy="1425992"/>
            <a:chOff x="7191542" y="1"/>
            <a:chExt cx="5000459" cy="1425992"/>
          </a:xfrm>
        </p:grpSpPr>
        <p:pic>
          <p:nvPicPr>
            <p:cNvPr id="18898" name="Google Shape;18898;p20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899" name="Google Shape;18899;p2081"/>
            <p:cNvGrpSpPr/>
            <p:nvPr/>
          </p:nvGrpSpPr>
          <p:grpSpPr>
            <a:xfrm>
              <a:off x="7191542" y="1"/>
              <a:ext cx="5000459" cy="1425992"/>
              <a:chOff x="7186272" y="0"/>
              <a:chExt cx="5005729" cy="1427495"/>
            </a:xfrm>
          </p:grpSpPr>
          <p:sp>
            <p:nvSpPr>
              <p:cNvPr id="18900" name="Google Shape;18900;p20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8901" name="Google Shape;18901;p20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 and Content">
  <p:cSld name="Title and Content 3">
    <p:spTree>
      <p:nvGrpSpPr>
        <p:cNvPr id="1" name="Shape 9117"/>
        <p:cNvGrpSpPr/>
        <p:nvPr/>
      </p:nvGrpSpPr>
      <p:grpSpPr>
        <a:xfrm>
          <a:off x="0" y="0"/>
          <a:ext cx="0" cy="0"/>
          <a:chOff x="0" y="0"/>
          <a:chExt cx="0" cy="0"/>
        </a:xfrm>
      </p:grpSpPr>
      <p:grpSp>
        <p:nvGrpSpPr>
          <p:cNvPr id="9118" name="Google Shape;9118;p1326"/>
          <p:cNvGrpSpPr/>
          <p:nvPr/>
        </p:nvGrpSpPr>
        <p:grpSpPr>
          <a:xfrm>
            <a:off x="7191542" y="1"/>
            <a:ext cx="5000459" cy="1425992"/>
            <a:chOff x="7191542" y="1"/>
            <a:chExt cx="5000459" cy="1425992"/>
          </a:xfrm>
        </p:grpSpPr>
        <p:pic>
          <p:nvPicPr>
            <p:cNvPr id="9119" name="Google Shape;9119;p13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120" name="Google Shape;9120;p1326"/>
            <p:cNvGrpSpPr/>
            <p:nvPr/>
          </p:nvGrpSpPr>
          <p:grpSpPr>
            <a:xfrm>
              <a:off x="7191542" y="1"/>
              <a:ext cx="5000459" cy="1425992"/>
              <a:chOff x="7186272" y="0"/>
              <a:chExt cx="5005729" cy="1427495"/>
            </a:xfrm>
          </p:grpSpPr>
          <p:sp>
            <p:nvSpPr>
              <p:cNvPr id="9121" name="Google Shape;9121;p13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122" name="Google Shape;9122;p13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123" name="Google Shape;9123;p13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24" name="Google Shape;9124;p132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25" name="Google Shape;9125;p13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126" name="Google Shape;9126;p13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27" name="Google Shape;9127;p13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4 2">
    <p:spTree>
      <p:nvGrpSpPr>
        <p:cNvPr id="1" name="Shape 10958"/>
        <p:cNvGrpSpPr/>
        <p:nvPr/>
      </p:nvGrpSpPr>
      <p:grpSpPr>
        <a:xfrm>
          <a:off x="0" y="0"/>
          <a:ext cx="0" cy="0"/>
          <a:chOff x="0" y="0"/>
          <a:chExt cx="0" cy="0"/>
        </a:xfrm>
      </p:grpSpPr>
      <p:sp>
        <p:nvSpPr>
          <p:cNvPr id="10959" name="Google Shape;10959;p1504"/>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60" name="Google Shape;10960;p150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961" name="Google Shape;10961;p150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962" name="Google Shape;10962;p1504"/>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963" name="Google Shape;10963;p150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000.xml><?xml version="1.0" encoding="utf-8"?>
<p:sldLayout xmlns:a="http://schemas.openxmlformats.org/drawingml/2006/main" xmlns:r="http://schemas.openxmlformats.org/officeDocument/2006/relationships" xmlns:p="http://schemas.openxmlformats.org/presentationml/2006/main" matchingName="Title Only">
  <p:cSld name="1_Title Only 3">
    <p:spTree>
      <p:nvGrpSpPr>
        <p:cNvPr id="1" name="Shape 18902"/>
        <p:cNvGrpSpPr/>
        <p:nvPr/>
      </p:nvGrpSpPr>
      <p:grpSpPr>
        <a:xfrm>
          <a:off x="0" y="0"/>
          <a:ext cx="0" cy="0"/>
          <a:chOff x="0" y="0"/>
          <a:chExt cx="0" cy="0"/>
        </a:xfrm>
      </p:grpSpPr>
      <p:grpSp>
        <p:nvGrpSpPr>
          <p:cNvPr id="18903" name="Google Shape;18903;p2082"/>
          <p:cNvGrpSpPr/>
          <p:nvPr/>
        </p:nvGrpSpPr>
        <p:grpSpPr>
          <a:xfrm>
            <a:off x="7191543" y="1"/>
            <a:ext cx="5000459" cy="1425992"/>
            <a:chOff x="7191542" y="1"/>
            <a:chExt cx="5000459" cy="1425992"/>
          </a:xfrm>
        </p:grpSpPr>
        <p:pic>
          <p:nvPicPr>
            <p:cNvPr id="18904" name="Google Shape;18904;p20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905" name="Google Shape;18905;p2082"/>
            <p:cNvGrpSpPr/>
            <p:nvPr/>
          </p:nvGrpSpPr>
          <p:grpSpPr>
            <a:xfrm>
              <a:off x="7191542" y="1"/>
              <a:ext cx="5000459" cy="1425992"/>
              <a:chOff x="7186272" y="0"/>
              <a:chExt cx="5005729" cy="1427495"/>
            </a:xfrm>
          </p:grpSpPr>
          <p:sp>
            <p:nvSpPr>
              <p:cNvPr id="18906" name="Google Shape;18906;p20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8907" name="Google Shape;18907;p20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sp>
        <p:nvSpPr>
          <p:cNvPr id="18908" name="Google Shape;18908;p2082"/>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909" name="Google Shape;18909;p208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lvl="1"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lvl="2"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lvl="3"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lvl="4"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lvl="5"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lvl="6"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lvl="7"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lvl="8"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8910" name="Google Shape;18910;p20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11" name="Google Shape;18911;p208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2001.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18912"/>
        <p:cNvGrpSpPr/>
        <p:nvPr/>
      </p:nvGrpSpPr>
      <p:grpSpPr>
        <a:xfrm>
          <a:off x="0" y="0"/>
          <a:ext cx="0" cy="0"/>
          <a:chOff x="0" y="0"/>
          <a:chExt cx="0" cy="0"/>
        </a:xfrm>
      </p:grpSpPr>
      <p:sp>
        <p:nvSpPr>
          <p:cNvPr id="18913" name="Google Shape;18913;p2083"/>
          <p:cNvSpPr txBox="1">
            <a:spLocks noGrp="1"/>
          </p:cNvSpPr>
          <p:nvPr>
            <p:ph type="ctrTitle"/>
          </p:nvPr>
        </p:nvSpPr>
        <p:spPr>
          <a:xfrm>
            <a:off x="513349"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914" name="Google Shape;18914;p2083"/>
          <p:cNvSpPr txBox="1">
            <a:spLocks noGrp="1"/>
          </p:cNvSpPr>
          <p:nvPr>
            <p:ph type="subTitle" idx="1"/>
          </p:nvPr>
        </p:nvSpPr>
        <p:spPr>
          <a:xfrm>
            <a:off x="513349" y="5400326"/>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8915" name="Google Shape;18915;p2083"/>
          <p:cNvGrpSpPr/>
          <p:nvPr/>
        </p:nvGrpSpPr>
        <p:grpSpPr>
          <a:xfrm flipH="1">
            <a:off x="-1" y="2"/>
            <a:ext cx="6418725" cy="1509822"/>
            <a:chOff x="7522541" y="1"/>
            <a:chExt cx="4669459" cy="1098357"/>
          </a:xfrm>
        </p:grpSpPr>
        <p:sp>
          <p:nvSpPr>
            <p:cNvPr id="18916" name="Google Shape;18916;p2083"/>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8917" name="Google Shape;18917;p2083"/>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pic>
        <p:nvPicPr>
          <p:cNvPr id="18918" name="Google Shape;18918;p2083"/>
          <p:cNvPicPr preferRelativeResize="0"/>
          <p:nvPr/>
        </p:nvPicPr>
        <p:blipFill rotWithShape="1">
          <a:blip r:embed="rId2">
            <a:alphaModFix/>
          </a:blip>
          <a:srcRect/>
          <a:stretch/>
        </p:blipFill>
        <p:spPr>
          <a:xfrm>
            <a:off x="513348" y="136526"/>
            <a:ext cx="1945206" cy="879974"/>
          </a:xfrm>
          <a:prstGeom prst="rect">
            <a:avLst/>
          </a:prstGeom>
          <a:noFill/>
          <a:ln>
            <a:noFill/>
          </a:ln>
        </p:spPr>
      </p:pic>
    </p:spTree>
  </p:cSld>
  <p:clrMapOvr>
    <a:masterClrMapping/>
  </p:clrMapOvr>
</p:sldLayout>
</file>

<file path=ppt/slideLayouts/slideLayout2002.xml><?xml version="1.0" encoding="utf-8"?>
<p:sldLayout xmlns:a="http://schemas.openxmlformats.org/drawingml/2006/main" xmlns:r="http://schemas.openxmlformats.org/officeDocument/2006/relationships" xmlns:p="http://schemas.openxmlformats.org/presentationml/2006/main" matchingName="Quotation">
  <p:cSld name="1_Quotation 6">
    <p:spTree>
      <p:nvGrpSpPr>
        <p:cNvPr id="1" name="Shape 18919"/>
        <p:cNvGrpSpPr/>
        <p:nvPr/>
      </p:nvGrpSpPr>
      <p:grpSpPr>
        <a:xfrm>
          <a:off x="0" y="0"/>
          <a:ext cx="0" cy="0"/>
          <a:chOff x="0" y="0"/>
          <a:chExt cx="0" cy="0"/>
        </a:xfrm>
      </p:grpSpPr>
      <p:sp>
        <p:nvSpPr>
          <p:cNvPr id="18920" name="Google Shape;18920;p2084"/>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8921" name="Google Shape;18921;p208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922" name="Google Shape;18922;p208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923" name="Google Shape;18923;p208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lvl="1"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lvl="2"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lvl="3"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lvl="4"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lvl="5"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lvl="6"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lvl="7"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lvl="8"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8924" name="Google Shape;18924;p20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25" name="Google Shape;18925;p208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grpSp>
        <p:nvGrpSpPr>
          <p:cNvPr id="18926" name="Google Shape;18926;p2084"/>
          <p:cNvGrpSpPr/>
          <p:nvPr/>
        </p:nvGrpSpPr>
        <p:grpSpPr>
          <a:xfrm>
            <a:off x="7191543" y="1"/>
            <a:ext cx="5000459" cy="1425992"/>
            <a:chOff x="7191542" y="1"/>
            <a:chExt cx="5000459" cy="1425992"/>
          </a:xfrm>
        </p:grpSpPr>
        <p:pic>
          <p:nvPicPr>
            <p:cNvPr id="18927" name="Google Shape;18927;p20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928" name="Google Shape;18928;p2084"/>
            <p:cNvGrpSpPr/>
            <p:nvPr/>
          </p:nvGrpSpPr>
          <p:grpSpPr>
            <a:xfrm>
              <a:off x="7191542" y="1"/>
              <a:ext cx="5000459" cy="1425992"/>
              <a:chOff x="7186272" y="0"/>
              <a:chExt cx="5005729" cy="1427495"/>
            </a:xfrm>
          </p:grpSpPr>
          <p:sp>
            <p:nvSpPr>
              <p:cNvPr id="18929" name="Google Shape;18929;p20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8930" name="Google Shape;18930;p20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pic>
        <p:nvPicPr>
          <p:cNvPr id="18931" name="Google Shape;18931;p208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003.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18932"/>
        <p:cNvGrpSpPr/>
        <p:nvPr/>
      </p:nvGrpSpPr>
      <p:grpSpPr>
        <a:xfrm>
          <a:off x="0" y="0"/>
          <a:ext cx="0" cy="0"/>
          <a:chOff x="0" y="0"/>
          <a:chExt cx="0" cy="0"/>
        </a:xfrm>
      </p:grpSpPr>
      <p:sp>
        <p:nvSpPr>
          <p:cNvPr id="18933" name="Google Shape;18933;p2085"/>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8934" name="Google Shape;18934;p208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935" name="Google Shape;18935;p208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936" name="Google Shape;18936;p208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lvl="1"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lvl="2"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lvl="3"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lvl="4"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lvl="5"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lvl="6"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lvl="7"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lvl="8"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8937" name="Google Shape;18937;p20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38" name="Google Shape;18938;p208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grpSp>
        <p:nvGrpSpPr>
          <p:cNvPr id="18939" name="Google Shape;18939;p2085"/>
          <p:cNvGrpSpPr/>
          <p:nvPr/>
        </p:nvGrpSpPr>
        <p:grpSpPr>
          <a:xfrm>
            <a:off x="7191543" y="1"/>
            <a:ext cx="5000459" cy="1425992"/>
            <a:chOff x="7191542" y="1"/>
            <a:chExt cx="5000459" cy="1425992"/>
          </a:xfrm>
        </p:grpSpPr>
        <p:pic>
          <p:nvPicPr>
            <p:cNvPr id="18940" name="Google Shape;18940;p20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941" name="Google Shape;18941;p2085"/>
            <p:cNvGrpSpPr/>
            <p:nvPr/>
          </p:nvGrpSpPr>
          <p:grpSpPr>
            <a:xfrm>
              <a:off x="7191542" y="1"/>
              <a:ext cx="5000459" cy="1425992"/>
              <a:chOff x="7186272" y="0"/>
              <a:chExt cx="5005729" cy="1427495"/>
            </a:xfrm>
          </p:grpSpPr>
          <p:sp>
            <p:nvSpPr>
              <p:cNvPr id="18942" name="Google Shape;18942;p20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8943" name="Google Shape;18943;p20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pic>
        <p:nvPicPr>
          <p:cNvPr id="18944" name="Google Shape;18944;p208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004.xml><?xml version="1.0" encoding="utf-8"?>
<p:sldLayout xmlns:a="http://schemas.openxmlformats.org/drawingml/2006/main" xmlns:r="http://schemas.openxmlformats.org/officeDocument/2006/relationships" xmlns:p="http://schemas.openxmlformats.org/presentationml/2006/main" matchingName="Quotation">
  <p:cSld name="1_Quotation 7">
    <p:spTree>
      <p:nvGrpSpPr>
        <p:cNvPr id="1" name="Shape 18945"/>
        <p:cNvGrpSpPr/>
        <p:nvPr/>
      </p:nvGrpSpPr>
      <p:grpSpPr>
        <a:xfrm>
          <a:off x="0" y="0"/>
          <a:ext cx="0" cy="0"/>
          <a:chOff x="0" y="0"/>
          <a:chExt cx="0" cy="0"/>
        </a:xfrm>
      </p:grpSpPr>
      <p:sp>
        <p:nvSpPr>
          <p:cNvPr id="18946" name="Google Shape;18946;p2086"/>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8947" name="Google Shape;18947;p208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948" name="Google Shape;18948;p208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949" name="Google Shape;18949;p208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lvl="1"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lvl="2"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lvl="3"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lvl="4"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lvl="5"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lvl="6"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lvl="7"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lvl="8"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8950" name="Google Shape;18950;p20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51" name="Google Shape;18951;p208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grpSp>
        <p:nvGrpSpPr>
          <p:cNvPr id="18952" name="Google Shape;18952;p2086"/>
          <p:cNvGrpSpPr/>
          <p:nvPr/>
        </p:nvGrpSpPr>
        <p:grpSpPr>
          <a:xfrm>
            <a:off x="7191543" y="1"/>
            <a:ext cx="5000459" cy="1425992"/>
            <a:chOff x="7191542" y="1"/>
            <a:chExt cx="5000459" cy="1425992"/>
          </a:xfrm>
        </p:grpSpPr>
        <p:pic>
          <p:nvPicPr>
            <p:cNvPr id="18953" name="Google Shape;18953;p20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954" name="Google Shape;18954;p2086"/>
            <p:cNvGrpSpPr/>
            <p:nvPr/>
          </p:nvGrpSpPr>
          <p:grpSpPr>
            <a:xfrm>
              <a:off x="7191542" y="1"/>
              <a:ext cx="5000459" cy="1425992"/>
              <a:chOff x="7186272" y="0"/>
              <a:chExt cx="5005729" cy="1427495"/>
            </a:xfrm>
          </p:grpSpPr>
          <p:sp>
            <p:nvSpPr>
              <p:cNvPr id="18955" name="Google Shape;18955;p20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8956" name="Google Shape;18956;p20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pic>
        <p:nvPicPr>
          <p:cNvPr id="18957" name="Google Shape;18957;p208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005.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18958"/>
        <p:cNvGrpSpPr/>
        <p:nvPr/>
      </p:nvGrpSpPr>
      <p:grpSpPr>
        <a:xfrm>
          <a:off x="0" y="0"/>
          <a:ext cx="0" cy="0"/>
          <a:chOff x="0" y="0"/>
          <a:chExt cx="0" cy="0"/>
        </a:xfrm>
      </p:grpSpPr>
      <p:sp>
        <p:nvSpPr>
          <p:cNvPr id="18959" name="Google Shape;18959;p2087"/>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8960" name="Google Shape;18960;p2087"/>
          <p:cNvSpPr/>
          <p:nvPr/>
        </p:nvSpPr>
        <p:spPr>
          <a:xfrm>
            <a:off x="3"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pic>
        <p:nvPicPr>
          <p:cNvPr id="18961" name="Google Shape;18961;p2087"/>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8962" name="Google Shape;18962;p2087"/>
          <p:cNvSpPr/>
          <p:nvPr/>
        </p:nvSpPr>
        <p:spPr>
          <a:xfrm>
            <a:off x="1" y="5020056"/>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pic>
        <p:nvPicPr>
          <p:cNvPr id="18963" name="Google Shape;18963;p2087"/>
          <p:cNvPicPr preferRelativeResize="0"/>
          <p:nvPr/>
        </p:nvPicPr>
        <p:blipFill rotWithShape="1">
          <a:blip r:embed="rId3">
            <a:alphaModFix/>
          </a:blip>
          <a:srcRect/>
          <a:stretch/>
        </p:blipFill>
        <p:spPr>
          <a:xfrm>
            <a:off x="313957" y="5564124"/>
            <a:ext cx="2025383" cy="911351"/>
          </a:xfrm>
          <a:prstGeom prst="rect">
            <a:avLst/>
          </a:prstGeom>
          <a:noFill/>
          <a:ln>
            <a:noFill/>
          </a:ln>
        </p:spPr>
      </p:pic>
      <p:sp>
        <p:nvSpPr>
          <p:cNvPr id="18964" name="Google Shape;18964;p2087"/>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8965" name="Google Shape;18965;p2087"/>
          <p:cNvSpPr txBox="1">
            <a:spLocks noGrp="1"/>
          </p:cNvSpPr>
          <p:nvPr>
            <p:ph type="ctrTitle"/>
          </p:nvPr>
        </p:nvSpPr>
        <p:spPr>
          <a:xfrm>
            <a:off x="471690" y="596274"/>
            <a:ext cx="11248618" cy="369332"/>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966" name="Google Shape;18966;p2087"/>
          <p:cNvSpPr txBox="1">
            <a:spLocks noGrp="1"/>
          </p:cNvSpPr>
          <p:nvPr>
            <p:ph type="subTitle" idx="1"/>
          </p:nvPr>
        </p:nvSpPr>
        <p:spPr>
          <a:xfrm>
            <a:off x="1828800" y="3840480"/>
            <a:ext cx="8534400" cy="374461"/>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8967" name="Google Shape;18967;p2087"/>
          <p:cNvSpPr txBox="1">
            <a:spLocks noGrp="1"/>
          </p:cNvSpPr>
          <p:nvPr>
            <p:ph type="ftr" idx="11"/>
          </p:nvPr>
        </p:nvSpPr>
        <p:spPr>
          <a:xfrm>
            <a:off x="609600" y="6356351"/>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Clr>
                <a:srgbClr val="919497"/>
              </a:buClr>
              <a:buSzPts val="1400"/>
              <a:buFont typeface="Calibri"/>
              <a:buNone/>
              <a:defRPr>
                <a:solidFill>
                  <a:srgbClr val="919497"/>
                </a:solidFill>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8968" name="Google Shape;18968;p2087"/>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Clr>
                <a:srgbClr val="919497"/>
              </a:buClr>
              <a:buSzPts val="1400"/>
              <a:buFont typeface="Calibri"/>
              <a:buNone/>
              <a:defRPr sz="1800">
                <a:solidFill>
                  <a:srgbClr val="919497"/>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8969" name="Google Shape;18969;p2087"/>
          <p:cNvSpPr txBox="1">
            <a:spLocks noGrp="1"/>
          </p:cNvSpPr>
          <p:nvPr>
            <p:ph type="sldNum" idx="12"/>
          </p:nvPr>
        </p:nvSpPr>
        <p:spPr>
          <a:xfrm>
            <a:off x="8839200" y="6356351"/>
            <a:ext cx="2743200" cy="365125"/>
          </a:xfrm>
          <a:prstGeom prst="rect">
            <a:avLst/>
          </a:prstGeom>
          <a:noFill/>
          <a:ln>
            <a:noFill/>
          </a:ln>
        </p:spPr>
        <p:txBody>
          <a:bodyPr spcFirstLastPara="1" wrap="square" lIns="0" tIns="0" rIns="0" bIns="0" anchor="ctr" anchorCtr="0">
            <a:noAutofit/>
          </a:bodyPr>
          <a:lstStyle>
            <a:lvl1pPr marL="38102" marR="0" lvl="0" indent="0" algn="r">
              <a:lnSpc>
                <a:spcPct val="118750"/>
              </a:lnSpc>
              <a:spcBef>
                <a:spcPts val="0"/>
              </a:spcBef>
              <a:buClr>
                <a:srgbClr val="929599"/>
              </a:buClr>
              <a:buSzPts val="1800"/>
              <a:buFont typeface="Arial"/>
              <a:buNone/>
              <a:defRPr sz="1200" b="0" i="0" u="none" strike="noStrike" cap="none">
                <a:solidFill>
                  <a:srgbClr val="929599"/>
                </a:solidFill>
                <a:latin typeface="Arial"/>
                <a:ea typeface="Arial"/>
                <a:cs typeface="Arial"/>
                <a:sym typeface="Arial"/>
              </a:defRPr>
            </a:lvl1pPr>
            <a:lvl2pPr marL="38102" marR="0" lvl="1" indent="0" algn="r">
              <a:lnSpc>
                <a:spcPct val="118750"/>
              </a:lnSpc>
              <a:spcBef>
                <a:spcPts val="0"/>
              </a:spcBef>
              <a:buClr>
                <a:srgbClr val="929599"/>
              </a:buClr>
              <a:buSzPts val="1800"/>
              <a:buFont typeface="Arial"/>
              <a:buNone/>
              <a:defRPr sz="1200" b="0" i="0" u="none" strike="noStrike" cap="none">
                <a:solidFill>
                  <a:srgbClr val="929599"/>
                </a:solidFill>
                <a:latin typeface="Arial"/>
                <a:ea typeface="Arial"/>
                <a:cs typeface="Arial"/>
                <a:sym typeface="Arial"/>
              </a:defRPr>
            </a:lvl2pPr>
            <a:lvl3pPr marL="38102" marR="0" lvl="2" indent="0" algn="r">
              <a:lnSpc>
                <a:spcPct val="118750"/>
              </a:lnSpc>
              <a:spcBef>
                <a:spcPts val="0"/>
              </a:spcBef>
              <a:buClr>
                <a:srgbClr val="929599"/>
              </a:buClr>
              <a:buSzPts val="1800"/>
              <a:buFont typeface="Arial"/>
              <a:buNone/>
              <a:defRPr sz="1200" b="0" i="0" u="none" strike="noStrike" cap="none">
                <a:solidFill>
                  <a:srgbClr val="929599"/>
                </a:solidFill>
                <a:latin typeface="Arial"/>
                <a:ea typeface="Arial"/>
                <a:cs typeface="Arial"/>
                <a:sym typeface="Arial"/>
              </a:defRPr>
            </a:lvl3pPr>
            <a:lvl4pPr marL="38102" marR="0" lvl="3" indent="0" algn="r">
              <a:lnSpc>
                <a:spcPct val="118750"/>
              </a:lnSpc>
              <a:spcBef>
                <a:spcPts val="0"/>
              </a:spcBef>
              <a:buClr>
                <a:srgbClr val="929599"/>
              </a:buClr>
              <a:buSzPts val="1800"/>
              <a:buFont typeface="Arial"/>
              <a:buNone/>
              <a:defRPr sz="1200" b="0" i="0" u="none" strike="noStrike" cap="none">
                <a:solidFill>
                  <a:srgbClr val="929599"/>
                </a:solidFill>
                <a:latin typeface="Arial"/>
                <a:ea typeface="Arial"/>
                <a:cs typeface="Arial"/>
                <a:sym typeface="Arial"/>
              </a:defRPr>
            </a:lvl4pPr>
            <a:lvl5pPr marL="38102" marR="0" lvl="4" indent="0" algn="r">
              <a:lnSpc>
                <a:spcPct val="118750"/>
              </a:lnSpc>
              <a:spcBef>
                <a:spcPts val="0"/>
              </a:spcBef>
              <a:buClr>
                <a:srgbClr val="929599"/>
              </a:buClr>
              <a:buSzPts val="1800"/>
              <a:buFont typeface="Arial"/>
              <a:buNone/>
              <a:defRPr sz="1200" b="0" i="0" u="none" strike="noStrike" cap="none">
                <a:solidFill>
                  <a:srgbClr val="929599"/>
                </a:solidFill>
                <a:latin typeface="Arial"/>
                <a:ea typeface="Arial"/>
                <a:cs typeface="Arial"/>
                <a:sym typeface="Arial"/>
              </a:defRPr>
            </a:lvl5pPr>
            <a:lvl6pPr marL="38102" marR="0" lvl="5" indent="0" algn="r">
              <a:lnSpc>
                <a:spcPct val="118750"/>
              </a:lnSpc>
              <a:spcBef>
                <a:spcPts val="0"/>
              </a:spcBef>
              <a:buClr>
                <a:srgbClr val="929599"/>
              </a:buClr>
              <a:buSzPts val="1800"/>
              <a:buFont typeface="Arial"/>
              <a:buNone/>
              <a:defRPr sz="1200" b="0" i="0" u="none" strike="noStrike" cap="none">
                <a:solidFill>
                  <a:srgbClr val="929599"/>
                </a:solidFill>
                <a:latin typeface="Arial"/>
                <a:ea typeface="Arial"/>
                <a:cs typeface="Arial"/>
                <a:sym typeface="Arial"/>
              </a:defRPr>
            </a:lvl6pPr>
            <a:lvl7pPr marL="38102" marR="0" lvl="6" indent="0" algn="r">
              <a:lnSpc>
                <a:spcPct val="118750"/>
              </a:lnSpc>
              <a:spcBef>
                <a:spcPts val="0"/>
              </a:spcBef>
              <a:buClr>
                <a:srgbClr val="929599"/>
              </a:buClr>
              <a:buSzPts val="1800"/>
              <a:buFont typeface="Arial"/>
              <a:buNone/>
              <a:defRPr sz="1200" b="0" i="0" u="none" strike="noStrike" cap="none">
                <a:solidFill>
                  <a:srgbClr val="929599"/>
                </a:solidFill>
                <a:latin typeface="Arial"/>
                <a:ea typeface="Arial"/>
                <a:cs typeface="Arial"/>
                <a:sym typeface="Arial"/>
              </a:defRPr>
            </a:lvl7pPr>
            <a:lvl8pPr marL="38102" marR="0" lvl="7" indent="0" algn="r">
              <a:lnSpc>
                <a:spcPct val="118750"/>
              </a:lnSpc>
              <a:spcBef>
                <a:spcPts val="0"/>
              </a:spcBef>
              <a:buClr>
                <a:srgbClr val="929599"/>
              </a:buClr>
              <a:buSzPts val="1800"/>
              <a:buFont typeface="Arial"/>
              <a:buNone/>
              <a:defRPr sz="1200" b="0" i="0" u="none" strike="noStrike" cap="none">
                <a:solidFill>
                  <a:srgbClr val="929599"/>
                </a:solidFill>
                <a:latin typeface="Arial"/>
                <a:ea typeface="Arial"/>
                <a:cs typeface="Arial"/>
                <a:sym typeface="Arial"/>
              </a:defRPr>
            </a:lvl8pPr>
            <a:lvl9pPr marL="38102" marR="0" lvl="8" indent="0" algn="r">
              <a:lnSpc>
                <a:spcPct val="118750"/>
              </a:lnSpc>
              <a:spcBef>
                <a:spcPts val="0"/>
              </a:spcBef>
              <a:buClr>
                <a:srgbClr val="929599"/>
              </a:buClr>
              <a:buSzPts val="1800"/>
              <a:buFont typeface="Arial"/>
              <a:buNone/>
              <a:defRPr sz="1200" b="0" i="0" u="none" strike="noStrike" cap="none">
                <a:solidFill>
                  <a:srgbClr val="929599"/>
                </a:solidFill>
                <a:latin typeface="Arial"/>
                <a:ea typeface="Arial"/>
                <a:cs typeface="Arial"/>
                <a:sym typeface="Arial"/>
              </a:defRPr>
            </a:lvl9pPr>
          </a:lstStyle>
          <a:p>
            <a:pPr marL="38102" lvl="0" indent="0" algn="r" rtl="0">
              <a:spcBef>
                <a:spcPts val="0"/>
              </a:spcBef>
              <a:spcAft>
                <a:spcPts val="0"/>
              </a:spcAft>
              <a:buNone/>
            </a:pPr>
            <a:fld id="{00000000-1234-1234-1234-123412341234}" type="slidenum">
              <a:rPr lang="en-US"/>
              <a:pPr marL="38102" lvl="0" indent="0" algn="r" rtl="0">
                <a:spcBef>
                  <a:spcPts val="0"/>
                </a:spcBef>
                <a:spcAft>
                  <a:spcPts val="0"/>
                </a:spcAft>
                <a:buNone/>
              </a:pPr>
              <a:t>‹#›</a:t>
            </a:fld>
            <a:endParaRPr/>
          </a:p>
        </p:txBody>
      </p:sp>
    </p:spTree>
  </p:cSld>
  <p:clrMapOvr>
    <a:masterClrMapping/>
  </p:clrMapOvr>
</p:sldLayout>
</file>

<file path=ppt/slideLayouts/slideLayout2006.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18970"/>
        <p:cNvGrpSpPr/>
        <p:nvPr/>
      </p:nvGrpSpPr>
      <p:grpSpPr>
        <a:xfrm>
          <a:off x="0" y="0"/>
          <a:ext cx="0" cy="0"/>
          <a:chOff x="0" y="0"/>
          <a:chExt cx="0" cy="0"/>
        </a:xfrm>
      </p:grpSpPr>
      <p:sp>
        <p:nvSpPr>
          <p:cNvPr id="18971" name="Google Shape;18971;p2088"/>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8972" name="Google Shape;18972;p208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973" name="Google Shape;18973;p208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974" name="Google Shape;18974;p208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lvl="1"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lvl="2"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lvl="3"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lvl="4"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lvl="5"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lvl="6"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lvl="7"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lvl="8"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8975" name="Google Shape;18975;p20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76" name="Google Shape;18976;p208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grpSp>
        <p:nvGrpSpPr>
          <p:cNvPr id="18977" name="Google Shape;18977;p2088"/>
          <p:cNvGrpSpPr/>
          <p:nvPr/>
        </p:nvGrpSpPr>
        <p:grpSpPr>
          <a:xfrm>
            <a:off x="7191543" y="1"/>
            <a:ext cx="5000459" cy="1425992"/>
            <a:chOff x="7191542" y="1"/>
            <a:chExt cx="5000459" cy="1425992"/>
          </a:xfrm>
        </p:grpSpPr>
        <p:pic>
          <p:nvPicPr>
            <p:cNvPr id="18978" name="Google Shape;18978;p20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979" name="Google Shape;18979;p2088"/>
            <p:cNvGrpSpPr/>
            <p:nvPr/>
          </p:nvGrpSpPr>
          <p:grpSpPr>
            <a:xfrm>
              <a:off x="7191542" y="1"/>
              <a:ext cx="5000459" cy="1425992"/>
              <a:chOff x="7186272" y="0"/>
              <a:chExt cx="5005729" cy="1427495"/>
            </a:xfrm>
          </p:grpSpPr>
          <p:sp>
            <p:nvSpPr>
              <p:cNvPr id="18980" name="Google Shape;18980;p20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8981" name="Google Shape;18981;p20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pic>
        <p:nvPicPr>
          <p:cNvPr id="18982" name="Google Shape;18982;p208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007.xml><?xml version="1.0" encoding="utf-8"?>
<p:sldLayout xmlns:a="http://schemas.openxmlformats.org/drawingml/2006/main" xmlns:r="http://schemas.openxmlformats.org/officeDocument/2006/relationships" xmlns:p="http://schemas.openxmlformats.org/presentationml/2006/main" matchingName="Cover">
  <p:cSld name="1_Cover 5">
    <p:spTree>
      <p:nvGrpSpPr>
        <p:cNvPr id="1" name="Shape 18983"/>
        <p:cNvGrpSpPr/>
        <p:nvPr/>
      </p:nvGrpSpPr>
      <p:grpSpPr>
        <a:xfrm>
          <a:off x="0" y="0"/>
          <a:ext cx="0" cy="0"/>
          <a:chOff x="0" y="0"/>
          <a:chExt cx="0" cy="0"/>
        </a:xfrm>
      </p:grpSpPr>
      <p:sp>
        <p:nvSpPr>
          <p:cNvPr id="18984" name="Google Shape;18984;p2089"/>
          <p:cNvSpPr/>
          <p:nvPr/>
        </p:nvSpPr>
        <p:spPr>
          <a:xfrm>
            <a:off x="902368" y="1294414"/>
            <a:ext cx="11289632" cy="3822607"/>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8985" name="Google Shape;18985;p2089"/>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986" name="Google Shape;18986;p2089"/>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987" name="Google Shape;18987;p2089"/>
          <p:cNvSpPr>
            <a:spLocks noGrp="1"/>
          </p:cNvSpPr>
          <p:nvPr>
            <p:ph type="pic" idx="2"/>
          </p:nvPr>
        </p:nvSpPr>
        <p:spPr>
          <a:xfrm>
            <a:off x="7118684" y="233915"/>
            <a:ext cx="5073316" cy="5943600"/>
          </a:xfrm>
          <a:prstGeom prst="rect">
            <a:avLst/>
          </a:prstGeom>
          <a:noFill/>
          <a:ln>
            <a:noFill/>
          </a:ln>
        </p:spPr>
      </p:sp>
      <p:grpSp>
        <p:nvGrpSpPr>
          <p:cNvPr id="18988" name="Google Shape;18988;p2089"/>
          <p:cNvGrpSpPr/>
          <p:nvPr/>
        </p:nvGrpSpPr>
        <p:grpSpPr>
          <a:xfrm>
            <a:off x="0" y="5020349"/>
            <a:ext cx="12192000" cy="1837653"/>
            <a:chOff x="0" y="5020348"/>
            <a:chExt cx="12192000" cy="1837653"/>
          </a:xfrm>
        </p:grpSpPr>
        <p:sp>
          <p:nvSpPr>
            <p:cNvPr id="18989" name="Google Shape;18989;p208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8990" name="Google Shape;18990;p208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pic>
          <p:nvPicPr>
            <p:cNvPr id="18991" name="Google Shape;18991;p208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008.xml><?xml version="1.0" encoding="utf-8"?>
<p:sldLayout xmlns:a="http://schemas.openxmlformats.org/drawingml/2006/main" xmlns:r="http://schemas.openxmlformats.org/officeDocument/2006/relationships" xmlns:p="http://schemas.openxmlformats.org/presentationml/2006/main" matchingName="Divider">
  <p:cSld name="1_Divider 5">
    <p:bg>
      <p:bgPr>
        <a:solidFill>
          <a:schemeClr val="lt2"/>
        </a:solidFill>
        <a:effectLst/>
      </p:bgPr>
    </p:bg>
    <p:spTree>
      <p:nvGrpSpPr>
        <p:cNvPr id="1" name="Shape 18992"/>
        <p:cNvGrpSpPr/>
        <p:nvPr/>
      </p:nvGrpSpPr>
      <p:grpSpPr>
        <a:xfrm>
          <a:off x="0" y="0"/>
          <a:ext cx="0" cy="0"/>
          <a:chOff x="0" y="0"/>
          <a:chExt cx="0" cy="0"/>
        </a:xfrm>
      </p:grpSpPr>
      <p:grpSp>
        <p:nvGrpSpPr>
          <p:cNvPr id="18993" name="Google Shape;18993;p2090"/>
          <p:cNvGrpSpPr/>
          <p:nvPr/>
        </p:nvGrpSpPr>
        <p:grpSpPr>
          <a:xfrm>
            <a:off x="0" y="5020348"/>
            <a:ext cx="12192000" cy="1837653"/>
            <a:chOff x="0" y="5020347"/>
            <a:chExt cx="12192000" cy="1837653"/>
          </a:xfrm>
        </p:grpSpPr>
        <p:sp>
          <p:nvSpPr>
            <p:cNvPr id="18994" name="Google Shape;18994;p209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8995" name="Google Shape;18995;p209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8996" name="Google Shape;18996;p209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pic>
          <p:nvPicPr>
            <p:cNvPr id="18997" name="Google Shape;18997;p209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8998" name="Google Shape;18998;p2090"/>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999" name="Google Shape;18999;p2090"/>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009.xml><?xml version="1.0" encoding="utf-8"?>
<p:sldLayout xmlns:a="http://schemas.openxmlformats.org/drawingml/2006/main" xmlns:r="http://schemas.openxmlformats.org/officeDocument/2006/relationships" xmlns:p="http://schemas.openxmlformats.org/presentationml/2006/main" matchingName="Photo Slide">
  <p:cSld name="1_Photo Slide 4">
    <p:spTree>
      <p:nvGrpSpPr>
        <p:cNvPr id="1" name="Shape 19000"/>
        <p:cNvGrpSpPr/>
        <p:nvPr/>
      </p:nvGrpSpPr>
      <p:grpSpPr>
        <a:xfrm>
          <a:off x="0" y="0"/>
          <a:ext cx="0" cy="0"/>
          <a:chOff x="0" y="0"/>
          <a:chExt cx="0" cy="0"/>
        </a:xfrm>
      </p:grpSpPr>
      <p:sp>
        <p:nvSpPr>
          <p:cNvPr id="19001" name="Google Shape;19001;p209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9002" name="Google Shape;19002;p209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9003" name="Google Shape;19003;p2091"/>
          <p:cNvGrpSpPr/>
          <p:nvPr/>
        </p:nvGrpSpPr>
        <p:grpSpPr>
          <a:xfrm>
            <a:off x="0" y="5379427"/>
            <a:ext cx="2807368" cy="753891"/>
            <a:chOff x="0" y="5379426"/>
            <a:chExt cx="2807368" cy="753891"/>
          </a:xfrm>
        </p:grpSpPr>
        <p:sp>
          <p:nvSpPr>
            <p:cNvPr id="19004" name="Google Shape;19004;p209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9005" name="Google Shape;19005;p209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grpSp>
      <p:sp>
        <p:nvSpPr>
          <p:cNvPr id="19006" name="Google Shape;19006;p2091"/>
          <p:cNvSpPr>
            <a:spLocks noGrp="1"/>
          </p:cNvSpPr>
          <p:nvPr>
            <p:ph type="pic" idx="2"/>
          </p:nvPr>
        </p:nvSpPr>
        <p:spPr>
          <a:xfrm>
            <a:off x="2807368" y="457202"/>
            <a:ext cx="8915400" cy="5943598"/>
          </a:xfrm>
          <a:prstGeom prst="rect">
            <a:avLst/>
          </a:prstGeom>
          <a:noFill/>
          <a:ln>
            <a:noFill/>
          </a:ln>
        </p:spPr>
      </p:sp>
      <p:pic>
        <p:nvPicPr>
          <p:cNvPr id="19007" name="Google Shape;19007;p209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matchingName="1_Title and Content">
  <p:cSld name="1_Title and Content 4 2">
    <p:spTree>
      <p:nvGrpSpPr>
        <p:cNvPr id="1" name="Shape 10964"/>
        <p:cNvGrpSpPr/>
        <p:nvPr/>
      </p:nvGrpSpPr>
      <p:grpSpPr>
        <a:xfrm>
          <a:off x="0" y="0"/>
          <a:ext cx="0" cy="0"/>
          <a:chOff x="0" y="0"/>
          <a:chExt cx="0" cy="0"/>
        </a:xfrm>
      </p:grpSpPr>
      <p:sp>
        <p:nvSpPr>
          <p:cNvPr id="10965" name="Google Shape;10965;p150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0966" name="Google Shape;10966;p1505"/>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0967" name="Google Shape;10967;p150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968" name="Google Shape;10968;p1505"/>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69" name="Google Shape;10969;p1505"/>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010.xml><?xml version="1.0" encoding="utf-8"?>
<p:sldLayout xmlns:a="http://schemas.openxmlformats.org/drawingml/2006/main" xmlns:r="http://schemas.openxmlformats.org/officeDocument/2006/relationships" xmlns:p="http://schemas.openxmlformats.org/presentationml/2006/main" matchingName="Quotation">
  <p:cSld name="1_Quotation 8">
    <p:spTree>
      <p:nvGrpSpPr>
        <p:cNvPr id="1" name="Shape 19008"/>
        <p:cNvGrpSpPr/>
        <p:nvPr/>
      </p:nvGrpSpPr>
      <p:grpSpPr>
        <a:xfrm>
          <a:off x="0" y="0"/>
          <a:ext cx="0" cy="0"/>
          <a:chOff x="0" y="0"/>
          <a:chExt cx="0" cy="0"/>
        </a:xfrm>
      </p:grpSpPr>
      <p:sp>
        <p:nvSpPr>
          <p:cNvPr id="19009" name="Google Shape;19009;p2092"/>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9010" name="Google Shape;19010;p209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011" name="Google Shape;19011;p209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9012" name="Google Shape;19012;p209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lvl="1"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lvl="2"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lvl="3"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lvl="4"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lvl="5"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lvl="6"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lvl="7"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lvl="8"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9013" name="Google Shape;19013;p20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014" name="Google Shape;19014;p209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grpSp>
        <p:nvGrpSpPr>
          <p:cNvPr id="19015" name="Google Shape;19015;p2092"/>
          <p:cNvGrpSpPr/>
          <p:nvPr/>
        </p:nvGrpSpPr>
        <p:grpSpPr>
          <a:xfrm>
            <a:off x="7191543" y="1"/>
            <a:ext cx="5000459" cy="1425992"/>
            <a:chOff x="7191542" y="1"/>
            <a:chExt cx="5000459" cy="1425992"/>
          </a:xfrm>
        </p:grpSpPr>
        <p:pic>
          <p:nvPicPr>
            <p:cNvPr id="19016" name="Google Shape;19016;p20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017" name="Google Shape;19017;p2092"/>
            <p:cNvGrpSpPr/>
            <p:nvPr/>
          </p:nvGrpSpPr>
          <p:grpSpPr>
            <a:xfrm>
              <a:off x="7191542" y="1"/>
              <a:ext cx="5000459" cy="1425992"/>
              <a:chOff x="7186272" y="0"/>
              <a:chExt cx="5005729" cy="1427495"/>
            </a:xfrm>
          </p:grpSpPr>
          <p:sp>
            <p:nvSpPr>
              <p:cNvPr id="19018" name="Google Shape;19018;p20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9019" name="Google Shape;19019;p20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pic>
        <p:nvPicPr>
          <p:cNvPr id="19020" name="Google Shape;19020;p209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011.xml><?xml version="1.0" encoding="utf-8"?>
<p:sldLayout xmlns:a="http://schemas.openxmlformats.org/drawingml/2006/main" xmlns:r="http://schemas.openxmlformats.org/officeDocument/2006/relationships" xmlns:p="http://schemas.openxmlformats.org/presentationml/2006/main" matchingName="Title and Content">
  <p:cSld name="1_Title and Content 5">
    <p:spTree>
      <p:nvGrpSpPr>
        <p:cNvPr id="1" name="Shape 19021"/>
        <p:cNvGrpSpPr/>
        <p:nvPr/>
      </p:nvGrpSpPr>
      <p:grpSpPr>
        <a:xfrm>
          <a:off x="0" y="0"/>
          <a:ext cx="0" cy="0"/>
          <a:chOff x="0" y="0"/>
          <a:chExt cx="0" cy="0"/>
        </a:xfrm>
      </p:grpSpPr>
      <p:grpSp>
        <p:nvGrpSpPr>
          <p:cNvPr id="19022" name="Google Shape;19022;p2093"/>
          <p:cNvGrpSpPr/>
          <p:nvPr/>
        </p:nvGrpSpPr>
        <p:grpSpPr>
          <a:xfrm>
            <a:off x="7191543" y="1"/>
            <a:ext cx="5000459" cy="1425992"/>
            <a:chOff x="7191542" y="1"/>
            <a:chExt cx="5000459" cy="1425992"/>
          </a:xfrm>
        </p:grpSpPr>
        <p:pic>
          <p:nvPicPr>
            <p:cNvPr id="19023" name="Google Shape;19023;p20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024" name="Google Shape;19024;p2093"/>
            <p:cNvGrpSpPr/>
            <p:nvPr/>
          </p:nvGrpSpPr>
          <p:grpSpPr>
            <a:xfrm>
              <a:off x="7191542" y="1"/>
              <a:ext cx="5000459" cy="1425992"/>
              <a:chOff x="7186272" y="0"/>
              <a:chExt cx="5005729" cy="1427495"/>
            </a:xfrm>
          </p:grpSpPr>
          <p:sp>
            <p:nvSpPr>
              <p:cNvPr id="19025" name="Google Shape;19025;p20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9026" name="Google Shape;19026;p20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sp>
        <p:nvSpPr>
          <p:cNvPr id="19027" name="Google Shape;19027;p2093"/>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028" name="Google Shape;19028;p2093"/>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9029" name="Google Shape;19029;p209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lvl="1"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lvl="2"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lvl="3"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lvl="4"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lvl="5"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lvl="6"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lvl="7"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lvl="8"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9030" name="Google Shape;19030;p20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031" name="Google Shape;19031;p209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2012.xml><?xml version="1.0" encoding="utf-8"?>
<p:sldLayout xmlns:a="http://schemas.openxmlformats.org/drawingml/2006/main" xmlns:r="http://schemas.openxmlformats.org/officeDocument/2006/relationships" xmlns:p="http://schemas.openxmlformats.org/presentationml/2006/main" matchingName="Two Content">
  <p:cSld name="1_Two Content 5">
    <p:spTree>
      <p:nvGrpSpPr>
        <p:cNvPr id="1" name="Shape 19032"/>
        <p:cNvGrpSpPr/>
        <p:nvPr/>
      </p:nvGrpSpPr>
      <p:grpSpPr>
        <a:xfrm>
          <a:off x="0" y="0"/>
          <a:ext cx="0" cy="0"/>
          <a:chOff x="0" y="0"/>
          <a:chExt cx="0" cy="0"/>
        </a:xfrm>
      </p:grpSpPr>
      <p:sp>
        <p:nvSpPr>
          <p:cNvPr id="19033" name="Google Shape;19033;p209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034" name="Google Shape;19034;p2094"/>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9035" name="Google Shape;19035;p2094"/>
          <p:cNvGrpSpPr/>
          <p:nvPr/>
        </p:nvGrpSpPr>
        <p:grpSpPr>
          <a:xfrm>
            <a:off x="7191543" y="1"/>
            <a:ext cx="5000459" cy="1425992"/>
            <a:chOff x="7191542" y="1"/>
            <a:chExt cx="5000459" cy="1425992"/>
          </a:xfrm>
        </p:grpSpPr>
        <p:pic>
          <p:nvPicPr>
            <p:cNvPr id="19036" name="Google Shape;19036;p20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037" name="Google Shape;19037;p2094"/>
            <p:cNvGrpSpPr/>
            <p:nvPr/>
          </p:nvGrpSpPr>
          <p:grpSpPr>
            <a:xfrm>
              <a:off x="7191542" y="1"/>
              <a:ext cx="5000459" cy="1425992"/>
              <a:chOff x="7186272" y="0"/>
              <a:chExt cx="5005729" cy="1427495"/>
            </a:xfrm>
          </p:grpSpPr>
          <p:sp>
            <p:nvSpPr>
              <p:cNvPr id="19038" name="Google Shape;19038;p20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9039" name="Google Shape;19039;p20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sp>
        <p:nvSpPr>
          <p:cNvPr id="19040" name="Google Shape;19040;p2094"/>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9041" name="Google Shape;19041;p2094"/>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lvl="1"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lvl="2"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lvl="3"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lvl="4"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lvl="5"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lvl="6"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lvl="7"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lvl="8"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9042" name="Google Shape;19042;p20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043" name="Google Shape;19043;p209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2013.xml><?xml version="1.0" encoding="utf-8"?>
<p:sldLayout xmlns:a="http://schemas.openxmlformats.org/drawingml/2006/main" xmlns:r="http://schemas.openxmlformats.org/officeDocument/2006/relationships" xmlns:p="http://schemas.openxmlformats.org/presentationml/2006/main" matchingName="Comparison">
  <p:cSld name="1_Comparison 5">
    <p:spTree>
      <p:nvGrpSpPr>
        <p:cNvPr id="1" name="Shape 19044"/>
        <p:cNvGrpSpPr/>
        <p:nvPr/>
      </p:nvGrpSpPr>
      <p:grpSpPr>
        <a:xfrm>
          <a:off x="0" y="0"/>
          <a:ext cx="0" cy="0"/>
          <a:chOff x="0" y="0"/>
          <a:chExt cx="0" cy="0"/>
        </a:xfrm>
      </p:grpSpPr>
      <p:grpSp>
        <p:nvGrpSpPr>
          <p:cNvPr id="19045" name="Google Shape;19045;p2095"/>
          <p:cNvGrpSpPr/>
          <p:nvPr/>
        </p:nvGrpSpPr>
        <p:grpSpPr>
          <a:xfrm>
            <a:off x="7191543" y="1"/>
            <a:ext cx="5000459" cy="1425992"/>
            <a:chOff x="7191542" y="1"/>
            <a:chExt cx="5000459" cy="1425992"/>
          </a:xfrm>
        </p:grpSpPr>
        <p:pic>
          <p:nvPicPr>
            <p:cNvPr id="19046" name="Google Shape;19046;p20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047" name="Google Shape;19047;p2095"/>
            <p:cNvGrpSpPr/>
            <p:nvPr/>
          </p:nvGrpSpPr>
          <p:grpSpPr>
            <a:xfrm>
              <a:off x="7191542" y="1"/>
              <a:ext cx="5000459" cy="1425992"/>
              <a:chOff x="7186272" y="0"/>
              <a:chExt cx="5005729" cy="1427495"/>
            </a:xfrm>
          </p:grpSpPr>
          <p:sp>
            <p:nvSpPr>
              <p:cNvPr id="19048" name="Google Shape;19048;p20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9049" name="Google Shape;19049;p20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sp>
        <p:nvSpPr>
          <p:cNvPr id="19050" name="Google Shape;19050;p2095"/>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051" name="Google Shape;19051;p2095"/>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2000"/>
              <a:buNone/>
              <a:defRPr sz="2000" b="1"/>
            </a:lvl2pPr>
            <a:lvl3pPr marL="914446" lvl="2" indent="-152408" algn="l">
              <a:lnSpc>
                <a:spcPct val="100000"/>
              </a:lnSpc>
              <a:spcBef>
                <a:spcPts val="1000"/>
              </a:spcBef>
              <a:spcAft>
                <a:spcPts val="0"/>
              </a:spcAft>
              <a:buSzPts val="1800"/>
              <a:buNone/>
              <a:defRPr sz="1800" b="1"/>
            </a:lvl3pPr>
            <a:lvl4pPr marL="1219261" lvl="3" indent="-152408" algn="l">
              <a:lnSpc>
                <a:spcPct val="100000"/>
              </a:lnSpc>
              <a:spcBef>
                <a:spcPts val="1000"/>
              </a:spcBef>
              <a:spcAft>
                <a:spcPts val="0"/>
              </a:spcAft>
              <a:buSzPts val="1600"/>
              <a:buNone/>
              <a:defRPr sz="1600" b="1"/>
            </a:lvl4pPr>
            <a:lvl5pPr marL="1524076" lvl="4" indent="-152408" algn="l">
              <a:lnSpc>
                <a:spcPct val="100000"/>
              </a:lnSpc>
              <a:spcBef>
                <a:spcPts val="1000"/>
              </a:spcBef>
              <a:spcAft>
                <a:spcPts val="0"/>
              </a:spcAft>
              <a:buSzPts val="1600"/>
              <a:buNone/>
              <a:defRPr sz="1600" b="1"/>
            </a:lvl5pPr>
            <a:lvl6pPr marL="1828891" lvl="5" indent="-152408" algn="l">
              <a:lnSpc>
                <a:spcPct val="90000"/>
              </a:lnSpc>
              <a:spcBef>
                <a:spcPts val="10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19052" name="Google Shape;19052;p2095"/>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100000"/>
              </a:lnSpc>
              <a:spcBef>
                <a:spcPts val="1000"/>
              </a:spcBef>
              <a:spcAft>
                <a:spcPts val="0"/>
              </a:spcAft>
              <a:buSzPts val="1800"/>
              <a:buChar char="•"/>
              <a:defRPr sz="1800"/>
            </a:lvl2pPr>
            <a:lvl3pPr marL="914446" lvl="2" indent="-220144" algn="l">
              <a:lnSpc>
                <a:spcPct val="100000"/>
              </a:lnSpc>
              <a:spcBef>
                <a:spcPts val="1000"/>
              </a:spcBef>
              <a:spcAft>
                <a:spcPts val="0"/>
              </a:spcAft>
              <a:buSzPts val="1600"/>
              <a:buChar char="•"/>
              <a:defRPr sz="1600"/>
            </a:lvl3pPr>
            <a:lvl4pPr marL="1219261" lvl="3" indent="-211677" algn="l">
              <a:lnSpc>
                <a:spcPct val="100000"/>
              </a:lnSpc>
              <a:spcBef>
                <a:spcPts val="1000"/>
              </a:spcBef>
              <a:spcAft>
                <a:spcPts val="0"/>
              </a:spcAft>
              <a:buSzPts val="1400"/>
              <a:buChar char="•"/>
              <a:defRPr sz="1400"/>
            </a:lvl4pPr>
            <a:lvl5pPr marL="1524076" lvl="4" indent="-211677" algn="l">
              <a:lnSpc>
                <a:spcPct val="100000"/>
              </a:lnSpc>
              <a:spcBef>
                <a:spcPts val="1000"/>
              </a:spcBef>
              <a:spcAft>
                <a:spcPts val="0"/>
              </a:spcAft>
              <a:buSzPts val="14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9053" name="Google Shape;19053;p209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2000"/>
              <a:buNone/>
              <a:defRPr sz="2000" b="1"/>
            </a:lvl2pPr>
            <a:lvl3pPr marL="914446" lvl="2" indent="-152408" algn="l">
              <a:lnSpc>
                <a:spcPct val="100000"/>
              </a:lnSpc>
              <a:spcBef>
                <a:spcPts val="1000"/>
              </a:spcBef>
              <a:spcAft>
                <a:spcPts val="0"/>
              </a:spcAft>
              <a:buSzPts val="1800"/>
              <a:buNone/>
              <a:defRPr sz="1800" b="1"/>
            </a:lvl3pPr>
            <a:lvl4pPr marL="1219261" lvl="3" indent="-152408" algn="l">
              <a:lnSpc>
                <a:spcPct val="100000"/>
              </a:lnSpc>
              <a:spcBef>
                <a:spcPts val="1000"/>
              </a:spcBef>
              <a:spcAft>
                <a:spcPts val="0"/>
              </a:spcAft>
              <a:buSzPts val="1600"/>
              <a:buNone/>
              <a:defRPr sz="1600" b="1"/>
            </a:lvl4pPr>
            <a:lvl5pPr marL="1524076" lvl="4" indent="-152408" algn="l">
              <a:lnSpc>
                <a:spcPct val="100000"/>
              </a:lnSpc>
              <a:spcBef>
                <a:spcPts val="1000"/>
              </a:spcBef>
              <a:spcAft>
                <a:spcPts val="0"/>
              </a:spcAft>
              <a:buSzPts val="1600"/>
              <a:buNone/>
              <a:defRPr sz="1600" b="1"/>
            </a:lvl5pPr>
            <a:lvl6pPr marL="1828891" lvl="5" indent="-152408" algn="l">
              <a:lnSpc>
                <a:spcPct val="90000"/>
              </a:lnSpc>
              <a:spcBef>
                <a:spcPts val="10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19054" name="Google Shape;19054;p209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100000"/>
              </a:lnSpc>
              <a:spcBef>
                <a:spcPts val="1000"/>
              </a:spcBef>
              <a:spcAft>
                <a:spcPts val="0"/>
              </a:spcAft>
              <a:buSzPts val="1800"/>
              <a:buChar char="•"/>
              <a:defRPr sz="1800"/>
            </a:lvl2pPr>
            <a:lvl3pPr marL="914446" lvl="2" indent="-220144" algn="l">
              <a:lnSpc>
                <a:spcPct val="100000"/>
              </a:lnSpc>
              <a:spcBef>
                <a:spcPts val="1000"/>
              </a:spcBef>
              <a:spcAft>
                <a:spcPts val="0"/>
              </a:spcAft>
              <a:buSzPts val="1600"/>
              <a:buChar char="•"/>
              <a:defRPr sz="1600"/>
            </a:lvl3pPr>
            <a:lvl4pPr marL="1219261" lvl="3" indent="-211677" algn="l">
              <a:lnSpc>
                <a:spcPct val="100000"/>
              </a:lnSpc>
              <a:spcBef>
                <a:spcPts val="1000"/>
              </a:spcBef>
              <a:spcAft>
                <a:spcPts val="0"/>
              </a:spcAft>
              <a:buSzPts val="1400"/>
              <a:buChar char="•"/>
              <a:defRPr sz="1400"/>
            </a:lvl4pPr>
            <a:lvl5pPr marL="1524076" lvl="4" indent="-211677" algn="l">
              <a:lnSpc>
                <a:spcPct val="100000"/>
              </a:lnSpc>
              <a:spcBef>
                <a:spcPts val="1000"/>
              </a:spcBef>
              <a:spcAft>
                <a:spcPts val="0"/>
              </a:spcAft>
              <a:buSzPts val="14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9055" name="Google Shape;19055;p209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lvl="1"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lvl="2"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lvl="3"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lvl="4"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lvl="5"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lvl="6"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lvl="7"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lvl="8"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9056" name="Google Shape;19056;p20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057" name="Google Shape;19057;p209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2014.xml><?xml version="1.0" encoding="utf-8"?>
<p:sldLayout xmlns:a="http://schemas.openxmlformats.org/drawingml/2006/main" xmlns:r="http://schemas.openxmlformats.org/officeDocument/2006/relationships" xmlns:p="http://schemas.openxmlformats.org/presentationml/2006/main" matchingName="Title Only">
  <p:cSld name="1_Title Only 4">
    <p:spTree>
      <p:nvGrpSpPr>
        <p:cNvPr id="1" name="Shape 19058"/>
        <p:cNvGrpSpPr/>
        <p:nvPr/>
      </p:nvGrpSpPr>
      <p:grpSpPr>
        <a:xfrm>
          <a:off x="0" y="0"/>
          <a:ext cx="0" cy="0"/>
          <a:chOff x="0" y="0"/>
          <a:chExt cx="0" cy="0"/>
        </a:xfrm>
      </p:grpSpPr>
      <p:grpSp>
        <p:nvGrpSpPr>
          <p:cNvPr id="19059" name="Google Shape;19059;p2096"/>
          <p:cNvGrpSpPr/>
          <p:nvPr/>
        </p:nvGrpSpPr>
        <p:grpSpPr>
          <a:xfrm>
            <a:off x="7191543" y="1"/>
            <a:ext cx="5000459" cy="1425992"/>
            <a:chOff x="7191542" y="1"/>
            <a:chExt cx="5000459" cy="1425992"/>
          </a:xfrm>
        </p:grpSpPr>
        <p:pic>
          <p:nvPicPr>
            <p:cNvPr id="19060" name="Google Shape;19060;p20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061" name="Google Shape;19061;p2096"/>
            <p:cNvGrpSpPr/>
            <p:nvPr/>
          </p:nvGrpSpPr>
          <p:grpSpPr>
            <a:xfrm>
              <a:off x="7191542" y="1"/>
              <a:ext cx="5000459" cy="1425992"/>
              <a:chOff x="7186272" y="0"/>
              <a:chExt cx="5005729" cy="1427495"/>
            </a:xfrm>
          </p:grpSpPr>
          <p:sp>
            <p:nvSpPr>
              <p:cNvPr id="19062" name="Google Shape;19062;p20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9063" name="Google Shape;19063;p20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sp>
        <p:nvSpPr>
          <p:cNvPr id="19064" name="Google Shape;19064;p209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065" name="Google Shape;19065;p209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lvl="1"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lvl="2"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lvl="3"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lvl="4"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lvl="5"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lvl="6"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lvl="7"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lvl="8"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9066" name="Google Shape;19066;p20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067" name="Google Shape;19067;p209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2015.xml><?xml version="1.0" encoding="utf-8"?>
<p:sldLayout xmlns:a="http://schemas.openxmlformats.org/drawingml/2006/main" xmlns:r="http://schemas.openxmlformats.org/officeDocument/2006/relationships" xmlns:p="http://schemas.openxmlformats.org/presentationml/2006/main" matchingName="End">
  <p:cSld name="1_End 4">
    <p:spTree>
      <p:nvGrpSpPr>
        <p:cNvPr id="1" name="Shape 19068"/>
        <p:cNvGrpSpPr/>
        <p:nvPr/>
      </p:nvGrpSpPr>
      <p:grpSpPr>
        <a:xfrm>
          <a:off x="0" y="0"/>
          <a:ext cx="0" cy="0"/>
          <a:chOff x="0" y="0"/>
          <a:chExt cx="0" cy="0"/>
        </a:xfrm>
      </p:grpSpPr>
      <p:grpSp>
        <p:nvGrpSpPr>
          <p:cNvPr id="19069" name="Google Shape;19069;p2097"/>
          <p:cNvGrpSpPr/>
          <p:nvPr/>
        </p:nvGrpSpPr>
        <p:grpSpPr>
          <a:xfrm>
            <a:off x="0" y="0"/>
            <a:ext cx="12192000" cy="2148830"/>
            <a:chOff x="0" y="0"/>
            <a:chExt cx="12192000" cy="2148830"/>
          </a:xfrm>
        </p:grpSpPr>
        <p:sp>
          <p:nvSpPr>
            <p:cNvPr id="19070" name="Google Shape;19070;p209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9071" name="Google Shape;19071;p209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sp>
        <p:nvSpPr>
          <p:cNvPr id="19072" name="Google Shape;19072;p2097"/>
          <p:cNvSpPr/>
          <p:nvPr/>
        </p:nvSpPr>
        <p:spPr>
          <a:xfrm>
            <a:off x="902368" y="1517698"/>
            <a:ext cx="11289632" cy="3822607"/>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9073" name="Google Shape;19073;p2097"/>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9074" name="Google Shape;19074;p209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075" name="Google Shape;19075;p2097"/>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9076" name="Google Shape;19076;p209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016.xml><?xml version="1.0" encoding="utf-8"?>
<p:sldLayout xmlns:a="http://schemas.openxmlformats.org/drawingml/2006/main" xmlns:r="http://schemas.openxmlformats.org/officeDocument/2006/relationships" xmlns:p="http://schemas.openxmlformats.org/presentationml/2006/main" matchingName="Blank">
  <p:cSld name="1_Blank 3">
    <p:spTree>
      <p:nvGrpSpPr>
        <p:cNvPr id="1" name="Shape 19077"/>
        <p:cNvGrpSpPr/>
        <p:nvPr/>
      </p:nvGrpSpPr>
      <p:grpSpPr>
        <a:xfrm>
          <a:off x="0" y="0"/>
          <a:ext cx="0" cy="0"/>
          <a:chOff x="0" y="0"/>
          <a:chExt cx="0" cy="0"/>
        </a:xfrm>
      </p:grpSpPr>
      <p:sp>
        <p:nvSpPr>
          <p:cNvPr id="19078" name="Google Shape;19078;p209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lvl="1"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lvl="2"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lvl="3"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lvl="4"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lvl="5"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lvl="6"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lvl="7"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lvl="8"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9079" name="Google Shape;19079;p20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080" name="Google Shape;19080;p209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grpSp>
        <p:nvGrpSpPr>
          <p:cNvPr id="19081" name="Google Shape;19081;p2098"/>
          <p:cNvGrpSpPr/>
          <p:nvPr/>
        </p:nvGrpSpPr>
        <p:grpSpPr>
          <a:xfrm>
            <a:off x="7191543" y="1"/>
            <a:ext cx="5000459" cy="1425992"/>
            <a:chOff x="7191542" y="1"/>
            <a:chExt cx="5000459" cy="1425992"/>
          </a:xfrm>
        </p:grpSpPr>
        <p:pic>
          <p:nvPicPr>
            <p:cNvPr id="19082" name="Google Shape;19082;p20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083" name="Google Shape;19083;p2098"/>
            <p:cNvGrpSpPr/>
            <p:nvPr/>
          </p:nvGrpSpPr>
          <p:grpSpPr>
            <a:xfrm>
              <a:off x="7191542" y="1"/>
              <a:ext cx="5000459" cy="1425992"/>
              <a:chOff x="7186272" y="0"/>
              <a:chExt cx="5005729" cy="1427495"/>
            </a:xfrm>
          </p:grpSpPr>
          <p:sp>
            <p:nvSpPr>
              <p:cNvPr id="19084" name="Google Shape;19084;p20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9085" name="Google Shape;19085;p20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2017.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9086"/>
        <p:cNvGrpSpPr/>
        <p:nvPr/>
      </p:nvGrpSpPr>
      <p:grpSpPr>
        <a:xfrm>
          <a:off x="0" y="0"/>
          <a:ext cx="0" cy="0"/>
          <a:chOff x="0" y="0"/>
          <a:chExt cx="0" cy="0"/>
        </a:xfrm>
      </p:grpSpPr>
      <p:sp>
        <p:nvSpPr>
          <p:cNvPr id="19087" name="Google Shape;19087;p2099"/>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088" name="Google Shape;19088;p2099"/>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089" name="Google Shape;19089;p209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9090" name="Google Shape;19090;p209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9091" name="Google Shape;19091;p209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lvl="1"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lvl="2"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lvl="3"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lvl="4"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lvl="5"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lvl="6"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lvl="7"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lvl="8"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2018.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19092"/>
        <p:cNvGrpSpPr/>
        <p:nvPr/>
      </p:nvGrpSpPr>
      <p:grpSpPr>
        <a:xfrm>
          <a:off x="0" y="0"/>
          <a:ext cx="0" cy="0"/>
          <a:chOff x="0" y="0"/>
          <a:chExt cx="0" cy="0"/>
        </a:xfrm>
      </p:grpSpPr>
      <p:sp>
        <p:nvSpPr>
          <p:cNvPr id="19093" name="Google Shape;19093;p2100"/>
          <p:cNvSpPr txBox="1">
            <a:spLocks noGrp="1"/>
          </p:cNvSpPr>
          <p:nvPr>
            <p:ph type="body" idx="1"/>
          </p:nvPr>
        </p:nvSpPr>
        <p:spPr>
          <a:xfrm>
            <a:off x="2826556" y="5400857"/>
            <a:ext cx="8178613" cy="477112"/>
          </a:xfrm>
          <a:prstGeom prst="rect">
            <a:avLst/>
          </a:prstGeom>
          <a:noFill/>
          <a:ln>
            <a:noFill/>
          </a:ln>
        </p:spPr>
        <p:txBody>
          <a:bodyPr spcFirstLastPara="1" wrap="square" lIns="91425" tIns="45700" rIns="91425" bIns="45700" anchor="t" anchorCtr="0">
            <a:spAutoFit/>
          </a:bodyPr>
          <a:lstStyle>
            <a:lvl1pPr marL="304815" lvl="0" indent="-152408"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9094" name="Google Shape;19094;p2100"/>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4"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095" name="Google Shape;19095;p210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9096" name="Google Shape;19096;p210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9097" name="Google Shape;19097;p210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lvl="1"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lvl="2"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lvl="3"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lvl="4"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lvl="5"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lvl="6"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lvl="7"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lvl="8"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19098" name="Google Shape;19098;p2100"/>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3600"/>
              <a:buFont typeface="Arial"/>
              <a:buNone/>
            </a:pPr>
            <a:endParaRPr sz="2400">
              <a:solidFill>
                <a:schemeClr val="lt1"/>
              </a:solidFill>
              <a:latin typeface="Calibri"/>
              <a:ea typeface="Calibri"/>
              <a:cs typeface="Calibri"/>
              <a:sym typeface="Calibri"/>
            </a:endParaRPr>
          </a:p>
        </p:txBody>
      </p:sp>
      <p:sp>
        <p:nvSpPr>
          <p:cNvPr id="19099" name="Google Shape;19099;p2100"/>
          <p:cNvSpPr/>
          <p:nvPr/>
        </p:nvSpPr>
        <p:spPr>
          <a:xfrm>
            <a:off x="0" y="6115052"/>
            <a:ext cx="12192000" cy="742949"/>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3600"/>
              <a:buFont typeface="Arial"/>
              <a:buNone/>
            </a:pPr>
            <a:endParaRPr sz="2400">
              <a:solidFill>
                <a:schemeClr val="lt1"/>
              </a:solidFill>
              <a:latin typeface="Calibri"/>
              <a:ea typeface="Calibri"/>
              <a:cs typeface="Calibri"/>
              <a:sym typeface="Calibri"/>
            </a:endParaRPr>
          </a:p>
        </p:txBody>
      </p:sp>
      <p:sp>
        <p:nvSpPr>
          <p:cNvPr id="19100" name="Google Shape;19100;p2100"/>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9101" name="Google Shape;19101;p2100"/>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2019.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9102"/>
        <p:cNvGrpSpPr/>
        <p:nvPr/>
      </p:nvGrpSpPr>
      <p:grpSpPr>
        <a:xfrm>
          <a:off x="0" y="0"/>
          <a:ext cx="0" cy="0"/>
          <a:chOff x="0" y="0"/>
          <a:chExt cx="0" cy="0"/>
        </a:xfrm>
      </p:grpSpPr>
      <p:sp>
        <p:nvSpPr>
          <p:cNvPr id="19103" name="Google Shape;19103;p2101"/>
          <p:cNvSpPr txBox="1">
            <a:spLocks noGrp="1"/>
          </p:cNvSpPr>
          <p:nvPr>
            <p:ph type="body" idx="1"/>
          </p:nvPr>
        </p:nvSpPr>
        <p:spPr>
          <a:xfrm>
            <a:off x="2826556" y="5400857"/>
            <a:ext cx="8178613" cy="477112"/>
          </a:xfrm>
          <a:prstGeom prst="rect">
            <a:avLst/>
          </a:prstGeom>
          <a:noFill/>
          <a:ln>
            <a:noFill/>
          </a:ln>
        </p:spPr>
        <p:txBody>
          <a:bodyPr spcFirstLastPara="1" wrap="square" lIns="91425" tIns="45700" rIns="91425" bIns="45700" anchor="t" anchorCtr="0">
            <a:spAutoFit/>
          </a:bodyPr>
          <a:lstStyle>
            <a:lvl1pPr marL="304815" lvl="0" indent="-152408"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9104" name="Google Shape;19104;p2101"/>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4"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105" name="Google Shape;19105;p210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9106" name="Google Shape;19106;p210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9107" name="Google Shape;19107;p210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lvl="1"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lvl="2"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lvl="3"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lvl="4"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lvl="5"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lvl="6"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lvl="7"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lvl="8"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19108" name="Google Shape;19108;p2101"/>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3600"/>
              <a:buFont typeface="Arial"/>
              <a:buNone/>
            </a:pPr>
            <a:endParaRPr sz="2400">
              <a:solidFill>
                <a:schemeClr val="lt1"/>
              </a:solidFill>
              <a:latin typeface="Calibri"/>
              <a:ea typeface="Calibri"/>
              <a:cs typeface="Calibri"/>
              <a:sym typeface="Calibri"/>
            </a:endParaRPr>
          </a:p>
        </p:txBody>
      </p:sp>
      <p:sp>
        <p:nvSpPr>
          <p:cNvPr id="19109" name="Google Shape;19109;p2101"/>
          <p:cNvSpPr/>
          <p:nvPr/>
        </p:nvSpPr>
        <p:spPr>
          <a:xfrm>
            <a:off x="0" y="6115052"/>
            <a:ext cx="12192000" cy="742949"/>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3600"/>
              <a:buFont typeface="Arial"/>
              <a:buNone/>
            </a:pPr>
            <a:endParaRPr sz="2400">
              <a:solidFill>
                <a:schemeClr val="lt1"/>
              </a:solidFill>
              <a:latin typeface="Calibri"/>
              <a:ea typeface="Calibri"/>
              <a:cs typeface="Calibri"/>
              <a:sym typeface="Calibri"/>
            </a:endParaRPr>
          </a:p>
        </p:txBody>
      </p:sp>
      <p:sp>
        <p:nvSpPr>
          <p:cNvPr id="19110" name="Google Shape;19110;p2101"/>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9111" name="Google Shape;19111;p2101"/>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4 2">
    <p:spTree>
      <p:nvGrpSpPr>
        <p:cNvPr id="1" name="Shape 10970"/>
        <p:cNvGrpSpPr/>
        <p:nvPr/>
      </p:nvGrpSpPr>
      <p:grpSpPr>
        <a:xfrm>
          <a:off x="0" y="0"/>
          <a:ext cx="0" cy="0"/>
          <a:chOff x="0" y="0"/>
          <a:chExt cx="0" cy="0"/>
        </a:xfrm>
      </p:grpSpPr>
      <p:sp>
        <p:nvSpPr>
          <p:cNvPr id="10971" name="Google Shape;10971;p150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972" name="Google Shape;10972;p150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973" name="Google Shape;10973;p1506"/>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74" name="Google Shape;10974;p1506"/>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75" name="Google Shape;10975;p1506"/>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0976" name="Google Shape;10976;p150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020.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19112"/>
        <p:cNvGrpSpPr/>
        <p:nvPr/>
      </p:nvGrpSpPr>
      <p:grpSpPr>
        <a:xfrm>
          <a:off x="0" y="0"/>
          <a:ext cx="0" cy="0"/>
          <a:chOff x="0" y="0"/>
          <a:chExt cx="0" cy="0"/>
        </a:xfrm>
      </p:grpSpPr>
      <p:sp>
        <p:nvSpPr>
          <p:cNvPr id="19113" name="Google Shape;19113;p2102"/>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114" name="Google Shape;19114;p2102"/>
          <p:cNvSpPr/>
          <p:nvPr/>
        </p:nvSpPr>
        <p:spPr>
          <a:xfrm>
            <a:off x="0" y="6313118"/>
            <a:ext cx="12192000" cy="544883"/>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027"/>
              <a:buFont typeface="Arial"/>
              <a:buNone/>
            </a:pPr>
            <a:endParaRPr sz="1351">
              <a:solidFill>
                <a:schemeClr val="lt1"/>
              </a:solidFill>
              <a:latin typeface="Calibri"/>
              <a:ea typeface="Calibri"/>
              <a:cs typeface="Calibri"/>
              <a:sym typeface="Calibri"/>
            </a:endParaRPr>
          </a:p>
        </p:txBody>
      </p:sp>
      <p:sp>
        <p:nvSpPr>
          <p:cNvPr id="19115" name="Google Shape;19115;p2102"/>
          <p:cNvSpPr/>
          <p:nvPr/>
        </p:nvSpPr>
        <p:spPr>
          <a:xfrm>
            <a:off x="0" y="6301515"/>
            <a:ext cx="12192000" cy="45719"/>
          </a:xfrm>
          <a:prstGeom prst="rect">
            <a:avLst/>
          </a:prstGeom>
          <a:solidFill>
            <a:srgbClr val="A4D65E"/>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027"/>
              <a:buFont typeface="Arial"/>
              <a:buNone/>
            </a:pPr>
            <a:endParaRPr sz="1351">
              <a:solidFill>
                <a:schemeClr val="lt1"/>
              </a:solidFill>
              <a:latin typeface="Calibri"/>
              <a:ea typeface="Calibri"/>
              <a:cs typeface="Calibri"/>
              <a:sym typeface="Calibri"/>
            </a:endParaRPr>
          </a:p>
        </p:txBody>
      </p:sp>
      <p:sp>
        <p:nvSpPr>
          <p:cNvPr id="19116" name="Google Shape;19116;p2102"/>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304815" lvl="0" indent="-242709"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609630" lvl="1" indent="-242709" algn="l">
              <a:lnSpc>
                <a:spcPct val="100000"/>
              </a:lnSpc>
              <a:spcBef>
                <a:spcPts val="1000"/>
              </a:spcBef>
              <a:spcAft>
                <a:spcPts val="0"/>
              </a:spcAft>
              <a:buSzPts val="2133"/>
              <a:buChar char="•"/>
              <a:defRPr sz="2133">
                <a:latin typeface="Verdana"/>
                <a:ea typeface="Verdana"/>
                <a:cs typeface="Verdana"/>
                <a:sym typeface="Verdana"/>
              </a:defRPr>
            </a:lvl2pPr>
            <a:lvl3pPr marL="914446" lvl="2" indent="-242709" algn="l">
              <a:lnSpc>
                <a:spcPct val="100000"/>
              </a:lnSpc>
              <a:spcBef>
                <a:spcPts val="1000"/>
              </a:spcBef>
              <a:spcAft>
                <a:spcPts val="0"/>
              </a:spcAft>
              <a:buSzPts val="2133"/>
              <a:buChar char="•"/>
              <a:defRPr sz="2133">
                <a:latin typeface="Verdana"/>
                <a:ea typeface="Verdana"/>
                <a:cs typeface="Verdana"/>
                <a:sym typeface="Verdana"/>
              </a:defRPr>
            </a:lvl3pPr>
            <a:lvl4pPr marL="1219261" lvl="3" indent="-242709" algn="l">
              <a:lnSpc>
                <a:spcPct val="100000"/>
              </a:lnSpc>
              <a:spcBef>
                <a:spcPts val="1000"/>
              </a:spcBef>
              <a:spcAft>
                <a:spcPts val="0"/>
              </a:spcAft>
              <a:buSzPts val="2133"/>
              <a:buChar char="•"/>
              <a:defRPr sz="2133">
                <a:latin typeface="Verdana"/>
                <a:ea typeface="Verdana"/>
                <a:cs typeface="Verdana"/>
                <a:sym typeface="Verdana"/>
              </a:defRPr>
            </a:lvl4pPr>
            <a:lvl5pPr marL="1524076" lvl="4" indent="-242709" algn="l">
              <a:lnSpc>
                <a:spcPct val="100000"/>
              </a:lnSpc>
              <a:spcBef>
                <a:spcPts val="1000"/>
              </a:spcBef>
              <a:spcAft>
                <a:spcPts val="0"/>
              </a:spcAft>
              <a:buSzPts val="2133"/>
              <a:buChar char="•"/>
              <a:defRPr sz="2133">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9117" name="Google Shape;19117;p210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021.xml><?xml version="1.0" encoding="utf-8"?>
<p:sldLayout xmlns:a="http://schemas.openxmlformats.org/drawingml/2006/main" xmlns:r="http://schemas.openxmlformats.org/officeDocument/2006/relationships" xmlns:p="http://schemas.openxmlformats.org/presentationml/2006/main" matchingName="1_Title and Content">
  <p:cSld name="1_Title and Content 6">
    <p:spTree>
      <p:nvGrpSpPr>
        <p:cNvPr id="1" name="Shape 19118"/>
        <p:cNvGrpSpPr/>
        <p:nvPr/>
      </p:nvGrpSpPr>
      <p:grpSpPr>
        <a:xfrm>
          <a:off x="0" y="0"/>
          <a:ext cx="0" cy="0"/>
          <a:chOff x="0" y="0"/>
          <a:chExt cx="0" cy="0"/>
        </a:xfrm>
      </p:grpSpPr>
      <p:sp>
        <p:nvSpPr>
          <p:cNvPr id="19119" name="Google Shape;19119;p2103"/>
          <p:cNvSpPr/>
          <p:nvPr/>
        </p:nvSpPr>
        <p:spPr>
          <a:xfrm>
            <a:off x="0" y="6313118"/>
            <a:ext cx="12192000" cy="544883"/>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027"/>
              <a:buFont typeface="Arial"/>
              <a:buNone/>
            </a:pPr>
            <a:endParaRPr sz="1351">
              <a:solidFill>
                <a:schemeClr val="lt1"/>
              </a:solidFill>
              <a:latin typeface="Calibri"/>
              <a:ea typeface="Calibri"/>
              <a:cs typeface="Calibri"/>
              <a:sym typeface="Calibri"/>
            </a:endParaRPr>
          </a:p>
        </p:txBody>
      </p:sp>
      <p:pic>
        <p:nvPicPr>
          <p:cNvPr id="19120" name="Google Shape;19120;p2103"/>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9121" name="Google Shape;19121;p2103"/>
          <p:cNvSpPr/>
          <p:nvPr/>
        </p:nvSpPr>
        <p:spPr>
          <a:xfrm>
            <a:off x="0" y="6301515"/>
            <a:ext cx="12192000" cy="45719"/>
          </a:xfrm>
          <a:prstGeom prst="rect">
            <a:avLst/>
          </a:prstGeom>
          <a:solidFill>
            <a:srgbClr val="A4D65E"/>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027"/>
              <a:buFont typeface="Arial"/>
              <a:buNone/>
            </a:pPr>
            <a:endParaRPr sz="1351">
              <a:solidFill>
                <a:schemeClr val="lt1"/>
              </a:solidFill>
              <a:latin typeface="Calibri"/>
              <a:ea typeface="Calibri"/>
              <a:cs typeface="Calibri"/>
              <a:sym typeface="Calibri"/>
            </a:endParaRPr>
          </a:p>
        </p:txBody>
      </p:sp>
      <p:sp>
        <p:nvSpPr>
          <p:cNvPr id="19122" name="Google Shape;19122;p2103"/>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123" name="Google Shape;19123;p2103"/>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609630" lvl="1" indent="-231448" algn="l">
              <a:lnSpc>
                <a:spcPct val="100000"/>
              </a:lnSpc>
              <a:spcBef>
                <a:spcPts val="500"/>
              </a:spcBef>
              <a:spcAft>
                <a:spcPts val="0"/>
              </a:spcAft>
              <a:buSzPts val="1867"/>
              <a:buChar char="•"/>
              <a:defRPr sz="1867">
                <a:latin typeface="Verdana"/>
                <a:ea typeface="Verdana"/>
                <a:cs typeface="Verdana"/>
                <a:sym typeface="Verdana"/>
              </a:defRPr>
            </a:lvl2pPr>
            <a:lvl3pPr marL="914446" lvl="2" indent="-231448" algn="l">
              <a:lnSpc>
                <a:spcPct val="100000"/>
              </a:lnSpc>
              <a:spcBef>
                <a:spcPts val="1000"/>
              </a:spcBef>
              <a:spcAft>
                <a:spcPts val="0"/>
              </a:spcAft>
              <a:buSzPts val="1867"/>
              <a:buChar char="•"/>
              <a:defRPr sz="1867">
                <a:latin typeface="Verdana"/>
                <a:ea typeface="Verdana"/>
                <a:cs typeface="Verdana"/>
                <a:sym typeface="Verdana"/>
              </a:defRPr>
            </a:lvl3pPr>
            <a:lvl4pPr marL="1219261" lvl="3" indent="-231448" algn="l">
              <a:lnSpc>
                <a:spcPct val="100000"/>
              </a:lnSpc>
              <a:spcBef>
                <a:spcPts val="1000"/>
              </a:spcBef>
              <a:spcAft>
                <a:spcPts val="0"/>
              </a:spcAft>
              <a:buSzPts val="1867"/>
              <a:buChar char="•"/>
              <a:defRPr sz="1867">
                <a:latin typeface="Verdana"/>
                <a:ea typeface="Verdana"/>
                <a:cs typeface="Verdana"/>
                <a:sym typeface="Verdana"/>
              </a:defRPr>
            </a:lvl4pPr>
            <a:lvl5pPr marL="1524076" lvl="4" indent="-231448" algn="l">
              <a:lnSpc>
                <a:spcPct val="100000"/>
              </a:lnSpc>
              <a:spcBef>
                <a:spcPts val="1000"/>
              </a:spcBef>
              <a:spcAft>
                <a:spcPts val="0"/>
              </a:spcAft>
              <a:buSzPts val="1867"/>
              <a:buChar char="•"/>
              <a:defRPr sz="1867">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022.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19124"/>
        <p:cNvGrpSpPr/>
        <p:nvPr/>
      </p:nvGrpSpPr>
      <p:grpSpPr>
        <a:xfrm>
          <a:off x="0" y="0"/>
          <a:ext cx="0" cy="0"/>
          <a:chOff x="0" y="0"/>
          <a:chExt cx="0" cy="0"/>
        </a:xfrm>
      </p:grpSpPr>
      <p:sp>
        <p:nvSpPr>
          <p:cNvPr id="19125" name="Google Shape;19125;p2104"/>
          <p:cNvSpPr/>
          <p:nvPr/>
        </p:nvSpPr>
        <p:spPr>
          <a:xfrm>
            <a:off x="0" y="6313118"/>
            <a:ext cx="12192000" cy="544883"/>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027"/>
              <a:buFont typeface="Arial"/>
              <a:buNone/>
            </a:pPr>
            <a:endParaRPr sz="1351">
              <a:solidFill>
                <a:schemeClr val="lt1"/>
              </a:solidFill>
              <a:latin typeface="Calibri"/>
              <a:ea typeface="Calibri"/>
              <a:cs typeface="Calibri"/>
              <a:sym typeface="Calibri"/>
            </a:endParaRPr>
          </a:p>
        </p:txBody>
      </p:sp>
      <p:sp>
        <p:nvSpPr>
          <p:cNvPr id="19126" name="Google Shape;19126;p2104"/>
          <p:cNvSpPr/>
          <p:nvPr/>
        </p:nvSpPr>
        <p:spPr>
          <a:xfrm>
            <a:off x="0" y="6301515"/>
            <a:ext cx="12192000" cy="45719"/>
          </a:xfrm>
          <a:prstGeom prst="rect">
            <a:avLst/>
          </a:prstGeom>
          <a:solidFill>
            <a:srgbClr val="A4D65E"/>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027"/>
              <a:buFont typeface="Arial"/>
              <a:buNone/>
            </a:pPr>
            <a:endParaRPr sz="1351">
              <a:solidFill>
                <a:schemeClr val="lt1"/>
              </a:solidFill>
              <a:latin typeface="Calibri"/>
              <a:ea typeface="Calibri"/>
              <a:cs typeface="Calibri"/>
              <a:sym typeface="Calibri"/>
            </a:endParaRPr>
          </a:p>
        </p:txBody>
      </p:sp>
      <p:sp>
        <p:nvSpPr>
          <p:cNvPr id="19127" name="Google Shape;19127;p2104"/>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9128" name="Google Shape;19128;p2104"/>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609630" lvl="1" indent="-231448"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914446" lvl="2" indent="-231448"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219261" lvl="3" indent="-231448"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1524076" lvl="4" indent="-231448"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9129" name="Google Shape;19129;p2104"/>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130" name="Google Shape;19130;p210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023.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2">
    <p:spTree>
      <p:nvGrpSpPr>
        <p:cNvPr id="1" name="Shape 19131"/>
        <p:cNvGrpSpPr/>
        <p:nvPr/>
      </p:nvGrpSpPr>
      <p:grpSpPr>
        <a:xfrm>
          <a:off x="0" y="0"/>
          <a:ext cx="0" cy="0"/>
          <a:chOff x="0" y="0"/>
          <a:chExt cx="0" cy="0"/>
        </a:xfrm>
      </p:grpSpPr>
      <p:sp>
        <p:nvSpPr>
          <p:cNvPr id="19132" name="Google Shape;19132;p2105"/>
          <p:cNvSpPr txBox="1">
            <a:spLocks noGrp="1"/>
          </p:cNvSpPr>
          <p:nvPr>
            <p:ph type="body" idx="1"/>
          </p:nvPr>
        </p:nvSpPr>
        <p:spPr>
          <a:xfrm>
            <a:off x="2826556" y="5400857"/>
            <a:ext cx="8178613" cy="477112"/>
          </a:xfrm>
          <a:prstGeom prst="rect">
            <a:avLst/>
          </a:prstGeom>
          <a:noFill/>
          <a:ln>
            <a:noFill/>
          </a:ln>
        </p:spPr>
        <p:txBody>
          <a:bodyPr spcFirstLastPara="1" wrap="square" lIns="91425" tIns="45700" rIns="91425" bIns="45700" anchor="t" anchorCtr="0">
            <a:spAutoFit/>
          </a:bodyPr>
          <a:lstStyle>
            <a:lvl1pPr marL="304815" lvl="0" indent="-152408"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9133" name="Google Shape;19133;p2105"/>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4"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134" name="Google Shape;19134;p210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9135" name="Google Shape;19135;p210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9136" name="Google Shape;19136;p210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lvl="1"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lvl="2"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lvl="3"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lvl="4"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lvl="5"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lvl="6"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lvl="7"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lvl="8"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19137" name="Google Shape;19137;p2105"/>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3600"/>
              <a:buFont typeface="Arial"/>
              <a:buNone/>
            </a:pPr>
            <a:endParaRPr sz="2400">
              <a:solidFill>
                <a:schemeClr val="lt1"/>
              </a:solidFill>
              <a:latin typeface="Calibri"/>
              <a:ea typeface="Calibri"/>
              <a:cs typeface="Calibri"/>
              <a:sym typeface="Calibri"/>
            </a:endParaRPr>
          </a:p>
        </p:txBody>
      </p:sp>
      <p:sp>
        <p:nvSpPr>
          <p:cNvPr id="19138" name="Google Shape;19138;p2105"/>
          <p:cNvSpPr/>
          <p:nvPr/>
        </p:nvSpPr>
        <p:spPr>
          <a:xfrm>
            <a:off x="0" y="6115052"/>
            <a:ext cx="12192000" cy="742949"/>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3600"/>
              <a:buFont typeface="Arial"/>
              <a:buNone/>
            </a:pPr>
            <a:endParaRPr sz="2400">
              <a:solidFill>
                <a:schemeClr val="lt1"/>
              </a:solidFill>
              <a:latin typeface="Calibri"/>
              <a:ea typeface="Calibri"/>
              <a:cs typeface="Calibri"/>
              <a:sym typeface="Calibri"/>
            </a:endParaRPr>
          </a:p>
        </p:txBody>
      </p:sp>
      <p:sp>
        <p:nvSpPr>
          <p:cNvPr id="19139" name="Google Shape;19139;p2105"/>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9140" name="Google Shape;19140;p2105"/>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2024.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9141"/>
        <p:cNvGrpSpPr/>
        <p:nvPr/>
      </p:nvGrpSpPr>
      <p:grpSpPr>
        <a:xfrm>
          <a:off x="0" y="0"/>
          <a:ext cx="0" cy="0"/>
          <a:chOff x="0" y="0"/>
          <a:chExt cx="0" cy="0"/>
        </a:xfrm>
      </p:grpSpPr>
      <p:sp>
        <p:nvSpPr>
          <p:cNvPr id="19142" name="Google Shape;19142;p2106"/>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143" name="Google Shape;19143;p2106"/>
          <p:cNvSpPr/>
          <p:nvPr/>
        </p:nvSpPr>
        <p:spPr>
          <a:xfrm>
            <a:off x="0" y="6313118"/>
            <a:ext cx="12192000" cy="544883"/>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027"/>
              <a:buFont typeface="Arial"/>
              <a:buNone/>
            </a:pPr>
            <a:endParaRPr sz="1351">
              <a:solidFill>
                <a:schemeClr val="lt1"/>
              </a:solidFill>
              <a:latin typeface="Calibri"/>
              <a:ea typeface="Calibri"/>
              <a:cs typeface="Calibri"/>
              <a:sym typeface="Calibri"/>
            </a:endParaRPr>
          </a:p>
        </p:txBody>
      </p:sp>
      <p:sp>
        <p:nvSpPr>
          <p:cNvPr id="19144" name="Google Shape;19144;p2106"/>
          <p:cNvSpPr/>
          <p:nvPr/>
        </p:nvSpPr>
        <p:spPr>
          <a:xfrm>
            <a:off x="0" y="6301515"/>
            <a:ext cx="12192000" cy="45719"/>
          </a:xfrm>
          <a:prstGeom prst="rect">
            <a:avLst/>
          </a:prstGeom>
          <a:solidFill>
            <a:srgbClr val="A4D65E"/>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027"/>
              <a:buFont typeface="Arial"/>
              <a:buNone/>
            </a:pPr>
            <a:endParaRPr sz="1351">
              <a:solidFill>
                <a:schemeClr val="lt1"/>
              </a:solidFill>
              <a:latin typeface="Calibri"/>
              <a:ea typeface="Calibri"/>
              <a:cs typeface="Calibri"/>
              <a:sym typeface="Calibri"/>
            </a:endParaRPr>
          </a:p>
        </p:txBody>
      </p:sp>
      <p:sp>
        <p:nvSpPr>
          <p:cNvPr id="19145" name="Google Shape;19145;p2106"/>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304815" lvl="0" indent="-242709"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609630" lvl="1" indent="-242709" algn="l">
              <a:lnSpc>
                <a:spcPct val="100000"/>
              </a:lnSpc>
              <a:spcBef>
                <a:spcPts val="1000"/>
              </a:spcBef>
              <a:spcAft>
                <a:spcPts val="0"/>
              </a:spcAft>
              <a:buSzPts val="2133"/>
              <a:buChar char="•"/>
              <a:defRPr sz="2133">
                <a:latin typeface="Verdana"/>
                <a:ea typeface="Verdana"/>
                <a:cs typeface="Verdana"/>
                <a:sym typeface="Verdana"/>
              </a:defRPr>
            </a:lvl2pPr>
            <a:lvl3pPr marL="914446" lvl="2" indent="-242709" algn="l">
              <a:lnSpc>
                <a:spcPct val="100000"/>
              </a:lnSpc>
              <a:spcBef>
                <a:spcPts val="1000"/>
              </a:spcBef>
              <a:spcAft>
                <a:spcPts val="0"/>
              </a:spcAft>
              <a:buSzPts val="2133"/>
              <a:buChar char="•"/>
              <a:defRPr sz="2133">
                <a:latin typeface="Verdana"/>
                <a:ea typeface="Verdana"/>
                <a:cs typeface="Verdana"/>
                <a:sym typeface="Verdana"/>
              </a:defRPr>
            </a:lvl3pPr>
            <a:lvl4pPr marL="1219261" lvl="3" indent="-242709" algn="l">
              <a:lnSpc>
                <a:spcPct val="100000"/>
              </a:lnSpc>
              <a:spcBef>
                <a:spcPts val="1000"/>
              </a:spcBef>
              <a:spcAft>
                <a:spcPts val="0"/>
              </a:spcAft>
              <a:buSzPts val="2133"/>
              <a:buChar char="•"/>
              <a:defRPr sz="2133">
                <a:latin typeface="Verdana"/>
                <a:ea typeface="Verdana"/>
                <a:cs typeface="Verdana"/>
                <a:sym typeface="Verdana"/>
              </a:defRPr>
            </a:lvl4pPr>
            <a:lvl5pPr marL="1524076" lvl="4" indent="-242709" algn="l">
              <a:lnSpc>
                <a:spcPct val="100000"/>
              </a:lnSpc>
              <a:spcBef>
                <a:spcPts val="1000"/>
              </a:spcBef>
              <a:spcAft>
                <a:spcPts val="0"/>
              </a:spcAft>
              <a:buSzPts val="2133"/>
              <a:buChar char="•"/>
              <a:defRPr sz="2133">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9146" name="Google Shape;19146;p210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025.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9147"/>
        <p:cNvGrpSpPr/>
        <p:nvPr/>
      </p:nvGrpSpPr>
      <p:grpSpPr>
        <a:xfrm>
          <a:off x="0" y="0"/>
          <a:ext cx="0" cy="0"/>
          <a:chOff x="0" y="0"/>
          <a:chExt cx="0" cy="0"/>
        </a:xfrm>
      </p:grpSpPr>
      <p:sp>
        <p:nvSpPr>
          <p:cNvPr id="19148" name="Google Shape;19148;p2107"/>
          <p:cNvSpPr/>
          <p:nvPr/>
        </p:nvSpPr>
        <p:spPr>
          <a:xfrm>
            <a:off x="0" y="6313118"/>
            <a:ext cx="12192000" cy="544883"/>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027"/>
              <a:buFont typeface="Arial"/>
              <a:buNone/>
            </a:pPr>
            <a:endParaRPr sz="1351">
              <a:solidFill>
                <a:schemeClr val="lt1"/>
              </a:solidFill>
              <a:latin typeface="Calibri"/>
              <a:ea typeface="Calibri"/>
              <a:cs typeface="Calibri"/>
              <a:sym typeface="Calibri"/>
            </a:endParaRPr>
          </a:p>
        </p:txBody>
      </p:sp>
      <p:pic>
        <p:nvPicPr>
          <p:cNvPr id="19149" name="Google Shape;19149;p2107"/>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9150" name="Google Shape;19150;p2107"/>
          <p:cNvSpPr/>
          <p:nvPr/>
        </p:nvSpPr>
        <p:spPr>
          <a:xfrm>
            <a:off x="0" y="6301515"/>
            <a:ext cx="12192000" cy="45719"/>
          </a:xfrm>
          <a:prstGeom prst="rect">
            <a:avLst/>
          </a:prstGeom>
          <a:solidFill>
            <a:srgbClr val="A4D65E"/>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027"/>
              <a:buFont typeface="Arial"/>
              <a:buNone/>
            </a:pPr>
            <a:endParaRPr sz="1351">
              <a:solidFill>
                <a:schemeClr val="lt1"/>
              </a:solidFill>
              <a:latin typeface="Calibri"/>
              <a:ea typeface="Calibri"/>
              <a:cs typeface="Calibri"/>
              <a:sym typeface="Calibri"/>
            </a:endParaRPr>
          </a:p>
        </p:txBody>
      </p:sp>
      <p:sp>
        <p:nvSpPr>
          <p:cNvPr id="19151" name="Google Shape;19151;p2107"/>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152" name="Google Shape;19152;p2107"/>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609630" lvl="1" indent="-231448" algn="l">
              <a:lnSpc>
                <a:spcPct val="100000"/>
              </a:lnSpc>
              <a:spcBef>
                <a:spcPts val="500"/>
              </a:spcBef>
              <a:spcAft>
                <a:spcPts val="0"/>
              </a:spcAft>
              <a:buSzPts val="1867"/>
              <a:buChar char="•"/>
              <a:defRPr sz="1867">
                <a:latin typeface="Verdana"/>
                <a:ea typeface="Verdana"/>
                <a:cs typeface="Verdana"/>
                <a:sym typeface="Verdana"/>
              </a:defRPr>
            </a:lvl2pPr>
            <a:lvl3pPr marL="914446" lvl="2" indent="-231448" algn="l">
              <a:lnSpc>
                <a:spcPct val="100000"/>
              </a:lnSpc>
              <a:spcBef>
                <a:spcPts val="1000"/>
              </a:spcBef>
              <a:spcAft>
                <a:spcPts val="0"/>
              </a:spcAft>
              <a:buSzPts val="1867"/>
              <a:buChar char="•"/>
              <a:defRPr sz="1867">
                <a:latin typeface="Verdana"/>
                <a:ea typeface="Verdana"/>
                <a:cs typeface="Verdana"/>
                <a:sym typeface="Verdana"/>
              </a:defRPr>
            </a:lvl3pPr>
            <a:lvl4pPr marL="1219261" lvl="3" indent="-231448" algn="l">
              <a:lnSpc>
                <a:spcPct val="100000"/>
              </a:lnSpc>
              <a:spcBef>
                <a:spcPts val="1000"/>
              </a:spcBef>
              <a:spcAft>
                <a:spcPts val="0"/>
              </a:spcAft>
              <a:buSzPts val="1867"/>
              <a:buChar char="•"/>
              <a:defRPr sz="1867">
                <a:latin typeface="Verdana"/>
                <a:ea typeface="Verdana"/>
                <a:cs typeface="Verdana"/>
                <a:sym typeface="Verdana"/>
              </a:defRPr>
            </a:lvl4pPr>
            <a:lvl5pPr marL="1524076" lvl="4" indent="-231448" algn="l">
              <a:lnSpc>
                <a:spcPct val="100000"/>
              </a:lnSpc>
              <a:spcBef>
                <a:spcPts val="1000"/>
              </a:spcBef>
              <a:spcAft>
                <a:spcPts val="0"/>
              </a:spcAft>
              <a:buSzPts val="1867"/>
              <a:buChar char="•"/>
              <a:defRPr sz="1867">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026.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9153"/>
        <p:cNvGrpSpPr/>
        <p:nvPr/>
      </p:nvGrpSpPr>
      <p:grpSpPr>
        <a:xfrm>
          <a:off x="0" y="0"/>
          <a:ext cx="0" cy="0"/>
          <a:chOff x="0" y="0"/>
          <a:chExt cx="0" cy="0"/>
        </a:xfrm>
      </p:grpSpPr>
      <p:sp>
        <p:nvSpPr>
          <p:cNvPr id="19154" name="Google Shape;19154;p2108"/>
          <p:cNvSpPr/>
          <p:nvPr/>
        </p:nvSpPr>
        <p:spPr>
          <a:xfrm>
            <a:off x="0" y="6313118"/>
            <a:ext cx="12192000" cy="544883"/>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027"/>
              <a:buFont typeface="Arial"/>
              <a:buNone/>
            </a:pPr>
            <a:endParaRPr sz="1351">
              <a:solidFill>
                <a:schemeClr val="lt1"/>
              </a:solidFill>
              <a:latin typeface="Calibri"/>
              <a:ea typeface="Calibri"/>
              <a:cs typeface="Calibri"/>
              <a:sym typeface="Calibri"/>
            </a:endParaRPr>
          </a:p>
        </p:txBody>
      </p:sp>
      <p:sp>
        <p:nvSpPr>
          <p:cNvPr id="19155" name="Google Shape;19155;p2108"/>
          <p:cNvSpPr/>
          <p:nvPr/>
        </p:nvSpPr>
        <p:spPr>
          <a:xfrm>
            <a:off x="0" y="6301515"/>
            <a:ext cx="12192000" cy="45719"/>
          </a:xfrm>
          <a:prstGeom prst="rect">
            <a:avLst/>
          </a:prstGeom>
          <a:solidFill>
            <a:srgbClr val="A4D65E"/>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027"/>
              <a:buFont typeface="Arial"/>
              <a:buNone/>
            </a:pPr>
            <a:endParaRPr sz="1351">
              <a:solidFill>
                <a:schemeClr val="lt1"/>
              </a:solidFill>
              <a:latin typeface="Calibri"/>
              <a:ea typeface="Calibri"/>
              <a:cs typeface="Calibri"/>
              <a:sym typeface="Calibri"/>
            </a:endParaRPr>
          </a:p>
        </p:txBody>
      </p:sp>
      <p:sp>
        <p:nvSpPr>
          <p:cNvPr id="19156" name="Google Shape;19156;p2108"/>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9157" name="Google Shape;19157;p2108"/>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609630" lvl="1" indent="-231448"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914446" lvl="2" indent="-231448"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219261" lvl="3" indent="-231448"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1524076" lvl="4" indent="-231448"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9158" name="Google Shape;19158;p2108"/>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159" name="Google Shape;19159;p210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027.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3">
    <p:spTree>
      <p:nvGrpSpPr>
        <p:cNvPr id="1" name="Shape 19160"/>
        <p:cNvGrpSpPr/>
        <p:nvPr/>
      </p:nvGrpSpPr>
      <p:grpSpPr>
        <a:xfrm>
          <a:off x="0" y="0"/>
          <a:ext cx="0" cy="0"/>
          <a:chOff x="0" y="0"/>
          <a:chExt cx="0" cy="0"/>
        </a:xfrm>
      </p:grpSpPr>
      <p:sp>
        <p:nvSpPr>
          <p:cNvPr id="19161" name="Google Shape;19161;p2109"/>
          <p:cNvSpPr txBox="1">
            <a:spLocks noGrp="1"/>
          </p:cNvSpPr>
          <p:nvPr>
            <p:ph type="body" idx="1"/>
          </p:nvPr>
        </p:nvSpPr>
        <p:spPr>
          <a:xfrm>
            <a:off x="2826556" y="5400857"/>
            <a:ext cx="8178613" cy="477112"/>
          </a:xfrm>
          <a:prstGeom prst="rect">
            <a:avLst/>
          </a:prstGeom>
          <a:noFill/>
          <a:ln>
            <a:noFill/>
          </a:ln>
        </p:spPr>
        <p:txBody>
          <a:bodyPr spcFirstLastPara="1" wrap="square" lIns="91425" tIns="45700" rIns="91425" bIns="45700" anchor="t" anchorCtr="0">
            <a:spAutoFit/>
          </a:bodyPr>
          <a:lstStyle>
            <a:lvl1pPr marL="304815" lvl="0" indent="-152408"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9162" name="Google Shape;19162;p2109"/>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4"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163" name="Google Shape;19163;p210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9164" name="Google Shape;19164;p210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9165" name="Google Shape;19165;p210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lvl="1"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lvl="2"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lvl="3"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lvl="4"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lvl="5"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lvl="6"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lvl="7"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lvl="8"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19166" name="Google Shape;19166;p2109"/>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3600"/>
              <a:buFont typeface="Arial"/>
              <a:buNone/>
            </a:pPr>
            <a:endParaRPr sz="2400">
              <a:solidFill>
                <a:schemeClr val="lt1"/>
              </a:solidFill>
              <a:latin typeface="Calibri"/>
              <a:ea typeface="Calibri"/>
              <a:cs typeface="Calibri"/>
              <a:sym typeface="Calibri"/>
            </a:endParaRPr>
          </a:p>
        </p:txBody>
      </p:sp>
      <p:sp>
        <p:nvSpPr>
          <p:cNvPr id="19167" name="Google Shape;19167;p2109"/>
          <p:cNvSpPr/>
          <p:nvPr/>
        </p:nvSpPr>
        <p:spPr>
          <a:xfrm>
            <a:off x="0" y="6115052"/>
            <a:ext cx="12192000" cy="742949"/>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3600"/>
              <a:buFont typeface="Arial"/>
              <a:buNone/>
            </a:pPr>
            <a:endParaRPr sz="2400">
              <a:solidFill>
                <a:schemeClr val="lt1"/>
              </a:solidFill>
              <a:latin typeface="Calibri"/>
              <a:ea typeface="Calibri"/>
              <a:cs typeface="Calibri"/>
              <a:sym typeface="Calibri"/>
            </a:endParaRPr>
          </a:p>
        </p:txBody>
      </p:sp>
      <p:sp>
        <p:nvSpPr>
          <p:cNvPr id="19168" name="Google Shape;19168;p2109"/>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9169" name="Google Shape;19169;p2109"/>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2028.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2">
    <p:spTree>
      <p:nvGrpSpPr>
        <p:cNvPr id="1" name="Shape 19170"/>
        <p:cNvGrpSpPr/>
        <p:nvPr/>
      </p:nvGrpSpPr>
      <p:grpSpPr>
        <a:xfrm>
          <a:off x="0" y="0"/>
          <a:ext cx="0" cy="0"/>
          <a:chOff x="0" y="0"/>
          <a:chExt cx="0" cy="0"/>
        </a:xfrm>
      </p:grpSpPr>
      <p:sp>
        <p:nvSpPr>
          <p:cNvPr id="19171" name="Google Shape;19171;p2110"/>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172" name="Google Shape;19172;p2110"/>
          <p:cNvSpPr/>
          <p:nvPr/>
        </p:nvSpPr>
        <p:spPr>
          <a:xfrm>
            <a:off x="0" y="6313118"/>
            <a:ext cx="12192000" cy="544883"/>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027"/>
              <a:buFont typeface="Arial"/>
              <a:buNone/>
            </a:pPr>
            <a:endParaRPr sz="1351">
              <a:solidFill>
                <a:schemeClr val="lt1"/>
              </a:solidFill>
              <a:latin typeface="Calibri"/>
              <a:ea typeface="Calibri"/>
              <a:cs typeface="Calibri"/>
              <a:sym typeface="Calibri"/>
            </a:endParaRPr>
          </a:p>
        </p:txBody>
      </p:sp>
      <p:sp>
        <p:nvSpPr>
          <p:cNvPr id="19173" name="Google Shape;19173;p2110"/>
          <p:cNvSpPr/>
          <p:nvPr/>
        </p:nvSpPr>
        <p:spPr>
          <a:xfrm>
            <a:off x="0" y="6301515"/>
            <a:ext cx="12192000" cy="45719"/>
          </a:xfrm>
          <a:prstGeom prst="rect">
            <a:avLst/>
          </a:prstGeom>
          <a:solidFill>
            <a:srgbClr val="A4D65E"/>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027"/>
              <a:buFont typeface="Arial"/>
              <a:buNone/>
            </a:pPr>
            <a:endParaRPr sz="1351">
              <a:solidFill>
                <a:schemeClr val="lt1"/>
              </a:solidFill>
              <a:latin typeface="Calibri"/>
              <a:ea typeface="Calibri"/>
              <a:cs typeface="Calibri"/>
              <a:sym typeface="Calibri"/>
            </a:endParaRPr>
          </a:p>
        </p:txBody>
      </p:sp>
      <p:sp>
        <p:nvSpPr>
          <p:cNvPr id="19174" name="Google Shape;19174;p2110"/>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304815" lvl="0" indent="-242709"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609630" lvl="1" indent="-242709" algn="l">
              <a:lnSpc>
                <a:spcPct val="100000"/>
              </a:lnSpc>
              <a:spcBef>
                <a:spcPts val="1000"/>
              </a:spcBef>
              <a:spcAft>
                <a:spcPts val="0"/>
              </a:spcAft>
              <a:buSzPts val="2133"/>
              <a:buChar char="•"/>
              <a:defRPr sz="2133">
                <a:latin typeface="Verdana"/>
                <a:ea typeface="Verdana"/>
                <a:cs typeface="Verdana"/>
                <a:sym typeface="Verdana"/>
              </a:defRPr>
            </a:lvl2pPr>
            <a:lvl3pPr marL="914446" lvl="2" indent="-242709" algn="l">
              <a:lnSpc>
                <a:spcPct val="100000"/>
              </a:lnSpc>
              <a:spcBef>
                <a:spcPts val="1000"/>
              </a:spcBef>
              <a:spcAft>
                <a:spcPts val="0"/>
              </a:spcAft>
              <a:buSzPts val="2133"/>
              <a:buChar char="•"/>
              <a:defRPr sz="2133">
                <a:latin typeface="Verdana"/>
                <a:ea typeface="Verdana"/>
                <a:cs typeface="Verdana"/>
                <a:sym typeface="Verdana"/>
              </a:defRPr>
            </a:lvl3pPr>
            <a:lvl4pPr marL="1219261" lvl="3" indent="-242709" algn="l">
              <a:lnSpc>
                <a:spcPct val="100000"/>
              </a:lnSpc>
              <a:spcBef>
                <a:spcPts val="1000"/>
              </a:spcBef>
              <a:spcAft>
                <a:spcPts val="0"/>
              </a:spcAft>
              <a:buSzPts val="2133"/>
              <a:buChar char="•"/>
              <a:defRPr sz="2133">
                <a:latin typeface="Verdana"/>
                <a:ea typeface="Verdana"/>
                <a:cs typeface="Verdana"/>
                <a:sym typeface="Verdana"/>
              </a:defRPr>
            </a:lvl4pPr>
            <a:lvl5pPr marL="1524076" lvl="4" indent="-242709" algn="l">
              <a:lnSpc>
                <a:spcPct val="100000"/>
              </a:lnSpc>
              <a:spcBef>
                <a:spcPts val="1000"/>
              </a:spcBef>
              <a:spcAft>
                <a:spcPts val="0"/>
              </a:spcAft>
              <a:buSzPts val="2133"/>
              <a:buChar char="•"/>
              <a:defRPr sz="2133">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9175" name="Google Shape;19175;p211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029.xml><?xml version="1.0" encoding="utf-8"?>
<p:sldLayout xmlns:a="http://schemas.openxmlformats.org/drawingml/2006/main" xmlns:r="http://schemas.openxmlformats.org/officeDocument/2006/relationships" xmlns:p="http://schemas.openxmlformats.org/presentationml/2006/main" matchingName="1_Title and Content">
  <p:cSld name="2_Title and Content 2">
    <p:spTree>
      <p:nvGrpSpPr>
        <p:cNvPr id="1" name="Shape 19176"/>
        <p:cNvGrpSpPr/>
        <p:nvPr/>
      </p:nvGrpSpPr>
      <p:grpSpPr>
        <a:xfrm>
          <a:off x="0" y="0"/>
          <a:ext cx="0" cy="0"/>
          <a:chOff x="0" y="0"/>
          <a:chExt cx="0" cy="0"/>
        </a:xfrm>
      </p:grpSpPr>
      <p:sp>
        <p:nvSpPr>
          <p:cNvPr id="19177" name="Google Shape;19177;p2111"/>
          <p:cNvSpPr/>
          <p:nvPr/>
        </p:nvSpPr>
        <p:spPr>
          <a:xfrm>
            <a:off x="0" y="6313118"/>
            <a:ext cx="12192000" cy="544883"/>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027"/>
              <a:buFont typeface="Arial"/>
              <a:buNone/>
            </a:pPr>
            <a:endParaRPr sz="1351">
              <a:solidFill>
                <a:schemeClr val="lt1"/>
              </a:solidFill>
              <a:latin typeface="Calibri"/>
              <a:ea typeface="Calibri"/>
              <a:cs typeface="Calibri"/>
              <a:sym typeface="Calibri"/>
            </a:endParaRPr>
          </a:p>
        </p:txBody>
      </p:sp>
      <p:pic>
        <p:nvPicPr>
          <p:cNvPr id="19178" name="Google Shape;19178;p2111"/>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9179" name="Google Shape;19179;p2111"/>
          <p:cNvSpPr/>
          <p:nvPr/>
        </p:nvSpPr>
        <p:spPr>
          <a:xfrm>
            <a:off x="0" y="6301515"/>
            <a:ext cx="12192000" cy="45719"/>
          </a:xfrm>
          <a:prstGeom prst="rect">
            <a:avLst/>
          </a:prstGeom>
          <a:solidFill>
            <a:srgbClr val="A4D65E"/>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027"/>
              <a:buFont typeface="Arial"/>
              <a:buNone/>
            </a:pPr>
            <a:endParaRPr sz="1351">
              <a:solidFill>
                <a:schemeClr val="lt1"/>
              </a:solidFill>
              <a:latin typeface="Calibri"/>
              <a:ea typeface="Calibri"/>
              <a:cs typeface="Calibri"/>
              <a:sym typeface="Calibri"/>
            </a:endParaRPr>
          </a:p>
        </p:txBody>
      </p:sp>
      <p:sp>
        <p:nvSpPr>
          <p:cNvPr id="19180" name="Google Shape;19180;p2111"/>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181" name="Google Shape;19181;p2111"/>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609630" lvl="1" indent="-231448" algn="l">
              <a:lnSpc>
                <a:spcPct val="100000"/>
              </a:lnSpc>
              <a:spcBef>
                <a:spcPts val="500"/>
              </a:spcBef>
              <a:spcAft>
                <a:spcPts val="0"/>
              </a:spcAft>
              <a:buSzPts val="1867"/>
              <a:buChar char="•"/>
              <a:defRPr sz="1867">
                <a:latin typeface="Verdana"/>
                <a:ea typeface="Verdana"/>
                <a:cs typeface="Verdana"/>
                <a:sym typeface="Verdana"/>
              </a:defRPr>
            </a:lvl2pPr>
            <a:lvl3pPr marL="914446" lvl="2" indent="-231448" algn="l">
              <a:lnSpc>
                <a:spcPct val="100000"/>
              </a:lnSpc>
              <a:spcBef>
                <a:spcPts val="1000"/>
              </a:spcBef>
              <a:spcAft>
                <a:spcPts val="0"/>
              </a:spcAft>
              <a:buSzPts val="1867"/>
              <a:buChar char="•"/>
              <a:defRPr sz="1867">
                <a:latin typeface="Verdana"/>
                <a:ea typeface="Verdana"/>
                <a:cs typeface="Verdana"/>
                <a:sym typeface="Verdana"/>
              </a:defRPr>
            </a:lvl3pPr>
            <a:lvl4pPr marL="1219261" lvl="3" indent="-231448" algn="l">
              <a:lnSpc>
                <a:spcPct val="100000"/>
              </a:lnSpc>
              <a:spcBef>
                <a:spcPts val="1000"/>
              </a:spcBef>
              <a:spcAft>
                <a:spcPts val="0"/>
              </a:spcAft>
              <a:buSzPts val="1867"/>
              <a:buChar char="•"/>
              <a:defRPr sz="1867">
                <a:latin typeface="Verdana"/>
                <a:ea typeface="Verdana"/>
                <a:cs typeface="Verdana"/>
                <a:sym typeface="Verdana"/>
              </a:defRPr>
            </a:lvl4pPr>
            <a:lvl5pPr marL="1524076" lvl="4" indent="-231448" algn="l">
              <a:lnSpc>
                <a:spcPct val="100000"/>
              </a:lnSpc>
              <a:spcBef>
                <a:spcPts val="1000"/>
              </a:spcBef>
              <a:spcAft>
                <a:spcPts val="0"/>
              </a:spcAft>
              <a:buSzPts val="1867"/>
              <a:buChar char="•"/>
              <a:defRPr sz="1867">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7 2">
    <p:spTree>
      <p:nvGrpSpPr>
        <p:cNvPr id="1" name="Shape 10977"/>
        <p:cNvGrpSpPr/>
        <p:nvPr/>
      </p:nvGrpSpPr>
      <p:grpSpPr>
        <a:xfrm>
          <a:off x="0" y="0"/>
          <a:ext cx="0" cy="0"/>
          <a:chOff x="0" y="0"/>
          <a:chExt cx="0" cy="0"/>
        </a:xfrm>
      </p:grpSpPr>
      <p:sp>
        <p:nvSpPr>
          <p:cNvPr id="10978" name="Google Shape;10978;p1507"/>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79" name="Google Shape;10979;p1507"/>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80" name="Google Shape;10980;p150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0981" name="Google Shape;10981;p15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82" name="Google Shape;10982;p15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0983" name="Google Shape;10983;p1507"/>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0984" name="Google Shape;10984;p1507"/>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0985" name="Google Shape;10985;p1507"/>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986" name="Google Shape;10986;p1507"/>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2030.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2">
    <p:spTree>
      <p:nvGrpSpPr>
        <p:cNvPr id="1" name="Shape 19182"/>
        <p:cNvGrpSpPr/>
        <p:nvPr/>
      </p:nvGrpSpPr>
      <p:grpSpPr>
        <a:xfrm>
          <a:off x="0" y="0"/>
          <a:ext cx="0" cy="0"/>
          <a:chOff x="0" y="0"/>
          <a:chExt cx="0" cy="0"/>
        </a:xfrm>
      </p:grpSpPr>
      <p:sp>
        <p:nvSpPr>
          <p:cNvPr id="19183" name="Google Shape;19183;p2112"/>
          <p:cNvSpPr/>
          <p:nvPr/>
        </p:nvSpPr>
        <p:spPr>
          <a:xfrm>
            <a:off x="0" y="6313118"/>
            <a:ext cx="12192000" cy="544883"/>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027"/>
              <a:buFont typeface="Arial"/>
              <a:buNone/>
            </a:pPr>
            <a:endParaRPr sz="1351">
              <a:solidFill>
                <a:schemeClr val="lt1"/>
              </a:solidFill>
              <a:latin typeface="Calibri"/>
              <a:ea typeface="Calibri"/>
              <a:cs typeface="Calibri"/>
              <a:sym typeface="Calibri"/>
            </a:endParaRPr>
          </a:p>
        </p:txBody>
      </p:sp>
      <p:sp>
        <p:nvSpPr>
          <p:cNvPr id="19184" name="Google Shape;19184;p2112"/>
          <p:cNvSpPr/>
          <p:nvPr/>
        </p:nvSpPr>
        <p:spPr>
          <a:xfrm>
            <a:off x="0" y="6301515"/>
            <a:ext cx="12192000" cy="45719"/>
          </a:xfrm>
          <a:prstGeom prst="rect">
            <a:avLst/>
          </a:prstGeom>
          <a:solidFill>
            <a:srgbClr val="A4D65E"/>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027"/>
              <a:buFont typeface="Arial"/>
              <a:buNone/>
            </a:pPr>
            <a:endParaRPr sz="1351">
              <a:solidFill>
                <a:schemeClr val="lt1"/>
              </a:solidFill>
              <a:latin typeface="Calibri"/>
              <a:ea typeface="Calibri"/>
              <a:cs typeface="Calibri"/>
              <a:sym typeface="Calibri"/>
            </a:endParaRPr>
          </a:p>
        </p:txBody>
      </p:sp>
      <p:sp>
        <p:nvSpPr>
          <p:cNvPr id="19185" name="Google Shape;19185;p2112"/>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9186" name="Google Shape;19186;p2112"/>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609630" lvl="1" indent="-231448"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914446" lvl="2" indent="-231448"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219261" lvl="3" indent="-231448"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1524076" lvl="4" indent="-231448"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9187" name="Google Shape;19187;p2112"/>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188" name="Google Shape;19188;p211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031.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3">
    <p:spTree>
      <p:nvGrpSpPr>
        <p:cNvPr id="1" name="Shape 19189"/>
        <p:cNvGrpSpPr/>
        <p:nvPr/>
      </p:nvGrpSpPr>
      <p:grpSpPr>
        <a:xfrm>
          <a:off x="0" y="0"/>
          <a:ext cx="0" cy="0"/>
          <a:chOff x="0" y="0"/>
          <a:chExt cx="0" cy="0"/>
        </a:xfrm>
      </p:grpSpPr>
      <p:sp>
        <p:nvSpPr>
          <p:cNvPr id="19190" name="Google Shape;19190;p2113"/>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191" name="Google Shape;19191;p2113"/>
          <p:cNvSpPr/>
          <p:nvPr/>
        </p:nvSpPr>
        <p:spPr>
          <a:xfrm>
            <a:off x="0" y="6313118"/>
            <a:ext cx="12192000" cy="544883"/>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027"/>
              <a:buFont typeface="Arial"/>
              <a:buNone/>
            </a:pPr>
            <a:endParaRPr sz="1351">
              <a:solidFill>
                <a:schemeClr val="lt1"/>
              </a:solidFill>
              <a:latin typeface="Calibri"/>
              <a:ea typeface="Calibri"/>
              <a:cs typeface="Calibri"/>
              <a:sym typeface="Calibri"/>
            </a:endParaRPr>
          </a:p>
        </p:txBody>
      </p:sp>
      <p:sp>
        <p:nvSpPr>
          <p:cNvPr id="19192" name="Google Shape;19192;p2113"/>
          <p:cNvSpPr/>
          <p:nvPr/>
        </p:nvSpPr>
        <p:spPr>
          <a:xfrm>
            <a:off x="0" y="6301515"/>
            <a:ext cx="12192000" cy="45719"/>
          </a:xfrm>
          <a:prstGeom prst="rect">
            <a:avLst/>
          </a:prstGeom>
          <a:solidFill>
            <a:srgbClr val="A4D65E"/>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027"/>
              <a:buFont typeface="Arial"/>
              <a:buNone/>
            </a:pPr>
            <a:endParaRPr sz="1351">
              <a:solidFill>
                <a:schemeClr val="lt1"/>
              </a:solidFill>
              <a:latin typeface="Calibri"/>
              <a:ea typeface="Calibri"/>
              <a:cs typeface="Calibri"/>
              <a:sym typeface="Calibri"/>
            </a:endParaRPr>
          </a:p>
        </p:txBody>
      </p:sp>
      <p:sp>
        <p:nvSpPr>
          <p:cNvPr id="19193" name="Google Shape;19193;p2113"/>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304815" lvl="0" indent="-242709"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609630" lvl="1" indent="-242709" algn="l">
              <a:lnSpc>
                <a:spcPct val="100000"/>
              </a:lnSpc>
              <a:spcBef>
                <a:spcPts val="1000"/>
              </a:spcBef>
              <a:spcAft>
                <a:spcPts val="0"/>
              </a:spcAft>
              <a:buSzPts val="2133"/>
              <a:buChar char="•"/>
              <a:defRPr sz="2133">
                <a:latin typeface="Verdana"/>
                <a:ea typeface="Verdana"/>
                <a:cs typeface="Verdana"/>
                <a:sym typeface="Verdana"/>
              </a:defRPr>
            </a:lvl2pPr>
            <a:lvl3pPr marL="914446" lvl="2" indent="-242709" algn="l">
              <a:lnSpc>
                <a:spcPct val="100000"/>
              </a:lnSpc>
              <a:spcBef>
                <a:spcPts val="1000"/>
              </a:spcBef>
              <a:spcAft>
                <a:spcPts val="0"/>
              </a:spcAft>
              <a:buSzPts val="2133"/>
              <a:buChar char="•"/>
              <a:defRPr sz="2133">
                <a:latin typeface="Verdana"/>
                <a:ea typeface="Verdana"/>
                <a:cs typeface="Verdana"/>
                <a:sym typeface="Verdana"/>
              </a:defRPr>
            </a:lvl3pPr>
            <a:lvl4pPr marL="1219261" lvl="3" indent="-242709" algn="l">
              <a:lnSpc>
                <a:spcPct val="100000"/>
              </a:lnSpc>
              <a:spcBef>
                <a:spcPts val="1000"/>
              </a:spcBef>
              <a:spcAft>
                <a:spcPts val="0"/>
              </a:spcAft>
              <a:buSzPts val="2133"/>
              <a:buChar char="•"/>
              <a:defRPr sz="2133">
                <a:latin typeface="Verdana"/>
                <a:ea typeface="Verdana"/>
                <a:cs typeface="Verdana"/>
                <a:sym typeface="Verdana"/>
              </a:defRPr>
            </a:lvl4pPr>
            <a:lvl5pPr marL="1524076" lvl="4" indent="-242709" algn="l">
              <a:lnSpc>
                <a:spcPct val="100000"/>
              </a:lnSpc>
              <a:spcBef>
                <a:spcPts val="1000"/>
              </a:spcBef>
              <a:spcAft>
                <a:spcPts val="0"/>
              </a:spcAft>
              <a:buSzPts val="2133"/>
              <a:buChar char="•"/>
              <a:defRPr sz="2133">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9194" name="Google Shape;19194;p211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032.xml><?xml version="1.0" encoding="utf-8"?>
<p:sldLayout xmlns:a="http://schemas.openxmlformats.org/drawingml/2006/main" xmlns:r="http://schemas.openxmlformats.org/officeDocument/2006/relationships" xmlns:p="http://schemas.openxmlformats.org/presentationml/2006/main" matchingName="1_Title and Content">
  <p:cSld name="2_Title and Content 3">
    <p:spTree>
      <p:nvGrpSpPr>
        <p:cNvPr id="1" name="Shape 19195"/>
        <p:cNvGrpSpPr/>
        <p:nvPr/>
      </p:nvGrpSpPr>
      <p:grpSpPr>
        <a:xfrm>
          <a:off x="0" y="0"/>
          <a:ext cx="0" cy="0"/>
          <a:chOff x="0" y="0"/>
          <a:chExt cx="0" cy="0"/>
        </a:xfrm>
      </p:grpSpPr>
      <p:sp>
        <p:nvSpPr>
          <p:cNvPr id="19196" name="Google Shape;19196;p2114"/>
          <p:cNvSpPr/>
          <p:nvPr/>
        </p:nvSpPr>
        <p:spPr>
          <a:xfrm>
            <a:off x="0" y="6313118"/>
            <a:ext cx="12192000" cy="544883"/>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027"/>
              <a:buFont typeface="Arial"/>
              <a:buNone/>
            </a:pPr>
            <a:endParaRPr sz="1351">
              <a:solidFill>
                <a:schemeClr val="lt1"/>
              </a:solidFill>
              <a:latin typeface="Calibri"/>
              <a:ea typeface="Calibri"/>
              <a:cs typeface="Calibri"/>
              <a:sym typeface="Calibri"/>
            </a:endParaRPr>
          </a:p>
        </p:txBody>
      </p:sp>
      <p:pic>
        <p:nvPicPr>
          <p:cNvPr id="19197" name="Google Shape;19197;p2114"/>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9198" name="Google Shape;19198;p2114"/>
          <p:cNvSpPr/>
          <p:nvPr/>
        </p:nvSpPr>
        <p:spPr>
          <a:xfrm>
            <a:off x="0" y="6301515"/>
            <a:ext cx="12192000" cy="45719"/>
          </a:xfrm>
          <a:prstGeom prst="rect">
            <a:avLst/>
          </a:prstGeom>
          <a:solidFill>
            <a:srgbClr val="A4D65E"/>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027"/>
              <a:buFont typeface="Arial"/>
              <a:buNone/>
            </a:pPr>
            <a:endParaRPr sz="1351">
              <a:solidFill>
                <a:schemeClr val="lt1"/>
              </a:solidFill>
              <a:latin typeface="Calibri"/>
              <a:ea typeface="Calibri"/>
              <a:cs typeface="Calibri"/>
              <a:sym typeface="Calibri"/>
            </a:endParaRPr>
          </a:p>
        </p:txBody>
      </p:sp>
      <p:sp>
        <p:nvSpPr>
          <p:cNvPr id="19199" name="Google Shape;19199;p2114"/>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200" name="Google Shape;19200;p2114"/>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609630" lvl="1" indent="-231448" algn="l">
              <a:lnSpc>
                <a:spcPct val="100000"/>
              </a:lnSpc>
              <a:spcBef>
                <a:spcPts val="500"/>
              </a:spcBef>
              <a:spcAft>
                <a:spcPts val="0"/>
              </a:spcAft>
              <a:buSzPts val="1867"/>
              <a:buChar char="•"/>
              <a:defRPr sz="1867">
                <a:latin typeface="Verdana"/>
                <a:ea typeface="Verdana"/>
                <a:cs typeface="Verdana"/>
                <a:sym typeface="Verdana"/>
              </a:defRPr>
            </a:lvl2pPr>
            <a:lvl3pPr marL="914446" lvl="2" indent="-231448" algn="l">
              <a:lnSpc>
                <a:spcPct val="100000"/>
              </a:lnSpc>
              <a:spcBef>
                <a:spcPts val="1000"/>
              </a:spcBef>
              <a:spcAft>
                <a:spcPts val="0"/>
              </a:spcAft>
              <a:buSzPts val="1867"/>
              <a:buChar char="•"/>
              <a:defRPr sz="1867">
                <a:latin typeface="Verdana"/>
                <a:ea typeface="Verdana"/>
                <a:cs typeface="Verdana"/>
                <a:sym typeface="Verdana"/>
              </a:defRPr>
            </a:lvl3pPr>
            <a:lvl4pPr marL="1219261" lvl="3" indent="-231448" algn="l">
              <a:lnSpc>
                <a:spcPct val="100000"/>
              </a:lnSpc>
              <a:spcBef>
                <a:spcPts val="1000"/>
              </a:spcBef>
              <a:spcAft>
                <a:spcPts val="0"/>
              </a:spcAft>
              <a:buSzPts val="1867"/>
              <a:buChar char="•"/>
              <a:defRPr sz="1867">
                <a:latin typeface="Verdana"/>
                <a:ea typeface="Verdana"/>
                <a:cs typeface="Verdana"/>
                <a:sym typeface="Verdana"/>
              </a:defRPr>
            </a:lvl4pPr>
            <a:lvl5pPr marL="1524076" lvl="4" indent="-231448" algn="l">
              <a:lnSpc>
                <a:spcPct val="100000"/>
              </a:lnSpc>
              <a:spcBef>
                <a:spcPts val="1000"/>
              </a:spcBef>
              <a:spcAft>
                <a:spcPts val="0"/>
              </a:spcAft>
              <a:buSzPts val="1867"/>
              <a:buChar char="•"/>
              <a:defRPr sz="1867">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033.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3">
    <p:spTree>
      <p:nvGrpSpPr>
        <p:cNvPr id="1" name="Shape 19201"/>
        <p:cNvGrpSpPr/>
        <p:nvPr/>
      </p:nvGrpSpPr>
      <p:grpSpPr>
        <a:xfrm>
          <a:off x="0" y="0"/>
          <a:ext cx="0" cy="0"/>
          <a:chOff x="0" y="0"/>
          <a:chExt cx="0" cy="0"/>
        </a:xfrm>
      </p:grpSpPr>
      <p:sp>
        <p:nvSpPr>
          <p:cNvPr id="19202" name="Google Shape;19202;p2115"/>
          <p:cNvSpPr/>
          <p:nvPr/>
        </p:nvSpPr>
        <p:spPr>
          <a:xfrm>
            <a:off x="0" y="6313118"/>
            <a:ext cx="12192000" cy="544883"/>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027"/>
              <a:buFont typeface="Arial"/>
              <a:buNone/>
            </a:pPr>
            <a:endParaRPr sz="1351">
              <a:solidFill>
                <a:schemeClr val="lt1"/>
              </a:solidFill>
              <a:latin typeface="Calibri"/>
              <a:ea typeface="Calibri"/>
              <a:cs typeface="Calibri"/>
              <a:sym typeface="Calibri"/>
            </a:endParaRPr>
          </a:p>
        </p:txBody>
      </p:sp>
      <p:sp>
        <p:nvSpPr>
          <p:cNvPr id="19203" name="Google Shape;19203;p2115"/>
          <p:cNvSpPr/>
          <p:nvPr/>
        </p:nvSpPr>
        <p:spPr>
          <a:xfrm>
            <a:off x="0" y="6301515"/>
            <a:ext cx="12192000" cy="45719"/>
          </a:xfrm>
          <a:prstGeom prst="rect">
            <a:avLst/>
          </a:prstGeom>
          <a:solidFill>
            <a:srgbClr val="A4D65E"/>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027"/>
              <a:buFont typeface="Arial"/>
              <a:buNone/>
            </a:pPr>
            <a:endParaRPr sz="1351">
              <a:solidFill>
                <a:schemeClr val="lt1"/>
              </a:solidFill>
              <a:latin typeface="Calibri"/>
              <a:ea typeface="Calibri"/>
              <a:cs typeface="Calibri"/>
              <a:sym typeface="Calibri"/>
            </a:endParaRPr>
          </a:p>
        </p:txBody>
      </p:sp>
      <p:sp>
        <p:nvSpPr>
          <p:cNvPr id="19204" name="Google Shape;19204;p2115"/>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9205" name="Google Shape;19205;p2115"/>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609630" lvl="1" indent="-231448"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914446" lvl="2" indent="-231448"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219261" lvl="3" indent="-231448"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1524076" lvl="4" indent="-231448"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9206" name="Google Shape;19206;p2115"/>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207" name="Google Shape;19207;p211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034.xml><?xml version="1.0" encoding="utf-8"?>
<p:sldLayout xmlns:a="http://schemas.openxmlformats.org/drawingml/2006/main" xmlns:r="http://schemas.openxmlformats.org/officeDocument/2006/relationships" xmlns:p="http://schemas.openxmlformats.org/presentationml/2006/main" matchingName="Cover">
  <p:cSld name="1_Cover 6">
    <p:spTree>
      <p:nvGrpSpPr>
        <p:cNvPr id="1" name="Shape 19208"/>
        <p:cNvGrpSpPr/>
        <p:nvPr/>
      </p:nvGrpSpPr>
      <p:grpSpPr>
        <a:xfrm>
          <a:off x="0" y="0"/>
          <a:ext cx="0" cy="0"/>
          <a:chOff x="0" y="0"/>
          <a:chExt cx="0" cy="0"/>
        </a:xfrm>
      </p:grpSpPr>
      <p:sp>
        <p:nvSpPr>
          <p:cNvPr id="19209" name="Google Shape;19209;p2116"/>
          <p:cNvSpPr/>
          <p:nvPr/>
        </p:nvSpPr>
        <p:spPr>
          <a:xfrm>
            <a:off x="902368" y="1294414"/>
            <a:ext cx="11289632" cy="3822607"/>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9210" name="Google Shape;19210;p2116"/>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211" name="Google Shape;19211;p2116"/>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212" name="Google Shape;19212;p2116"/>
          <p:cNvSpPr>
            <a:spLocks noGrp="1"/>
          </p:cNvSpPr>
          <p:nvPr>
            <p:ph type="pic" idx="2"/>
          </p:nvPr>
        </p:nvSpPr>
        <p:spPr>
          <a:xfrm>
            <a:off x="7118684" y="233915"/>
            <a:ext cx="5073316" cy="5943600"/>
          </a:xfrm>
          <a:prstGeom prst="rect">
            <a:avLst/>
          </a:prstGeom>
          <a:noFill/>
          <a:ln>
            <a:noFill/>
          </a:ln>
        </p:spPr>
      </p:sp>
      <p:grpSp>
        <p:nvGrpSpPr>
          <p:cNvPr id="19213" name="Google Shape;19213;p2116"/>
          <p:cNvGrpSpPr/>
          <p:nvPr/>
        </p:nvGrpSpPr>
        <p:grpSpPr>
          <a:xfrm>
            <a:off x="0" y="5020349"/>
            <a:ext cx="12192000" cy="1837653"/>
            <a:chOff x="0" y="5020348"/>
            <a:chExt cx="12192000" cy="1837653"/>
          </a:xfrm>
        </p:grpSpPr>
        <p:sp>
          <p:nvSpPr>
            <p:cNvPr id="19214" name="Google Shape;19214;p211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9215" name="Google Shape;19215;p211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pic>
          <p:nvPicPr>
            <p:cNvPr id="19216" name="Google Shape;19216;p211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035.xml><?xml version="1.0" encoding="utf-8"?>
<p:sldLayout xmlns:a="http://schemas.openxmlformats.org/drawingml/2006/main" xmlns:r="http://schemas.openxmlformats.org/officeDocument/2006/relationships" xmlns:p="http://schemas.openxmlformats.org/presentationml/2006/main" matchingName="Divider">
  <p:cSld name="1_Divider 6">
    <p:bg>
      <p:bgPr>
        <a:solidFill>
          <a:schemeClr val="lt2"/>
        </a:solidFill>
        <a:effectLst/>
      </p:bgPr>
    </p:bg>
    <p:spTree>
      <p:nvGrpSpPr>
        <p:cNvPr id="1" name="Shape 19217"/>
        <p:cNvGrpSpPr/>
        <p:nvPr/>
      </p:nvGrpSpPr>
      <p:grpSpPr>
        <a:xfrm>
          <a:off x="0" y="0"/>
          <a:ext cx="0" cy="0"/>
          <a:chOff x="0" y="0"/>
          <a:chExt cx="0" cy="0"/>
        </a:xfrm>
      </p:grpSpPr>
      <p:grpSp>
        <p:nvGrpSpPr>
          <p:cNvPr id="19218" name="Google Shape;19218;p2117"/>
          <p:cNvGrpSpPr/>
          <p:nvPr/>
        </p:nvGrpSpPr>
        <p:grpSpPr>
          <a:xfrm>
            <a:off x="0" y="5020348"/>
            <a:ext cx="12192000" cy="1837653"/>
            <a:chOff x="0" y="5020347"/>
            <a:chExt cx="12192000" cy="1837653"/>
          </a:xfrm>
        </p:grpSpPr>
        <p:sp>
          <p:nvSpPr>
            <p:cNvPr id="19219" name="Google Shape;19219;p211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9220" name="Google Shape;19220;p211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9221" name="Google Shape;19221;p211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pic>
          <p:nvPicPr>
            <p:cNvPr id="19222" name="Google Shape;19222;p211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9223" name="Google Shape;19223;p2117"/>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224" name="Google Shape;19224;p2117"/>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036.xml><?xml version="1.0" encoding="utf-8"?>
<p:sldLayout xmlns:a="http://schemas.openxmlformats.org/drawingml/2006/main" xmlns:r="http://schemas.openxmlformats.org/officeDocument/2006/relationships" xmlns:p="http://schemas.openxmlformats.org/presentationml/2006/main" matchingName="Photo Slide">
  <p:cSld name="1_Photo Slide 5">
    <p:spTree>
      <p:nvGrpSpPr>
        <p:cNvPr id="1" name="Shape 19225"/>
        <p:cNvGrpSpPr/>
        <p:nvPr/>
      </p:nvGrpSpPr>
      <p:grpSpPr>
        <a:xfrm>
          <a:off x="0" y="0"/>
          <a:ext cx="0" cy="0"/>
          <a:chOff x="0" y="0"/>
          <a:chExt cx="0" cy="0"/>
        </a:xfrm>
      </p:grpSpPr>
      <p:sp>
        <p:nvSpPr>
          <p:cNvPr id="19226" name="Google Shape;19226;p2118"/>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9227" name="Google Shape;19227;p211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9228" name="Google Shape;19228;p2118"/>
          <p:cNvGrpSpPr/>
          <p:nvPr/>
        </p:nvGrpSpPr>
        <p:grpSpPr>
          <a:xfrm>
            <a:off x="0" y="5379427"/>
            <a:ext cx="2807368" cy="753891"/>
            <a:chOff x="0" y="5379426"/>
            <a:chExt cx="2807368" cy="753891"/>
          </a:xfrm>
        </p:grpSpPr>
        <p:sp>
          <p:nvSpPr>
            <p:cNvPr id="19229" name="Google Shape;19229;p211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9230" name="Google Shape;19230;p211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grpSp>
      <p:sp>
        <p:nvSpPr>
          <p:cNvPr id="19231" name="Google Shape;19231;p2118"/>
          <p:cNvSpPr>
            <a:spLocks noGrp="1"/>
          </p:cNvSpPr>
          <p:nvPr>
            <p:ph type="pic" idx="2"/>
          </p:nvPr>
        </p:nvSpPr>
        <p:spPr>
          <a:xfrm>
            <a:off x="2807368" y="457202"/>
            <a:ext cx="8915400" cy="5943598"/>
          </a:xfrm>
          <a:prstGeom prst="rect">
            <a:avLst/>
          </a:prstGeom>
          <a:noFill/>
          <a:ln>
            <a:noFill/>
          </a:ln>
        </p:spPr>
      </p:sp>
      <p:pic>
        <p:nvPicPr>
          <p:cNvPr id="19232" name="Google Shape;19232;p2118"/>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2037.xml><?xml version="1.0" encoding="utf-8"?>
<p:sldLayout xmlns:a="http://schemas.openxmlformats.org/drawingml/2006/main" xmlns:r="http://schemas.openxmlformats.org/officeDocument/2006/relationships" xmlns:p="http://schemas.openxmlformats.org/presentationml/2006/main" matchingName="Quotation">
  <p:cSld name="1_Quotation 9">
    <p:spTree>
      <p:nvGrpSpPr>
        <p:cNvPr id="1" name="Shape 19233"/>
        <p:cNvGrpSpPr/>
        <p:nvPr/>
      </p:nvGrpSpPr>
      <p:grpSpPr>
        <a:xfrm>
          <a:off x="0" y="0"/>
          <a:ext cx="0" cy="0"/>
          <a:chOff x="0" y="0"/>
          <a:chExt cx="0" cy="0"/>
        </a:xfrm>
      </p:grpSpPr>
      <p:sp>
        <p:nvSpPr>
          <p:cNvPr id="19234" name="Google Shape;19234;p2119"/>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9235" name="Google Shape;19235;p211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236" name="Google Shape;19236;p211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9237" name="Google Shape;19237;p211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lvl="1"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lvl="2"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lvl="3"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lvl="4"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lvl="5"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lvl="6"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lvl="7"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lvl="8"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9238" name="Google Shape;19238;p21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39" name="Google Shape;19239;p211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grpSp>
        <p:nvGrpSpPr>
          <p:cNvPr id="19240" name="Google Shape;19240;p2119"/>
          <p:cNvGrpSpPr/>
          <p:nvPr/>
        </p:nvGrpSpPr>
        <p:grpSpPr>
          <a:xfrm>
            <a:off x="7191543" y="1"/>
            <a:ext cx="5000459" cy="1425992"/>
            <a:chOff x="7191542" y="1"/>
            <a:chExt cx="5000459" cy="1425992"/>
          </a:xfrm>
        </p:grpSpPr>
        <p:pic>
          <p:nvPicPr>
            <p:cNvPr id="19241" name="Google Shape;19241;p21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242" name="Google Shape;19242;p2119"/>
            <p:cNvGrpSpPr/>
            <p:nvPr/>
          </p:nvGrpSpPr>
          <p:grpSpPr>
            <a:xfrm>
              <a:off x="7191542" y="1"/>
              <a:ext cx="5000459" cy="1425992"/>
              <a:chOff x="7186272" y="0"/>
              <a:chExt cx="5005729" cy="1427495"/>
            </a:xfrm>
          </p:grpSpPr>
          <p:sp>
            <p:nvSpPr>
              <p:cNvPr id="19243" name="Google Shape;19243;p21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9244" name="Google Shape;19244;p21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pic>
        <p:nvPicPr>
          <p:cNvPr id="19245" name="Google Shape;19245;p211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038.xml><?xml version="1.0" encoding="utf-8"?>
<p:sldLayout xmlns:a="http://schemas.openxmlformats.org/drawingml/2006/main" xmlns:r="http://schemas.openxmlformats.org/officeDocument/2006/relationships" xmlns:p="http://schemas.openxmlformats.org/presentationml/2006/main" matchingName="Title and Content">
  <p:cSld name="2_Title and Content 4">
    <p:spTree>
      <p:nvGrpSpPr>
        <p:cNvPr id="1" name="Shape 19246"/>
        <p:cNvGrpSpPr/>
        <p:nvPr/>
      </p:nvGrpSpPr>
      <p:grpSpPr>
        <a:xfrm>
          <a:off x="0" y="0"/>
          <a:ext cx="0" cy="0"/>
          <a:chOff x="0" y="0"/>
          <a:chExt cx="0" cy="0"/>
        </a:xfrm>
      </p:grpSpPr>
      <p:grpSp>
        <p:nvGrpSpPr>
          <p:cNvPr id="19247" name="Google Shape;19247;p2120"/>
          <p:cNvGrpSpPr/>
          <p:nvPr/>
        </p:nvGrpSpPr>
        <p:grpSpPr>
          <a:xfrm>
            <a:off x="7191543" y="1"/>
            <a:ext cx="5000459" cy="1425992"/>
            <a:chOff x="7191542" y="1"/>
            <a:chExt cx="5000459" cy="1425992"/>
          </a:xfrm>
        </p:grpSpPr>
        <p:pic>
          <p:nvPicPr>
            <p:cNvPr id="19248" name="Google Shape;19248;p21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249" name="Google Shape;19249;p2120"/>
            <p:cNvGrpSpPr/>
            <p:nvPr/>
          </p:nvGrpSpPr>
          <p:grpSpPr>
            <a:xfrm>
              <a:off x="7191542" y="1"/>
              <a:ext cx="5000459" cy="1425992"/>
              <a:chOff x="7186272" y="0"/>
              <a:chExt cx="5005729" cy="1427495"/>
            </a:xfrm>
          </p:grpSpPr>
          <p:sp>
            <p:nvSpPr>
              <p:cNvPr id="19250" name="Google Shape;19250;p21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9251" name="Google Shape;19251;p21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sp>
        <p:nvSpPr>
          <p:cNvPr id="19252" name="Google Shape;19252;p212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253" name="Google Shape;19253;p2120"/>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9254" name="Google Shape;19254;p212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lvl="1"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lvl="2"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lvl="3"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lvl="4"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lvl="5"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lvl="6"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lvl="7"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lvl="8"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9255" name="Google Shape;19255;p21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56" name="Google Shape;19256;p212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2039.xml><?xml version="1.0" encoding="utf-8"?>
<p:sldLayout xmlns:a="http://schemas.openxmlformats.org/drawingml/2006/main" xmlns:r="http://schemas.openxmlformats.org/officeDocument/2006/relationships" xmlns:p="http://schemas.openxmlformats.org/presentationml/2006/main" matchingName="Two Content">
  <p:cSld name="1_Two Content 6">
    <p:spTree>
      <p:nvGrpSpPr>
        <p:cNvPr id="1" name="Shape 19257"/>
        <p:cNvGrpSpPr/>
        <p:nvPr/>
      </p:nvGrpSpPr>
      <p:grpSpPr>
        <a:xfrm>
          <a:off x="0" y="0"/>
          <a:ext cx="0" cy="0"/>
          <a:chOff x="0" y="0"/>
          <a:chExt cx="0" cy="0"/>
        </a:xfrm>
      </p:grpSpPr>
      <p:sp>
        <p:nvSpPr>
          <p:cNvPr id="19258" name="Google Shape;19258;p2121"/>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259" name="Google Shape;19259;p2121"/>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9260" name="Google Shape;19260;p2121"/>
          <p:cNvGrpSpPr/>
          <p:nvPr/>
        </p:nvGrpSpPr>
        <p:grpSpPr>
          <a:xfrm>
            <a:off x="7191543" y="1"/>
            <a:ext cx="5000459" cy="1425992"/>
            <a:chOff x="7191542" y="1"/>
            <a:chExt cx="5000459" cy="1425992"/>
          </a:xfrm>
        </p:grpSpPr>
        <p:pic>
          <p:nvPicPr>
            <p:cNvPr id="19261" name="Google Shape;19261;p21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262" name="Google Shape;19262;p2121"/>
            <p:cNvGrpSpPr/>
            <p:nvPr/>
          </p:nvGrpSpPr>
          <p:grpSpPr>
            <a:xfrm>
              <a:off x="7191542" y="1"/>
              <a:ext cx="5000459" cy="1425992"/>
              <a:chOff x="7186272" y="0"/>
              <a:chExt cx="5005729" cy="1427495"/>
            </a:xfrm>
          </p:grpSpPr>
          <p:sp>
            <p:nvSpPr>
              <p:cNvPr id="19263" name="Google Shape;19263;p21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9264" name="Google Shape;19264;p21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sp>
        <p:nvSpPr>
          <p:cNvPr id="19265" name="Google Shape;19265;p2121"/>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9266" name="Google Shape;19266;p2121"/>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lvl="1"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lvl="2"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lvl="3"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lvl="4"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lvl="5"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lvl="6"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lvl="7"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lvl="8"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9267" name="Google Shape;19267;p21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68" name="Google Shape;19268;p212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5 2">
    <p:spTree>
      <p:nvGrpSpPr>
        <p:cNvPr id="1" name="Shape 10987"/>
        <p:cNvGrpSpPr/>
        <p:nvPr/>
      </p:nvGrpSpPr>
      <p:grpSpPr>
        <a:xfrm>
          <a:off x="0" y="0"/>
          <a:ext cx="0" cy="0"/>
          <a:chOff x="0" y="0"/>
          <a:chExt cx="0" cy="0"/>
        </a:xfrm>
      </p:grpSpPr>
      <p:sp>
        <p:nvSpPr>
          <p:cNvPr id="10988" name="Google Shape;10988;p150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89" name="Google Shape;10989;p150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990" name="Google Shape;10990;p150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991" name="Google Shape;10991;p150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992" name="Google Shape;10992;p150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040.xml><?xml version="1.0" encoding="utf-8"?>
<p:sldLayout xmlns:a="http://schemas.openxmlformats.org/drawingml/2006/main" xmlns:r="http://schemas.openxmlformats.org/officeDocument/2006/relationships" xmlns:p="http://schemas.openxmlformats.org/presentationml/2006/main" matchingName="Comparison">
  <p:cSld name="1_Comparison 6">
    <p:spTree>
      <p:nvGrpSpPr>
        <p:cNvPr id="1" name="Shape 19269"/>
        <p:cNvGrpSpPr/>
        <p:nvPr/>
      </p:nvGrpSpPr>
      <p:grpSpPr>
        <a:xfrm>
          <a:off x="0" y="0"/>
          <a:ext cx="0" cy="0"/>
          <a:chOff x="0" y="0"/>
          <a:chExt cx="0" cy="0"/>
        </a:xfrm>
      </p:grpSpPr>
      <p:grpSp>
        <p:nvGrpSpPr>
          <p:cNvPr id="19270" name="Google Shape;19270;p2122"/>
          <p:cNvGrpSpPr/>
          <p:nvPr/>
        </p:nvGrpSpPr>
        <p:grpSpPr>
          <a:xfrm>
            <a:off x="7191543" y="1"/>
            <a:ext cx="5000459" cy="1425992"/>
            <a:chOff x="7191542" y="1"/>
            <a:chExt cx="5000459" cy="1425992"/>
          </a:xfrm>
        </p:grpSpPr>
        <p:pic>
          <p:nvPicPr>
            <p:cNvPr id="19271" name="Google Shape;19271;p21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272" name="Google Shape;19272;p2122"/>
            <p:cNvGrpSpPr/>
            <p:nvPr/>
          </p:nvGrpSpPr>
          <p:grpSpPr>
            <a:xfrm>
              <a:off x="7191542" y="1"/>
              <a:ext cx="5000459" cy="1425992"/>
              <a:chOff x="7186272" y="0"/>
              <a:chExt cx="5005729" cy="1427495"/>
            </a:xfrm>
          </p:grpSpPr>
          <p:sp>
            <p:nvSpPr>
              <p:cNvPr id="19273" name="Google Shape;19273;p21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9274" name="Google Shape;19274;p21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sp>
        <p:nvSpPr>
          <p:cNvPr id="19275" name="Google Shape;19275;p2122"/>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276" name="Google Shape;19276;p2122"/>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2000"/>
              <a:buNone/>
              <a:defRPr sz="2000" b="1"/>
            </a:lvl2pPr>
            <a:lvl3pPr marL="914446" lvl="2" indent="-152408" algn="l">
              <a:lnSpc>
                <a:spcPct val="100000"/>
              </a:lnSpc>
              <a:spcBef>
                <a:spcPts val="1000"/>
              </a:spcBef>
              <a:spcAft>
                <a:spcPts val="0"/>
              </a:spcAft>
              <a:buSzPts val="1800"/>
              <a:buNone/>
              <a:defRPr sz="1800" b="1"/>
            </a:lvl3pPr>
            <a:lvl4pPr marL="1219261" lvl="3" indent="-152408" algn="l">
              <a:lnSpc>
                <a:spcPct val="100000"/>
              </a:lnSpc>
              <a:spcBef>
                <a:spcPts val="1000"/>
              </a:spcBef>
              <a:spcAft>
                <a:spcPts val="0"/>
              </a:spcAft>
              <a:buSzPts val="1600"/>
              <a:buNone/>
              <a:defRPr sz="1600" b="1"/>
            </a:lvl4pPr>
            <a:lvl5pPr marL="1524076" lvl="4" indent="-152408" algn="l">
              <a:lnSpc>
                <a:spcPct val="100000"/>
              </a:lnSpc>
              <a:spcBef>
                <a:spcPts val="1000"/>
              </a:spcBef>
              <a:spcAft>
                <a:spcPts val="0"/>
              </a:spcAft>
              <a:buSzPts val="1600"/>
              <a:buNone/>
              <a:defRPr sz="1600" b="1"/>
            </a:lvl5pPr>
            <a:lvl6pPr marL="1828891" lvl="5" indent="-152408" algn="l">
              <a:lnSpc>
                <a:spcPct val="90000"/>
              </a:lnSpc>
              <a:spcBef>
                <a:spcPts val="10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19277" name="Google Shape;19277;p2122"/>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100000"/>
              </a:lnSpc>
              <a:spcBef>
                <a:spcPts val="1000"/>
              </a:spcBef>
              <a:spcAft>
                <a:spcPts val="0"/>
              </a:spcAft>
              <a:buSzPts val="1800"/>
              <a:buChar char="•"/>
              <a:defRPr sz="1800"/>
            </a:lvl2pPr>
            <a:lvl3pPr marL="914446" lvl="2" indent="-220144" algn="l">
              <a:lnSpc>
                <a:spcPct val="100000"/>
              </a:lnSpc>
              <a:spcBef>
                <a:spcPts val="1000"/>
              </a:spcBef>
              <a:spcAft>
                <a:spcPts val="0"/>
              </a:spcAft>
              <a:buSzPts val="1600"/>
              <a:buChar char="•"/>
              <a:defRPr sz="1600"/>
            </a:lvl3pPr>
            <a:lvl4pPr marL="1219261" lvl="3" indent="-211677" algn="l">
              <a:lnSpc>
                <a:spcPct val="100000"/>
              </a:lnSpc>
              <a:spcBef>
                <a:spcPts val="1000"/>
              </a:spcBef>
              <a:spcAft>
                <a:spcPts val="0"/>
              </a:spcAft>
              <a:buSzPts val="1400"/>
              <a:buChar char="•"/>
              <a:defRPr sz="1400"/>
            </a:lvl4pPr>
            <a:lvl5pPr marL="1524076" lvl="4" indent="-211677" algn="l">
              <a:lnSpc>
                <a:spcPct val="100000"/>
              </a:lnSpc>
              <a:spcBef>
                <a:spcPts val="1000"/>
              </a:spcBef>
              <a:spcAft>
                <a:spcPts val="0"/>
              </a:spcAft>
              <a:buSzPts val="14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9278" name="Google Shape;19278;p212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2000"/>
              <a:buNone/>
              <a:defRPr sz="2000" b="1"/>
            </a:lvl2pPr>
            <a:lvl3pPr marL="914446" lvl="2" indent="-152408" algn="l">
              <a:lnSpc>
                <a:spcPct val="100000"/>
              </a:lnSpc>
              <a:spcBef>
                <a:spcPts val="1000"/>
              </a:spcBef>
              <a:spcAft>
                <a:spcPts val="0"/>
              </a:spcAft>
              <a:buSzPts val="1800"/>
              <a:buNone/>
              <a:defRPr sz="1800" b="1"/>
            </a:lvl3pPr>
            <a:lvl4pPr marL="1219261" lvl="3" indent="-152408" algn="l">
              <a:lnSpc>
                <a:spcPct val="100000"/>
              </a:lnSpc>
              <a:spcBef>
                <a:spcPts val="1000"/>
              </a:spcBef>
              <a:spcAft>
                <a:spcPts val="0"/>
              </a:spcAft>
              <a:buSzPts val="1600"/>
              <a:buNone/>
              <a:defRPr sz="1600" b="1"/>
            </a:lvl4pPr>
            <a:lvl5pPr marL="1524076" lvl="4" indent="-152408" algn="l">
              <a:lnSpc>
                <a:spcPct val="100000"/>
              </a:lnSpc>
              <a:spcBef>
                <a:spcPts val="1000"/>
              </a:spcBef>
              <a:spcAft>
                <a:spcPts val="0"/>
              </a:spcAft>
              <a:buSzPts val="1600"/>
              <a:buNone/>
              <a:defRPr sz="1600" b="1"/>
            </a:lvl5pPr>
            <a:lvl6pPr marL="1828891" lvl="5" indent="-152408" algn="l">
              <a:lnSpc>
                <a:spcPct val="90000"/>
              </a:lnSpc>
              <a:spcBef>
                <a:spcPts val="10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19279" name="Google Shape;19279;p212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100000"/>
              </a:lnSpc>
              <a:spcBef>
                <a:spcPts val="1000"/>
              </a:spcBef>
              <a:spcAft>
                <a:spcPts val="0"/>
              </a:spcAft>
              <a:buSzPts val="1800"/>
              <a:buChar char="•"/>
              <a:defRPr sz="1800"/>
            </a:lvl2pPr>
            <a:lvl3pPr marL="914446" lvl="2" indent="-220144" algn="l">
              <a:lnSpc>
                <a:spcPct val="100000"/>
              </a:lnSpc>
              <a:spcBef>
                <a:spcPts val="1000"/>
              </a:spcBef>
              <a:spcAft>
                <a:spcPts val="0"/>
              </a:spcAft>
              <a:buSzPts val="1600"/>
              <a:buChar char="•"/>
              <a:defRPr sz="1600"/>
            </a:lvl3pPr>
            <a:lvl4pPr marL="1219261" lvl="3" indent="-211677" algn="l">
              <a:lnSpc>
                <a:spcPct val="100000"/>
              </a:lnSpc>
              <a:spcBef>
                <a:spcPts val="1000"/>
              </a:spcBef>
              <a:spcAft>
                <a:spcPts val="0"/>
              </a:spcAft>
              <a:buSzPts val="1400"/>
              <a:buChar char="•"/>
              <a:defRPr sz="1400"/>
            </a:lvl4pPr>
            <a:lvl5pPr marL="1524076" lvl="4" indent="-211677" algn="l">
              <a:lnSpc>
                <a:spcPct val="100000"/>
              </a:lnSpc>
              <a:spcBef>
                <a:spcPts val="1000"/>
              </a:spcBef>
              <a:spcAft>
                <a:spcPts val="0"/>
              </a:spcAft>
              <a:buSzPts val="14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9280" name="Google Shape;19280;p212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lvl="1"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lvl="2"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lvl="3"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lvl="4"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lvl="5"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lvl="6"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lvl="7"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lvl="8"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9281" name="Google Shape;19281;p21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82" name="Google Shape;19282;p212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2041.xml><?xml version="1.0" encoding="utf-8"?>
<p:sldLayout xmlns:a="http://schemas.openxmlformats.org/drawingml/2006/main" xmlns:r="http://schemas.openxmlformats.org/officeDocument/2006/relationships" xmlns:p="http://schemas.openxmlformats.org/presentationml/2006/main" matchingName="Title Only">
  <p:cSld name="1_Title Only 5">
    <p:spTree>
      <p:nvGrpSpPr>
        <p:cNvPr id="1" name="Shape 19283"/>
        <p:cNvGrpSpPr/>
        <p:nvPr/>
      </p:nvGrpSpPr>
      <p:grpSpPr>
        <a:xfrm>
          <a:off x="0" y="0"/>
          <a:ext cx="0" cy="0"/>
          <a:chOff x="0" y="0"/>
          <a:chExt cx="0" cy="0"/>
        </a:xfrm>
      </p:grpSpPr>
      <p:grpSp>
        <p:nvGrpSpPr>
          <p:cNvPr id="19284" name="Google Shape;19284;p2123"/>
          <p:cNvGrpSpPr/>
          <p:nvPr/>
        </p:nvGrpSpPr>
        <p:grpSpPr>
          <a:xfrm>
            <a:off x="7191543" y="1"/>
            <a:ext cx="5000459" cy="1425992"/>
            <a:chOff x="7191542" y="1"/>
            <a:chExt cx="5000459" cy="1425992"/>
          </a:xfrm>
        </p:grpSpPr>
        <p:pic>
          <p:nvPicPr>
            <p:cNvPr id="19285" name="Google Shape;19285;p21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286" name="Google Shape;19286;p2123"/>
            <p:cNvGrpSpPr/>
            <p:nvPr/>
          </p:nvGrpSpPr>
          <p:grpSpPr>
            <a:xfrm>
              <a:off x="7191542" y="1"/>
              <a:ext cx="5000459" cy="1425992"/>
              <a:chOff x="7186272" y="0"/>
              <a:chExt cx="5005729" cy="1427495"/>
            </a:xfrm>
          </p:grpSpPr>
          <p:sp>
            <p:nvSpPr>
              <p:cNvPr id="19287" name="Google Shape;19287;p21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9288" name="Google Shape;19288;p21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sp>
        <p:nvSpPr>
          <p:cNvPr id="19289" name="Google Shape;19289;p2123"/>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290" name="Google Shape;19290;p212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lvl="1"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lvl="2"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lvl="3"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lvl="4"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lvl="5"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lvl="6"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lvl="7"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lvl="8"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9291" name="Google Shape;19291;p21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92" name="Google Shape;19292;p212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2042.xml><?xml version="1.0" encoding="utf-8"?>
<p:sldLayout xmlns:a="http://schemas.openxmlformats.org/drawingml/2006/main" xmlns:r="http://schemas.openxmlformats.org/officeDocument/2006/relationships" xmlns:p="http://schemas.openxmlformats.org/presentationml/2006/main" matchingName="End">
  <p:cSld name="1_End 5">
    <p:spTree>
      <p:nvGrpSpPr>
        <p:cNvPr id="1" name="Shape 19293"/>
        <p:cNvGrpSpPr/>
        <p:nvPr/>
      </p:nvGrpSpPr>
      <p:grpSpPr>
        <a:xfrm>
          <a:off x="0" y="0"/>
          <a:ext cx="0" cy="0"/>
          <a:chOff x="0" y="0"/>
          <a:chExt cx="0" cy="0"/>
        </a:xfrm>
      </p:grpSpPr>
      <p:grpSp>
        <p:nvGrpSpPr>
          <p:cNvPr id="19294" name="Google Shape;19294;p2124"/>
          <p:cNvGrpSpPr/>
          <p:nvPr/>
        </p:nvGrpSpPr>
        <p:grpSpPr>
          <a:xfrm>
            <a:off x="0" y="0"/>
            <a:ext cx="12192000" cy="2148830"/>
            <a:chOff x="0" y="0"/>
            <a:chExt cx="12192000" cy="2148830"/>
          </a:xfrm>
        </p:grpSpPr>
        <p:sp>
          <p:nvSpPr>
            <p:cNvPr id="19295" name="Google Shape;19295;p212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9296" name="Google Shape;19296;p212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sp>
        <p:nvSpPr>
          <p:cNvPr id="19297" name="Google Shape;19297;p2124"/>
          <p:cNvSpPr/>
          <p:nvPr/>
        </p:nvSpPr>
        <p:spPr>
          <a:xfrm>
            <a:off x="902368" y="1517698"/>
            <a:ext cx="11289632" cy="3822607"/>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9298" name="Google Shape;19298;p2124"/>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9299" name="Google Shape;19299;p212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300" name="Google Shape;19300;p2124"/>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9301" name="Google Shape;19301;p212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043.xml><?xml version="1.0" encoding="utf-8"?>
<p:sldLayout xmlns:a="http://schemas.openxmlformats.org/drawingml/2006/main" xmlns:r="http://schemas.openxmlformats.org/officeDocument/2006/relationships" xmlns:p="http://schemas.openxmlformats.org/presentationml/2006/main" matchingName="Blank">
  <p:cSld name="1_Blank 4">
    <p:spTree>
      <p:nvGrpSpPr>
        <p:cNvPr id="1" name="Shape 19302"/>
        <p:cNvGrpSpPr/>
        <p:nvPr/>
      </p:nvGrpSpPr>
      <p:grpSpPr>
        <a:xfrm>
          <a:off x="0" y="0"/>
          <a:ext cx="0" cy="0"/>
          <a:chOff x="0" y="0"/>
          <a:chExt cx="0" cy="0"/>
        </a:xfrm>
      </p:grpSpPr>
      <p:sp>
        <p:nvSpPr>
          <p:cNvPr id="19303" name="Google Shape;19303;p212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lvl="1"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lvl="2"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lvl="3"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lvl="4"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lvl="5"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lvl="6"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lvl="7"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lvl="8"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9304" name="Google Shape;19304;p21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05" name="Google Shape;19305;p212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grpSp>
        <p:nvGrpSpPr>
          <p:cNvPr id="19306" name="Google Shape;19306;p2125"/>
          <p:cNvGrpSpPr/>
          <p:nvPr/>
        </p:nvGrpSpPr>
        <p:grpSpPr>
          <a:xfrm>
            <a:off x="7191543" y="1"/>
            <a:ext cx="5000459" cy="1425992"/>
            <a:chOff x="7191542" y="1"/>
            <a:chExt cx="5000459" cy="1425992"/>
          </a:xfrm>
        </p:grpSpPr>
        <p:pic>
          <p:nvPicPr>
            <p:cNvPr id="19307" name="Google Shape;19307;p21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308" name="Google Shape;19308;p2125"/>
            <p:cNvGrpSpPr/>
            <p:nvPr/>
          </p:nvGrpSpPr>
          <p:grpSpPr>
            <a:xfrm>
              <a:off x="7191542" y="1"/>
              <a:ext cx="5000459" cy="1425992"/>
              <a:chOff x="7186272" y="0"/>
              <a:chExt cx="5005729" cy="1427495"/>
            </a:xfrm>
          </p:grpSpPr>
          <p:sp>
            <p:nvSpPr>
              <p:cNvPr id="19309" name="Google Shape;19309;p21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9310" name="Google Shape;19310;p21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2044.xml><?xml version="1.0" encoding="utf-8"?>
<p:sldLayout xmlns:a="http://schemas.openxmlformats.org/drawingml/2006/main" xmlns:r="http://schemas.openxmlformats.org/officeDocument/2006/relationships" xmlns:p="http://schemas.openxmlformats.org/presentationml/2006/main" matchingName="Cover">
  <p:cSld name="1_Cover 7">
    <p:spTree>
      <p:nvGrpSpPr>
        <p:cNvPr id="1" name="Shape 19311"/>
        <p:cNvGrpSpPr/>
        <p:nvPr/>
      </p:nvGrpSpPr>
      <p:grpSpPr>
        <a:xfrm>
          <a:off x="0" y="0"/>
          <a:ext cx="0" cy="0"/>
          <a:chOff x="0" y="0"/>
          <a:chExt cx="0" cy="0"/>
        </a:xfrm>
      </p:grpSpPr>
      <p:sp>
        <p:nvSpPr>
          <p:cNvPr id="19312" name="Google Shape;19312;p2126"/>
          <p:cNvSpPr/>
          <p:nvPr/>
        </p:nvSpPr>
        <p:spPr>
          <a:xfrm>
            <a:off x="902368" y="1294414"/>
            <a:ext cx="11289632" cy="3822607"/>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9313" name="Google Shape;19313;p2126"/>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314" name="Google Shape;19314;p2126"/>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315" name="Google Shape;19315;p2126"/>
          <p:cNvSpPr>
            <a:spLocks noGrp="1"/>
          </p:cNvSpPr>
          <p:nvPr>
            <p:ph type="pic" idx="2"/>
          </p:nvPr>
        </p:nvSpPr>
        <p:spPr>
          <a:xfrm>
            <a:off x="7118684" y="233915"/>
            <a:ext cx="5073316" cy="5943600"/>
          </a:xfrm>
          <a:prstGeom prst="rect">
            <a:avLst/>
          </a:prstGeom>
          <a:noFill/>
          <a:ln>
            <a:noFill/>
          </a:ln>
        </p:spPr>
      </p:sp>
      <p:grpSp>
        <p:nvGrpSpPr>
          <p:cNvPr id="19316" name="Google Shape;19316;p2126"/>
          <p:cNvGrpSpPr/>
          <p:nvPr/>
        </p:nvGrpSpPr>
        <p:grpSpPr>
          <a:xfrm>
            <a:off x="0" y="5020349"/>
            <a:ext cx="12192000" cy="1837653"/>
            <a:chOff x="0" y="5020348"/>
            <a:chExt cx="12192000" cy="1837653"/>
          </a:xfrm>
        </p:grpSpPr>
        <p:sp>
          <p:nvSpPr>
            <p:cNvPr id="19317" name="Google Shape;19317;p212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9318" name="Google Shape;19318;p212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pic>
          <p:nvPicPr>
            <p:cNvPr id="19319" name="Google Shape;19319;p212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045.xml><?xml version="1.0" encoding="utf-8"?>
<p:sldLayout xmlns:a="http://schemas.openxmlformats.org/drawingml/2006/main" xmlns:r="http://schemas.openxmlformats.org/officeDocument/2006/relationships" xmlns:p="http://schemas.openxmlformats.org/presentationml/2006/main" matchingName="Divider">
  <p:cSld name="1_Divider 7">
    <p:bg>
      <p:bgPr>
        <a:solidFill>
          <a:schemeClr val="lt2"/>
        </a:solidFill>
        <a:effectLst/>
      </p:bgPr>
    </p:bg>
    <p:spTree>
      <p:nvGrpSpPr>
        <p:cNvPr id="1" name="Shape 19320"/>
        <p:cNvGrpSpPr/>
        <p:nvPr/>
      </p:nvGrpSpPr>
      <p:grpSpPr>
        <a:xfrm>
          <a:off x="0" y="0"/>
          <a:ext cx="0" cy="0"/>
          <a:chOff x="0" y="0"/>
          <a:chExt cx="0" cy="0"/>
        </a:xfrm>
      </p:grpSpPr>
      <p:grpSp>
        <p:nvGrpSpPr>
          <p:cNvPr id="19321" name="Google Shape;19321;p2127"/>
          <p:cNvGrpSpPr/>
          <p:nvPr/>
        </p:nvGrpSpPr>
        <p:grpSpPr>
          <a:xfrm>
            <a:off x="0" y="5020348"/>
            <a:ext cx="12192000" cy="1837653"/>
            <a:chOff x="0" y="5020347"/>
            <a:chExt cx="12192000" cy="1837653"/>
          </a:xfrm>
        </p:grpSpPr>
        <p:sp>
          <p:nvSpPr>
            <p:cNvPr id="19322" name="Google Shape;19322;p212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9323" name="Google Shape;19323;p212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9324" name="Google Shape;19324;p212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pic>
          <p:nvPicPr>
            <p:cNvPr id="19325" name="Google Shape;19325;p212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9326" name="Google Shape;19326;p2127"/>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327" name="Google Shape;19327;p2127"/>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046.xml><?xml version="1.0" encoding="utf-8"?>
<p:sldLayout xmlns:a="http://schemas.openxmlformats.org/drawingml/2006/main" xmlns:r="http://schemas.openxmlformats.org/officeDocument/2006/relationships" xmlns:p="http://schemas.openxmlformats.org/presentationml/2006/main" matchingName="Photo Slide">
  <p:cSld name="1_Photo Slide 6">
    <p:spTree>
      <p:nvGrpSpPr>
        <p:cNvPr id="1" name="Shape 19328"/>
        <p:cNvGrpSpPr/>
        <p:nvPr/>
      </p:nvGrpSpPr>
      <p:grpSpPr>
        <a:xfrm>
          <a:off x="0" y="0"/>
          <a:ext cx="0" cy="0"/>
          <a:chOff x="0" y="0"/>
          <a:chExt cx="0" cy="0"/>
        </a:xfrm>
      </p:grpSpPr>
      <p:sp>
        <p:nvSpPr>
          <p:cNvPr id="19329" name="Google Shape;19329;p2128"/>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9330" name="Google Shape;19330;p212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9331" name="Google Shape;19331;p2128"/>
          <p:cNvGrpSpPr/>
          <p:nvPr/>
        </p:nvGrpSpPr>
        <p:grpSpPr>
          <a:xfrm>
            <a:off x="0" y="5379427"/>
            <a:ext cx="2807368" cy="753891"/>
            <a:chOff x="0" y="5379426"/>
            <a:chExt cx="2807368" cy="753891"/>
          </a:xfrm>
        </p:grpSpPr>
        <p:sp>
          <p:nvSpPr>
            <p:cNvPr id="19332" name="Google Shape;19332;p212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9333" name="Google Shape;19333;p212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grpSp>
      <p:sp>
        <p:nvSpPr>
          <p:cNvPr id="19334" name="Google Shape;19334;p2128"/>
          <p:cNvSpPr>
            <a:spLocks noGrp="1"/>
          </p:cNvSpPr>
          <p:nvPr>
            <p:ph type="pic" idx="2"/>
          </p:nvPr>
        </p:nvSpPr>
        <p:spPr>
          <a:xfrm>
            <a:off x="2807368" y="457202"/>
            <a:ext cx="8915400" cy="5943598"/>
          </a:xfrm>
          <a:prstGeom prst="rect">
            <a:avLst/>
          </a:prstGeom>
          <a:noFill/>
          <a:ln>
            <a:noFill/>
          </a:ln>
        </p:spPr>
      </p:sp>
      <p:pic>
        <p:nvPicPr>
          <p:cNvPr id="19335" name="Google Shape;19335;p2128"/>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2047.xml><?xml version="1.0" encoding="utf-8"?>
<p:sldLayout xmlns:a="http://schemas.openxmlformats.org/drawingml/2006/main" xmlns:r="http://schemas.openxmlformats.org/officeDocument/2006/relationships" xmlns:p="http://schemas.openxmlformats.org/presentationml/2006/main" matchingName="Quotation">
  <p:cSld name="1_Quotation 10">
    <p:spTree>
      <p:nvGrpSpPr>
        <p:cNvPr id="1" name="Shape 19336"/>
        <p:cNvGrpSpPr/>
        <p:nvPr/>
      </p:nvGrpSpPr>
      <p:grpSpPr>
        <a:xfrm>
          <a:off x="0" y="0"/>
          <a:ext cx="0" cy="0"/>
          <a:chOff x="0" y="0"/>
          <a:chExt cx="0" cy="0"/>
        </a:xfrm>
      </p:grpSpPr>
      <p:sp>
        <p:nvSpPr>
          <p:cNvPr id="19337" name="Google Shape;19337;p2129"/>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9338" name="Google Shape;19338;p212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339" name="Google Shape;19339;p212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9340" name="Google Shape;19340;p212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lvl="1"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lvl="2"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lvl="3"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lvl="4"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lvl="5"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lvl="6"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lvl="7"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lvl="8"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9341" name="Google Shape;19341;p21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42" name="Google Shape;19342;p212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grpSp>
        <p:nvGrpSpPr>
          <p:cNvPr id="19343" name="Google Shape;19343;p2129"/>
          <p:cNvGrpSpPr/>
          <p:nvPr/>
        </p:nvGrpSpPr>
        <p:grpSpPr>
          <a:xfrm>
            <a:off x="7191543" y="1"/>
            <a:ext cx="5000459" cy="1425992"/>
            <a:chOff x="7191542" y="1"/>
            <a:chExt cx="5000459" cy="1425992"/>
          </a:xfrm>
        </p:grpSpPr>
        <p:pic>
          <p:nvPicPr>
            <p:cNvPr id="19344" name="Google Shape;19344;p21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345" name="Google Shape;19345;p2129"/>
            <p:cNvGrpSpPr/>
            <p:nvPr/>
          </p:nvGrpSpPr>
          <p:grpSpPr>
            <a:xfrm>
              <a:off x="7191542" y="1"/>
              <a:ext cx="5000459" cy="1425992"/>
              <a:chOff x="7186272" y="0"/>
              <a:chExt cx="5005729" cy="1427495"/>
            </a:xfrm>
          </p:grpSpPr>
          <p:sp>
            <p:nvSpPr>
              <p:cNvPr id="19346" name="Google Shape;19346;p21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9347" name="Google Shape;19347;p21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pic>
        <p:nvPicPr>
          <p:cNvPr id="19348" name="Google Shape;19348;p212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048.xml><?xml version="1.0" encoding="utf-8"?>
<p:sldLayout xmlns:a="http://schemas.openxmlformats.org/drawingml/2006/main" xmlns:r="http://schemas.openxmlformats.org/officeDocument/2006/relationships" xmlns:p="http://schemas.openxmlformats.org/presentationml/2006/main" matchingName="Title and Content">
  <p:cSld name="2_Title and Content 5">
    <p:spTree>
      <p:nvGrpSpPr>
        <p:cNvPr id="1" name="Shape 19349"/>
        <p:cNvGrpSpPr/>
        <p:nvPr/>
      </p:nvGrpSpPr>
      <p:grpSpPr>
        <a:xfrm>
          <a:off x="0" y="0"/>
          <a:ext cx="0" cy="0"/>
          <a:chOff x="0" y="0"/>
          <a:chExt cx="0" cy="0"/>
        </a:xfrm>
      </p:grpSpPr>
      <p:grpSp>
        <p:nvGrpSpPr>
          <p:cNvPr id="19350" name="Google Shape;19350;p2130"/>
          <p:cNvGrpSpPr/>
          <p:nvPr/>
        </p:nvGrpSpPr>
        <p:grpSpPr>
          <a:xfrm>
            <a:off x="7191543" y="1"/>
            <a:ext cx="5000459" cy="1425992"/>
            <a:chOff x="7191542" y="1"/>
            <a:chExt cx="5000459" cy="1425992"/>
          </a:xfrm>
        </p:grpSpPr>
        <p:pic>
          <p:nvPicPr>
            <p:cNvPr id="19351" name="Google Shape;19351;p21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352" name="Google Shape;19352;p2130"/>
            <p:cNvGrpSpPr/>
            <p:nvPr/>
          </p:nvGrpSpPr>
          <p:grpSpPr>
            <a:xfrm>
              <a:off x="7191542" y="1"/>
              <a:ext cx="5000459" cy="1425992"/>
              <a:chOff x="7186272" y="0"/>
              <a:chExt cx="5005729" cy="1427495"/>
            </a:xfrm>
          </p:grpSpPr>
          <p:sp>
            <p:nvSpPr>
              <p:cNvPr id="19353" name="Google Shape;19353;p21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9354" name="Google Shape;19354;p21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sp>
        <p:nvSpPr>
          <p:cNvPr id="19355" name="Google Shape;19355;p213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356" name="Google Shape;19356;p2130"/>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9357" name="Google Shape;19357;p213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lvl="1"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lvl="2"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lvl="3"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lvl="4"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lvl="5"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lvl="6"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lvl="7"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lvl="8"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9358" name="Google Shape;19358;p21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59" name="Google Shape;19359;p213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2049.xml><?xml version="1.0" encoding="utf-8"?>
<p:sldLayout xmlns:a="http://schemas.openxmlformats.org/drawingml/2006/main" xmlns:r="http://schemas.openxmlformats.org/officeDocument/2006/relationships" xmlns:p="http://schemas.openxmlformats.org/presentationml/2006/main" matchingName="Two Content">
  <p:cSld name="1_Two Content 7">
    <p:spTree>
      <p:nvGrpSpPr>
        <p:cNvPr id="1" name="Shape 19360"/>
        <p:cNvGrpSpPr/>
        <p:nvPr/>
      </p:nvGrpSpPr>
      <p:grpSpPr>
        <a:xfrm>
          <a:off x="0" y="0"/>
          <a:ext cx="0" cy="0"/>
          <a:chOff x="0" y="0"/>
          <a:chExt cx="0" cy="0"/>
        </a:xfrm>
      </p:grpSpPr>
      <p:sp>
        <p:nvSpPr>
          <p:cNvPr id="19361" name="Google Shape;19361;p2131"/>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362" name="Google Shape;19362;p2131"/>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9363" name="Google Shape;19363;p2131"/>
          <p:cNvGrpSpPr/>
          <p:nvPr/>
        </p:nvGrpSpPr>
        <p:grpSpPr>
          <a:xfrm>
            <a:off x="7191543" y="1"/>
            <a:ext cx="5000459" cy="1425992"/>
            <a:chOff x="7191542" y="1"/>
            <a:chExt cx="5000459" cy="1425992"/>
          </a:xfrm>
        </p:grpSpPr>
        <p:pic>
          <p:nvPicPr>
            <p:cNvPr id="19364" name="Google Shape;19364;p21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365" name="Google Shape;19365;p2131"/>
            <p:cNvGrpSpPr/>
            <p:nvPr/>
          </p:nvGrpSpPr>
          <p:grpSpPr>
            <a:xfrm>
              <a:off x="7191542" y="1"/>
              <a:ext cx="5000459" cy="1425992"/>
              <a:chOff x="7186272" y="0"/>
              <a:chExt cx="5005729" cy="1427495"/>
            </a:xfrm>
          </p:grpSpPr>
          <p:sp>
            <p:nvSpPr>
              <p:cNvPr id="19366" name="Google Shape;19366;p21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9367" name="Google Shape;19367;p21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sp>
        <p:nvSpPr>
          <p:cNvPr id="19368" name="Google Shape;19368;p2131"/>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9369" name="Google Shape;19369;p2131"/>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lvl="1"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lvl="2"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lvl="3"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lvl="4"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lvl="5"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lvl="6"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lvl="7"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lvl="8"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9370" name="Google Shape;19370;p21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71" name="Google Shape;19371;p213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matchingName="1_Title and Content">
  <p:cSld name="1_Title and Content 5 2">
    <p:spTree>
      <p:nvGrpSpPr>
        <p:cNvPr id="1" name="Shape 10993"/>
        <p:cNvGrpSpPr/>
        <p:nvPr/>
      </p:nvGrpSpPr>
      <p:grpSpPr>
        <a:xfrm>
          <a:off x="0" y="0"/>
          <a:ext cx="0" cy="0"/>
          <a:chOff x="0" y="0"/>
          <a:chExt cx="0" cy="0"/>
        </a:xfrm>
      </p:grpSpPr>
      <p:sp>
        <p:nvSpPr>
          <p:cNvPr id="10994" name="Google Shape;10994;p150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0995" name="Google Shape;10995;p150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0996" name="Google Shape;10996;p150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997" name="Google Shape;10997;p150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98" name="Google Shape;10998;p150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050.xml><?xml version="1.0" encoding="utf-8"?>
<p:sldLayout xmlns:a="http://schemas.openxmlformats.org/drawingml/2006/main" xmlns:r="http://schemas.openxmlformats.org/officeDocument/2006/relationships" xmlns:p="http://schemas.openxmlformats.org/presentationml/2006/main" matchingName="Comparison">
  <p:cSld name="1_Comparison 7">
    <p:spTree>
      <p:nvGrpSpPr>
        <p:cNvPr id="1" name="Shape 19372"/>
        <p:cNvGrpSpPr/>
        <p:nvPr/>
      </p:nvGrpSpPr>
      <p:grpSpPr>
        <a:xfrm>
          <a:off x="0" y="0"/>
          <a:ext cx="0" cy="0"/>
          <a:chOff x="0" y="0"/>
          <a:chExt cx="0" cy="0"/>
        </a:xfrm>
      </p:grpSpPr>
      <p:grpSp>
        <p:nvGrpSpPr>
          <p:cNvPr id="19373" name="Google Shape;19373;p2132"/>
          <p:cNvGrpSpPr/>
          <p:nvPr/>
        </p:nvGrpSpPr>
        <p:grpSpPr>
          <a:xfrm>
            <a:off x="7191543" y="1"/>
            <a:ext cx="5000459" cy="1425992"/>
            <a:chOff x="7191542" y="1"/>
            <a:chExt cx="5000459" cy="1425992"/>
          </a:xfrm>
        </p:grpSpPr>
        <p:pic>
          <p:nvPicPr>
            <p:cNvPr id="19374" name="Google Shape;19374;p21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375" name="Google Shape;19375;p2132"/>
            <p:cNvGrpSpPr/>
            <p:nvPr/>
          </p:nvGrpSpPr>
          <p:grpSpPr>
            <a:xfrm>
              <a:off x="7191542" y="1"/>
              <a:ext cx="5000459" cy="1425992"/>
              <a:chOff x="7186272" y="0"/>
              <a:chExt cx="5005729" cy="1427495"/>
            </a:xfrm>
          </p:grpSpPr>
          <p:sp>
            <p:nvSpPr>
              <p:cNvPr id="19376" name="Google Shape;19376;p21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9377" name="Google Shape;19377;p21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sp>
        <p:nvSpPr>
          <p:cNvPr id="19378" name="Google Shape;19378;p2132"/>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379" name="Google Shape;19379;p2132"/>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2000"/>
              <a:buNone/>
              <a:defRPr sz="2000" b="1"/>
            </a:lvl2pPr>
            <a:lvl3pPr marL="914446" lvl="2" indent="-152408" algn="l">
              <a:lnSpc>
                <a:spcPct val="100000"/>
              </a:lnSpc>
              <a:spcBef>
                <a:spcPts val="1000"/>
              </a:spcBef>
              <a:spcAft>
                <a:spcPts val="0"/>
              </a:spcAft>
              <a:buSzPts val="1800"/>
              <a:buNone/>
              <a:defRPr sz="1800" b="1"/>
            </a:lvl3pPr>
            <a:lvl4pPr marL="1219261" lvl="3" indent="-152408" algn="l">
              <a:lnSpc>
                <a:spcPct val="100000"/>
              </a:lnSpc>
              <a:spcBef>
                <a:spcPts val="1000"/>
              </a:spcBef>
              <a:spcAft>
                <a:spcPts val="0"/>
              </a:spcAft>
              <a:buSzPts val="1600"/>
              <a:buNone/>
              <a:defRPr sz="1600" b="1"/>
            </a:lvl4pPr>
            <a:lvl5pPr marL="1524076" lvl="4" indent="-152408" algn="l">
              <a:lnSpc>
                <a:spcPct val="100000"/>
              </a:lnSpc>
              <a:spcBef>
                <a:spcPts val="1000"/>
              </a:spcBef>
              <a:spcAft>
                <a:spcPts val="0"/>
              </a:spcAft>
              <a:buSzPts val="1600"/>
              <a:buNone/>
              <a:defRPr sz="1600" b="1"/>
            </a:lvl5pPr>
            <a:lvl6pPr marL="1828891" lvl="5" indent="-152408" algn="l">
              <a:lnSpc>
                <a:spcPct val="90000"/>
              </a:lnSpc>
              <a:spcBef>
                <a:spcPts val="10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19380" name="Google Shape;19380;p2132"/>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100000"/>
              </a:lnSpc>
              <a:spcBef>
                <a:spcPts val="1000"/>
              </a:spcBef>
              <a:spcAft>
                <a:spcPts val="0"/>
              </a:spcAft>
              <a:buSzPts val="1800"/>
              <a:buChar char="•"/>
              <a:defRPr sz="1800"/>
            </a:lvl2pPr>
            <a:lvl3pPr marL="914446" lvl="2" indent="-220144" algn="l">
              <a:lnSpc>
                <a:spcPct val="100000"/>
              </a:lnSpc>
              <a:spcBef>
                <a:spcPts val="1000"/>
              </a:spcBef>
              <a:spcAft>
                <a:spcPts val="0"/>
              </a:spcAft>
              <a:buSzPts val="1600"/>
              <a:buChar char="•"/>
              <a:defRPr sz="1600"/>
            </a:lvl3pPr>
            <a:lvl4pPr marL="1219261" lvl="3" indent="-211677" algn="l">
              <a:lnSpc>
                <a:spcPct val="100000"/>
              </a:lnSpc>
              <a:spcBef>
                <a:spcPts val="1000"/>
              </a:spcBef>
              <a:spcAft>
                <a:spcPts val="0"/>
              </a:spcAft>
              <a:buSzPts val="1400"/>
              <a:buChar char="•"/>
              <a:defRPr sz="1400"/>
            </a:lvl4pPr>
            <a:lvl5pPr marL="1524076" lvl="4" indent="-211677" algn="l">
              <a:lnSpc>
                <a:spcPct val="100000"/>
              </a:lnSpc>
              <a:spcBef>
                <a:spcPts val="1000"/>
              </a:spcBef>
              <a:spcAft>
                <a:spcPts val="0"/>
              </a:spcAft>
              <a:buSzPts val="14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9381" name="Google Shape;19381;p213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2000"/>
              <a:buNone/>
              <a:defRPr sz="2000" b="1"/>
            </a:lvl2pPr>
            <a:lvl3pPr marL="914446" lvl="2" indent="-152408" algn="l">
              <a:lnSpc>
                <a:spcPct val="100000"/>
              </a:lnSpc>
              <a:spcBef>
                <a:spcPts val="1000"/>
              </a:spcBef>
              <a:spcAft>
                <a:spcPts val="0"/>
              </a:spcAft>
              <a:buSzPts val="1800"/>
              <a:buNone/>
              <a:defRPr sz="1800" b="1"/>
            </a:lvl3pPr>
            <a:lvl4pPr marL="1219261" lvl="3" indent="-152408" algn="l">
              <a:lnSpc>
                <a:spcPct val="100000"/>
              </a:lnSpc>
              <a:spcBef>
                <a:spcPts val="1000"/>
              </a:spcBef>
              <a:spcAft>
                <a:spcPts val="0"/>
              </a:spcAft>
              <a:buSzPts val="1600"/>
              <a:buNone/>
              <a:defRPr sz="1600" b="1"/>
            </a:lvl4pPr>
            <a:lvl5pPr marL="1524076" lvl="4" indent="-152408" algn="l">
              <a:lnSpc>
                <a:spcPct val="100000"/>
              </a:lnSpc>
              <a:spcBef>
                <a:spcPts val="1000"/>
              </a:spcBef>
              <a:spcAft>
                <a:spcPts val="0"/>
              </a:spcAft>
              <a:buSzPts val="1600"/>
              <a:buNone/>
              <a:defRPr sz="1600" b="1"/>
            </a:lvl5pPr>
            <a:lvl6pPr marL="1828891" lvl="5" indent="-152408" algn="l">
              <a:lnSpc>
                <a:spcPct val="90000"/>
              </a:lnSpc>
              <a:spcBef>
                <a:spcPts val="10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19382" name="Google Shape;19382;p213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100000"/>
              </a:lnSpc>
              <a:spcBef>
                <a:spcPts val="1000"/>
              </a:spcBef>
              <a:spcAft>
                <a:spcPts val="0"/>
              </a:spcAft>
              <a:buSzPts val="1800"/>
              <a:buChar char="•"/>
              <a:defRPr sz="1800"/>
            </a:lvl2pPr>
            <a:lvl3pPr marL="914446" lvl="2" indent="-220144" algn="l">
              <a:lnSpc>
                <a:spcPct val="100000"/>
              </a:lnSpc>
              <a:spcBef>
                <a:spcPts val="1000"/>
              </a:spcBef>
              <a:spcAft>
                <a:spcPts val="0"/>
              </a:spcAft>
              <a:buSzPts val="1600"/>
              <a:buChar char="•"/>
              <a:defRPr sz="1600"/>
            </a:lvl3pPr>
            <a:lvl4pPr marL="1219261" lvl="3" indent="-211677" algn="l">
              <a:lnSpc>
                <a:spcPct val="100000"/>
              </a:lnSpc>
              <a:spcBef>
                <a:spcPts val="1000"/>
              </a:spcBef>
              <a:spcAft>
                <a:spcPts val="0"/>
              </a:spcAft>
              <a:buSzPts val="1400"/>
              <a:buChar char="•"/>
              <a:defRPr sz="1400"/>
            </a:lvl4pPr>
            <a:lvl5pPr marL="1524076" lvl="4" indent="-211677" algn="l">
              <a:lnSpc>
                <a:spcPct val="100000"/>
              </a:lnSpc>
              <a:spcBef>
                <a:spcPts val="1000"/>
              </a:spcBef>
              <a:spcAft>
                <a:spcPts val="0"/>
              </a:spcAft>
              <a:buSzPts val="14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9383" name="Google Shape;19383;p213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lvl="1"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lvl="2"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lvl="3"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lvl="4"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lvl="5"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lvl="6"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lvl="7"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lvl="8"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9384" name="Google Shape;19384;p21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85" name="Google Shape;19385;p213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2051.xml><?xml version="1.0" encoding="utf-8"?>
<p:sldLayout xmlns:a="http://schemas.openxmlformats.org/drawingml/2006/main" xmlns:r="http://schemas.openxmlformats.org/officeDocument/2006/relationships" xmlns:p="http://schemas.openxmlformats.org/presentationml/2006/main" matchingName="Title Only">
  <p:cSld name="1_Title Only 6">
    <p:spTree>
      <p:nvGrpSpPr>
        <p:cNvPr id="1" name="Shape 19386"/>
        <p:cNvGrpSpPr/>
        <p:nvPr/>
      </p:nvGrpSpPr>
      <p:grpSpPr>
        <a:xfrm>
          <a:off x="0" y="0"/>
          <a:ext cx="0" cy="0"/>
          <a:chOff x="0" y="0"/>
          <a:chExt cx="0" cy="0"/>
        </a:xfrm>
      </p:grpSpPr>
      <p:grpSp>
        <p:nvGrpSpPr>
          <p:cNvPr id="19387" name="Google Shape;19387;p2133"/>
          <p:cNvGrpSpPr/>
          <p:nvPr/>
        </p:nvGrpSpPr>
        <p:grpSpPr>
          <a:xfrm>
            <a:off x="7191543" y="1"/>
            <a:ext cx="5000459" cy="1425992"/>
            <a:chOff x="7191542" y="1"/>
            <a:chExt cx="5000459" cy="1425992"/>
          </a:xfrm>
        </p:grpSpPr>
        <p:pic>
          <p:nvPicPr>
            <p:cNvPr id="19388" name="Google Shape;19388;p213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389" name="Google Shape;19389;p2133"/>
            <p:cNvGrpSpPr/>
            <p:nvPr/>
          </p:nvGrpSpPr>
          <p:grpSpPr>
            <a:xfrm>
              <a:off x="7191542" y="1"/>
              <a:ext cx="5000459" cy="1425992"/>
              <a:chOff x="7186272" y="0"/>
              <a:chExt cx="5005729" cy="1427495"/>
            </a:xfrm>
          </p:grpSpPr>
          <p:sp>
            <p:nvSpPr>
              <p:cNvPr id="19390" name="Google Shape;19390;p21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9391" name="Google Shape;19391;p21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sp>
        <p:nvSpPr>
          <p:cNvPr id="19392" name="Google Shape;19392;p2133"/>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393" name="Google Shape;19393;p213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lvl="1"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lvl="2"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lvl="3"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lvl="4"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lvl="5"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lvl="6"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lvl="7"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lvl="8"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9394" name="Google Shape;19394;p21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95" name="Google Shape;19395;p213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2052.xml><?xml version="1.0" encoding="utf-8"?>
<p:sldLayout xmlns:a="http://schemas.openxmlformats.org/drawingml/2006/main" xmlns:r="http://schemas.openxmlformats.org/officeDocument/2006/relationships" xmlns:p="http://schemas.openxmlformats.org/presentationml/2006/main" matchingName="End">
  <p:cSld name="1_End 6">
    <p:spTree>
      <p:nvGrpSpPr>
        <p:cNvPr id="1" name="Shape 19396"/>
        <p:cNvGrpSpPr/>
        <p:nvPr/>
      </p:nvGrpSpPr>
      <p:grpSpPr>
        <a:xfrm>
          <a:off x="0" y="0"/>
          <a:ext cx="0" cy="0"/>
          <a:chOff x="0" y="0"/>
          <a:chExt cx="0" cy="0"/>
        </a:xfrm>
      </p:grpSpPr>
      <p:grpSp>
        <p:nvGrpSpPr>
          <p:cNvPr id="19397" name="Google Shape;19397;p2134"/>
          <p:cNvGrpSpPr/>
          <p:nvPr/>
        </p:nvGrpSpPr>
        <p:grpSpPr>
          <a:xfrm>
            <a:off x="0" y="0"/>
            <a:ext cx="12192000" cy="2148830"/>
            <a:chOff x="0" y="0"/>
            <a:chExt cx="12192000" cy="2148830"/>
          </a:xfrm>
        </p:grpSpPr>
        <p:sp>
          <p:nvSpPr>
            <p:cNvPr id="19398" name="Google Shape;19398;p213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9399" name="Google Shape;19399;p213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sp>
        <p:nvSpPr>
          <p:cNvPr id="19400" name="Google Shape;19400;p2134"/>
          <p:cNvSpPr/>
          <p:nvPr/>
        </p:nvSpPr>
        <p:spPr>
          <a:xfrm>
            <a:off x="902368" y="1517698"/>
            <a:ext cx="11289632" cy="3822607"/>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9401" name="Google Shape;19401;p2134"/>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9402" name="Google Shape;19402;p213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403" name="Google Shape;19403;p2134"/>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9404" name="Google Shape;19404;p213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053.xml><?xml version="1.0" encoding="utf-8"?>
<p:sldLayout xmlns:a="http://schemas.openxmlformats.org/drawingml/2006/main" xmlns:r="http://schemas.openxmlformats.org/officeDocument/2006/relationships" xmlns:p="http://schemas.openxmlformats.org/presentationml/2006/main" matchingName="Blank">
  <p:cSld name="1_Blank 5">
    <p:spTree>
      <p:nvGrpSpPr>
        <p:cNvPr id="1" name="Shape 19405"/>
        <p:cNvGrpSpPr/>
        <p:nvPr/>
      </p:nvGrpSpPr>
      <p:grpSpPr>
        <a:xfrm>
          <a:off x="0" y="0"/>
          <a:ext cx="0" cy="0"/>
          <a:chOff x="0" y="0"/>
          <a:chExt cx="0" cy="0"/>
        </a:xfrm>
      </p:grpSpPr>
      <p:sp>
        <p:nvSpPr>
          <p:cNvPr id="19406" name="Google Shape;19406;p213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lvl="1"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lvl="2"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lvl="3"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lvl="4"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lvl="5"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lvl="6"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lvl="7"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lvl="8"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9407" name="Google Shape;19407;p21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408" name="Google Shape;19408;p213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grpSp>
        <p:nvGrpSpPr>
          <p:cNvPr id="19409" name="Google Shape;19409;p2135"/>
          <p:cNvGrpSpPr/>
          <p:nvPr/>
        </p:nvGrpSpPr>
        <p:grpSpPr>
          <a:xfrm>
            <a:off x="7191543" y="1"/>
            <a:ext cx="5000459" cy="1425992"/>
            <a:chOff x="7191542" y="1"/>
            <a:chExt cx="5000459" cy="1425992"/>
          </a:xfrm>
        </p:grpSpPr>
        <p:pic>
          <p:nvPicPr>
            <p:cNvPr id="19410" name="Google Shape;19410;p21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411" name="Google Shape;19411;p2135"/>
            <p:cNvGrpSpPr/>
            <p:nvPr/>
          </p:nvGrpSpPr>
          <p:grpSpPr>
            <a:xfrm>
              <a:off x="7191542" y="1"/>
              <a:ext cx="5000459" cy="1425992"/>
              <a:chOff x="7186272" y="0"/>
              <a:chExt cx="5005729" cy="1427495"/>
            </a:xfrm>
          </p:grpSpPr>
          <p:sp>
            <p:nvSpPr>
              <p:cNvPr id="19412" name="Google Shape;19412;p21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9413" name="Google Shape;19413;p21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2054.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19414"/>
        <p:cNvGrpSpPr/>
        <p:nvPr/>
      </p:nvGrpSpPr>
      <p:grpSpPr>
        <a:xfrm>
          <a:off x="0" y="0"/>
          <a:ext cx="0" cy="0"/>
          <a:chOff x="0" y="0"/>
          <a:chExt cx="0" cy="0"/>
        </a:xfrm>
      </p:grpSpPr>
      <p:sp>
        <p:nvSpPr>
          <p:cNvPr id="19415" name="Google Shape;19415;p2136"/>
          <p:cNvSpPr/>
          <p:nvPr/>
        </p:nvSpPr>
        <p:spPr>
          <a:xfrm>
            <a:off x="-21166" y="6629400"/>
            <a:ext cx="12213167" cy="228600"/>
          </a:xfrm>
          <a:prstGeom prst="rect">
            <a:avLst/>
          </a:prstGeom>
          <a:solidFill>
            <a:srgbClr val="767676"/>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3600"/>
              <a:buFont typeface="Arial"/>
              <a:buNone/>
            </a:pPr>
            <a:endParaRPr sz="2400">
              <a:solidFill>
                <a:schemeClr val="lt1"/>
              </a:solidFill>
              <a:latin typeface="Calibri"/>
              <a:ea typeface="Calibri"/>
              <a:cs typeface="Calibri"/>
              <a:sym typeface="Calibri"/>
            </a:endParaRPr>
          </a:p>
        </p:txBody>
      </p:sp>
      <p:pic>
        <p:nvPicPr>
          <p:cNvPr id="19416" name="Google Shape;19416;p2136"/>
          <p:cNvPicPr preferRelativeResize="0"/>
          <p:nvPr/>
        </p:nvPicPr>
        <p:blipFill rotWithShape="1">
          <a:blip r:embed="rId2">
            <a:alphaModFix/>
          </a:blip>
          <a:srcRect/>
          <a:stretch/>
        </p:blipFill>
        <p:spPr>
          <a:xfrm>
            <a:off x="7945967" y="408519"/>
            <a:ext cx="3706284" cy="1813983"/>
          </a:xfrm>
          <a:prstGeom prst="rect">
            <a:avLst/>
          </a:prstGeom>
          <a:noFill/>
          <a:ln>
            <a:noFill/>
          </a:ln>
        </p:spPr>
      </p:pic>
      <p:grpSp>
        <p:nvGrpSpPr>
          <p:cNvPr id="19417" name="Google Shape;19417;p2136"/>
          <p:cNvGrpSpPr/>
          <p:nvPr/>
        </p:nvGrpSpPr>
        <p:grpSpPr>
          <a:xfrm>
            <a:off x="1" y="0"/>
            <a:ext cx="1862667" cy="6629400"/>
            <a:chOff x="-15876" y="0"/>
            <a:chExt cx="1927803" cy="6858000"/>
          </a:xfrm>
        </p:grpSpPr>
        <p:sp>
          <p:nvSpPr>
            <p:cNvPr id="19418" name="Google Shape;19418;p2136"/>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Clr>
                  <a:schemeClr val="dk1"/>
                </a:buClr>
                <a:buSzPts val="3600"/>
                <a:buFont typeface="Arial"/>
                <a:buNone/>
              </a:pPr>
              <a:endParaRPr sz="2400">
                <a:solidFill>
                  <a:schemeClr val="lt1"/>
                </a:solidFill>
                <a:latin typeface="Calibri"/>
                <a:ea typeface="Calibri"/>
                <a:cs typeface="Calibri"/>
                <a:sym typeface="Calibri"/>
              </a:endParaRPr>
            </a:p>
          </p:txBody>
        </p:sp>
        <p:pic>
          <p:nvPicPr>
            <p:cNvPr id="19419" name="Google Shape;19419;p2136"/>
            <p:cNvPicPr preferRelativeResize="0"/>
            <p:nvPr/>
          </p:nvPicPr>
          <p:blipFill rotWithShape="1">
            <a:blip r:embed="rId3">
              <a:alphaModFix/>
            </a:blip>
            <a:srcRect/>
            <a:stretch/>
          </p:blipFill>
          <p:spPr>
            <a:xfrm>
              <a:off x="-15876" y="0"/>
              <a:ext cx="1927803" cy="6858000"/>
            </a:xfrm>
            <a:prstGeom prst="rect">
              <a:avLst/>
            </a:prstGeom>
            <a:solidFill>
              <a:schemeClr val="dk2"/>
            </a:solidFill>
            <a:ln>
              <a:noFill/>
            </a:ln>
          </p:spPr>
        </p:pic>
      </p:grpSp>
      <p:sp>
        <p:nvSpPr>
          <p:cNvPr id="19420" name="Google Shape;19420;p2136"/>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9421" name="Google Shape;19421;p2136"/>
          <p:cNvSpPr txBox="1">
            <a:spLocks noGrp="1"/>
          </p:cNvSpPr>
          <p:nvPr>
            <p:ph type="ctrTitle"/>
          </p:nvPr>
        </p:nvSpPr>
        <p:spPr>
          <a:xfrm>
            <a:off x="1621873" y="1806430"/>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4">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422" name="Google Shape;19422;p2136"/>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304815" lvl="0" indent="-231448" algn="l">
              <a:lnSpc>
                <a:spcPct val="100000"/>
              </a:lnSpc>
              <a:spcBef>
                <a:spcPts val="1000"/>
              </a:spcBef>
              <a:spcAft>
                <a:spcPts val="0"/>
              </a:spcAft>
              <a:buSzPts val="1867"/>
              <a:buChar char="•"/>
              <a:defRPr sz="1867"/>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9423" name="Google Shape;19423;p2136"/>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304815" lvl="0" indent="-231448" algn="l">
              <a:lnSpc>
                <a:spcPct val="100000"/>
              </a:lnSpc>
              <a:spcBef>
                <a:spcPts val="1000"/>
              </a:spcBef>
              <a:spcAft>
                <a:spcPts val="0"/>
              </a:spcAft>
              <a:buSzPts val="1867"/>
              <a:buChar char="•"/>
              <a:defRPr sz="1867"/>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055.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19424"/>
        <p:cNvGrpSpPr/>
        <p:nvPr/>
      </p:nvGrpSpPr>
      <p:grpSpPr>
        <a:xfrm>
          <a:off x="0" y="0"/>
          <a:ext cx="0" cy="0"/>
          <a:chOff x="0" y="0"/>
          <a:chExt cx="0" cy="0"/>
        </a:xfrm>
      </p:grpSpPr>
      <p:sp>
        <p:nvSpPr>
          <p:cNvPr id="19425" name="Google Shape;19425;p2137"/>
          <p:cNvSpPr/>
          <p:nvPr/>
        </p:nvSpPr>
        <p:spPr>
          <a:xfrm>
            <a:off x="-10584" y="6620934"/>
            <a:ext cx="12213168" cy="237067"/>
          </a:xfrm>
          <a:prstGeom prst="rect">
            <a:avLst/>
          </a:prstGeom>
          <a:solidFill>
            <a:srgbClr val="767676"/>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3600"/>
              <a:buFont typeface="Arial"/>
              <a:buNone/>
            </a:pPr>
            <a:endParaRPr sz="2400">
              <a:solidFill>
                <a:schemeClr val="lt1"/>
              </a:solidFill>
              <a:latin typeface="Calibri"/>
              <a:ea typeface="Calibri"/>
              <a:cs typeface="Calibri"/>
              <a:sym typeface="Calibri"/>
            </a:endParaRPr>
          </a:p>
        </p:txBody>
      </p:sp>
      <p:sp>
        <p:nvSpPr>
          <p:cNvPr id="19426" name="Google Shape;19426;p2137"/>
          <p:cNvSpPr txBox="1">
            <a:spLocks noGrp="1"/>
          </p:cNvSpPr>
          <p:nvPr>
            <p:ph type="title"/>
          </p:nvPr>
        </p:nvSpPr>
        <p:spPr>
          <a:xfrm>
            <a:off x="218115" y="224841"/>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427" name="Google Shape;19427;p2137"/>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304815" lvl="0" indent="-231448" algn="l">
              <a:lnSpc>
                <a:spcPct val="100000"/>
              </a:lnSpc>
              <a:spcBef>
                <a:spcPts val="1000"/>
              </a:spcBef>
              <a:spcAft>
                <a:spcPts val="0"/>
              </a:spcAft>
              <a:buSzPts val="1867"/>
              <a:buFont typeface="Noto Sans Symbols"/>
              <a:buChar char="▪"/>
              <a:defRPr sz="1867" b="1"/>
            </a:lvl1pPr>
            <a:lvl2pPr marL="609630" lvl="1" indent="-231448" algn="l">
              <a:lnSpc>
                <a:spcPct val="100000"/>
              </a:lnSpc>
              <a:spcBef>
                <a:spcPts val="1000"/>
              </a:spcBef>
              <a:spcAft>
                <a:spcPts val="0"/>
              </a:spcAft>
              <a:buSzPts val="1867"/>
              <a:buFont typeface="Arial"/>
              <a:buChar char="̶"/>
              <a:defRPr sz="1867"/>
            </a:lvl2pPr>
            <a:lvl3pPr marL="914446" lvl="2" indent="-231448" algn="l">
              <a:lnSpc>
                <a:spcPct val="100000"/>
              </a:lnSpc>
              <a:spcBef>
                <a:spcPts val="1000"/>
              </a:spcBef>
              <a:spcAft>
                <a:spcPts val="0"/>
              </a:spcAft>
              <a:buSzPts val="1867"/>
              <a:buFont typeface="Arial"/>
              <a:buChar char="•"/>
              <a:defRPr sz="1867"/>
            </a:lvl3pPr>
            <a:lvl4pPr marL="1219261" lvl="3" indent="-231448" algn="l">
              <a:lnSpc>
                <a:spcPct val="100000"/>
              </a:lnSpc>
              <a:spcBef>
                <a:spcPts val="1000"/>
              </a:spcBef>
              <a:spcAft>
                <a:spcPts val="0"/>
              </a:spcAft>
              <a:buSzPts val="1867"/>
              <a:buFont typeface="Noto Sans Symbols"/>
              <a:buChar char="✔"/>
              <a:defRPr sz="1867"/>
            </a:lvl4pPr>
            <a:lvl5pPr marL="1524076" lvl="4" indent="-231448" algn="l">
              <a:lnSpc>
                <a:spcPct val="100000"/>
              </a:lnSpc>
              <a:spcBef>
                <a:spcPts val="1000"/>
              </a:spcBef>
              <a:spcAft>
                <a:spcPts val="0"/>
              </a:spcAft>
              <a:buSzPts val="1867"/>
              <a:buChar char="•"/>
              <a:defRPr sz="1867"/>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9428" name="Google Shape;19428;p2137"/>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304815" lvl="0" indent="-208841" algn="l">
              <a:lnSpc>
                <a:spcPct val="100000"/>
              </a:lnSpc>
              <a:spcBef>
                <a:spcPts val="1000"/>
              </a:spcBef>
              <a:spcAft>
                <a:spcPts val="0"/>
              </a:spcAft>
              <a:buSzPts val="1333"/>
              <a:buChar char="•"/>
              <a:defRPr sz="1333" b="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9429" name="Google Shape;19429;p213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Clr>
                <a:schemeClr val="lt1"/>
              </a:buClr>
              <a:buSzPts val="2201"/>
              <a:buFont typeface="Calibri"/>
              <a:buNone/>
              <a:defRPr sz="1467" b="0" i="0" u="none" strike="noStrike" cap="none">
                <a:solidFill>
                  <a:schemeClr val="lt1"/>
                </a:solidFill>
                <a:latin typeface="Calibri"/>
                <a:ea typeface="Calibri"/>
                <a:cs typeface="Calibri"/>
                <a:sym typeface="Calibri"/>
              </a:defRPr>
            </a:lvl1pPr>
            <a:lvl2pPr marL="0" marR="0" lvl="1" indent="0" algn="r">
              <a:spcBef>
                <a:spcPts val="0"/>
              </a:spcBef>
              <a:buClr>
                <a:schemeClr val="lt1"/>
              </a:buClr>
              <a:buSzPts val="2201"/>
              <a:buFont typeface="Calibri"/>
              <a:buNone/>
              <a:defRPr sz="1467" b="0" i="0" u="none" strike="noStrike" cap="none">
                <a:solidFill>
                  <a:schemeClr val="lt1"/>
                </a:solidFill>
                <a:latin typeface="Calibri"/>
                <a:ea typeface="Calibri"/>
                <a:cs typeface="Calibri"/>
                <a:sym typeface="Calibri"/>
              </a:defRPr>
            </a:lvl2pPr>
            <a:lvl3pPr marL="0" marR="0" lvl="2" indent="0" algn="r">
              <a:spcBef>
                <a:spcPts val="0"/>
              </a:spcBef>
              <a:buClr>
                <a:schemeClr val="lt1"/>
              </a:buClr>
              <a:buSzPts val="2201"/>
              <a:buFont typeface="Calibri"/>
              <a:buNone/>
              <a:defRPr sz="1467" b="0" i="0" u="none" strike="noStrike" cap="none">
                <a:solidFill>
                  <a:schemeClr val="lt1"/>
                </a:solidFill>
                <a:latin typeface="Calibri"/>
                <a:ea typeface="Calibri"/>
                <a:cs typeface="Calibri"/>
                <a:sym typeface="Calibri"/>
              </a:defRPr>
            </a:lvl3pPr>
            <a:lvl4pPr marL="0" marR="0" lvl="3" indent="0" algn="r">
              <a:spcBef>
                <a:spcPts val="0"/>
              </a:spcBef>
              <a:buClr>
                <a:schemeClr val="lt1"/>
              </a:buClr>
              <a:buSzPts val="2201"/>
              <a:buFont typeface="Calibri"/>
              <a:buNone/>
              <a:defRPr sz="1467" b="0" i="0" u="none" strike="noStrike" cap="none">
                <a:solidFill>
                  <a:schemeClr val="lt1"/>
                </a:solidFill>
                <a:latin typeface="Calibri"/>
                <a:ea typeface="Calibri"/>
                <a:cs typeface="Calibri"/>
                <a:sym typeface="Calibri"/>
              </a:defRPr>
            </a:lvl4pPr>
            <a:lvl5pPr marL="0" marR="0" lvl="4" indent="0" algn="r">
              <a:spcBef>
                <a:spcPts val="0"/>
              </a:spcBef>
              <a:buClr>
                <a:schemeClr val="lt1"/>
              </a:buClr>
              <a:buSzPts val="2201"/>
              <a:buFont typeface="Calibri"/>
              <a:buNone/>
              <a:defRPr sz="1467" b="0" i="0" u="none" strike="noStrike" cap="none">
                <a:solidFill>
                  <a:schemeClr val="lt1"/>
                </a:solidFill>
                <a:latin typeface="Calibri"/>
                <a:ea typeface="Calibri"/>
                <a:cs typeface="Calibri"/>
                <a:sym typeface="Calibri"/>
              </a:defRPr>
            </a:lvl5pPr>
            <a:lvl6pPr marL="0" marR="0" lvl="5" indent="0" algn="r">
              <a:spcBef>
                <a:spcPts val="0"/>
              </a:spcBef>
              <a:buClr>
                <a:schemeClr val="lt1"/>
              </a:buClr>
              <a:buSzPts val="2201"/>
              <a:buFont typeface="Calibri"/>
              <a:buNone/>
              <a:defRPr sz="1467" b="0" i="0" u="none" strike="noStrike" cap="none">
                <a:solidFill>
                  <a:schemeClr val="lt1"/>
                </a:solidFill>
                <a:latin typeface="Calibri"/>
                <a:ea typeface="Calibri"/>
                <a:cs typeface="Calibri"/>
                <a:sym typeface="Calibri"/>
              </a:defRPr>
            </a:lvl6pPr>
            <a:lvl7pPr marL="0" marR="0" lvl="6" indent="0" algn="r">
              <a:spcBef>
                <a:spcPts val="0"/>
              </a:spcBef>
              <a:buClr>
                <a:schemeClr val="lt1"/>
              </a:buClr>
              <a:buSzPts val="2201"/>
              <a:buFont typeface="Calibri"/>
              <a:buNone/>
              <a:defRPr sz="1467" b="0" i="0" u="none" strike="noStrike" cap="none">
                <a:solidFill>
                  <a:schemeClr val="lt1"/>
                </a:solidFill>
                <a:latin typeface="Calibri"/>
                <a:ea typeface="Calibri"/>
                <a:cs typeface="Calibri"/>
                <a:sym typeface="Calibri"/>
              </a:defRPr>
            </a:lvl7pPr>
            <a:lvl8pPr marL="0" marR="0" lvl="7" indent="0" algn="r">
              <a:spcBef>
                <a:spcPts val="0"/>
              </a:spcBef>
              <a:buClr>
                <a:schemeClr val="lt1"/>
              </a:buClr>
              <a:buSzPts val="2201"/>
              <a:buFont typeface="Calibri"/>
              <a:buNone/>
              <a:defRPr sz="1467" b="0" i="0" u="none" strike="noStrike" cap="none">
                <a:solidFill>
                  <a:schemeClr val="lt1"/>
                </a:solidFill>
                <a:latin typeface="Calibri"/>
                <a:ea typeface="Calibri"/>
                <a:cs typeface="Calibri"/>
                <a:sym typeface="Calibri"/>
              </a:defRPr>
            </a:lvl8pPr>
            <a:lvl9pPr marL="0" marR="0" lvl="8" indent="0" algn="r">
              <a:spcBef>
                <a:spcPts val="0"/>
              </a:spcBef>
              <a:buClr>
                <a:schemeClr val="lt1"/>
              </a:buClr>
              <a:buSzPts val="2201"/>
              <a:buFont typeface="Calibri"/>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19430" name="Google Shape;19430;p2137"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2" y="5969001"/>
            <a:ext cx="3704343" cy="651933"/>
          </a:xfrm>
          <a:prstGeom prst="rect">
            <a:avLst/>
          </a:prstGeom>
          <a:noFill/>
          <a:ln>
            <a:noFill/>
          </a:ln>
        </p:spPr>
      </p:pic>
    </p:spTree>
  </p:cSld>
  <p:clrMapOvr>
    <a:masterClrMapping/>
  </p:clrMapOvr>
</p:sldLayout>
</file>

<file path=ppt/slideLayouts/slideLayout2056.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4">
    <p:spTree>
      <p:nvGrpSpPr>
        <p:cNvPr id="1" name="Shape 19431"/>
        <p:cNvGrpSpPr/>
        <p:nvPr/>
      </p:nvGrpSpPr>
      <p:grpSpPr>
        <a:xfrm>
          <a:off x="0" y="0"/>
          <a:ext cx="0" cy="0"/>
          <a:chOff x="0" y="0"/>
          <a:chExt cx="0" cy="0"/>
        </a:xfrm>
      </p:grpSpPr>
      <p:sp>
        <p:nvSpPr>
          <p:cNvPr id="19432" name="Google Shape;19432;p2138"/>
          <p:cNvSpPr txBox="1">
            <a:spLocks noGrp="1"/>
          </p:cNvSpPr>
          <p:nvPr>
            <p:ph type="body" idx="1"/>
          </p:nvPr>
        </p:nvSpPr>
        <p:spPr>
          <a:xfrm>
            <a:off x="2826556" y="5400857"/>
            <a:ext cx="8178613" cy="477112"/>
          </a:xfrm>
          <a:prstGeom prst="rect">
            <a:avLst/>
          </a:prstGeom>
          <a:noFill/>
          <a:ln>
            <a:noFill/>
          </a:ln>
        </p:spPr>
        <p:txBody>
          <a:bodyPr spcFirstLastPara="1" wrap="square" lIns="91425" tIns="45700" rIns="91425" bIns="45700" anchor="t" anchorCtr="0">
            <a:spAutoFit/>
          </a:bodyPr>
          <a:lstStyle>
            <a:lvl1pPr marL="304815" lvl="0" indent="-152408"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9433" name="Google Shape;19433;p2138"/>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4"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434" name="Google Shape;19434;p213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9435" name="Google Shape;19435;p213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9436" name="Google Shape;19436;p213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lvl="1"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lvl="2"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lvl="3"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lvl="4"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lvl="5"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lvl="6"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lvl="7"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lvl="8"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19437" name="Google Shape;19437;p2138"/>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3600"/>
              <a:buFont typeface="Arial"/>
              <a:buNone/>
            </a:pPr>
            <a:endParaRPr sz="2400">
              <a:solidFill>
                <a:schemeClr val="lt1"/>
              </a:solidFill>
              <a:latin typeface="Calibri"/>
              <a:ea typeface="Calibri"/>
              <a:cs typeface="Calibri"/>
              <a:sym typeface="Calibri"/>
            </a:endParaRPr>
          </a:p>
        </p:txBody>
      </p:sp>
      <p:sp>
        <p:nvSpPr>
          <p:cNvPr id="19438" name="Google Shape;19438;p2138"/>
          <p:cNvSpPr/>
          <p:nvPr/>
        </p:nvSpPr>
        <p:spPr>
          <a:xfrm>
            <a:off x="0" y="6115052"/>
            <a:ext cx="12192000" cy="742949"/>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3600"/>
              <a:buFont typeface="Arial"/>
              <a:buNone/>
            </a:pPr>
            <a:endParaRPr sz="2400">
              <a:solidFill>
                <a:schemeClr val="lt1"/>
              </a:solidFill>
              <a:latin typeface="Calibri"/>
              <a:ea typeface="Calibri"/>
              <a:cs typeface="Calibri"/>
              <a:sym typeface="Calibri"/>
            </a:endParaRPr>
          </a:p>
        </p:txBody>
      </p:sp>
      <p:sp>
        <p:nvSpPr>
          <p:cNvPr id="19439" name="Google Shape;19439;p2138"/>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9440" name="Google Shape;19440;p2138"/>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2057.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9441"/>
        <p:cNvGrpSpPr/>
        <p:nvPr/>
      </p:nvGrpSpPr>
      <p:grpSpPr>
        <a:xfrm>
          <a:off x="0" y="0"/>
          <a:ext cx="0" cy="0"/>
          <a:chOff x="0" y="0"/>
          <a:chExt cx="0" cy="0"/>
        </a:xfrm>
      </p:grpSpPr>
      <p:sp>
        <p:nvSpPr>
          <p:cNvPr id="19442" name="Google Shape;19442;p2139"/>
          <p:cNvSpPr txBox="1">
            <a:spLocks noGrp="1"/>
          </p:cNvSpPr>
          <p:nvPr>
            <p:ph type="title"/>
          </p:nvPr>
        </p:nvSpPr>
        <p:spPr>
          <a:xfrm>
            <a:off x="963084" y="4406904"/>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443" name="Google Shape;19443;p2139"/>
          <p:cNvSpPr txBox="1">
            <a:spLocks noGrp="1"/>
          </p:cNvSpPr>
          <p:nvPr>
            <p:ph type="body" idx="1"/>
          </p:nvPr>
        </p:nvSpPr>
        <p:spPr>
          <a:xfrm>
            <a:off x="963084" y="2906714"/>
            <a:ext cx="10363200" cy="1500187"/>
          </a:xfrm>
          <a:prstGeom prst="rect">
            <a:avLst/>
          </a:prstGeom>
          <a:noFill/>
          <a:ln>
            <a:noFill/>
          </a:ln>
        </p:spPr>
        <p:txBody>
          <a:bodyPr spcFirstLastPara="1" wrap="square" lIns="91425" tIns="45700" rIns="91425" bIns="45700" anchor="b" anchorCtr="0">
            <a:noAutofit/>
          </a:bodyPr>
          <a:lstStyle>
            <a:lvl1pPr marL="304815" lvl="0" indent="-152408" algn="l">
              <a:lnSpc>
                <a:spcPct val="100000"/>
              </a:lnSpc>
              <a:spcBef>
                <a:spcPts val="1000"/>
              </a:spcBef>
              <a:spcAft>
                <a:spcPts val="0"/>
              </a:spcAft>
              <a:buSzPts val="2000"/>
              <a:buNone/>
              <a:defRPr sz="2000">
                <a:solidFill>
                  <a:srgbClr val="919497"/>
                </a:solidFill>
              </a:defRPr>
            </a:lvl1pPr>
            <a:lvl2pPr marL="609630" lvl="1" indent="-152408" algn="l">
              <a:lnSpc>
                <a:spcPct val="100000"/>
              </a:lnSpc>
              <a:spcBef>
                <a:spcPts val="1000"/>
              </a:spcBef>
              <a:spcAft>
                <a:spcPts val="0"/>
              </a:spcAft>
              <a:buSzPts val="1800"/>
              <a:buNone/>
              <a:defRPr sz="1800">
                <a:solidFill>
                  <a:srgbClr val="919497"/>
                </a:solidFill>
              </a:defRPr>
            </a:lvl2pPr>
            <a:lvl3pPr marL="914446" lvl="2" indent="-152408" algn="l">
              <a:lnSpc>
                <a:spcPct val="100000"/>
              </a:lnSpc>
              <a:spcBef>
                <a:spcPts val="1000"/>
              </a:spcBef>
              <a:spcAft>
                <a:spcPts val="0"/>
              </a:spcAft>
              <a:buSzPts val="1600"/>
              <a:buNone/>
              <a:defRPr sz="1600">
                <a:solidFill>
                  <a:srgbClr val="919497"/>
                </a:solidFill>
              </a:defRPr>
            </a:lvl3pPr>
            <a:lvl4pPr marL="1219261" lvl="3" indent="-152408" algn="l">
              <a:lnSpc>
                <a:spcPct val="100000"/>
              </a:lnSpc>
              <a:spcBef>
                <a:spcPts val="1000"/>
              </a:spcBef>
              <a:spcAft>
                <a:spcPts val="0"/>
              </a:spcAft>
              <a:buSzPts val="1400"/>
              <a:buNone/>
              <a:defRPr sz="1400">
                <a:solidFill>
                  <a:srgbClr val="919497"/>
                </a:solidFill>
              </a:defRPr>
            </a:lvl4pPr>
            <a:lvl5pPr marL="1524076" lvl="4" indent="-152408" algn="l">
              <a:lnSpc>
                <a:spcPct val="100000"/>
              </a:lnSpc>
              <a:spcBef>
                <a:spcPts val="1000"/>
              </a:spcBef>
              <a:spcAft>
                <a:spcPts val="0"/>
              </a:spcAft>
              <a:buSzPts val="1400"/>
              <a:buNone/>
              <a:defRPr sz="1400">
                <a:solidFill>
                  <a:srgbClr val="919497"/>
                </a:solidFill>
              </a:defRPr>
            </a:lvl5pPr>
            <a:lvl6pPr marL="1828891" lvl="5" indent="-152408" algn="l">
              <a:lnSpc>
                <a:spcPct val="90000"/>
              </a:lnSpc>
              <a:spcBef>
                <a:spcPts val="1000"/>
              </a:spcBef>
              <a:spcAft>
                <a:spcPts val="0"/>
              </a:spcAft>
              <a:buClr>
                <a:srgbClr val="919497"/>
              </a:buClr>
              <a:buSzPts val="1400"/>
              <a:buNone/>
              <a:defRPr sz="1400">
                <a:solidFill>
                  <a:srgbClr val="919497"/>
                </a:solidFill>
              </a:defRPr>
            </a:lvl6pPr>
            <a:lvl7pPr marL="2133707" lvl="6" indent="-152408" algn="l">
              <a:lnSpc>
                <a:spcPct val="90000"/>
              </a:lnSpc>
              <a:spcBef>
                <a:spcPts val="500"/>
              </a:spcBef>
              <a:spcAft>
                <a:spcPts val="0"/>
              </a:spcAft>
              <a:buClr>
                <a:srgbClr val="919497"/>
              </a:buClr>
              <a:buSzPts val="1400"/>
              <a:buNone/>
              <a:defRPr sz="1400">
                <a:solidFill>
                  <a:srgbClr val="919497"/>
                </a:solidFill>
              </a:defRPr>
            </a:lvl7pPr>
            <a:lvl8pPr marL="2438522" lvl="7" indent="-152408" algn="l">
              <a:lnSpc>
                <a:spcPct val="90000"/>
              </a:lnSpc>
              <a:spcBef>
                <a:spcPts val="500"/>
              </a:spcBef>
              <a:spcAft>
                <a:spcPts val="0"/>
              </a:spcAft>
              <a:buClr>
                <a:srgbClr val="919497"/>
              </a:buClr>
              <a:buSzPts val="1400"/>
              <a:buNone/>
              <a:defRPr sz="1400">
                <a:solidFill>
                  <a:srgbClr val="919497"/>
                </a:solidFill>
              </a:defRPr>
            </a:lvl8pPr>
            <a:lvl9pPr marL="2743337" lvl="8" indent="-152408"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19444" name="Google Shape;19444;p213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9445" name="Google Shape;19445;p213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9446" name="Google Shape;19446;p213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2058.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9447"/>
        <p:cNvGrpSpPr/>
        <p:nvPr/>
      </p:nvGrpSpPr>
      <p:grpSpPr>
        <a:xfrm>
          <a:off x="0" y="0"/>
          <a:ext cx="0" cy="0"/>
          <a:chOff x="0" y="0"/>
          <a:chExt cx="0" cy="0"/>
        </a:xfrm>
      </p:grpSpPr>
      <p:sp>
        <p:nvSpPr>
          <p:cNvPr id="19448" name="Google Shape;19448;p2140"/>
          <p:cNvSpPr txBox="1">
            <a:spLocks noGrp="1"/>
          </p:cNvSpPr>
          <p:nvPr>
            <p:ph type="title"/>
          </p:nvPr>
        </p:nvSpPr>
        <p:spPr>
          <a:xfrm>
            <a:off x="609605" y="273052"/>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449" name="Google Shape;19449;p2140"/>
          <p:cNvSpPr txBox="1">
            <a:spLocks noGrp="1"/>
          </p:cNvSpPr>
          <p:nvPr>
            <p:ph type="body" idx="1"/>
          </p:nvPr>
        </p:nvSpPr>
        <p:spPr>
          <a:xfrm>
            <a:off x="4766734" y="273055"/>
            <a:ext cx="6815667" cy="5853113"/>
          </a:xfrm>
          <a:prstGeom prst="rect">
            <a:avLst/>
          </a:prstGeom>
          <a:noFill/>
          <a:ln>
            <a:noFill/>
          </a:ln>
        </p:spPr>
        <p:txBody>
          <a:bodyPr spcFirstLastPara="1" wrap="square" lIns="91425" tIns="45700" rIns="91425" bIns="45700" anchor="t" anchorCtr="0">
            <a:noAutofit/>
          </a:bodyPr>
          <a:lstStyle>
            <a:lvl1pPr marL="304815" lvl="0" indent="-287881" algn="l">
              <a:lnSpc>
                <a:spcPct val="100000"/>
              </a:lnSpc>
              <a:spcBef>
                <a:spcPts val="1000"/>
              </a:spcBef>
              <a:spcAft>
                <a:spcPts val="0"/>
              </a:spcAft>
              <a:buSzPts val="3200"/>
              <a:buChar char="•"/>
              <a:defRPr sz="3200"/>
            </a:lvl1pPr>
            <a:lvl2pPr marL="609630" lvl="1" indent="-270947" algn="l">
              <a:lnSpc>
                <a:spcPct val="100000"/>
              </a:lnSpc>
              <a:spcBef>
                <a:spcPts val="1000"/>
              </a:spcBef>
              <a:spcAft>
                <a:spcPts val="0"/>
              </a:spcAft>
              <a:buSzPts val="2800"/>
              <a:buChar char="•"/>
              <a:defRPr sz="2800"/>
            </a:lvl2pPr>
            <a:lvl3pPr marL="914446" lvl="2" indent="-254013" algn="l">
              <a:lnSpc>
                <a:spcPct val="100000"/>
              </a:lnSpc>
              <a:spcBef>
                <a:spcPts val="1000"/>
              </a:spcBef>
              <a:spcAft>
                <a:spcPts val="0"/>
              </a:spcAft>
              <a:buSzPts val="2400"/>
              <a:buChar char="•"/>
              <a:defRPr sz="2400"/>
            </a:lvl3pPr>
            <a:lvl4pPr marL="1219261" lvl="3" indent="-237079" algn="l">
              <a:lnSpc>
                <a:spcPct val="100000"/>
              </a:lnSpc>
              <a:spcBef>
                <a:spcPts val="1000"/>
              </a:spcBef>
              <a:spcAft>
                <a:spcPts val="0"/>
              </a:spcAft>
              <a:buSzPts val="2000"/>
              <a:buChar char="•"/>
              <a:defRPr sz="2000"/>
            </a:lvl4pPr>
            <a:lvl5pPr marL="1524076" lvl="4" indent="-237079" algn="l">
              <a:lnSpc>
                <a:spcPct val="100000"/>
              </a:lnSpc>
              <a:spcBef>
                <a:spcPts val="1000"/>
              </a:spcBef>
              <a:spcAft>
                <a:spcPts val="0"/>
              </a:spcAft>
              <a:buSzPts val="2000"/>
              <a:buChar char="•"/>
              <a:defRPr sz="2000"/>
            </a:lvl5pPr>
            <a:lvl6pPr marL="1828891" lvl="5" indent="-237079" algn="l">
              <a:lnSpc>
                <a:spcPct val="90000"/>
              </a:lnSpc>
              <a:spcBef>
                <a:spcPts val="1000"/>
              </a:spcBef>
              <a:spcAft>
                <a:spcPts val="0"/>
              </a:spcAft>
              <a:buClr>
                <a:schemeClr val="dk1"/>
              </a:buClr>
              <a:buSzPts val="2000"/>
              <a:buChar char="•"/>
              <a:defRPr sz="2000"/>
            </a:lvl6pPr>
            <a:lvl7pPr marL="2133707" lvl="6" indent="-237079" algn="l">
              <a:lnSpc>
                <a:spcPct val="90000"/>
              </a:lnSpc>
              <a:spcBef>
                <a:spcPts val="500"/>
              </a:spcBef>
              <a:spcAft>
                <a:spcPts val="0"/>
              </a:spcAft>
              <a:buClr>
                <a:schemeClr val="dk1"/>
              </a:buClr>
              <a:buSzPts val="2000"/>
              <a:buChar char="•"/>
              <a:defRPr sz="2000"/>
            </a:lvl7pPr>
            <a:lvl8pPr marL="2438522" lvl="7" indent="-237079" algn="l">
              <a:lnSpc>
                <a:spcPct val="90000"/>
              </a:lnSpc>
              <a:spcBef>
                <a:spcPts val="500"/>
              </a:spcBef>
              <a:spcAft>
                <a:spcPts val="0"/>
              </a:spcAft>
              <a:buClr>
                <a:schemeClr val="dk1"/>
              </a:buClr>
              <a:buSzPts val="2000"/>
              <a:buChar char="•"/>
              <a:defRPr sz="2000"/>
            </a:lvl8pPr>
            <a:lvl9pPr marL="2743337" lvl="8" indent="-237079" algn="l">
              <a:lnSpc>
                <a:spcPct val="90000"/>
              </a:lnSpc>
              <a:spcBef>
                <a:spcPts val="500"/>
              </a:spcBef>
              <a:spcAft>
                <a:spcPts val="0"/>
              </a:spcAft>
              <a:buClr>
                <a:schemeClr val="dk1"/>
              </a:buClr>
              <a:buSzPts val="2000"/>
              <a:buChar char="•"/>
              <a:defRPr sz="2000"/>
            </a:lvl9pPr>
          </a:lstStyle>
          <a:p>
            <a:endParaRPr/>
          </a:p>
        </p:txBody>
      </p:sp>
      <p:sp>
        <p:nvSpPr>
          <p:cNvPr id="19450" name="Google Shape;19450;p2140"/>
          <p:cNvSpPr txBox="1">
            <a:spLocks noGrp="1"/>
          </p:cNvSpPr>
          <p:nvPr>
            <p:ph type="body" idx="2"/>
          </p:nvPr>
        </p:nvSpPr>
        <p:spPr>
          <a:xfrm>
            <a:off x="609605" y="1435104"/>
            <a:ext cx="4011084" cy="46910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1400"/>
              <a:buNone/>
              <a:defRPr sz="1400"/>
            </a:lvl1pPr>
            <a:lvl2pPr marL="609630" lvl="1" indent="-152408" algn="l">
              <a:lnSpc>
                <a:spcPct val="100000"/>
              </a:lnSpc>
              <a:spcBef>
                <a:spcPts val="1000"/>
              </a:spcBef>
              <a:spcAft>
                <a:spcPts val="0"/>
              </a:spcAft>
              <a:buSzPts val="1200"/>
              <a:buNone/>
              <a:defRPr sz="1200"/>
            </a:lvl2pPr>
            <a:lvl3pPr marL="914446" lvl="2" indent="-152408" algn="l">
              <a:lnSpc>
                <a:spcPct val="100000"/>
              </a:lnSpc>
              <a:spcBef>
                <a:spcPts val="1000"/>
              </a:spcBef>
              <a:spcAft>
                <a:spcPts val="0"/>
              </a:spcAft>
              <a:buSzPts val="1000"/>
              <a:buNone/>
              <a:defRPr sz="1000"/>
            </a:lvl3pPr>
            <a:lvl4pPr marL="1219261" lvl="3" indent="-152408" algn="l">
              <a:lnSpc>
                <a:spcPct val="100000"/>
              </a:lnSpc>
              <a:spcBef>
                <a:spcPts val="1000"/>
              </a:spcBef>
              <a:spcAft>
                <a:spcPts val="0"/>
              </a:spcAft>
              <a:buSzPts val="900"/>
              <a:buNone/>
              <a:defRPr sz="900"/>
            </a:lvl4pPr>
            <a:lvl5pPr marL="1524076" lvl="4" indent="-152408" algn="l">
              <a:lnSpc>
                <a:spcPct val="100000"/>
              </a:lnSpc>
              <a:spcBef>
                <a:spcPts val="1000"/>
              </a:spcBef>
              <a:spcAft>
                <a:spcPts val="0"/>
              </a:spcAft>
              <a:buSzPts val="900"/>
              <a:buNone/>
              <a:defRPr sz="900"/>
            </a:lvl5pPr>
            <a:lvl6pPr marL="1828891" lvl="5" indent="-152408" algn="l">
              <a:lnSpc>
                <a:spcPct val="90000"/>
              </a:lnSpc>
              <a:spcBef>
                <a:spcPts val="1000"/>
              </a:spcBef>
              <a:spcAft>
                <a:spcPts val="0"/>
              </a:spcAft>
              <a:buClr>
                <a:schemeClr val="dk1"/>
              </a:buClr>
              <a:buSzPts val="900"/>
              <a:buNone/>
              <a:defRPr sz="900"/>
            </a:lvl6pPr>
            <a:lvl7pPr marL="2133707" lvl="6" indent="-152408" algn="l">
              <a:lnSpc>
                <a:spcPct val="90000"/>
              </a:lnSpc>
              <a:spcBef>
                <a:spcPts val="500"/>
              </a:spcBef>
              <a:spcAft>
                <a:spcPts val="0"/>
              </a:spcAft>
              <a:buClr>
                <a:schemeClr val="dk1"/>
              </a:buClr>
              <a:buSzPts val="900"/>
              <a:buNone/>
              <a:defRPr sz="900"/>
            </a:lvl7pPr>
            <a:lvl8pPr marL="2438522" lvl="7" indent="-152408" algn="l">
              <a:lnSpc>
                <a:spcPct val="90000"/>
              </a:lnSpc>
              <a:spcBef>
                <a:spcPts val="500"/>
              </a:spcBef>
              <a:spcAft>
                <a:spcPts val="0"/>
              </a:spcAft>
              <a:buClr>
                <a:schemeClr val="dk1"/>
              </a:buClr>
              <a:buSzPts val="900"/>
              <a:buNone/>
              <a:defRPr sz="900"/>
            </a:lvl8pPr>
            <a:lvl9pPr marL="2743337" lvl="8" indent="-152408" algn="l">
              <a:lnSpc>
                <a:spcPct val="90000"/>
              </a:lnSpc>
              <a:spcBef>
                <a:spcPts val="500"/>
              </a:spcBef>
              <a:spcAft>
                <a:spcPts val="0"/>
              </a:spcAft>
              <a:buClr>
                <a:schemeClr val="dk1"/>
              </a:buClr>
              <a:buSzPts val="900"/>
              <a:buNone/>
              <a:defRPr sz="900"/>
            </a:lvl9pPr>
          </a:lstStyle>
          <a:p>
            <a:endParaRPr/>
          </a:p>
        </p:txBody>
      </p:sp>
      <p:sp>
        <p:nvSpPr>
          <p:cNvPr id="19451" name="Google Shape;19451;p214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9452" name="Google Shape;19452;p214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9453" name="Google Shape;19453;p214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2059.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19454"/>
        <p:cNvGrpSpPr/>
        <p:nvPr/>
      </p:nvGrpSpPr>
      <p:grpSpPr>
        <a:xfrm>
          <a:off x="0" y="0"/>
          <a:ext cx="0" cy="0"/>
          <a:chOff x="0" y="0"/>
          <a:chExt cx="0" cy="0"/>
        </a:xfrm>
      </p:grpSpPr>
      <p:sp>
        <p:nvSpPr>
          <p:cNvPr id="19455" name="Google Shape;19455;p2141"/>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9456" name="Google Shape;19456;p2141"/>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Clr>
                <a:schemeClr val="dk1"/>
              </a:buClr>
              <a:buSzPts val="2288"/>
              <a:buFont typeface="Arial"/>
              <a:buNone/>
            </a:pPr>
            <a:endParaRPr sz="1525">
              <a:solidFill>
                <a:srgbClr val="FFFFFF"/>
              </a:solidFill>
              <a:latin typeface="Helvetica Neue"/>
              <a:ea typeface="Helvetica Neue"/>
              <a:cs typeface="Helvetica Neue"/>
              <a:sym typeface="Helvetica Neue"/>
            </a:endParaRPr>
          </a:p>
        </p:txBody>
      </p:sp>
      <p:sp>
        <p:nvSpPr>
          <p:cNvPr id="19457" name="Google Shape;19457;p2141"/>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304815" lvl="0" indent="-254013" algn="l">
              <a:lnSpc>
                <a:spcPct val="100000"/>
              </a:lnSpc>
              <a:spcBef>
                <a:spcPts val="1000"/>
              </a:spcBef>
              <a:spcAft>
                <a:spcPts val="0"/>
              </a:spcAft>
              <a:buSzPts val="2400"/>
              <a:buChar char="•"/>
              <a:defRPr>
                <a:solidFill>
                  <a:srgbClr val="4B545E"/>
                </a:solidFill>
              </a:defRPr>
            </a:lvl1pPr>
            <a:lvl2pPr marL="609630" lvl="1" indent="-237079" algn="l">
              <a:lnSpc>
                <a:spcPct val="100000"/>
              </a:lnSpc>
              <a:spcBef>
                <a:spcPts val="1000"/>
              </a:spcBef>
              <a:spcAft>
                <a:spcPts val="0"/>
              </a:spcAft>
              <a:buSzPts val="2000"/>
              <a:buChar char="•"/>
              <a:defRPr>
                <a:solidFill>
                  <a:srgbClr val="4B545E"/>
                </a:solidFill>
              </a:defRPr>
            </a:lvl2pPr>
            <a:lvl3pPr marL="914446" lvl="2" indent="-228611" algn="l">
              <a:lnSpc>
                <a:spcPct val="100000"/>
              </a:lnSpc>
              <a:spcBef>
                <a:spcPts val="1000"/>
              </a:spcBef>
              <a:spcAft>
                <a:spcPts val="0"/>
              </a:spcAft>
              <a:buSzPts val="1800"/>
              <a:buChar char="•"/>
              <a:defRPr>
                <a:solidFill>
                  <a:srgbClr val="4B545E"/>
                </a:solidFill>
              </a:defRPr>
            </a:lvl3pPr>
            <a:lvl4pPr marL="1219261" lvl="3" indent="-220144" algn="l">
              <a:lnSpc>
                <a:spcPct val="100000"/>
              </a:lnSpc>
              <a:spcBef>
                <a:spcPts val="1000"/>
              </a:spcBef>
              <a:spcAft>
                <a:spcPts val="0"/>
              </a:spcAft>
              <a:buSzPts val="1600"/>
              <a:buChar char="•"/>
              <a:defRPr>
                <a:solidFill>
                  <a:srgbClr val="4B545E"/>
                </a:solidFill>
              </a:defRPr>
            </a:lvl4pPr>
            <a:lvl5pPr marL="1524076" lvl="4" indent="-220144" algn="l">
              <a:lnSpc>
                <a:spcPct val="100000"/>
              </a:lnSpc>
              <a:spcBef>
                <a:spcPts val="1000"/>
              </a:spcBef>
              <a:spcAft>
                <a:spcPts val="0"/>
              </a:spcAft>
              <a:buSzPts val="1600"/>
              <a:buChar char="•"/>
              <a:defRPr>
                <a:solidFill>
                  <a:srgbClr val="4B545E"/>
                </a:solidFill>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9458" name="Google Shape;19458;p2141"/>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Clr>
                <a:schemeClr val="dk1"/>
              </a:buClr>
              <a:buSzPts val="2288"/>
              <a:buFont typeface="Arial"/>
              <a:buNone/>
            </a:pPr>
            <a:endParaRPr sz="1525">
              <a:solidFill>
                <a:srgbClr val="FFFFFF"/>
              </a:solidFill>
              <a:latin typeface="Helvetica Neue"/>
              <a:ea typeface="Helvetica Neue"/>
              <a:cs typeface="Helvetica Neue"/>
              <a:sym typeface="Helvetica Neue"/>
            </a:endParaRPr>
          </a:p>
        </p:txBody>
      </p:sp>
      <p:sp>
        <p:nvSpPr>
          <p:cNvPr id="19459" name="Google Shape;19459;p2141"/>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460" name="Google Shape;19460;p2141"/>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304815" lvl="0" indent="-152408" algn="l">
              <a:lnSpc>
                <a:spcPct val="100000"/>
              </a:lnSpc>
              <a:spcBef>
                <a:spcPts val="1000"/>
              </a:spcBef>
              <a:spcAft>
                <a:spcPts val="0"/>
              </a:spcAft>
              <a:buSzPts val="1400"/>
              <a:buNone/>
              <a:defRPr sz="1400">
                <a:solidFill>
                  <a:schemeClr val="lt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9461" name="Google Shape;19461;p2141"/>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9462" name="Google Shape;19462;p2141"/>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7F7F7F"/>
              </a:buClr>
              <a:buSzPts val="1500"/>
              <a:buFont typeface="Calibri"/>
              <a:buNone/>
              <a:defRPr sz="1000" b="0" i="0" u="none" strike="noStrike" cap="none">
                <a:solidFill>
                  <a:srgbClr val="7F7F7F"/>
                </a:solidFill>
                <a:latin typeface="Calibri"/>
                <a:ea typeface="Calibri"/>
                <a:cs typeface="Calibri"/>
                <a:sym typeface="Calibri"/>
              </a:defRPr>
            </a:lvl1pPr>
            <a:lvl2pPr marL="0" lvl="1" indent="0" algn="r">
              <a:spcBef>
                <a:spcPts val="0"/>
              </a:spcBef>
              <a:buClr>
                <a:srgbClr val="7F7F7F"/>
              </a:buClr>
              <a:buSzPts val="1500"/>
              <a:buFont typeface="Calibri"/>
              <a:buNone/>
              <a:defRPr sz="1000" b="0" i="0" u="none" strike="noStrike" cap="none">
                <a:solidFill>
                  <a:srgbClr val="7F7F7F"/>
                </a:solidFill>
                <a:latin typeface="Calibri"/>
                <a:ea typeface="Calibri"/>
                <a:cs typeface="Calibri"/>
                <a:sym typeface="Calibri"/>
              </a:defRPr>
            </a:lvl2pPr>
            <a:lvl3pPr marL="0" lvl="2" indent="0" algn="r">
              <a:spcBef>
                <a:spcPts val="0"/>
              </a:spcBef>
              <a:buClr>
                <a:srgbClr val="7F7F7F"/>
              </a:buClr>
              <a:buSzPts val="1500"/>
              <a:buFont typeface="Calibri"/>
              <a:buNone/>
              <a:defRPr sz="1000" b="0" i="0" u="none" strike="noStrike" cap="none">
                <a:solidFill>
                  <a:srgbClr val="7F7F7F"/>
                </a:solidFill>
                <a:latin typeface="Calibri"/>
                <a:ea typeface="Calibri"/>
                <a:cs typeface="Calibri"/>
                <a:sym typeface="Calibri"/>
              </a:defRPr>
            </a:lvl3pPr>
            <a:lvl4pPr marL="0" lvl="3" indent="0" algn="r">
              <a:spcBef>
                <a:spcPts val="0"/>
              </a:spcBef>
              <a:buClr>
                <a:srgbClr val="7F7F7F"/>
              </a:buClr>
              <a:buSzPts val="1500"/>
              <a:buFont typeface="Calibri"/>
              <a:buNone/>
              <a:defRPr sz="1000" b="0" i="0" u="none" strike="noStrike" cap="none">
                <a:solidFill>
                  <a:srgbClr val="7F7F7F"/>
                </a:solidFill>
                <a:latin typeface="Calibri"/>
                <a:ea typeface="Calibri"/>
                <a:cs typeface="Calibri"/>
                <a:sym typeface="Calibri"/>
              </a:defRPr>
            </a:lvl4pPr>
            <a:lvl5pPr marL="0" lvl="4" indent="0" algn="r">
              <a:spcBef>
                <a:spcPts val="0"/>
              </a:spcBef>
              <a:buClr>
                <a:srgbClr val="7F7F7F"/>
              </a:buClr>
              <a:buSzPts val="1500"/>
              <a:buFont typeface="Calibri"/>
              <a:buNone/>
              <a:defRPr sz="1000" b="0" i="0" u="none" strike="noStrike" cap="none">
                <a:solidFill>
                  <a:srgbClr val="7F7F7F"/>
                </a:solidFill>
                <a:latin typeface="Calibri"/>
                <a:ea typeface="Calibri"/>
                <a:cs typeface="Calibri"/>
                <a:sym typeface="Calibri"/>
              </a:defRPr>
            </a:lvl5pPr>
            <a:lvl6pPr marL="0" lvl="5" indent="0" algn="r">
              <a:spcBef>
                <a:spcPts val="0"/>
              </a:spcBef>
              <a:buClr>
                <a:srgbClr val="7F7F7F"/>
              </a:buClr>
              <a:buSzPts val="1500"/>
              <a:buFont typeface="Calibri"/>
              <a:buNone/>
              <a:defRPr sz="1000" b="0" i="0" u="none" strike="noStrike" cap="none">
                <a:solidFill>
                  <a:srgbClr val="7F7F7F"/>
                </a:solidFill>
                <a:latin typeface="Calibri"/>
                <a:ea typeface="Calibri"/>
                <a:cs typeface="Calibri"/>
                <a:sym typeface="Calibri"/>
              </a:defRPr>
            </a:lvl6pPr>
            <a:lvl7pPr marL="0" lvl="6" indent="0" algn="r">
              <a:spcBef>
                <a:spcPts val="0"/>
              </a:spcBef>
              <a:buClr>
                <a:srgbClr val="7F7F7F"/>
              </a:buClr>
              <a:buSzPts val="1500"/>
              <a:buFont typeface="Calibri"/>
              <a:buNone/>
              <a:defRPr sz="1000" b="0" i="0" u="none" strike="noStrike" cap="none">
                <a:solidFill>
                  <a:srgbClr val="7F7F7F"/>
                </a:solidFill>
                <a:latin typeface="Calibri"/>
                <a:ea typeface="Calibri"/>
                <a:cs typeface="Calibri"/>
                <a:sym typeface="Calibri"/>
              </a:defRPr>
            </a:lvl7pPr>
            <a:lvl8pPr marL="0" lvl="7" indent="0" algn="r">
              <a:spcBef>
                <a:spcPts val="0"/>
              </a:spcBef>
              <a:buClr>
                <a:srgbClr val="7F7F7F"/>
              </a:buClr>
              <a:buSzPts val="1500"/>
              <a:buFont typeface="Calibri"/>
              <a:buNone/>
              <a:defRPr sz="1000" b="0" i="0" u="none" strike="noStrike" cap="none">
                <a:solidFill>
                  <a:srgbClr val="7F7F7F"/>
                </a:solidFill>
                <a:latin typeface="Calibri"/>
                <a:ea typeface="Calibri"/>
                <a:cs typeface="Calibri"/>
                <a:sym typeface="Calibri"/>
              </a:defRPr>
            </a:lvl8pPr>
            <a:lvl9pPr marL="0" lvl="8" indent="0" algn="r">
              <a:spcBef>
                <a:spcPts val="0"/>
              </a:spcBef>
              <a:buClr>
                <a:srgbClr val="7F7F7F"/>
              </a:buClr>
              <a:buSzPts val="1500"/>
              <a:buFont typeface="Calibri"/>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19463" name="Google Shape;19463;p2141"/>
          <p:cNvPicPr preferRelativeResize="0"/>
          <p:nvPr/>
        </p:nvPicPr>
        <p:blipFill rotWithShape="1">
          <a:blip r:embed="rId2">
            <a:alphaModFix/>
          </a:blip>
          <a:srcRect/>
          <a:stretch/>
        </p:blipFill>
        <p:spPr>
          <a:xfrm>
            <a:off x="9596462" y="6492240"/>
            <a:ext cx="1606135" cy="229238"/>
          </a:xfrm>
          <a:prstGeom prst="rect">
            <a:avLst/>
          </a:prstGeom>
          <a:noFill/>
          <a:ln>
            <a:noFill/>
          </a:ln>
        </p:spPr>
      </p:pic>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5 2">
    <p:spTree>
      <p:nvGrpSpPr>
        <p:cNvPr id="1" name="Shape 10999"/>
        <p:cNvGrpSpPr/>
        <p:nvPr/>
      </p:nvGrpSpPr>
      <p:grpSpPr>
        <a:xfrm>
          <a:off x="0" y="0"/>
          <a:ext cx="0" cy="0"/>
          <a:chOff x="0" y="0"/>
          <a:chExt cx="0" cy="0"/>
        </a:xfrm>
      </p:grpSpPr>
      <p:sp>
        <p:nvSpPr>
          <p:cNvPr id="11000" name="Google Shape;11000;p151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1001" name="Google Shape;11001;p151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1002" name="Google Shape;11002;p151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03" name="Google Shape;11003;p151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04" name="Google Shape;11004;p151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1005" name="Google Shape;11005;p151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060.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9464"/>
        <p:cNvGrpSpPr/>
        <p:nvPr/>
      </p:nvGrpSpPr>
      <p:grpSpPr>
        <a:xfrm>
          <a:off x="0" y="0"/>
          <a:ext cx="0" cy="0"/>
          <a:chOff x="0" y="0"/>
          <a:chExt cx="0" cy="0"/>
        </a:xfrm>
      </p:grpSpPr>
      <p:sp>
        <p:nvSpPr>
          <p:cNvPr id="19465" name="Google Shape;19465;p2142"/>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9466" name="Google Shape;19466;p214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467" name="Google Shape;19467;p214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9468" name="Google Shape;19468;p214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lvl="1"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lvl="2"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lvl="3"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lvl="4"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lvl="5"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lvl="6"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lvl="7"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lvl="8"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9469" name="Google Shape;19469;p21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470" name="Google Shape;19470;p214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grpSp>
        <p:nvGrpSpPr>
          <p:cNvPr id="19471" name="Google Shape;19471;p2142"/>
          <p:cNvGrpSpPr/>
          <p:nvPr/>
        </p:nvGrpSpPr>
        <p:grpSpPr>
          <a:xfrm>
            <a:off x="7191543" y="1"/>
            <a:ext cx="5000459" cy="1425992"/>
            <a:chOff x="7191542" y="1"/>
            <a:chExt cx="5000459" cy="1425992"/>
          </a:xfrm>
        </p:grpSpPr>
        <p:pic>
          <p:nvPicPr>
            <p:cNvPr id="19472" name="Google Shape;19472;p21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473" name="Google Shape;19473;p2142"/>
            <p:cNvGrpSpPr/>
            <p:nvPr/>
          </p:nvGrpSpPr>
          <p:grpSpPr>
            <a:xfrm>
              <a:off x="7191542" y="1"/>
              <a:ext cx="5000459" cy="1425992"/>
              <a:chOff x="7186272" y="0"/>
              <a:chExt cx="5005729" cy="1427495"/>
            </a:xfrm>
          </p:grpSpPr>
          <p:sp>
            <p:nvSpPr>
              <p:cNvPr id="19474" name="Google Shape;19474;p21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9475" name="Google Shape;19475;p21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pic>
        <p:nvPicPr>
          <p:cNvPr id="19476" name="Google Shape;19476;p214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061.xml><?xml version="1.0" encoding="utf-8"?>
<p:sldLayout xmlns:a="http://schemas.openxmlformats.org/drawingml/2006/main" xmlns:r="http://schemas.openxmlformats.org/officeDocument/2006/relationships" xmlns:p="http://schemas.openxmlformats.org/presentationml/2006/main" showMasterSp="0" matchingName="Title Slide">
  <p:cSld name="2_Title Slide">
    <p:bg>
      <p:bgPr>
        <a:solidFill>
          <a:schemeClr val="lt1"/>
        </a:solidFill>
        <a:effectLst/>
      </p:bgPr>
    </p:bg>
    <p:spTree>
      <p:nvGrpSpPr>
        <p:cNvPr id="1" name="Shape 19477"/>
        <p:cNvGrpSpPr/>
        <p:nvPr/>
      </p:nvGrpSpPr>
      <p:grpSpPr>
        <a:xfrm>
          <a:off x="0" y="0"/>
          <a:ext cx="0" cy="0"/>
          <a:chOff x="0" y="0"/>
          <a:chExt cx="0" cy="0"/>
        </a:xfrm>
      </p:grpSpPr>
      <p:sp>
        <p:nvSpPr>
          <p:cNvPr id="19478" name="Google Shape;19478;p2143"/>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9479" name="Google Shape;19479;p2143"/>
          <p:cNvSpPr/>
          <p:nvPr/>
        </p:nvSpPr>
        <p:spPr>
          <a:xfrm>
            <a:off x="3"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pic>
        <p:nvPicPr>
          <p:cNvPr id="19480" name="Google Shape;19480;p2143"/>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9481" name="Google Shape;19481;p2143"/>
          <p:cNvSpPr/>
          <p:nvPr/>
        </p:nvSpPr>
        <p:spPr>
          <a:xfrm>
            <a:off x="1" y="5020056"/>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pic>
        <p:nvPicPr>
          <p:cNvPr id="19482" name="Google Shape;19482;p2143"/>
          <p:cNvPicPr preferRelativeResize="0"/>
          <p:nvPr/>
        </p:nvPicPr>
        <p:blipFill rotWithShape="1">
          <a:blip r:embed="rId3">
            <a:alphaModFix/>
          </a:blip>
          <a:srcRect/>
          <a:stretch/>
        </p:blipFill>
        <p:spPr>
          <a:xfrm>
            <a:off x="313957" y="5564124"/>
            <a:ext cx="2025383" cy="911351"/>
          </a:xfrm>
          <a:prstGeom prst="rect">
            <a:avLst/>
          </a:prstGeom>
          <a:noFill/>
          <a:ln>
            <a:noFill/>
          </a:ln>
        </p:spPr>
      </p:pic>
      <p:sp>
        <p:nvSpPr>
          <p:cNvPr id="19483" name="Google Shape;19483;p2143"/>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9484" name="Google Shape;19484;p2143"/>
          <p:cNvSpPr txBox="1">
            <a:spLocks noGrp="1"/>
          </p:cNvSpPr>
          <p:nvPr>
            <p:ph type="ctrTitle"/>
          </p:nvPr>
        </p:nvSpPr>
        <p:spPr>
          <a:xfrm>
            <a:off x="471690" y="596274"/>
            <a:ext cx="11248618" cy="369332"/>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485" name="Google Shape;19485;p2143"/>
          <p:cNvSpPr txBox="1">
            <a:spLocks noGrp="1"/>
          </p:cNvSpPr>
          <p:nvPr>
            <p:ph type="subTitle" idx="1"/>
          </p:nvPr>
        </p:nvSpPr>
        <p:spPr>
          <a:xfrm>
            <a:off x="1828800" y="3840480"/>
            <a:ext cx="8534400" cy="374461"/>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9486" name="Google Shape;19486;p2143"/>
          <p:cNvSpPr txBox="1">
            <a:spLocks noGrp="1"/>
          </p:cNvSpPr>
          <p:nvPr>
            <p:ph type="ftr" idx="11"/>
          </p:nvPr>
        </p:nvSpPr>
        <p:spPr>
          <a:xfrm>
            <a:off x="609600" y="6356351"/>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Clr>
                <a:srgbClr val="919497"/>
              </a:buClr>
              <a:buSzPts val="1400"/>
              <a:buFont typeface="Calibri"/>
              <a:buNone/>
              <a:defRPr>
                <a:solidFill>
                  <a:srgbClr val="919497"/>
                </a:solidFill>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9487" name="Google Shape;19487;p2143"/>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Clr>
                <a:srgbClr val="919497"/>
              </a:buClr>
              <a:buSzPts val="1400"/>
              <a:buFont typeface="Calibri"/>
              <a:buNone/>
              <a:defRPr sz="1800">
                <a:solidFill>
                  <a:srgbClr val="919497"/>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9488" name="Google Shape;19488;p2143"/>
          <p:cNvSpPr txBox="1">
            <a:spLocks noGrp="1"/>
          </p:cNvSpPr>
          <p:nvPr>
            <p:ph type="sldNum" idx="12"/>
          </p:nvPr>
        </p:nvSpPr>
        <p:spPr>
          <a:xfrm>
            <a:off x="8839200" y="6356351"/>
            <a:ext cx="2743200" cy="365125"/>
          </a:xfrm>
          <a:prstGeom prst="rect">
            <a:avLst/>
          </a:prstGeom>
          <a:noFill/>
          <a:ln>
            <a:noFill/>
          </a:ln>
        </p:spPr>
        <p:txBody>
          <a:bodyPr spcFirstLastPara="1" wrap="square" lIns="0" tIns="0" rIns="0" bIns="0" anchor="ctr" anchorCtr="0">
            <a:noAutofit/>
          </a:bodyPr>
          <a:lstStyle>
            <a:lvl1pPr marL="38102" marR="0" lvl="0" indent="0" algn="r">
              <a:lnSpc>
                <a:spcPct val="118750"/>
              </a:lnSpc>
              <a:spcBef>
                <a:spcPts val="0"/>
              </a:spcBef>
              <a:buClr>
                <a:srgbClr val="929599"/>
              </a:buClr>
              <a:buSzPts val="1800"/>
              <a:buFont typeface="Arial"/>
              <a:buNone/>
              <a:defRPr sz="1200" b="0" i="0" u="none" strike="noStrike" cap="none">
                <a:solidFill>
                  <a:srgbClr val="929599"/>
                </a:solidFill>
                <a:latin typeface="Arial"/>
                <a:ea typeface="Arial"/>
                <a:cs typeface="Arial"/>
                <a:sym typeface="Arial"/>
              </a:defRPr>
            </a:lvl1pPr>
            <a:lvl2pPr marL="38102" marR="0" lvl="1" indent="0" algn="r">
              <a:lnSpc>
                <a:spcPct val="118750"/>
              </a:lnSpc>
              <a:spcBef>
                <a:spcPts val="0"/>
              </a:spcBef>
              <a:buClr>
                <a:srgbClr val="929599"/>
              </a:buClr>
              <a:buSzPts val="1800"/>
              <a:buFont typeface="Arial"/>
              <a:buNone/>
              <a:defRPr sz="1200" b="0" i="0" u="none" strike="noStrike" cap="none">
                <a:solidFill>
                  <a:srgbClr val="929599"/>
                </a:solidFill>
                <a:latin typeface="Arial"/>
                <a:ea typeface="Arial"/>
                <a:cs typeface="Arial"/>
                <a:sym typeface="Arial"/>
              </a:defRPr>
            </a:lvl2pPr>
            <a:lvl3pPr marL="38102" marR="0" lvl="2" indent="0" algn="r">
              <a:lnSpc>
                <a:spcPct val="118750"/>
              </a:lnSpc>
              <a:spcBef>
                <a:spcPts val="0"/>
              </a:spcBef>
              <a:buClr>
                <a:srgbClr val="929599"/>
              </a:buClr>
              <a:buSzPts val="1800"/>
              <a:buFont typeface="Arial"/>
              <a:buNone/>
              <a:defRPr sz="1200" b="0" i="0" u="none" strike="noStrike" cap="none">
                <a:solidFill>
                  <a:srgbClr val="929599"/>
                </a:solidFill>
                <a:latin typeface="Arial"/>
                <a:ea typeface="Arial"/>
                <a:cs typeface="Arial"/>
                <a:sym typeface="Arial"/>
              </a:defRPr>
            </a:lvl3pPr>
            <a:lvl4pPr marL="38102" marR="0" lvl="3" indent="0" algn="r">
              <a:lnSpc>
                <a:spcPct val="118750"/>
              </a:lnSpc>
              <a:spcBef>
                <a:spcPts val="0"/>
              </a:spcBef>
              <a:buClr>
                <a:srgbClr val="929599"/>
              </a:buClr>
              <a:buSzPts val="1800"/>
              <a:buFont typeface="Arial"/>
              <a:buNone/>
              <a:defRPr sz="1200" b="0" i="0" u="none" strike="noStrike" cap="none">
                <a:solidFill>
                  <a:srgbClr val="929599"/>
                </a:solidFill>
                <a:latin typeface="Arial"/>
                <a:ea typeface="Arial"/>
                <a:cs typeface="Arial"/>
                <a:sym typeface="Arial"/>
              </a:defRPr>
            </a:lvl4pPr>
            <a:lvl5pPr marL="38102" marR="0" lvl="4" indent="0" algn="r">
              <a:lnSpc>
                <a:spcPct val="118750"/>
              </a:lnSpc>
              <a:spcBef>
                <a:spcPts val="0"/>
              </a:spcBef>
              <a:buClr>
                <a:srgbClr val="929599"/>
              </a:buClr>
              <a:buSzPts val="1800"/>
              <a:buFont typeface="Arial"/>
              <a:buNone/>
              <a:defRPr sz="1200" b="0" i="0" u="none" strike="noStrike" cap="none">
                <a:solidFill>
                  <a:srgbClr val="929599"/>
                </a:solidFill>
                <a:latin typeface="Arial"/>
                <a:ea typeface="Arial"/>
                <a:cs typeface="Arial"/>
                <a:sym typeface="Arial"/>
              </a:defRPr>
            </a:lvl5pPr>
            <a:lvl6pPr marL="38102" marR="0" lvl="5" indent="0" algn="r">
              <a:lnSpc>
                <a:spcPct val="118750"/>
              </a:lnSpc>
              <a:spcBef>
                <a:spcPts val="0"/>
              </a:spcBef>
              <a:buClr>
                <a:srgbClr val="929599"/>
              </a:buClr>
              <a:buSzPts val="1800"/>
              <a:buFont typeface="Arial"/>
              <a:buNone/>
              <a:defRPr sz="1200" b="0" i="0" u="none" strike="noStrike" cap="none">
                <a:solidFill>
                  <a:srgbClr val="929599"/>
                </a:solidFill>
                <a:latin typeface="Arial"/>
                <a:ea typeface="Arial"/>
                <a:cs typeface="Arial"/>
                <a:sym typeface="Arial"/>
              </a:defRPr>
            </a:lvl6pPr>
            <a:lvl7pPr marL="38102" marR="0" lvl="6" indent="0" algn="r">
              <a:lnSpc>
                <a:spcPct val="118750"/>
              </a:lnSpc>
              <a:spcBef>
                <a:spcPts val="0"/>
              </a:spcBef>
              <a:buClr>
                <a:srgbClr val="929599"/>
              </a:buClr>
              <a:buSzPts val="1800"/>
              <a:buFont typeface="Arial"/>
              <a:buNone/>
              <a:defRPr sz="1200" b="0" i="0" u="none" strike="noStrike" cap="none">
                <a:solidFill>
                  <a:srgbClr val="929599"/>
                </a:solidFill>
                <a:latin typeface="Arial"/>
                <a:ea typeface="Arial"/>
                <a:cs typeface="Arial"/>
                <a:sym typeface="Arial"/>
              </a:defRPr>
            </a:lvl7pPr>
            <a:lvl8pPr marL="38102" marR="0" lvl="7" indent="0" algn="r">
              <a:lnSpc>
                <a:spcPct val="118750"/>
              </a:lnSpc>
              <a:spcBef>
                <a:spcPts val="0"/>
              </a:spcBef>
              <a:buClr>
                <a:srgbClr val="929599"/>
              </a:buClr>
              <a:buSzPts val="1800"/>
              <a:buFont typeface="Arial"/>
              <a:buNone/>
              <a:defRPr sz="1200" b="0" i="0" u="none" strike="noStrike" cap="none">
                <a:solidFill>
                  <a:srgbClr val="929599"/>
                </a:solidFill>
                <a:latin typeface="Arial"/>
                <a:ea typeface="Arial"/>
                <a:cs typeface="Arial"/>
                <a:sym typeface="Arial"/>
              </a:defRPr>
            </a:lvl8pPr>
            <a:lvl9pPr marL="38102" marR="0" lvl="8" indent="0" algn="r">
              <a:lnSpc>
                <a:spcPct val="118750"/>
              </a:lnSpc>
              <a:spcBef>
                <a:spcPts val="0"/>
              </a:spcBef>
              <a:buClr>
                <a:srgbClr val="929599"/>
              </a:buClr>
              <a:buSzPts val="1800"/>
              <a:buFont typeface="Arial"/>
              <a:buNone/>
              <a:defRPr sz="1200" b="0" i="0" u="none" strike="noStrike" cap="none">
                <a:solidFill>
                  <a:srgbClr val="929599"/>
                </a:solidFill>
                <a:latin typeface="Arial"/>
                <a:ea typeface="Arial"/>
                <a:cs typeface="Arial"/>
                <a:sym typeface="Arial"/>
              </a:defRPr>
            </a:lvl9pPr>
          </a:lstStyle>
          <a:p>
            <a:pPr marL="38102" lvl="0" indent="0" algn="r" rtl="0">
              <a:spcBef>
                <a:spcPts val="0"/>
              </a:spcBef>
              <a:spcAft>
                <a:spcPts val="0"/>
              </a:spcAft>
              <a:buNone/>
            </a:pPr>
            <a:fld id="{00000000-1234-1234-1234-123412341234}" type="slidenum">
              <a:rPr lang="en-US"/>
              <a:pPr marL="38102" lvl="0" indent="0" algn="r" rtl="0">
                <a:spcBef>
                  <a:spcPts val="0"/>
                </a:spcBef>
                <a:spcAft>
                  <a:spcPts val="0"/>
                </a:spcAft>
                <a:buNone/>
              </a:pPr>
              <a:t>‹#›</a:t>
            </a:fld>
            <a:endParaRPr/>
          </a:p>
        </p:txBody>
      </p:sp>
    </p:spTree>
  </p:cSld>
  <p:clrMapOvr>
    <a:masterClrMapping/>
  </p:clrMapOvr>
</p:sldLayout>
</file>

<file path=ppt/slideLayouts/slideLayout2062.xml><?xml version="1.0" encoding="utf-8"?>
<p:sldLayout xmlns:a="http://schemas.openxmlformats.org/drawingml/2006/main" xmlns:r="http://schemas.openxmlformats.org/officeDocument/2006/relationships" xmlns:p="http://schemas.openxmlformats.org/presentationml/2006/main" matchingName="2_Quotation">
  <p:cSld name="5_Quotation">
    <p:spTree>
      <p:nvGrpSpPr>
        <p:cNvPr id="1" name="Shape 19489"/>
        <p:cNvGrpSpPr/>
        <p:nvPr/>
      </p:nvGrpSpPr>
      <p:grpSpPr>
        <a:xfrm>
          <a:off x="0" y="0"/>
          <a:ext cx="0" cy="0"/>
          <a:chOff x="0" y="0"/>
          <a:chExt cx="0" cy="0"/>
        </a:xfrm>
      </p:grpSpPr>
      <p:sp>
        <p:nvSpPr>
          <p:cNvPr id="19490" name="Google Shape;19490;p2144"/>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sp>
        <p:nvSpPr>
          <p:cNvPr id="19491" name="Google Shape;19491;p214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492" name="Google Shape;19492;p214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9493" name="Google Shape;19493;p21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lvl="1"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lvl="2"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lvl="3"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lvl="4"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lvl="5"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lvl="6"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lvl="7"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lvl="8"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9494" name="Google Shape;19494;p21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495" name="Google Shape;19495;p21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grpSp>
        <p:nvGrpSpPr>
          <p:cNvPr id="19496" name="Google Shape;19496;p2144"/>
          <p:cNvGrpSpPr/>
          <p:nvPr/>
        </p:nvGrpSpPr>
        <p:grpSpPr>
          <a:xfrm>
            <a:off x="7191543" y="1"/>
            <a:ext cx="5000459" cy="1425992"/>
            <a:chOff x="7191542" y="1"/>
            <a:chExt cx="5000459" cy="1425992"/>
          </a:xfrm>
        </p:grpSpPr>
        <p:pic>
          <p:nvPicPr>
            <p:cNvPr id="19497" name="Google Shape;19497;p21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498" name="Google Shape;19498;p2144"/>
            <p:cNvGrpSpPr/>
            <p:nvPr/>
          </p:nvGrpSpPr>
          <p:grpSpPr>
            <a:xfrm>
              <a:off x="7191542" y="1"/>
              <a:ext cx="5000459" cy="1425992"/>
              <a:chOff x="7186272" y="0"/>
              <a:chExt cx="5005729" cy="1427495"/>
            </a:xfrm>
          </p:grpSpPr>
          <p:sp>
            <p:nvSpPr>
              <p:cNvPr id="19499" name="Google Shape;19499;p21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9500" name="Google Shape;19500;p21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pic>
        <p:nvPicPr>
          <p:cNvPr id="19501" name="Google Shape;19501;p214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063.xml><?xml version="1.0" encoding="utf-8"?>
<p:sldLayout xmlns:a="http://schemas.openxmlformats.org/drawingml/2006/main" xmlns:r="http://schemas.openxmlformats.org/officeDocument/2006/relationships" xmlns:p="http://schemas.openxmlformats.org/presentationml/2006/main" matchingName="cover_2">
  <p:cSld name="cover_2">
    <p:bg>
      <p:bgPr>
        <a:solidFill>
          <a:schemeClr val="lt1"/>
        </a:solidFill>
        <a:effectLst/>
      </p:bgPr>
    </p:bg>
    <p:spTree>
      <p:nvGrpSpPr>
        <p:cNvPr id="1" name="Shape 19502"/>
        <p:cNvGrpSpPr/>
        <p:nvPr/>
      </p:nvGrpSpPr>
      <p:grpSpPr>
        <a:xfrm>
          <a:off x="0" y="0"/>
          <a:ext cx="0" cy="0"/>
          <a:chOff x="0" y="0"/>
          <a:chExt cx="0" cy="0"/>
        </a:xfrm>
      </p:grpSpPr>
      <p:pic>
        <p:nvPicPr>
          <p:cNvPr id="19503" name="Google Shape;19503;p2145"/>
          <p:cNvPicPr preferRelativeResize="0"/>
          <p:nvPr/>
        </p:nvPicPr>
        <p:blipFill rotWithShape="1">
          <a:blip r:embed="rId2">
            <a:alphaModFix/>
          </a:blip>
          <a:srcRect/>
          <a:stretch/>
        </p:blipFill>
        <p:spPr>
          <a:xfrm>
            <a:off x="6350" y="0"/>
            <a:ext cx="12179300" cy="6858000"/>
          </a:xfrm>
          <a:prstGeom prst="rect">
            <a:avLst/>
          </a:prstGeom>
          <a:noFill/>
          <a:ln>
            <a:noFill/>
          </a:ln>
        </p:spPr>
      </p:pic>
      <p:sp>
        <p:nvSpPr>
          <p:cNvPr id="19504" name="Google Shape;19504;p2145"/>
          <p:cNvSpPr txBox="1">
            <a:spLocks noGrp="1"/>
          </p:cNvSpPr>
          <p:nvPr>
            <p:ph type="title"/>
          </p:nvPr>
        </p:nvSpPr>
        <p:spPr>
          <a:xfrm>
            <a:off x="6560622" y="2025004"/>
            <a:ext cx="5530850" cy="3356433"/>
          </a:xfrm>
          <a:prstGeom prst="rect">
            <a:avLst/>
          </a:prstGeom>
          <a:noFill/>
          <a:ln>
            <a:noFill/>
          </a:ln>
        </p:spPr>
        <p:txBody>
          <a:bodyPr spcFirstLastPara="1" wrap="square" lIns="0" tIns="0" rIns="0" bIns="228600" anchor="b" anchorCtr="0">
            <a:noAutofit/>
          </a:bodyPr>
          <a:lstStyle>
            <a:lvl1pPr lvl="0" algn="l">
              <a:lnSpc>
                <a:spcPct val="100000"/>
              </a:lnSpc>
              <a:spcBef>
                <a:spcPts val="0"/>
              </a:spcBef>
              <a:spcAft>
                <a:spcPts val="0"/>
              </a:spcAft>
              <a:buClr>
                <a:schemeClr val="lt1"/>
              </a:buClr>
              <a:buSzPts val="4000"/>
              <a:buFont typeface="Calibri"/>
              <a:buNone/>
              <a:defRPr sz="40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505" name="Google Shape;19505;p2145"/>
          <p:cNvSpPr txBox="1">
            <a:spLocks noGrp="1"/>
          </p:cNvSpPr>
          <p:nvPr>
            <p:ph type="body" idx="1"/>
          </p:nvPr>
        </p:nvSpPr>
        <p:spPr>
          <a:xfrm>
            <a:off x="6560624" y="5381437"/>
            <a:ext cx="5530850" cy="809167"/>
          </a:xfrm>
          <a:prstGeom prst="rect">
            <a:avLst/>
          </a:prstGeom>
          <a:noFill/>
          <a:ln>
            <a:noFill/>
          </a:ln>
        </p:spPr>
        <p:txBody>
          <a:bodyPr spcFirstLastPara="1" wrap="square" lIns="0" tIns="91425" rIns="0" bIns="0" anchor="t" anchorCtr="0">
            <a:noAutofit/>
          </a:bodyPr>
          <a:lstStyle>
            <a:lvl1pPr marL="304815" lvl="0" indent="-152408" algn="l">
              <a:lnSpc>
                <a:spcPct val="100000"/>
              </a:lnSpc>
              <a:spcBef>
                <a:spcPts val="0"/>
              </a:spcBef>
              <a:spcAft>
                <a:spcPts val="0"/>
              </a:spcAft>
              <a:buClr>
                <a:schemeClr val="lt1"/>
              </a:buClr>
              <a:buSzPts val="1800"/>
              <a:buFont typeface="Calibri"/>
              <a:buNone/>
              <a:defRPr sz="1800" b="0" i="0">
                <a:solidFill>
                  <a:schemeClr val="lt1"/>
                </a:solidFill>
              </a:defRPr>
            </a:lvl1pPr>
            <a:lvl2pPr marL="609630" lvl="1" indent="-152408" algn="l">
              <a:lnSpc>
                <a:spcPct val="100000"/>
              </a:lnSpc>
              <a:spcBef>
                <a:spcPts val="0"/>
              </a:spcBef>
              <a:spcAft>
                <a:spcPts val="0"/>
              </a:spcAft>
              <a:buSzPts val="1800"/>
              <a:buFont typeface="Calibri"/>
              <a:buNone/>
              <a:defRPr sz="1800" b="0">
                <a:solidFill>
                  <a:schemeClr val="lt1"/>
                </a:solidFill>
              </a:defRPr>
            </a:lvl2pPr>
            <a:lvl3pPr marL="914446" lvl="2" indent="-152408" algn="l">
              <a:lnSpc>
                <a:spcPct val="116666"/>
              </a:lnSpc>
              <a:spcBef>
                <a:spcPts val="0"/>
              </a:spcBef>
              <a:spcAft>
                <a:spcPts val="0"/>
              </a:spcAft>
              <a:buSzPts val="1800"/>
              <a:buFont typeface="Calibri"/>
              <a:buNone/>
              <a:defRPr sz="1800" b="0">
                <a:solidFill>
                  <a:schemeClr val="lt1"/>
                </a:solidFill>
              </a:defRPr>
            </a:lvl3pPr>
            <a:lvl4pPr marL="1219261" lvl="3" indent="-152408" algn="l">
              <a:lnSpc>
                <a:spcPct val="116666"/>
              </a:lnSpc>
              <a:spcBef>
                <a:spcPts val="0"/>
              </a:spcBef>
              <a:spcAft>
                <a:spcPts val="0"/>
              </a:spcAft>
              <a:buSzPts val="1800"/>
              <a:buFont typeface="Calibri"/>
              <a:buNone/>
              <a:defRPr sz="1800" b="0">
                <a:solidFill>
                  <a:schemeClr val="lt1"/>
                </a:solidFill>
              </a:defRPr>
            </a:lvl4pPr>
            <a:lvl5pPr marL="1524076" lvl="4" indent="-152408" algn="l">
              <a:lnSpc>
                <a:spcPct val="116666"/>
              </a:lnSpc>
              <a:spcBef>
                <a:spcPts val="0"/>
              </a:spcBef>
              <a:spcAft>
                <a:spcPts val="0"/>
              </a:spcAft>
              <a:buSzPts val="1800"/>
              <a:buFont typeface="Calibri"/>
              <a:buNone/>
              <a:defRPr sz="1800" b="0">
                <a:solidFill>
                  <a:schemeClr val="lt1"/>
                </a:solidFill>
              </a:defRPr>
            </a:lvl5pPr>
            <a:lvl6pPr marL="1828891" lvl="5" indent="-152408" algn="l">
              <a:lnSpc>
                <a:spcPct val="116666"/>
              </a:lnSpc>
              <a:spcBef>
                <a:spcPts val="0"/>
              </a:spcBef>
              <a:spcAft>
                <a:spcPts val="0"/>
              </a:spcAft>
              <a:buClr>
                <a:schemeClr val="lt1"/>
              </a:buClr>
              <a:buSzPts val="1800"/>
              <a:buFont typeface="Arial"/>
              <a:buNone/>
              <a:defRPr sz="1800" b="0">
                <a:solidFill>
                  <a:schemeClr val="lt1"/>
                </a:solidFill>
              </a:defRPr>
            </a:lvl6pPr>
            <a:lvl7pPr marL="2133707" lvl="6" indent="-152408" algn="l">
              <a:lnSpc>
                <a:spcPct val="116666"/>
              </a:lnSpc>
              <a:spcBef>
                <a:spcPts val="0"/>
              </a:spcBef>
              <a:spcAft>
                <a:spcPts val="0"/>
              </a:spcAft>
              <a:buClr>
                <a:schemeClr val="lt1"/>
              </a:buClr>
              <a:buSzPts val="1800"/>
              <a:buFont typeface="Arial"/>
              <a:buNone/>
              <a:defRPr sz="1800" b="0">
                <a:solidFill>
                  <a:schemeClr val="lt1"/>
                </a:solidFill>
              </a:defRPr>
            </a:lvl7pPr>
            <a:lvl8pPr marL="2438522" lvl="7" indent="-152408" algn="l">
              <a:lnSpc>
                <a:spcPct val="116666"/>
              </a:lnSpc>
              <a:spcBef>
                <a:spcPts val="0"/>
              </a:spcBef>
              <a:spcAft>
                <a:spcPts val="0"/>
              </a:spcAft>
              <a:buClr>
                <a:schemeClr val="lt1"/>
              </a:buClr>
              <a:buSzPts val="1800"/>
              <a:buFont typeface="Arial"/>
              <a:buNone/>
              <a:defRPr sz="1800" b="0">
                <a:solidFill>
                  <a:schemeClr val="lt1"/>
                </a:solidFill>
              </a:defRPr>
            </a:lvl8pPr>
            <a:lvl9pPr marL="2743337" lvl="8" indent="-152408" algn="l">
              <a:lnSpc>
                <a:spcPct val="116666"/>
              </a:lnSpc>
              <a:spcBef>
                <a:spcPts val="0"/>
              </a:spcBef>
              <a:spcAft>
                <a:spcPts val="0"/>
              </a:spcAft>
              <a:buClr>
                <a:schemeClr val="lt1"/>
              </a:buClr>
              <a:buSzPts val="1800"/>
              <a:buFont typeface="Arial"/>
              <a:buNone/>
              <a:defRPr sz="1800" b="0">
                <a:solidFill>
                  <a:schemeClr val="lt1"/>
                </a:solidFill>
              </a:defRPr>
            </a:lvl9pPr>
          </a:lstStyle>
          <a:p>
            <a:endParaRPr/>
          </a:p>
        </p:txBody>
      </p:sp>
      <p:pic>
        <p:nvPicPr>
          <p:cNvPr id="19506" name="Google Shape;19506;p2145" descr="A picture containing logo&#10;&#10;Description automatically generated"/>
          <p:cNvPicPr preferRelativeResize="0"/>
          <p:nvPr/>
        </p:nvPicPr>
        <p:blipFill rotWithShape="1">
          <a:blip r:embed="rId3">
            <a:alphaModFix/>
          </a:blip>
          <a:srcRect/>
          <a:stretch/>
        </p:blipFill>
        <p:spPr>
          <a:xfrm>
            <a:off x="380607" y="369352"/>
            <a:ext cx="2020713" cy="924369"/>
          </a:xfrm>
          <a:prstGeom prst="rect">
            <a:avLst/>
          </a:prstGeom>
          <a:noFill/>
          <a:ln>
            <a:noFill/>
          </a:ln>
        </p:spPr>
      </p:pic>
    </p:spTree>
  </p:cSld>
  <p:clrMapOvr>
    <a:masterClrMapping/>
  </p:clrMapOvr>
</p:sldLayout>
</file>

<file path=ppt/slideLayouts/slideLayout2064.xml><?xml version="1.0" encoding="utf-8"?>
<p:sldLayout xmlns:a="http://schemas.openxmlformats.org/drawingml/2006/main" xmlns:r="http://schemas.openxmlformats.org/officeDocument/2006/relationships" xmlns:p="http://schemas.openxmlformats.org/presentationml/2006/main" matchingName="agenda">
  <p:cSld name="agenda">
    <p:bg>
      <p:bgPr>
        <a:solidFill>
          <a:schemeClr val="lt1"/>
        </a:solidFill>
        <a:effectLst/>
      </p:bgPr>
    </p:bg>
    <p:spTree>
      <p:nvGrpSpPr>
        <p:cNvPr id="1" name="Shape 19507"/>
        <p:cNvGrpSpPr/>
        <p:nvPr/>
      </p:nvGrpSpPr>
      <p:grpSpPr>
        <a:xfrm>
          <a:off x="0" y="0"/>
          <a:ext cx="0" cy="0"/>
          <a:chOff x="0" y="0"/>
          <a:chExt cx="0" cy="0"/>
        </a:xfrm>
      </p:grpSpPr>
      <p:pic>
        <p:nvPicPr>
          <p:cNvPr id="19508" name="Google Shape;19508;p2146"/>
          <p:cNvPicPr preferRelativeResize="0"/>
          <p:nvPr/>
        </p:nvPicPr>
        <p:blipFill rotWithShape="1">
          <a:blip r:embed="rId2">
            <a:alphaModFix/>
          </a:blip>
          <a:srcRect/>
          <a:stretch/>
        </p:blipFill>
        <p:spPr>
          <a:xfrm>
            <a:off x="2" y="3572"/>
            <a:ext cx="12191999" cy="6858000"/>
          </a:xfrm>
          <a:prstGeom prst="rect">
            <a:avLst/>
          </a:prstGeom>
          <a:noFill/>
          <a:ln>
            <a:noFill/>
          </a:ln>
        </p:spPr>
      </p:pic>
      <p:sp>
        <p:nvSpPr>
          <p:cNvPr id="19509" name="Google Shape;19509;p2146"/>
          <p:cNvSpPr txBox="1">
            <a:spLocks noGrp="1"/>
          </p:cNvSpPr>
          <p:nvPr>
            <p:ph type="dt" idx="10"/>
          </p:nvPr>
        </p:nvSpPr>
        <p:spPr>
          <a:xfrm>
            <a:off x="6210300" y="6362701"/>
            <a:ext cx="1695450" cy="231921"/>
          </a:xfrm>
          <a:prstGeom prst="rect">
            <a:avLst/>
          </a:prstGeom>
          <a:noFill/>
          <a:ln>
            <a:noFill/>
          </a:ln>
        </p:spPr>
        <p:txBody>
          <a:bodyPr spcFirstLastPara="1" wrap="square" lIns="0" tIns="0" rIns="0" bIns="0" anchor="b" anchorCtr="0">
            <a:noAutofit/>
          </a:bodyPr>
          <a:lstStyle>
            <a:lvl1pPr marR="0" lvl="0" algn="l"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9510" name="Google Shape;19510;p2146"/>
          <p:cNvSpPr txBox="1">
            <a:spLocks noGrp="1"/>
          </p:cNvSpPr>
          <p:nvPr>
            <p:ph type="ftr" idx="11"/>
          </p:nvPr>
        </p:nvSpPr>
        <p:spPr>
          <a:xfrm>
            <a:off x="773048" y="6364784"/>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9511" name="Google Shape;19511;p2146"/>
          <p:cNvSpPr txBox="1">
            <a:spLocks noGrp="1"/>
          </p:cNvSpPr>
          <p:nvPr>
            <p:ph type="sldNum" idx="12"/>
          </p:nvPr>
        </p:nvSpPr>
        <p:spPr>
          <a:xfrm>
            <a:off x="457199" y="6362702"/>
            <a:ext cx="315849" cy="231921"/>
          </a:xfrm>
          <a:prstGeom prst="rect">
            <a:avLst/>
          </a:prstGeom>
          <a:noFill/>
          <a:ln>
            <a:noFill/>
          </a:ln>
        </p:spPr>
        <p:txBody>
          <a:bodyPr spcFirstLastPara="1" wrap="square" lIns="0" tIns="0" rIns="0" bIns="0" anchor="b" anchorCtr="0">
            <a:noAutofit/>
          </a:bodyPr>
          <a:lstStyle>
            <a:lvl1pPr marL="0" marR="0" lvl="0"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pPr marL="0" lvl="0" indent="0" algn="l" rtl="0">
                <a:spcBef>
                  <a:spcPts val="0"/>
                </a:spcBef>
                <a:spcAft>
                  <a:spcPts val="0"/>
                </a:spcAft>
                <a:buNone/>
              </a:pPr>
              <a:t>‹#›</a:t>
            </a:fld>
            <a:endParaRPr/>
          </a:p>
        </p:txBody>
      </p:sp>
      <p:sp>
        <p:nvSpPr>
          <p:cNvPr id="19512" name="Google Shape;19512;p2146"/>
          <p:cNvSpPr txBox="1">
            <a:spLocks noGrp="1"/>
          </p:cNvSpPr>
          <p:nvPr>
            <p:ph type="body" idx="1"/>
          </p:nvPr>
        </p:nvSpPr>
        <p:spPr>
          <a:xfrm>
            <a:off x="4305301" y="1781175"/>
            <a:ext cx="6156325" cy="4165600"/>
          </a:xfrm>
          <a:prstGeom prst="rect">
            <a:avLst/>
          </a:prstGeom>
          <a:noFill/>
          <a:ln>
            <a:noFill/>
          </a:ln>
        </p:spPr>
        <p:txBody>
          <a:bodyPr spcFirstLastPara="1" wrap="square" lIns="0" tIns="685800" rIns="0" bIns="0" anchor="t" anchorCtr="0">
            <a:noAutofit/>
          </a:bodyPr>
          <a:lstStyle>
            <a:lvl1pPr marL="304815" lvl="0" indent="-237079" algn="l">
              <a:lnSpc>
                <a:spcPct val="104999"/>
              </a:lnSpc>
              <a:spcBef>
                <a:spcPts val="0"/>
              </a:spcBef>
              <a:spcAft>
                <a:spcPts val="0"/>
              </a:spcAft>
              <a:buClr>
                <a:schemeClr val="accent1"/>
              </a:buClr>
              <a:buSzPts val="2000"/>
              <a:buFont typeface="Calibri"/>
              <a:buAutoNum type="arabicPeriod"/>
              <a:defRPr sz="2000" b="0">
                <a:solidFill>
                  <a:schemeClr val="accent1"/>
                </a:solidFill>
              </a:defRPr>
            </a:lvl1pPr>
            <a:lvl2pPr marL="609630" lvl="1" indent="-237079" algn="l">
              <a:lnSpc>
                <a:spcPct val="104999"/>
              </a:lnSpc>
              <a:spcBef>
                <a:spcPts val="1600"/>
              </a:spcBef>
              <a:spcAft>
                <a:spcPts val="0"/>
              </a:spcAft>
              <a:buClr>
                <a:schemeClr val="accent1"/>
              </a:buClr>
              <a:buSzPts val="2000"/>
              <a:buFont typeface="Calibri"/>
              <a:buAutoNum type="arabicPeriod"/>
              <a:defRPr sz="2000" b="0">
                <a:solidFill>
                  <a:schemeClr val="accent1"/>
                </a:solidFill>
              </a:defRPr>
            </a:lvl2pPr>
            <a:lvl3pPr marL="914446" lvl="2" indent="-228611" algn="l">
              <a:lnSpc>
                <a:spcPct val="116666"/>
              </a:lnSpc>
              <a:spcBef>
                <a:spcPts val="1600"/>
              </a:spcBef>
              <a:spcAft>
                <a:spcPts val="0"/>
              </a:spcAft>
              <a:buClr>
                <a:schemeClr val="accent1"/>
              </a:buClr>
              <a:buSzPts val="1800"/>
              <a:buFont typeface="Calibri"/>
              <a:buAutoNum type="arabicPeriod"/>
              <a:defRPr sz="1800" b="0">
                <a:solidFill>
                  <a:schemeClr val="accent1"/>
                </a:solidFill>
              </a:defRPr>
            </a:lvl3pPr>
            <a:lvl4pPr marL="1219261" lvl="3" indent="-228611" algn="l">
              <a:lnSpc>
                <a:spcPct val="116666"/>
              </a:lnSpc>
              <a:spcBef>
                <a:spcPts val="1600"/>
              </a:spcBef>
              <a:spcAft>
                <a:spcPts val="0"/>
              </a:spcAft>
              <a:buClr>
                <a:schemeClr val="accent1"/>
              </a:buClr>
              <a:buSzPts val="1800"/>
              <a:buFont typeface="Calibri"/>
              <a:buAutoNum type="arabicPeriod"/>
              <a:defRPr sz="1800" b="0">
                <a:solidFill>
                  <a:schemeClr val="accent1"/>
                </a:solidFill>
              </a:defRPr>
            </a:lvl4pPr>
            <a:lvl5pPr marL="1524076" lvl="4" indent="-228611" algn="l">
              <a:lnSpc>
                <a:spcPct val="116666"/>
              </a:lnSpc>
              <a:spcBef>
                <a:spcPts val="1600"/>
              </a:spcBef>
              <a:spcAft>
                <a:spcPts val="0"/>
              </a:spcAft>
              <a:buClr>
                <a:schemeClr val="accent1"/>
              </a:buClr>
              <a:buSzPts val="1800"/>
              <a:buFont typeface="Calibri"/>
              <a:buAutoNum type="arabicPeriod"/>
              <a:defRPr sz="1800" b="0">
                <a:solidFill>
                  <a:schemeClr val="accent1"/>
                </a:solidFill>
              </a:defRPr>
            </a:lvl5pPr>
            <a:lvl6pPr marL="1828891" lvl="5" indent="-228611" algn="l">
              <a:lnSpc>
                <a:spcPct val="116666"/>
              </a:lnSpc>
              <a:spcBef>
                <a:spcPts val="1600"/>
              </a:spcBef>
              <a:spcAft>
                <a:spcPts val="0"/>
              </a:spcAft>
              <a:buClr>
                <a:schemeClr val="accent1"/>
              </a:buClr>
              <a:buSzPts val="1800"/>
              <a:buFont typeface="Calibri"/>
              <a:buAutoNum type="arabicPeriod"/>
              <a:defRPr sz="1800" b="0">
                <a:solidFill>
                  <a:schemeClr val="accent1"/>
                </a:solidFill>
              </a:defRPr>
            </a:lvl6pPr>
            <a:lvl7pPr marL="2133707" lvl="6" indent="-228611" algn="l">
              <a:lnSpc>
                <a:spcPct val="116666"/>
              </a:lnSpc>
              <a:spcBef>
                <a:spcPts val="1600"/>
              </a:spcBef>
              <a:spcAft>
                <a:spcPts val="0"/>
              </a:spcAft>
              <a:buClr>
                <a:schemeClr val="accent1"/>
              </a:buClr>
              <a:buSzPts val="1800"/>
              <a:buFont typeface="Calibri"/>
              <a:buAutoNum type="arabicPeriod"/>
              <a:defRPr sz="1800" b="0">
                <a:solidFill>
                  <a:schemeClr val="accent1"/>
                </a:solidFill>
              </a:defRPr>
            </a:lvl7pPr>
            <a:lvl8pPr marL="2438522" lvl="7" indent="-228611" algn="l">
              <a:lnSpc>
                <a:spcPct val="116666"/>
              </a:lnSpc>
              <a:spcBef>
                <a:spcPts val="1600"/>
              </a:spcBef>
              <a:spcAft>
                <a:spcPts val="0"/>
              </a:spcAft>
              <a:buClr>
                <a:schemeClr val="accent1"/>
              </a:buClr>
              <a:buSzPts val="1800"/>
              <a:buFont typeface="Calibri"/>
              <a:buAutoNum type="arabicPeriod"/>
              <a:defRPr sz="1800" b="0">
                <a:solidFill>
                  <a:schemeClr val="accent1"/>
                </a:solidFill>
              </a:defRPr>
            </a:lvl8pPr>
            <a:lvl9pPr marL="2743337" lvl="8" indent="-228611" algn="l">
              <a:lnSpc>
                <a:spcPct val="116666"/>
              </a:lnSpc>
              <a:spcBef>
                <a:spcPts val="1600"/>
              </a:spcBef>
              <a:spcAft>
                <a:spcPts val="1600"/>
              </a:spcAft>
              <a:buClr>
                <a:schemeClr val="accent1"/>
              </a:buClr>
              <a:buSzPts val="1800"/>
              <a:buFont typeface="Calibri"/>
              <a:buAutoNum type="arabicPeriod"/>
              <a:defRPr sz="1800" b="0">
                <a:solidFill>
                  <a:schemeClr val="accent1"/>
                </a:solidFill>
              </a:defRPr>
            </a:lvl9pPr>
          </a:lstStyle>
          <a:p>
            <a:endParaRPr/>
          </a:p>
        </p:txBody>
      </p:sp>
      <p:sp>
        <p:nvSpPr>
          <p:cNvPr id="19513" name="Google Shape;19513;p2146"/>
          <p:cNvSpPr txBox="1"/>
          <p:nvPr/>
        </p:nvSpPr>
        <p:spPr>
          <a:xfrm>
            <a:off x="1736725" y="-1782"/>
            <a:ext cx="2336800" cy="1781173"/>
          </a:xfrm>
          <a:prstGeom prst="rect">
            <a:avLst/>
          </a:prstGeom>
          <a:noFill/>
          <a:ln>
            <a:noFill/>
          </a:ln>
        </p:spPr>
        <p:txBody>
          <a:bodyPr spcFirstLastPara="1" wrap="square" lIns="0" tIns="0" rIns="0" bIns="128000" anchor="b" anchorCtr="0">
            <a:noAutofit/>
          </a:bodyPr>
          <a:lstStyle/>
          <a:p>
            <a:pPr marL="0" marR="0" lvl="0" indent="0" algn="l" rtl="0">
              <a:lnSpc>
                <a:spcPct val="77272"/>
              </a:lnSpc>
              <a:spcBef>
                <a:spcPts val="0"/>
              </a:spcBef>
              <a:spcAft>
                <a:spcPts val="0"/>
              </a:spcAft>
              <a:buClr>
                <a:schemeClr val="lt1"/>
              </a:buClr>
              <a:buSzPts val="4400"/>
              <a:buFont typeface="Calibri"/>
              <a:buNone/>
            </a:pPr>
            <a:r>
              <a:rPr lang="en-US" sz="4400" b="1" i="0" u="none" strike="noStrike" cap="none">
                <a:solidFill>
                  <a:schemeClr val="lt1"/>
                </a:solidFill>
                <a:latin typeface="Calibri"/>
                <a:ea typeface="Calibri"/>
                <a:cs typeface="Calibri"/>
                <a:sym typeface="Calibri"/>
              </a:rPr>
              <a:t>Agenda</a:t>
            </a:r>
            <a:endParaRPr sz="1800">
              <a:solidFill>
                <a:schemeClr val="dk1"/>
              </a:solidFill>
              <a:latin typeface="Calibri"/>
              <a:ea typeface="Calibri"/>
              <a:cs typeface="Calibri"/>
              <a:sym typeface="Calibri"/>
            </a:endParaRPr>
          </a:p>
        </p:txBody>
      </p:sp>
      <p:pic>
        <p:nvPicPr>
          <p:cNvPr id="19514" name="Google Shape;19514;p2146"/>
          <p:cNvPicPr preferRelativeResize="0"/>
          <p:nvPr/>
        </p:nvPicPr>
        <p:blipFill rotWithShape="1">
          <a:blip r:embed="rId3">
            <a:alphaModFix/>
          </a:blip>
          <a:srcRect/>
          <a:stretch/>
        </p:blipFill>
        <p:spPr>
          <a:xfrm>
            <a:off x="9810446" y="6358648"/>
            <a:ext cx="2016517" cy="235975"/>
          </a:xfrm>
          <a:prstGeom prst="rect">
            <a:avLst/>
          </a:prstGeom>
          <a:noFill/>
          <a:ln>
            <a:noFill/>
          </a:ln>
        </p:spPr>
      </p:pic>
    </p:spTree>
  </p:cSld>
  <p:clrMapOvr>
    <a:masterClrMapping/>
  </p:clrMapOvr>
</p:sldLayout>
</file>

<file path=ppt/slideLayouts/slideLayout2065.xml><?xml version="1.0" encoding="utf-8"?>
<p:sldLayout xmlns:a="http://schemas.openxmlformats.org/drawingml/2006/main" xmlns:r="http://schemas.openxmlformats.org/officeDocument/2006/relationships" xmlns:p="http://schemas.openxmlformats.org/presentationml/2006/main" matchingName="2_divider_1">
  <p:cSld name="2_divider_1">
    <p:spTree>
      <p:nvGrpSpPr>
        <p:cNvPr id="1" name="Shape 19515"/>
        <p:cNvGrpSpPr/>
        <p:nvPr/>
      </p:nvGrpSpPr>
      <p:grpSpPr>
        <a:xfrm>
          <a:off x="0" y="0"/>
          <a:ext cx="0" cy="0"/>
          <a:chOff x="0" y="0"/>
          <a:chExt cx="0" cy="0"/>
        </a:xfrm>
      </p:grpSpPr>
      <p:pic>
        <p:nvPicPr>
          <p:cNvPr id="19516" name="Google Shape;19516;p2147"/>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9517" name="Google Shape;19517;p2147"/>
          <p:cNvSpPr txBox="1">
            <a:spLocks noGrp="1"/>
          </p:cNvSpPr>
          <p:nvPr>
            <p:ph type="title"/>
          </p:nvPr>
        </p:nvSpPr>
        <p:spPr>
          <a:xfrm>
            <a:off x="457200" y="1781176"/>
            <a:ext cx="7448551" cy="4165600"/>
          </a:xfrm>
          <a:prstGeom prst="rect">
            <a:avLst/>
          </a:prstGeom>
          <a:noFill/>
          <a:ln>
            <a:noFill/>
          </a:ln>
        </p:spPr>
        <p:txBody>
          <a:bodyPr spcFirstLastPara="1" wrap="square" lIns="0" tIns="1234425" rIns="0" bIns="0" anchor="t" anchorCtr="0">
            <a:noAutofit/>
          </a:bodyPr>
          <a:lstStyle>
            <a:lvl1pPr lvl="0" algn="l">
              <a:lnSpc>
                <a:spcPct val="100000"/>
              </a:lnSpc>
              <a:spcBef>
                <a:spcPts val="0"/>
              </a:spcBef>
              <a:spcAft>
                <a:spcPts val="0"/>
              </a:spcAft>
              <a:buClr>
                <a:schemeClr val="accent1"/>
              </a:buClr>
              <a:buSzPts val="4000"/>
              <a:buFont typeface="Calibri"/>
              <a:buNone/>
              <a:defRPr sz="4000" b="1">
                <a:solidFill>
                  <a:schemeClr val="accen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518" name="Google Shape;19518;p2147"/>
          <p:cNvSpPr txBox="1">
            <a:spLocks noGrp="1"/>
          </p:cNvSpPr>
          <p:nvPr>
            <p:ph type="dt" idx="10"/>
          </p:nvPr>
        </p:nvSpPr>
        <p:spPr>
          <a:xfrm>
            <a:off x="6210300" y="6362701"/>
            <a:ext cx="1695450" cy="231921"/>
          </a:xfrm>
          <a:prstGeom prst="rect">
            <a:avLst/>
          </a:prstGeom>
          <a:noFill/>
          <a:ln>
            <a:noFill/>
          </a:ln>
        </p:spPr>
        <p:txBody>
          <a:bodyPr spcFirstLastPara="1" wrap="square" lIns="0" tIns="0" rIns="0" bIns="0" anchor="b" anchorCtr="0">
            <a:noAutofit/>
          </a:bodyPr>
          <a:lstStyle>
            <a:lvl1pPr marR="0" lvl="0" algn="l" rtl="0">
              <a:spcBef>
                <a:spcPts val="0"/>
              </a:spcBef>
              <a:spcAft>
                <a:spcPts val="0"/>
              </a:spcAft>
              <a:buClr>
                <a:schemeClr val="dk2"/>
              </a:buClr>
              <a:buSzPts val="1400"/>
              <a:buFont typeface="Calibri"/>
              <a:buNone/>
              <a:defRPr sz="1800">
                <a:solidFill>
                  <a:schemeClr val="dk2"/>
                </a:solidFill>
                <a:latin typeface="Calibri"/>
                <a:ea typeface="Calibri"/>
                <a:cs typeface="Calibri"/>
                <a:sym typeface="Calibri"/>
              </a:defRPr>
            </a:lvl1pPr>
            <a:lvl2pPr marR="0" lvl="1"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2pPr>
            <a:lvl3pPr marR="0" lvl="2"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3pPr>
            <a:lvl4pPr marR="0" lvl="3"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4pPr>
            <a:lvl5pPr marR="0" lvl="4"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5pPr>
            <a:lvl6pPr marR="0" lvl="5"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6pPr>
            <a:lvl7pPr marR="0" lvl="6"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7pPr>
            <a:lvl8pPr marR="0" lvl="7"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8pPr>
            <a:lvl9pPr marR="0" lvl="8"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9pPr>
          </a:lstStyle>
          <a:p>
            <a:endParaRPr/>
          </a:p>
        </p:txBody>
      </p:sp>
      <p:sp>
        <p:nvSpPr>
          <p:cNvPr id="19519" name="Google Shape;19519;p2147"/>
          <p:cNvSpPr txBox="1">
            <a:spLocks noGrp="1"/>
          </p:cNvSpPr>
          <p:nvPr>
            <p:ph type="ftr" idx="11"/>
          </p:nvPr>
        </p:nvSpPr>
        <p:spPr>
          <a:xfrm>
            <a:off x="773048" y="6364784"/>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Clr>
                <a:schemeClr val="dk2"/>
              </a:buClr>
              <a:buSzPts val="1400"/>
              <a:buFont typeface="Calibri"/>
              <a:buNone/>
              <a:defRPr>
                <a:solidFill>
                  <a:schemeClr val="dk2"/>
                </a:solidFill>
              </a:defRPr>
            </a:lvl1pPr>
            <a:lvl2pPr lvl="1" algn="l">
              <a:spcBef>
                <a:spcPts val="0"/>
              </a:spcBef>
              <a:spcAft>
                <a:spcPts val="0"/>
              </a:spcAft>
              <a:buClr>
                <a:schemeClr val="lt1"/>
              </a:buClr>
              <a:buSzPts val="1400"/>
              <a:buFont typeface="Calibri"/>
              <a:buNone/>
              <a:defRPr>
                <a:solidFill>
                  <a:schemeClr val="lt1"/>
                </a:solidFill>
              </a:defRPr>
            </a:lvl2pPr>
            <a:lvl3pPr lvl="2" algn="l">
              <a:spcBef>
                <a:spcPts val="0"/>
              </a:spcBef>
              <a:spcAft>
                <a:spcPts val="0"/>
              </a:spcAft>
              <a:buClr>
                <a:schemeClr val="lt1"/>
              </a:buClr>
              <a:buSzPts val="1400"/>
              <a:buFont typeface="Calibri"/>
              <a:buNone/>
              <a:defRPr>
                <a:solidFill>
                  <a:schemeClr val="lt1"/>
                </a:solidFill>
              </a:defRPr>
            </a:lvl3pPr>
            <a:lvl4pPr lvl="3" algn="l">
              <a:spcBef>
                <a:spcPts val="0"/>
              </a:spcBef>
              <a:spcAft>
                <a:spcPts val="0"/>
              </a:spcAft>
              <a:buClr>
                <a:schemeClr val="lt1"/>
              </a:buClr>
              <a:buSzPts val="1400"/>
              <a:buFont typeface="Calibri"/>
              <a:buNone/>
              <a:defRPr>
                <a:solidFill>
                  <a:schemeClr val="lt1"/>
                </a:solidFill>
              </a:defRPr>
            </a:lvl4pPr>
            <a:lvl5pPr lvl="4" algn="l">
              <a:spcBef>
                <a:spcPts val="0"/>
              </a:spcBef>
              <a:spcAft>
                <a:spcPts val="0"/>
              </a:spcAft>
              <a:buClr>
                <a:schemeClr val="lt1"/>
              </a:buClr>
              <a:buSzPts val="1400"/>
              <a:buFont typeface="Calibri"/>
              <a:buNone/>
              <a:defRPr>
                <a:solidFill>
                  <a:schemeClr val="lt1"/>
                </a:solidFill>
              </a:defRPr>
            </a:lvl5pPr>
            <a:lvl6pPr lvl="5" algn="l">
              <a:spcBef>
                <a:spcPts val="0"/>
              </a:spcBef>
              <a:spcAft>
                <a:spcPts val="0"/>
              </a:spcAft>
              <a:buClr>
                <a:schemeClr val="lt1"/>
              </a:buClr>
              <a:buSzPts val="1400"/>
              <a:buFont typeface="Calibri"/>
              <a:buNone/>
              <a:defRPr>
                <a:solidFill>
                  <a:schemeClr val="lt1"/>
                </a:solidFill>
              </a:defRPr>
            </a:lvl6pPr>
            <a:lvl7pPr lvl="6" algn="l">
              <a:spcBef>
                <a:spcPts val="0"/>
              </a:spcBef>
              <a:spcAft>
                <a:spcPts val="0"/>
              </a:spcAft>
              <a:buClr>
                <a:schemeClr val="lt1"/>
              </a:buClr>
              <a:buSzPts val="1400"/>
              <a:buFont typeface="Calibri"/>
              <a:buNone/>
              <a:defRPr>
                <a:solidFill>
                  <a:schemeClr val="lt1"/>
                </a:solidFill>
              </a:defRPr>
            </a:lvl7pPr>
            <a:lvl8pPr lvl="7" algn="l">
              <a:spcBef>
                <a:spcPts val="0"/>
              </a:spcBef>
              <a:spcAft>
                <a:spcPts val="0"/>
              </a:spcAft>
              <a:buClr>
                <a:schemeClr val="lt1"/>
              </a:buClr>
              <a:buSzPts val="1400"/>
              <a:buFont typeface="Calibri"/>
              <a:buNone/>
              <a:defRPr>
                <a:solidFill>
                  <a:schemeClr val="lt1"/>
                </a:solidFill>
              </a:defRPr>
            </a:lvl8pPr>
            <a:lvl9pPr lvl="8" algn="l">
              <a:spcBef>
                <a:spcPts val="0"/>
              </a:spcBef>
              <a:spcAft>
                <a:spcPts val="0"/>
              </a:spcAft>
              <a:buClr>
                <a:schemeClr val="lt1"/>
              </a:buClr>
              <a:buSzPts val="1400"/>
              <a:buFont typeface="Calibri"/>
              <a:buNone/>
              <a:defRPr>
                <a:solidFill>
                  <a:schemeClr val="lt1"/>
                </a:solidFill>
              </a:defRPr>
            </a:lvl9pPr>
          </a:lstStyle>
          <a:p>
            <a:endParaRPr/>
          </a:p>
        </p:txBody>
      </p:sp>
      <p:sp>
        <p:nvSpPr>
          <p:cNvPr id="19520" name="Google Shape;19520;p2147"/>
          <p:cNvSpPr txBox="1">
            <a:spLocks noGrp="1"/>
          </p:cNvSpPr>
          <p:nvPr>
            <p:ph type="sldNum" idx="12"/>
          </p:nvPr>
        </p:nvSpPr>
        <p:spPr>
          <a:xfrm>
            <a:off x="457199" y="6362702"/>
            <a:ext cx="315849" cy="231921"/>
          </a:xfrm>
          <a:prstGeom prst="rect">
            <a:avLst/>
          </a:prstGeom>
          <a:noFill/>
          <a:ln>
            <a:noFill/>
          </a:ln>
        </p:spPr>
        <p:txBody>
          <a:bodyPr spcFirstLastPara="1" wrap="square" lIns="0" tIns="0" rIns="0" bIns="0" anchor="b" anchorCtr="0">
            <a:noAutofit/>
          </a:bodyPr>
          <a:lstStyle>
            <a:lvl1pPr marL="0" marR="0" lvl="0"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1pPr>
            <a:lvl2pPr marL="0" marR="0" lvl="1"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2pPr>
            <a:lvl3pPr marL="0" marR="0" lvl="2"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3pPr>
            <a:lvl4pPr marL="0" marR="0" lvl="3"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4pPr>
            <a:lvl5pPr marL="0" marR="0" lvl="4"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5pPr>
            <a:lvl6pPr marL="0" marR="0" lvl="5"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6pPr>
            <a:lvl7pPr marL="0" marR="0" lvl="6"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7pPr>
            <a:lvl8pPr marL="0" marR="0" lvl="7"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8pPr>
            <a:lvl9pPr marL="0" marR="0" lvl="8"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pPr marL="0" lvl="0" indent="0" algn="l" rtl="0">
                <a:spcBef>
                  <a:spcPts val="0"/>
                </a:spcBef>
                <a:spcAft>
                  <a:spcPts val="0"/>
                </a:spcAft>
                <a:buNone/>
              </a:pPr>
              <a:t>‹#›</a:t>
            </a:fld>
            <a:endParaRPr/>
          </a:p>
        </p:txBody>
      </p:sp>
      <p:pic>
        <p:nvPicPr>
          <p:cNvPr id="19521" name="Google Shape;19521;p2147"/>
          <p:cNvPicPr preferRelativeResize="0"/>
          <p:nvPr/>
        </p:nvPicPr>
        <p:blipFill rotWithShape="1">
          <a:blip r:embed="rId3">
            <a:alphaModFix/>
          </a:blip>
          <a:srcRect/>
          <a:stretch/>
        </p:blipFill>
        <p:spPr>
          <a:xfrm>
            <a:off x="9724642" y="6358648"/>
            <a:ext cx="2016509" cy="235974"/>
          </a:xfrm>
          <a:prstGeom prst="rect">
            <a:avLst/>
          </a:prstGeom>
          <a:noFill/>
          <a:ln>
            <a:noFill/>
          </a:ln>
        </p:spPr>
      </p:pic>
    </p:spTree>
  </p:cSld>
  <p:clrMapOvr>
    <a:masterClrMapping/>
  </p:clrMapOvr>
</p:sldLayout>
</file>

<file path=ppt/slideLayouts/slideLayout2066.xml><?xml version="1.0" encoding="utf-8"?>
<p:sldLayout xmlns:a="http://schemas.openxmlformats.org/drawingml/2006/main" xmlns:r="http://schemas.openxmlformats.org/officeDocument/2006/relationships" xmlns:p="http://schemas.openxmlformats.org/presentationml/2006/main" matchingName="content_1_column">
  <p:cSld name="content_1_column">
    <p:bg>
      <p:bgPr>
        <a:solidFill>
          <a:schemeClr val="lt1"/>
        </a:solidFill>
        <a:effectLst/>
      </p:bgPr>
    </p:bg>
    <p:spTree>
      <p:nvGrpSpPr>
        <p:cNvPr id="1" name="Shape 19522"/>
        <p:cNvGrpSpPr/>
        <p:nvPr/>
      </p:nvGrpSpPr>
      <p:grpSpPr>
        <a:xfrm>
          <a:off x="0" y="0"/>
          <a:ext cx="0" cy="0"/>
          <a:chOff x="0" y="0"/>
          <a:chExt cx="0" cy="0"/>
        </a:xfrm>
      </p:grpSpPr>
      <p:pic>
        <p:nvPicPr>
          <p:cNvPr id="19523" name="Google Shape;19523;p2148"/>
          <p:cNvPicPr preferRelativeResize="0"/>
          <p:nvPr/>
        </p:nvPicPr>
        <p:blipFill rotWithShape="1">
          <a:blip r:embed="rId2">
            <a:alphaModFix/>
          </a:blip>
          <a:srcRect/>
          <a:stretch/>
        </p:blipFill>
        <p:spPr>
          <a:xfrm>
            <a:off x="0" y="1"/>
            <a:ext cx="12192000" cy="6850855"/>
          </a:xfrm>
          <a:prstGeom prst="rect">
            <a:avLst/>
          </a:prstGeom>
          <a:noFill/>
          <a:ln>
            <a:noFill/>
          </a:ln>
        </p:spPr>
      </p:pic>
      <p:sp>
        <p:nvSpPr>
          <p:cNvPr id="19524" name="Google Shape;19524;p2148"/>
          <p:cNvSpPr txBox="1">
            <a:spLocks noGrp="1"/>
          </p:cNvSpPr>
          <p:nvPr>
            <p:ph type="dt" idx="10"/>
          </p:nvPr>
        </p:nvSpPr>
        <p:spPr>
          <a:xfrm>
            <a:off x="6210300" y="6362701"/>
            <a:ext cx="1695450" cy="231921"/>
          </a:xfrm>
          <a:prstGeom prst="rect">
            <a:avLst/>
          </a:prstGeom>
          <a:noFill/>
          <a:ln>
            <a:noFill/>
          </a:ln>
        </p:spPr>
        <p:txBody>
          <a:bodyPr spcFirstLastPara="1" wrap="square" lIns="0" tIns="0" rIns="0" bIns="0" anchor="b" anchorCtr="0">
            <a:noAutofit/>
          </a:bodyPr>
          <a:lstStyle>
            <a:lvl1pPr marR="0" lvl="0" algn="l"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9525" name="Google Shape;19525;p2148"/>
          <p:cNvSpPr txBox="1">
            <a:spLocks noGrp="1"/>
          </p:cNvSpPr>
          <p:nvPr>
            <p:ph type="ftr" idx="11"/>
          </p:nvPr>
        </p:nvSpPr>
        <p:spPr>
          <a:xfrm>
            <a:off x="773048" y="6364784"/>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9526" name="Google Shape;19526;p2148"/>
          <p:cNvSpPr txBox="1">
            <a:spLocks noGrp="1"/>
          </p:cNvSpPr>
          <p:nvPr>
            <p:ph type="sldNum" idx="12"/>
          </p:nvPr>
        </p:nvSpPr>
        <p:spPr>
          <a:xfrm>
            <a:off x="457199" y="6362702"/>
            <a:ext cx="315849" cy="231921"/>
          </a:xfrm>
          <a:prstGeom prst="rect">
            <a:avLst/>
          </a:prstGeom>
          <a:noFill/>
          <a:ln>
            <a:noFill/>
          </a:ln>
        </p:spPr>
        <p:txBody>
          <a:bodyPr spcFirstLastPara="1" wrap="square" lIns="0" tIns="0" rIns="0" bIns="0" anchor="b" anchorCtr="0">
            <a:noAutofit/>
          </a:bodyPr>
          <a:lstStyle>
            <a:lvl1pPr marL="0" marR="0" lvl="0"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pPr marL="0" lvl="0" indent="0" algn="l" rtl="0">
                <a:spcBef>
                  <a:spcPts val="0"/>
                </a:spcBef>
                <a:spcAft>
                  <a:spcPts val="0"/>
                </a:spcAft>
                <a:buNone/>
              </a:pPr>
              <a:t>‹#›</a:t>
            </a:fld>
            <a:endParaRPr/>
          </a:p>
        </p:txBody>
      </p:sp>
      <p:sp>
        <p:nvSpPr>
          <p:cNvPr id="19527" name="Google Shape;19527;p2148"/>
          <p:cNvSpPr txBox="1">
            <a:spLocks noGrp="1"/>
          </p:cNvSpPr>
          <p:nvPr>
            <p:ph type="title"/>
          </p:nvPr>
        </p:nvSpPr>
        <p:spPr>
          <a:xfrm>
            <a:off x="457201" y="460375"/>
            <a:ext cx="10004425" cy="1063625"/>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accent1"/>
              </a:buClr>
              <a:buSzPts val="4000"/>
              <a:buFont typeface="Calibri"/>
              <a:buNone/>
              <a:defRPr sz="4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528" name="Google Shape;19528;p2148"/>
          <p:cNvPicPr preferRelativeResize="0"/>
          <p:nvPr/>
        </p:nvPicPr>
        <p:blipFill rotWithShape="1">
          <a:blip r:embed="rId3">
            <a:alphaModFix/>
          </a:blip>
          <a:srcRect/>
          <a:stretch/>
        </p:blipFill>
        <p:spPr>
          <a:xfrm>
            <a:off x="9810446" y="6358648"/>
            <a:ext cx="2016517" cy="235975"/>
          </a:xfrm>
          <a:prstGeom prst="rect">
            <a:avLst/>
          </a:prstGeom>
          <a:noFill/>
          <a:ln>
            <a:noFill/>
          </a:ln>
        </p:spPr>
      </p:pic>
      <p:sp>
        <p:nvSpPr>
          <p:cNvPr id="19529" name="Google Shape;19529;p2148"/>
          <p:cNvSpPr txBox="1">
            <a:spLocks noGrp="1"/>
          </p:cNvSpPr>
          <p:nvPr>
            <p:ph type="body" idx="1"/>
          </p:nvPr>
        </p:nvSpPr>
        <p:spPr>
          <a:xfrm>
            <a:off x="457199" y="1781175"/>
            <a:ext cx="10004427" cy="4165600"/>
          </a:xfrm>
          <a:prstGeom prst="rect">
            <a:avLst/>
          </a:prstGeom>
          <a:noFill/>
          <a:ln>
            <a:noFill/>
          </a:ln>
        </p:spPr>
        <p:txBody>
          <a:bodyPr spcFirstLastPara="1" wrap="square" lIns="0" tIns="0" rIns="0" bIns="0" anchor="t" anchorCtr="0">
            <a:normAutofit/>
          </a:bodyPr>
          <a:lstStyle>
            <a:lvl1pPr marL="304815" lvl="0" indent="-152408" algn="l">
              <a:lnSpc>
                <a:spcPct val="100000"/>
              </a:lnSpc>
              <a:spcBef>
                <a:spcPts val="0"/>
              </a:spcBef>
              <a:spcAft>
                <a:spcPts val="0"/>
              </a:spcAft>
              <a:buClr>
                <a:schemeClr val="dk2"/>
              </a:buClr>
              <a:buSzPts val="1800"/>
              <a:buNone/>
              <a:defRPr/>
            </a:lvl1pPr>
            <a:lvl2pPr marL="609630" lvl="1" indent="-152408" algn="l">
              <a:lnSpc>
                <a:spcPct val="100000"/>
              </a:lnSpc>
              <a:spcBef>
                <a:spcPts val="1200"/>
              </a:spcBef>
              <a:spcAft>
                <a:spcPts val="0"/>
              </a:spcAft>
              <a:buSzPts val="1800"/>
              <a:buNone/>
              <a:defRPr/>
            </a:lvl2pPr>
            <a:lvl3pPr marL="914446" lvl="2" indent="-237079" algn="l">
              <a:lnSpc>
                <a:spcPct val="100000"/>
              </a:lnSpc>
              <a:spcBef>
                <a:spcPts val="1200"/>
              </a:spcBef>
              <a:spcAft>
                <a:spcPts val="0"/>
              </a:spcAft>
              <a:buSzPts val="2000"/>
              <a:buChar char="•"/>
              <a:defRPr/>
            </a:lvl3pPr>
            <a:lvl4pPr marL="1219261" lvl="3" indent="-228611" algn="l">
              <a:lnSpc>
                <a:spcPct val="100000"/>
              </a:lnSpc>
              <a:spcBef>
                <a:spcPts val="600"/>
              </a:spcBef>
              <a:spcAft>
                <a:spcPts val="0"/>
              </a:spcAft>
              <a:buSzPts val="1800"/>
              <a:buChar char="•"/>
              <a:defRPr/>
            </a:lvl4pPr>
            <a:lvl5pPr marL="1524076" lvl="4" indent="-228611" algn="l">
              <a:lnSpc>
                <a:spcPct val="100000"/>
              </a:lnSpc>
              <a:spcBef>
                <a:spcPts val="600"/>
              </a:spcBef>
              <a:spcAft>
                <a:spcPts val="0"/>
              </a:spcAft>
              <a:buSzPts val="1800"/>
              <a:buChar char="•"/>
              <a:defRPr/>
            </a:lvl5pPr>
            <a:lvl6pPr marL="1828891" lvl="5" indent="-228611" algn="l">
              <a:lnSpc>
                <a:spcPct val="116666"/>
              </a:lnSpc>
              <a:spcBef>
                <a:spcPts val="600"/>
              </a:spcBef>
              <a:spcAft>
                <a:spcPts val="0"/>
              </a:spcAft>
              <a:buClr>
                <a:schemeClr val="dk1"/>
              </a:buClr>
              <a:buSzPts val="1800"/>
              <a:buChar char="•"/>
              <a:defRPr/>
            </a:lvl6pPr>
            <a:lvl7pPr marL="2133707" lvl="6" indent="-228611" algn="l">
              <a:lnSpc>
                <a:spcPct val="116666"/>
              </a:lnSpc>
              <a:spcBef>
                <a:spcPts val="1200"/>
              </a:spcBef>
              <a:spcAft>
                <a:spcPts val="0"/>
              </a:spcAft>
              <a:buClr>
                <a:schemeClr val="dk1"/>
              </a:buClr>
              <a:buSzPts val="1800"/>
              <a:buChar char="•"/>
              <a:defRPr/>
            </a:lvl7pPr>
            <a:lvl8pPr marL="2438522" lvl="7" indent="-228611" algn="l">
              <a:lnSpc>
                <a:spcPct val="116666"/>
              </a:lnSpc>
              <a:spcBef>
                <a:spcPts val="1200"/>
              </a:spcBef>
              <a:spcAft>
                <a:spcPts val="0"/>
              </a:spcAft>
              <a:buClr>
                <a:schemeClr val="dk1"/>
              </a:buClr>
              <a:buSzPts val="1800"/>
              <a:buChar char="•"/>
              <a:defRPr/>
            </a:lvl8pPr>
            <a:lvl9pPr marL="2743337" lvl="8" indent="-228611" algn="l">
              <a:lnSpc>
                <a:spcPct val="116666"/>
              </a:lnSpc>
              <a:spcBef>
                <a:spcPts val="1200"/>
              </a:spcBef>
              <a:spcAft>
                <a:spcPts val="1200"/>
              </a:spcAft>
              <a:buClr>
                <a:schemeClr val="dk1"/>
              </a:buClr>
              <a:buSzPts val="1800"/>
              <a:buChar char="•"/>
              <a:defRPr/>
            </a:lvl9pPr>
          </a:lstStyle>
          <a:p>
            <a:endParaRPr/>
          </a:p>
        </p:txBody>
      </p:sp>
    </p:spTree>
  </p:cSld>
  <p:clrMapOvr>
    <a:masterClrMapping/>
  </p:clrMapOvr>
</p:sldLayout>
</file>

<file path=ppt/slideLayouts/slideLayout2067.xml><?xml version="1.0" encoding="utf-8"?>
<p:sldLayout xmlns:a="http://schemas.openxmlformats.org/drawingml/2006/main" xmlns:r="http://schemas.openxmlformats.org/officeDocument/2006/relationships" xmlns:p="http://schemas.openxmlformats.org/presentationml/2006/main" matchingName="callout_graphic">
  <p:cSld name="callout_graphic">
    <p:bg>
      <p:bgPr>
        <a:solidFill>
          <a:schemeClr val="lt1"/>
        </a:solidFill>
        <a:effectLst/>
      </p:bgPr>
    </p:bg>
    <p:spTree>
      <p:nvGrpSpPr>
        <p:cNvPr id="1" name="Shape 19530"/>
        <p:cNvGrpSpPr/>
        <p:nvPr/>
      </p:nvGrpSpPr>
      <p:grpSpPr>
        <a:xfrm>
          <a:off x="0" y="0"/>
          <a:ext cx="0" cy="0"/>
          <a:chOff x="0" y="0"/>
          <a:chExt cx="0" cy="0"/>
        </a:xfrm>
      </p:grpSpPr>
      <p:pic>
        <p:nvPicPr>
          <p:cNvPr id="19531" name="Google Shape;19531;p2149"/>
          <p:cNvPicPr preferRelativeResize="0"/>
          <p:nvPr/>
        </p:nvPicPr>
        <p:blipFill rotWithShape="1">
          <a:blip r:embed="rId2">
            <a:alphaModFix/>
          </a:blip>
          <a:srcRect/>
          <a:stretch/>
        </p:blipFill>
        <p:spPr>
          <a:xfrm>
            <a:off x="12695" y="1"/>
            <a:ext cx="12166611" cy="6850855"/>
          </a:xfrm>
          <a:prstGeom prst="rect">
            <a:avLst/>
          </a:prstGeom>
          <a:noFill/>
          <a:ln>
            <a:noFill/>
          </a:ln>
        </p:spPr>
      </p:pic>
      <p:sp>
        <p:nvSpPr>
          <p:cNvPr id="19532" name="Google Shape;19532;p2149"/>
          <p:cNvSpPr txBox="1">
            <a:spLocks noGrp="1"/>
          </p:cNvSpPr>
          <p:nvPr>
            <p:ph type="dt" idx="10"/>
          </p:nvPr>
        </p:nvSpPr>
        <p:spPr>
          <a:xfrm>
            <a:off x="6210300" y="6362701"/>
            <a:ext cx="1695450" cy="231921"/>
          </a:xfrm>
          <a:prstGeom prst="rect">
            <a:avLst/>
          </a:prstGeom>
          <a:noFill/>
          <a:ln>
            <a:noFill/>
          </a:ln>
        </p:spPr>
        <p:txBody>
          <a:bodyPr spcFirstLastPara="1" wrap="square" lIns="0" tIns="0" rIns="0" bIns="0" anchor="b" anchorCtr="0">
            <a:noAutofit/>
          </a:bodyPr>
          <a:lstStyle>
            <a:lvl1pPr marR="0" lvl="0" algn="l"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9533" name="Google Shape;19533;p2149"/>
          <p:cNvSpPr txBox="1">
            <a:spLocks noGrp="1"/>
          </p:cNvSpPr>
          <p:nvPr>
            <p:ph type="ftr" idx="11"/>
          </p:nvPr>
        </p:nvSpPr>
        <p:spPr>
          <a:xfrm>
            <a:off x="773048" y="6364784"/>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9534" name="Google Shape;19534;p2149"/>
          <p:cNvSpPr txBox="1">
            <a:spLocks noGrp="1"/>
          </p:cNvSpPr>
          <p:nvPr>
            <p:ph type="sldNum" idx="12"/>
          </p:nvPr>
        </p:nvSpPr>
        <p:spPr>
          <a:xfrm>
            <a:off x="457199" y="6362702"/>
            <a:ext cx="315849" cy="231921"/>
          </a:xfrm>
          <a:prstGeom prst="rect">
            <a:avLst/>
          </a:prstGeom>
          <a:noFill/>
          <a:ln>
            <a:noFill/>
          </a:ln>
        </p:spPr>
        <p:txBody>
          <a:bodyPr spcFirstLastPara="1" wrap="square" lIns="0" tIns="0" rIns="0" bIns="0" anchor="b" anchorCtr="0">
            <a:noAutofit/>
          </a:bodyPr>
          <a:lstStyle>
            <a:lvl1pPr marL="0" marR="0" lvl="0"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pPr marL="0" lvl="0" indent="0" algn="l" rtl="0">
                <a:spcBef>
                  <a:spcPts val="0"/>
                </a:spcBef>
                <a:spcAft>
                  <a:spcPts val="0"/>
                </a:spcAft>
                <a:buNone/>
              </a:pPr>
              <a:t>‹#›</a:t>
            </a:fld>
            <a:endParaRPr/>
          </a:p>
        </p:txBody>
      </p:sp>
      <p:sp>
        <p:nvSpPr>
          <p:cNvPr id="19535" name="Google Shape;19535;p2149"/>
          <p:cNvSpPr txBox="1">
            <a:spLocks noGrp="1"/>
          </p:cNvSpPr>
          <p:nvPr>
            <p:ph type="title"/>
          </p:nvPr>
        </p:nvSpPr>
        <p:spPr>
          <a:xfrm>
            <a:off x="457201" y="460376"/>
            <a:ext cx="6388100" cy="5486399"/>
          </a:xfrm>
          <a:prstGeom prst="rect">
            <a:avLst/>
          </a:prstGeom>
          <a:noFill/>
          <a:ln>
            <a:noFill/>
          </a:ln>
        </p:spPr>
        <p:txBody>
          <a:bodyPr spcFirstLastPara="1" wrap="square" lIns="0" tIns="274300" rIns="0" bIns="0" anchor="ctr" anchorCtr="0">
            <a:noAutofit/>
          </a:bodyPr>
          <a:lstStyle>
            <a:lvl1pPr lvl="0" algn="l">
              <a:lnSpc>
                <a:spcPct val="100000"/>
              </a:lnSpc>
              <a:spcBef>
                <a:spcPts val="0"/>
              </a:spcBef>
              <a:spcAft>
                <a:spcPts val="0"/>
              </a:spcAft>
              <a:buClr>
                <a:schemeClr val="accent6"/>
              </a:buClr>
              <a:buSzPts val="4000"/>
              <a:buFont typeface="Calibri"/>
              <a:buNone/>
              <a:defRPr sz="4000">
                <a:solidFill>
                  <a:schemeClr val="accent6"/>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536" name="Google Shape;19536;p2149"/>
          <p:cNvPicPr preferRelativeResize="0"/>
          <p:nvPr/>
        </p:nvPicPr>
        <p:blipFill rotWithShape="1">
          <a:blip r:embed="rId3">
            <a:alphaModFix/>
          </a:blip>
          <a:srcRect/>
          <a:stretch/>
        </p:blipFill>
        <p:spPr>
          <a:xfrm>
            <a:off x="9810446" y="6358648"/>
            <a:ext cx="2016517" cy="235975"/>
          </a:xfrm>
          <a:prstGeom prst="rect">
            <a:avLst/>
          </a:prstGeom>
          <a:noFill/>
          <a:ln>
            <a:noFill/>
          </a:ln>
        </p:spPr>
      </p:pic>
    </p:spTree>
  </p:cSld>
  <p:clrMapOvr>
    <a:masterClrMapping/>
  </p:clrMapOvr>
</p:sldLayout>
</file>

<file path=ppt/slideLayouts/slideLayout2068.xml><?xml version="1.0" encoding="utf-8"?>
<p:sldLayout xmlns:a="http://schemas.openxmlformats.org/drawingml/2006/main" xmlns:r="http://schemas.openxmlformats.org/officeDocument/2006/relationships" xmlns:p="http://schemas.openxmlformats.org/presentationml/2006/main" showMasterSp="0" matchingName="Section Header 4">
  <p:cSld name="Section Header 4">
    <p:bg>
      <p:bgPr>
        <a:gradFill>
          <a:gsLst>
            <a:gs pos="0">
              <a:srgbClr val="645B9B"/>
            </a:gs>
            <a:gs pos="100000">
              <a:schemeClr val="accent1"/>
            </a:gs>
          </a:gsLst>
          <a:lin ang="0" scaled="0"/>
        </a:gradFill>
        <a:effectLst/>
      </p:bgPr>
    </p:bg>
    <p:spTree>
      <p:nvGrpSpPr>
        <p:cNvPr id="1" name="Shape 19537"/>
        <p:cNvGrpSpPr/>
        <p:nvPr/>
      </p:nvGrpSpPr>
      <p:grpSpPr>
        <a:xfrm>
          <a:off x="0" y="0"/>
          <a:ext cx="0" cy="0"/>
          <a:chOff x="0" y="0"/>
          <a:chExt cx="0" cy="0"/>
        </a:xfrm>
      </p:grpSpPr>
      <p:pic>
        <p:nvPicPr>
          <p:cNvPr id="19538" name="Google Shape;19538;p2150" descr="Cadence image1rgb 16x9.jpg"/>
          <p:cNvPicPr preferRelativeResize="0"/>
          <p:nvPr/>
        </p:nvPicPr>
        <p:blipFill rotWithShape="1">
          <a:blip r:embed="rId2">
            <a:alphaModFix/>
          </a:blip>
          <a:srcRect/>
          <a:stretch/>
        </p:blipFill>
        <p:spPr>
          <a:xfrm>
            <a:off x="32427" y="0"/>
            <a:ext cx="12159575" cy="6858000"/>
          </a:xfrm>
          <a:prstGeom prst="rect">
            <a:avLst/>
          </a:prstGeom>
          <a:noFill/>
          <a:ln>
            <a:noFill/>
          </a:ln>
        </p:spPr>
      </p:pic>
      <p:sp>
        <p:nvSpPr>
          <p:cNvPr id="19539" name="Google Shape;19539;p2150"/>
          <p:cNvSpPr/>
          <p:nvPr/>
        </p:nvSpPr>
        <p:spPr>
          <a:xfrm>
            <a:off x="-43701" y="-1"/>
            <a:ext cx="8920916" cy="6858001"/>
          </a:xfrm>
          <a:custGeom>
            <a:avLst/>
            <a:gdLst/>
            <a:ahLst/>
            <a:cxnLst/>
            <a:rect l="l" t="t" r="r" b="b"/>
            <a:pathLst>
              <a:path w="8931777" h="6942534" extrusionOk="0">
                <a:moveTo>
                  <a:pt x="5266013" y="2891"/>
                </a:moveTo>
                <a:lnTo>
                  <a:pt x="8931777" y="6942534"/>
                </a:lnTo>
                <a:lnTo>
                  <a:pt x="116" y="6931481"/>
                </a:lnTo>
                <a:cubicBezTo>
                  <a:pt x="77" y="4617342"/>
                  <a:pt x="39" y="2314139"/>
                  <a:pt x="0" y="0"/>
                </a:cubicBezTo>
                <a:lnTo>
                  <a:pt x="5266013" y="2891"/>
                </a:lnTo>
                <a:close/>
              </a:path>
            </a:pathLst>
          </a:custGeom>
          <a:solidFill>
            <a:srgbClr val="514689"/>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400"/>
              <a:buFont typeface="Calibri"/>
              <a:buNone/>
            </a:pPr>
            <a:endParaRPr sz="2400" b="0" i="0" u="none" strike="noStrike" cap="none">
              <a:solidFill>
                <a:schemeClr val="lt1"/>
              </a:solidFill>
              <a:latin typeface="Calibri"/>
              <a:ea typeface="Calibri"/>
              <a:cs typeface="Calibri"/>
              <a:sym typeface="Calibri"/>
            </a:endParaRPr>
          </a:p>
        </p:txBody>
      </p:sp>
      <p:sp>
        <p:nvSpPr>
          <p:cNvPr id="19540" name="Google Shape;19540;p2150"/>
          <p:cNvSpPr txBox="1">
            <a:spLocks noGrp="1"/>
          </p:cNvSpPr>
          <p:nvPr>
            <p:ph type="ctrTitle"/>
          </p:nvPr>
        </p:nvSpPr>
        <p:spPr>
          <a:xfrm>
            <a:off x="907142" y="2491618"/>
            <a:ext cx="5746524" cy="1388492"/>
          </a:xfrm>
          <a:prstGeom prst="rect">
            <a:avLst/>
          </a:prstGeom>
          <a:noFill/>
          <a:ln>
            <a:noFill/>
          </a:ln>
        </p:spPr>
        <p:txBody>
          <a:bodyPr spcFirstLastPara="1" wrap="square" lIns="0" tIns="45700" rIns="0" bIns="0" anchor="b" anchorCtr="0">
            <a:normAutofit/>
          </a:bodyPr>
          <a:lstStyle>
            <a:lvl1pPr lvl="0" algn="l">
              <a:lnSpc>
                <a:spcPct val="90000"/>
              </a:lnSpc>
              <a:spcBef>
                <a:spcPts val="0"/>
              </a:spcBef>
              <a:spcAft>
                <a:spcPts val="0"/>
              </a:spcAft>
              <a:buClr>
                <a:schemeClr val="lt1"/>
              </a:buClr>
              <a:buSzPts val="3733"/>
              <a:buFont typeface="Calibri"/>
              <a:buNone/>
              <a:defRPr sz="3734" b="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541" name="Google Shape;19541;p2150"/>
          <p:cNvSpPr txBox="1">
            <a:spLocks noGrp="1"/>
          </p:cNvSpPr>
          <p:nvPr>
            <p:ph type="subTitle" idx="1"/>
          </p:nvPr>
        </p:nvSpPr>
        <p:spPr>
          <a:xfrm>
            <a:off x="895049" y="3953558"/>
            <a:ext cx="6426277" cy="1247353"/>
          </a:xfrm>
          <a:prstGeom prst="rect">
            <a:avLst/>
          </a:prstGeom>
          <a:noFill/>
          <a:ln>
            <a:noFill/>
          </a:ln>
        </p:spPr>
        <p:txBody>
          <a:bodyPr spcFirstLastPara="1" wrap="square" lIns="0" tIns="0" rIns="91425" bIns="45700" anchor="t" anchorCtr="0">
            <a:noAutofit/>
          </a:bodyPr>
          <a:lstStyle>
            <a:lvl1pPr lvl="0" algn="l">
              <a:lnSpc>
                <a:spcPct val="90000"/>
              </a:lnSpc>
              <a:spcBef>
                <a:spcPts val="0"/>
              </a:spcBef>
              <a:spcAft>
                <a:spcPts val="0"/>
              </a:spcAft>
              <a:buSzPts val="2667"/>
              <a:buNone/>
              <a:defRPr sz="2667">
                <a:solidFill>
                  <a:schemeClr val="lt1"/>
                </a:solidFill>
              </a:defRPr>
            </a:lvl1pPr>
            <a:lvl2pPr lvl="1" algn="ctr">
              <a:lnSpc>
                <a:spcPct val="100000"/>
              </a:lnSpc>
              <a:spcBef>
                <a:spcPts val="453"/>
              </a:spcBef>
              <a:spcAft>
                <a:spcPts val="0"/>
              </a:spcAft>
              <a:buClr>
                <a:srgbClr val="979899"/>
              </a:buClr>
              <a:buSzPts val="1814"/>
              <a:buNone/>
              <a:defRPr>
                <a:solidFill>
                  <a:srgbClr val="979899"/>
                </a:solidFill>
              </a:defRPr>
            </a:lvl2pPr>
            <a:lvl3pPr lvl="2" algn="ctr">
              <a:lnSpc>
                <a:spcPct val="100000"/>
              </a:lnSpc>
              <a:spcBef>
                <a:spcPts val="373"/>
              </a:spcBef>
              <a:spcAft>
                <a:spcPts val="0"/>
              </a:spcAft>
              <a:buClr>
                <a:srgbClr val="979899"/>
              </a:buClr>
              <a:buSzPts val="1867"/>
              <a:buNone/>
              <a:defRPr>
                <a:solidFill>
                  <a:srgbClr val="979899"/>
                </a:solidFill>
              </a:defRPr>
            </a:lvl3pPr>
            <a:lvl4pPr lvl="3" algn="ctr">
              <a:lnSpc>
                <a:spcPct val="100000"/>
              </a:lnSpc>
              <a:spcBef>
                <a:spcPts val="373"/>
              </a:spcBef>
              <a:spcAft>
                <a:spcPts val="0"/>
              </a:spcAft>
              <a:buClr>
                <a:srgbClr val="979899"/>
              </a:buClr>
              <a:buSzPts val="1867"/>
              <a:buNone/>
              <a:defRPr>
                <a:solidFill>
                  <a:srgbClr val="979899"/>
                </a:solidFill>
              </a:defRPr>
            </a:lvl4pPr>
            <a:lvl5pPr lvl="4" algn="ctr">
              <a:lnSpc>
                <a:spcPct val="100000"/>
              </a:lnSpc>
              <a:spcBef>
                <a:spcPts val="373"/>
              </a:spcBef>
              <a:spcAft>
                <a:spcPts val="0"/>
              </a:spcAft>
              <a:buClr>
                <a:srgbClr val="979899"/>
              </a:buClr>
              <a:buSzPts val="1867"/>
              <a:buNone/>
              <a:defRPr>
                <a:solidFill>
                  <a:srgbClr val="979899"/>
                </a:solidFill>
              </a:defRPr>
            </a:lvl5pPr>
            <a:lvl6pPr lvl="5" algn="ctr">
              <a:lnSpc>
                <a:spcPct val="90000"/>
              </a:lnSpc>
              <a:spcBef>
                <a:spcPts val="533"/>
              </a:spcBef>
              <a:spcAft>
                <a:spcPts val="0"/>
              </a:spcAft>
              <a:buClr>
                <a:srgbClr val="979899"/>
              </a:buClr>
              <a:buSzPts val="2667"/>
              <a:buNone/>
              <a:defRPr>
                <a:solidFill>
                  <a:srgbClr val="979899"/>
                </a:solidFill>
              </a:defRPr>
            </a:lvl6pPr>
            <a:lvl7pPr lvl="6" algn="ctr">
              <a:lnSpc>
                <a:spcPct val="90000"/>
              </a:lnSpc>
              <a:spcBef>
                <a:spcPts val="533"/>
              </a:spcBef>
              <a:spcAft>
                <a:spcPts val="0"/>
              </a:spcAft>
              <a:buClr>
                <a:srgbClr val="979899"/>
              </a:buClr>
              <a:buSzPts val="2667"/>
              <a:buNone/>
              <a:defRPr>
                <a:solidFill>
                  <a:srgbClr val="979899"/>
                </a:solidFill>
              </a:defRPr>
            </a:lvl7pPr>
            <a:lvl8pPr lvl="7" algn="ctr">
              <a:lnSpc>
                <a:spcPct val="90000"/>
              </a:lnSpc>
              <a:spcBef>
                <a:spcPts val="533"/>
              </a:spcBef>
              <a:spcAft>
                <a:spcPts val="0"/>
              </a:spcAft>
              <a:buClr>
                <a:srgbClr val="979899"/>
              </a:buClr>
              <a:buSzPts val="2667"/>
              <a:buNone/>
              <a:defRPr>
                <a:solidFill>
                  <a:srgbClr val="979899"/>
                </a:solidFill>
              </a:defRPr>
            </a:lvl8pPr>
            <a:lvl9pPr lvl="8" algn="ctr">
              <a:lnSpc>
                <a:spcPct val="90000"/>
              </a:lnSpc>
              <a:spcBef>
                <a:spcPts val="533"/>
              </a:spcBef>
              <a:spcAft>
                <a:spcPts val="0"/>
              </a:spcAft>
              <a:buClr>
                <a:srgbClr val="979899"/>
              </a:buClr>
              <a:buSzPts val="2667"/>
              <a:buNone/>
              <a:defRPr>
                <a:solidFill>
                  <a:srgbClr val="979899"/>
                </a:solidFill>
              </a:defRPr>
            </a:lvl9pPr>
          </a:lstStyle>
          <a:p>
            <a:endParaRPr/>
          </a:p>
        </p:txBody>
      </p:sp>
      <p:pic>
        <p:nvPicPr>
          <p:cNvPr id="19542" name="Google Shape;19542;p2150"/>
          <p:cNvPicPr preferRelativeResize="0"/>
          <p:nvPr/>
        </p:nvPicPr>
        <p:blipFill rotWithShape="1">
          <a:blip r:embed="rId3">
            <a:alphaModFix/>
          </a:blip>
          <a:srcRect/>
          <a:stretch/>
        </p:blipFill>
        <p:spPr>
          <a:xfrm>
            <a:off x="539142" y="498513"/>
            <a:ext cx="3318337" cy="468861"/>
          </a:xfrm>
          <a:prstGeom prst="rect">
            <a:avLst/>
          </a:prstGeom>
          <a:noFill/>
          <a:ln>
            <a:noFill/>
          </a:ln>
        </p:spPr>
      </p:pic>
    </p:spTree>
  </p:cSld>
  <p:clrMapOvr>
    <a:masterClrMapping/>
  </p:clrMapOvr>
</p:sldLayout>
</file>

<file path=ppt/slideLayouts/slideLayout2069.xml><?xml version="1.0" encoding="utf-8"?>
<p:sldLayout xmlns:a="http://schemas.openxmlformats.org/drawingml/2006/main" xmlns:r="http://schemas.openxmlformats.org/officeDocument/2006/relationships" xmlns:p="http://schemas.openxmlformats.org/presentationml/2006/main" matchingName="Two Content">
  <p:cSld name="1_Two Content 8">
    <p:spTree>
      <p:nvGrpSpPr>
        <p:cNvPr id="1" name="Shape 19543"/>
        <p:cNvGrpSpPr/>
        <p:nvPr/>
      </p:nvGrpSpPr>
      <p:grpSpPr>
        <a:xfrm>
          <a:off x="0" y="0"/>
          <a:ext cx="0" cy="0"/>
          <a:chOff x="0" y="0"/>
          <a:chExt cx="0" cy="0"/>
        </a:xfrm>
      </p:grpSpPr>
      <p:sp>
        <p:nvSpPr>
          <p:cNvPr id="19544" name="Google Shape;19544;p2151"/>
          <p:cNvSpPr txBox="1">
            <a:spLocks noGrp="1"/>
          </p:cNvSpPr>
          <p:nvPr>
            <p:ph type="title"/>
          </p:nvPr>
        </p:nvSpPr>
        <p:spPr>
          <a:xfrm>
            <a:off x="1464743" y="389336"/>
            <a:ext cx="9570720" cy="999744"/>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514689"/>
              </a:buClr>
              <a:buSzPts val="3733"/>
              <a:buFont typeface="Calibri"/>
              <a:buNone/>
              <a:defRPr>
                <a:solidFill>
                  <a:srgbClr val="514689"/>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545" name="Google Shape;19545;p2151"/>
          <p:cNvSpPr txBox="1">
            <a:spLocks noGrp="1"/>
          </p:cNvSpPr>
          <p:nvPr>
            <p:ph type="body" idx="1"/>
          </p:nvPr>
        </p:nvSpPr>
        <p:spPr>
          <a:xfrm>
            <a:off x="1241842" y="2035614"/>
            <a:ext cx="4769503" cy="3968748"/>
          </a:xfrm>
          <a:prstGeom prst="rect">
            <a:avLst/>
          </a:prstGeom>
          <a:noFill/>
          <a:ln>
            <a:noFill/>
          </a:ln>
        </p:spPr>
        <p:txBody>
          <a:bodyPr spcFirstLastPara="1" wrap="square" lIns="0" tIns="0" rIns="91425" bIns="45700" anchor="t" anchorCtr="0">
            <a:noAutofit/>
          </a:bodyPr>
          <a:lstStyle>
            <a:lvl1pPr marL="304815" lvl="0" indent="-248382" algn="l">
              <a:lnSpc>
                <a:spcPct val="100000"/>
              </a:lnSpc>
              <a:spcBef>
                <a:spcPts val="453"/>
              </a:spcBef>
              <a:spcAft>
                <a:spcPts val="0"/>
              </a:spcAft>
              <a:buSzPts val="2267"/>
              <a:buChar char="•"/>
              <a:defRPr/>
            </a:lvl1pPr>
            <a:lvl2pPr marL="609630" lvl="1" indent="-229204" algn="l">
              <a:lnSpc>
                <a:spcPct val="100000"/>
              </a:lnSpc>
              <a:spcBef>
                <a:spcPts val="453"/>
              </a:spcBef>
              <a:spcAft>
                <a:spcPts val="0"/>
              </a:spcAft>
              <a:buClr>
                <a:schemeClr val="dk1"/>
              </a:buClr>
              <a:buSzPts val="1814"/>
              <a:buChar char="-"/>
              <a:defRPr/>
            </a:lvl2pPr>
            <a:lvl3pPr marL="914446" lvl="2" indent="-231448" algn="l">
              <a:lnSpc>
                <a:spcPct val="100000"/>
              </a:lnSpc>
              <a:spcBef>
                <a:spcPts val="373"/>
              </a:spcBef>
              <a:spcAft>
                <a:spcPts val="0"/>
              </a:spcAft>
              <a:buClr>
                <a:schemeClr val="dk1"/>
              </a:buClr>
              <a:buSzPts val="1867"/>
              <a:buChar char="•"/>
              <a:defRPr/>
            </a:lvl3pPr>
            <a:lvl4pPr marL="1219261" lvl="3" indent="-231448" algn="l">
              <a:lnSpc>
                <a:spcPct val="100000"/>
              </a:lnSpc>
              <a:spcBef>
                <a:spcPts val="373"/>
              </a:spcBef>
              <a:spcAft>
                <a:spcPts val="0"/>
              </a:spcAft>
              <a:buClr>
                <a:schemeClr val="dk1"/>
              </a:buClr>
              <a:buSzPts val="1867"/>
              <a:buChar char="•"/>
              <a:defRPr/>
            </a:lvl4pPr>
            <a:lvl5pPr marL="1524076" lvl="4" indent="-231448" algn="l">
              <a:lnSpc>
                <a:spcPct val="100000"/>
              </a:lnSpc>
              <a:spcBef>
                <a:spcPts val="373"/>
              </a:spcBef>
              <a:spcAft>
                <a:spcPts val="0"/>
              </a:spcAft>
              <a:buClr>
                <a:schemeClr val="dk1"/>
              </a:buClr>
              <a:buSzPts val="1867"/>
              <a:buChar char="•"/>
              <a:defRPr/>
            </a:lvl5pPr>
            <a:lvl6pPr marL="1828891" lvl="5" indent="-228611" algn="l">
              <a:lnSpc>
                <a:spcPct val="90000"/>
              </a:lnSpc>
              <a:spcBef>
                <a:spcPts val="360"/>
              </a:spcBef>
              <a:spcAft>
                <a:spcPts val="0"/>
              </a:spcAft>
              <a:buClr>
                <a:schemeClr val="dk1"/>
              </a:buClr>
              <a:buSzPts val="1800"/>
              <a:buChar char="•"/>
              <a:defRPr/>
            </a:lvl6pPr>
            <a:lvl7pPr marL="2133707" lvl="6" indent="-228611" algn="l">
              <a:lnSpc>
                <a:spcPct val="90000"/>
              </a:lnSpc>
              <a:spcBef>
                <a:spcPts val="360"/>
              </a:spcBef>
              <a:spcAft>
                <a:spcPts val="0"/>
              </a:spcAft>
              <a:buClr>
                <a:schemeClr val="dk1"/>
              </a:buClr>
              <a:buSzPts val="1800"/>
              <a:buChar char="•"/>
              <a:defRPr/>
            </a:lvl7pPr>
            <a:lvl8pPr marL="2438522" lvl="7" indent="-228611" algn="l">
              <a:lnSpc>
                <a:spcPct val="90000"/>
              </a:lnSpc>
              <a:spcBef>
                <a:spcPts val="360"/>
              </a:spcBef>
              <a:spcAft>
                <a:spcPts val="0"/>
              </a:spcAft>
              <a:buClr>
                <a:schemeClr val="dk1"/>
              </a:buClr>
              <a:buSzPts val="1800"/>
              <a:buChar char="•"/>
              <a:defRPr/>
            </a:lvl8pPr>
            <a:lvl9pPr marL="2743337" lvl="8" indent="-228611" algn="l">
              <a:lnSpc>
                <a:spcPct val="90000"/>
              </a:lnSpc>
              <a:spcBef>
                <a:spcPts val="360"/>
              </a:spcBef>
              <a:spcAft>
                <a:spcPts val="0"/>
              </a:spcAft>
              <a:buClr>
                <a:schemeClr val="dk1"/>
              </a:buClr>
              <a:buSzPts val="1800"/>
              <a:buChar char="•"/>
              <a:defRPr/>
            </a:lvl9pPr>
          </a:lstStyle>
          <a:p>
            <a:endParaRPr/>
          </a:p>
        </p:txBody>
      </p:sp>
      <p:sp>
        <p:nvSpPr>
          <p:cNvPr id="19546" name="Google Shape;19546;p2151"/>
          <p:cNvSpPr txBox="1">
            <a:spLocks noGrp="1"/>
          </p:cNvSpPr>
          <p:nvPr>
            <p:ph type="body" idx="2"/>
          </p:nvPr>
        </p:nvSpPr>
        <p:spPr>
          <a:xfrm>
            <a:off x="6261111" y="2032810"/>
            <a:ext cx="4777316" cy="3971553"/>
          </a:xfrm>
          <a:prstGeom prst="rect">
            <a:avLst/>
          </a:prstGeom>
          <a:noFill/>
          <a:ln>
            <a:noFill/>
          </a:ln>
        </p:spPr>
        <p:txBody>
          <a:bodyPr spcFirstLastPara="1" wrap="square" lIns="0" tIns="0" rIns="91425" bIns="45700" anchor="t" anchorCtr="0">
            <a:noAutofit/>
          </a:bodyPr>
          <a:lstStyle>
            <a:lvl1pPr marL="304815" lvl="0" indent="-248382" algn="l">
              <a:lnSpc>
                <a:spcPct val="100000"/>
              </a:lnSpc>
              <a:spcBef>
                <a:spcPts val="453"/>
              </a:spcBef>
              <a:spcAft>
                <a:spcPts val="0"/>
              </a:spcAft>
              <a:buSzPts val="2267"/>
              <a:buChar char="•"/>
              <a:defRPr/>
            </a:lvl1pPr>
            <a:lvl2pPr marL="609630" lvl="1" indent="-229204" algn="l">
              <a:lnSpc>
                <a:spcPct val="100000"/>
              </a:lnSpc>
              <a:spcBef>
                <a:spcPts val="453"/>
              </a:spcBef>
              <a:spcAft>
                <a:spcPts val="0"/>
              </a:spcAft>
              <a:buClr>
                <a:schemeClr val="dk1"/>
              </a:buClr>
              <a:buSzPts val="1814"/>
              <a:buChar char="-"/>
              <a:defRPr/>
            </a:lvl2pPr>
            <a:lvl3pPr marL="914446" lvl="2" indent="-231448" algn="l">
              <a:lnSpc>
                <a:spcPct val="100000"/>
              </a:lnSpc>
              <a:spcBef>
                <a:spcPts val="373"/>
              </a:spcBef>
              <a:spcAft>
                <a:spcPts val="0"/>
              </a:spcAft>
              <a:buClr>
                <a:schemeClr val="dk1"/>
              </a:buClr>
              <a:buSzPts val="1867"/>
              <a:buChar char="•"/>
              <a:defRPr/>
            </a:lvl3pPr>
            <a:lvl4pPr marL="1219261" lvl="3" indent="-231448" algn="l">
              <a:lnSpc>
                <a:spcPct val="100000"/>
              </a:lnSpc>
              <a:spcBef>
                <a:spcPts val="373"/>
              </a:spcBef>
              <a:spcAft>
                <a:spcPts val="0"/>
              </a:spcAft>
              <a:buClr>
                <a:schemeClr val="dk1"/>
              </a:buClr>
              <a:buSzPts val="1867"/>
              <a:buChar char="•"/>
              <a:defRPr/>
            </a:lvl4pPr>
            <a:lvl5pPr marL="1524076" lvl="4" indent="-231448" algn="l">
              <a:lnSpc>
                <a:spcPct val="100000"/>
              </a:lnSpc>
              <a:spcBef>
                <a:spcPts val="373"/>
              </a:spcBef>
              <a:spcAft>
                <a:spcPts val="0"/>
              </a:spcAft>
              <a:buClr>
                <a:schemeClr val="dk1"/>
              </a:buClr>
              <a:buSzPts val="1867"/>
              <a:buChar char="•"/>
              <a:defRPr/>
            </a:lvl5pPr>
            <a:lvl6pPr marL="1828891" lvl="5" indent="-228611" algn="l">
              <a:lnSpc>
                <a:spcPct val="90000"/>
              </a:lnSpc>
              <a:spcBef>
                <a:spcPts val="360"/>
              </a:spcBef>
              <a:spcAft>
                <a:spcPts val="0"/>
              </a:spcAft>
              <a:buClr>
                <a:schemeClr val="dk1"/>
              </a:buClr>
              <a:buSzPts val="1800"/>
              <a:buChar char="•"/>
              <a:defRPr/>
            </a:lvl6pPr>
            <a:lvl7pPr marL="2133707" lvl="6" indent="-228611" algn="l">
              <a:lnSpc>
                <a:spcPct val="90000"/>
              </a:lnSpc>
              <a:spcBef>
                <a:spcPts val="360"/>
              </a:spcBef>
              <a:spcAft>
                <a:spcPts val="0"/>
              </a:spcAft>
              <a:buClr>
                <a:schemeClr val="dk1"/>
              </a:buClr>
              <a:buSzPts val="1800"/>
              <a:buChar char="•"/>
              <a:defRPr/>
            </a:lvl7pPr>
            <a:lvl8pPr marL="2438522" lvl="7" indent="-228611" algn="l">
              <a:lnSpc>
                <a:spcPct val="90000"/>
              </a:lnSpc>
              <a:spcBef>
                <a:spcPts val="360"/>
              </a:spcBef>
              <a:spcAft>
                <a:spcPts val="0"/>
              </a:spcAft>
              <a:buClr>
                <a:schemeClr val="dk1"/>
              </a:buClr>
              <a:buSzPts val="1800"/>
              <a:buChar char="•"/>
              <a:defRPr/>
            </a:lvl8pPr>
            <a:lvl9pPr marL="2743337" lvl="8" indent="-228611" algn="l">
              <a:lnSpc>
                <a:spcPct val="90000"/>
              </a:lnSpc>
              <a:spcBef>
                <a:spcPts val="360"/>
              </a:spcBef>
              <a:spcAft>
                <a:spcPts val="0"/>
              </a:spcAft>
              <a:buClr>
                <a:schemeClr val="dk1"/>
              </a:buClr>
              <a:buSzPts val="1800"/>
              <a:buChar char="•"/>
              <a:defRPr/>
            </a:lvl9pPr>
          </a:lstStyle>
          <a:p>
            <a:endParaRPr/>
          </a:p>
        </p:txBody>
      </p:sp>
      <p:sp>
        <p:nvSpPr>
          <p:cNvPr id="19547" name="Google Shape;19547;p2151"/>
          <p:cNvSpPr txBox="1">
            <a:spLocks noGrp="1"/>
          </p:cNvSpPr>
          <p:nvPr>
            <p:ph type="body" idx="3"/>
          </p:nvPr>
        </p:nvSpPr>
        <p:spPr>
          <a:xfrm>
            <a:off x="1464742" y="1380204"/>
            <a:ext cx="9573684" cy="521749"/>
          </a:xfrm>
          <a:prstGeom prst="rect">
            <a:avLst/>
          </a:prstGeom>
          <a:noFill/>
          <a:ln>
            <a:noFill/>
          </a:ln>
        </p:spPr>
        <p:txBody>
          <a:bodyPr spcFirstLastPara="1" wrap="square" lIns="0" tIns="0" rIns="91425" bIns="45700" anchor="t" anchorCtr="0">
            <a:noAutofit/>
          </a:bodyPr>
          <a:lstStyle>
            <a:lvl1pPr marL="304815" lvl="0" indent="-152408" algn="l">
              <a:lnSpc>
                <a:spcPct val="85000"/>
              </a:lnSpc>
              <a:spcBef>
                <a:spcPts val="0"/>
              </a:spcBef>
              <a:spcAft>
                <a:spcPts val="0"/>
              </a:spcAft>
              <a:buSzPts val="2667"/>
              <a:buNone/>
              <a:defRPr sz="2667">
                <a:solidFill>
                  <a:schemeClr val="accent2"/>
                </a:solidFill>
              </a:defRPr>
            </a:lvl1pPr>
            <a:lvl2pPr marL="609630" lvl="1" indent="-152408" algn="l">
              <a:lnSpc>
                <a:spcPct val="100000"/>
              </a:lnSpc>
              <a:spcBef>
                <a:spcPts val="453"/>
              </a:spcBef>
              <a:spcAft>
                <a:spcPts val="0"/>
              </a:spcAft>
              <a:buClr>
                <a:schemeClr val="dk1"/>
              </a:buClr>
              <a:buSzPts val="1814"/>
              <a:buNone/>
              <a:defRPr/>
            </a:lvl2pPr>
            <a:lvl3pPr marL="914446" lvl="2" indent="-152408" algn="l">
              <a:lnSpc>
                <a:spcPct val="100000"/>
              </a:lnSpc>
              <a:spcBef>
                <a:spcPts val="373"/>
              </a:spcBef>
              <a:spcAft>
                <a:spcPts val="0"/>
              </a:spcAft>
              <a:buClr>
                <a:schemeClr val="dk1"/>
              </a:buClr>
              <a:buSzPts val="1867"/>
              <a:buNone/>
              <a:defRPr/>
            </a:lvl3pPr>
            <a:lvl4pPr marL="1219261" lvl="3" indent="-152408" algn="l">
              <a:lnSpc>
                <a:spcPct val="100000"/>
              </a:lnSpc>
              <a:spcBef>
                <a:spcPts val="373"/>
              </a:spcBef>
              <a:spcAft>
                <a:spcPts val="0"/>
              </a:spcAft>
              <a:buClr>
                <a:schemeClr val="dk1"/>
              </a:buClr>
              <a:buSzPts val="1867"/>
              <a:buNone/>
              <a:defRPr/>
            </a:lvl4pPr>
            <a:lvl5pPr marL="1524076" lvl="4" indent="-152408" algn="l">
              <a:lnSpc>
                <a:spcPct val="100000"/>
              </a:lnSpc>
              <a:spcBef>
                <a:spcPts val="373"/>
              </a:spcBef>
              <a:spcAft>
                <a:spcPts val="0"/>
              </a:spcAft>
              <a:buClr>
                <a:schemeClr val="dk1"/>
              </a:buClr>
              <a:buSzPts val="1867"/>
              <a:buNone/>
              <a:defRPr/>
            </a:lvl5pPr>
            <a:lvl6pPr marL="1828891" lvl="5" indent="-228611" algn="l">
              <a:lnSpc>
                <a:spcPct val="90000"/>
              </a:lnSpc>
              <a:spcBef>
                <a:spcPts val="360"/>
              </a:spcBef>
              <a:spcAft>
                <a:spcPts val="0"/>
              </a:spcAft>
              <a:buClr>
                <a:schemeClr val="dk1"/>
              </a:buClr>
              <a:buSzPts val="1800"/>
              <a:buChar char="•"/>
              <a:defRPr/>
            </a:lvl6pPr>
            <a:lvl7pPr marL="2133707" lvl="6" indent="-228611" algn="l">
              <a:lnSpc>
                <a:spcPct val="90000"/>
              </a:lnSpc>
              <a:spcBef>
                <a:spcPts val="360"/>
              </a:spcBef>
              <a:spcAft>
                <a:spcPts val="0"/>
              </a:spcAft>
              <a:buClr>
                <a:schemeClr val="dk1"/>
              </a:buClr>
              <a:buSzPts val="1800"/>
              <a:buChar char="•"/>
              <a:defRPr/>
            </a:lvl7pPr>
            <a:lvl8pPr marL="2438522" lvl="7" indent="-228611" algn="l">
              <a:lnSpc>
                <a:spcPct val="90000"/>
              </a:lnSpc>
              <a:spcBef>
                <a:spcPts val="360"/>
              </a:spcBef>
              <a:spcAft>
                <a:spcPts val="0"/>
              </a:spcAft>
              <a:buClr>
                <a:schemeClr val="dk1"/>
              </a:buClr>
              <a:buSzPts val="1800"/>
              <a:buChar char="•"/>
              <a:defRPr/>
            </a:lvl8pPr>
            <a:lvl9pPr marL="2743337" lvl="8" indent="-228611" algn="l">
              <a:lnSpc>
                <a:spcPct val="90000"/>
              </a:lnSpc>
              <a:spcBef>
                <a:spcPts val="360"/>
              </a:spcBef>
              <a:spcAft>
                <a:spcPts val="0"/>
              </a:spcAft>
              <a:buClr>
                <a:schemeClr val="dk1"/>
              </a:buClr>
              <a:buSzPts val="1800"/>
              <a:buChar char="•"/>
              <a:defRPr/>
            </a:lvl9pPr>
          </a:lstStyle>
          <a:p>
            <a:endParaRPr/>
          </a:p>
        </p:txBody>
      </p:sp>
    </p:spTree>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matchingName="Cover">
  <p:cSld name="Cover 11">
    <p:spTree>
      <p:nvGrpSpPr>
        <p:cNvPr id="1" name="Shape 11006"/>
        <p:cNvGrpSpPr/>
        <p:nvPr/>
      </p:nvGrpSpPr>
      <p:grpSpPr>
        <a:xfrm>
          <a:off x="0" y="0"/>
          <a:ext cx="0" cy="0"/>
          <a:chOff x="0" y="0"/>
          <a:chExt cx="0" cy="0"/>
        </a:xfrm>
      </p:grpSpPr>
      <p:sp>
        <p:nvSpPr>
          <p:cNvPr id="11007" name="Google Shape;11007;p151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008" name="Google Shape;11008;p151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009" name="Google Shape;11009;p151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010" name="Google Shape;11010;p1511"/>
          <p:cNvSpPr>
            <a:spLocks noGrp="1"/>
          </p:cNvSpPr>
          <p:nvPr>
            <p:ph type="pic" idx="2"/>
          </p:nvPr>
        </p:nvSpPr>
        <p:spPr>
          <a:xfrm>
            <a:off x="7118684" y="233915"/>
            <a:ext cx="5073316" cy="5943600"/>
          </a:xfrm>
          <a:prstGeom prst="rect">
            <a:avLst/>
          </a:prstGeom>
          <a:noFill/>
          <a:ln>
            <a:noFill/>
          </a:ln>
        </p:spPr>
      </p:sp>
      <p:grpSp>
        <p:nvGrpSpPr>
          <p:cNvPr id="11011" name="Google Shape;11011;p1511"/>
          <p:cNvGrpSpPr/>
          <p:nvPr/>
        </p:nvGrpSpPr>
        <p:grpSpPr>
          <a:xfrm>
            <a:off x="0" y="5020348"/>
            <a:ext cx="12192000" cy="1837653"/>
            <a:chOff x="0" y="5020348"/>
            <a:chExt cx="12192000" cy="1837653"/>
          </a:xfrm>
        </p:grpSpPr>
        <p:sp>
          <p:nvSpPr>
            <p:cNvPr id="11012" name="Google Shape;11012;p151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013" name="Google Shape;11013;p151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1014" name="Google Shape;11014;p151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070.xml><?xml version="1.0" encoding="utf-8"?>
<p:sldLayout xmlns:a="http://schemas.openxmlformats.org/drawingml/2006/main" xmlns:r="http://schemas.openxmlformats.org/officeDocument/2006/relationships" xmlns:p="http://schemas.openxmlformats.org/presentationml/2006/main" matchingName="Title and Content">
  <p:cSld name="2_Title and Content 6">
    <p:spTree>
      <p:nvGrpSpPr>
        <p:cNvPr id="1" name="Shape 19548"/>
        <p:cNvGrpSpPr/>
        <p:nvPr/>
      </p:nvGrpSpPr>
      <p:grpSpPr>
        <a:xfrm>
          <a:off x="0" y="0"/>
          <a:ext cx="0" cy="0"/>
          <a:chOff x="0" y="0"/>
          <a:chExt cx="0" cy="0"/>
        </a:xfrm>
      </p:grpSpPr>
      <p:sp>
        <p:nvSpPr>
          <p:cNvPr id="19549" name="Google Shape;19549;p2152"/>
          <p:cNvSpPr txBox="1">
            <a:spLocks noGrp="1"/>
          </p:cNvSpPr>
          <p:nvPr>
            <p:ph type="title"/>
          </p:nvPr>
        </p:nvSpPr>
        <p:spPr>
          <a:xfrm>
            <a:off x="1464744" y="377145"/>
            <a:ext cx="9573685" cy="1003056"/>
          </a:xfrm>
          <a:prstGeom prst="rect">
            <a:avLst/>
          </a:prstGeom>
          <a:noFill/>
          <a:ln>
            <a:noFill/>
          </a:ln>
        </p:spPr>
        <p:txBody>
          <a:bodyPr spcFirstLastPara="1" wrap="square" lIns="0" tIns="45700" rIns="91425" bIns="45700" anchor="ctr" anchorCtr="0">
            <a:normAutofit/>
          </a:bodyPr>
          <a:lstStyle>
            <a:lvl1pPr lvl="0" algn="l">
              <a:lnSpc>
                <a:spcPct val="90000"/>
              </a:lnSpc>
              <a:spcBef>
                <a:spcPts val="0"/>
              </a:spcBef>
              <a:spcAft>
                <a:spcPts val="0"/>
              </a:spcAft>
              <a:buClr>
                <a:srgbClr val="514689"/>
              </a:buClr>
              <a:buSzPts val="3733"/>
              <a:buFont typeface="Calibri"/>
              <a:buNone/>
              <a:defRPr>
                <a:solidFill>
                  <a:srgbClr val="514689"/>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550" name="Google Shape;19550;p2152"/>
          <p:cNvSpPr txBox="1">
            <a:spLocks noGrp="1"/>
          </p:cNvSpPr>
          <p:nvPr>
            <p:ph type="body" idx="1"/>
          </p:nvPr>
        </p:nvSpPr>
        <p:spPr>
          <a:xfrm>
            <a:off x="1451428" y="2035613"/>
            <a:ext cx="9586999" cy="3968748"/>
          </a:xfrm>
          <a:prstGeom prst="rect">
            <a:avLst/>
          </a:prstGeom>
          <a:noFill/>
          <a:ln>
            <a:noFill/>
          </a:ln>
        </p:spPr>
        <p:txBody>
          <a:bodyPr spcFirstLastPara="1" wrap="square" lIns="0" tIns="0" rIns="91425" bIns="45700" anchor="t" anchorCtr="0">
            <a:noAutofit/>
          </a:bodyPr>
          <a:lstStyle>
            <a:lvl1pPr marL="304815" lvl="0" indent="-228611" algn="l">
              <a:lnSpc>
                <a:spcPct val="100000"/>
              </a:lnSpc>
              <a:spcBef>
                <a:spcPts val="360"/>
              </a:spcBef>
              <a:spcAft>
                <a:spcPts val="0"/>
              </a:spcAft>
              <a:buSzPts val="1800"/>
              <a:buChar char="•"/>
              <a:defRPr/>
            </a:lvl1pPr>
            <a:lvl2pPr marL="609630" lvl="1" indent="-213371" algn="l">
              <a:lnSpc>
                <a:spcPct val="100000"/>
              </a:lnSpc>
              <a:spcBef>
                <a:spcPts val="360"/>
              </a:spcBef>
              <a:spcAft>
                <a:spcPts val="0"/>
              </a:spcAft>
              <a:buClr>
                <a:schemeClr val="dk1"/>
              </a:buClr>
              <a:buSzPts val="1440"/>
              <a:buChar char="-"/>
              <a:defRPr/>
            </a:lvl2pPr>
            <a:lvl3pPr marL="914446" lvl="2" indent="-228611" algn="l">
              <a:lnSpc>
                <a:spcPct val="100000"/>
              </a:lnSpc>
              <a:spcBef>
                <a:spcPts val="360"/>
              </a:spcBef>
              <a:spcAft>
                <a:spcPts val="0"/>
              </a:spcAft>
              <a:buClr>
                <a:schemeClr val="dk1"/>
              </a:buClr>
              <a:buSzPts val="1800"/>
              <a:buChar char="•"/>
              <a:defRPr/>
            </a:lvl3pPr>
            <a:lvl4pPr marL="1219261" lvl="3" indent="-228611" algn="l">
              <a:lnSpc>
                <a:spcPct val="100000"/>
              </a:lnSpc>
              <a:spcBef>
                <a:spcPts val="360"/>
              </a:spcBef>
              <a:spcAft>
                <a:spcPts val="0"/>
              </a:spcAft>
              <a:buClr>
                <a:schemeClr val="dk1"/>
              </a:buClr>
              <a:buSzPts val="1800"/>
              <a:buChar char="•"/>
              <a:defRPr/>
            </a:lvl4pPr>
            <a:lvl5pPr marL="1524076" lvl="4" indent="-228611" algn="l">
              <a:lnSpc>
                <a:spcPct val="100000"/>
              </a:lnSpc>
              <a:spcBef>
                <a:spcPts val="360"/>
              </a:spcBef>
              <a:spcAft>
                <a:spcPts val="0"/>
              </a:spcAft>
              <a:buClr>
                <a:schemeClr val="dk1"/>
              </a:buClr>
              <a:buSzPts val="1800"/>
              <a:buChar char="•"/>
              <a:defRPr/>
            </a:lvl5pPr>
            <a:lvl6pPr marL="1828891" lvl="5" indent="-228611" algn="l">
              <a:lnSpc>
                <a:spcPct val="90000"/>
              </a:lnSpc>
              <a:spcBef>
                <a:spcPts val="360"/>
              </a:spcBef>
              <a:spcAft>
                <a:spcPts val="0"/>
              </a:spcAft>
              <a:buClr>
                <a:schemeClr val="dk1"/>
              </a:buClr>
              <a:buSzPts val="1800"/>
              <a:buChar char="•"/>
              <a:defRPr/>
            </a:lvl6pPr>
            <a:lvl7pPr marL="2133707" lvl="6" indent="-228611" algn="l">
              <a:lnSpc>
                <a:spcPct val="90000"/>
              </a:lnSpc>
              <a:spcBef>
                <a:spcPts val="360"/>
              </a:spcBef>
              <a:spcAft>
                <a:spcPts val="0"/>
              </a:spcAft>
              <a:buClr>
                <a:schemeClr val="dk1"/>
              </a:buClr>
              <a:buSzPts val="1800"/>
              <a:buChar char="•"/>
              <a:defRPr/>
            </a:lvl7pPr>
            <a:lvl8pPr marL="2438522" lvl="7" indent="-228611" algn="l">
              <a:lnSpc>
                <a:spcPct val="90000"/>
              </a:lnSpc>
              <a:spcBef>
                <a:spcPts val="360"/>
              </a:spcBef>
              <a:spcAft>
                <a:spcPts val="0"/>
              </a:spcAft>
              <a:buClr>
                <a:schemeClr val="dk1"/>
              </a:buClr>
              <a:buSzPts val="1800"/>
              <a:buChar char="•"/>
              <a:defRPr/>
            </a:lvl8pPr>
            <a:lvl9pPr marL="2743337" lvl="8" indent="-228611" algn="l">
              <a:lnSpc>
                <a:spcPct val="90000"/>
              </a:lnSpc>
              <a:spcBef>
                <a:spcPts val="360"/>
              </a:spcBef>
              <a:spcAft>
                <a:spcPts val="0"/>
              </a:spcAft>
              <a:buClr>
                <a:schemeClr val="dk1"/>
              </a:buClr>
              <a:buSzPts val="1800"/>
              <a:buChar char="•"/>
              <a:defRPr/>
            </a:lvl9pPr>
          </a:lstStyle>
          <a:p>
            <a:endParaRPr/>
          </a:p>
        </p:txBody>
      </p:sp>
      <p:sp>
        <p:nvSpPr>
          <p:cNvPr id="19551" name="Google Shape;19551;p2152"/>
          <p:cNvSpPr txBox="1">
            <a:spLocks noGrp="1"/>
          </p:cNvSpPr>
          <p:nvPr>
            <p:ph type="body" idx="2"/>
          </p:nvPr>
        </p:nvSpPr>
        <p:spPr>
          <a:xfrm>
            <a:off x="1451431" y="1380204"/>
            <a:ext cx="9586997" cy="521749"/>
          </a:xfrm>
          <a:prstGeom prst="rect">
            <a:avLst/>
          </a:prstGeom>
          <a:noFill/>
          <a:ln>
            <a:noFill/>
          </a:ln>
        </p:spPr>
        <p:txBody>
          <a:bodyPr spcFirstLastPara="1" wrap="square" lIns="0" tIns="0" rIns="91425" bIns="45700" anchor="t" anchorCtr="0">
            <a:noAutofit/>
          </a:bodyPr>
          <a:lstStyle>
            <a:lvl1pPr marL="304815" lvl="0" indent="-152408" algn="l">
              <a:lnSpc>
                <a:spcPct val="85000"/>
              </a:lnSpc>
              <a:spcBef>
                <a:spcPts val="0"/>
              </a:spcBef>
              <a:spcAft>
                <a:spcPts val="0"/>
              </a:spcAft>
              <a:buSzPts val="2667"/>
              <a:buNone/>
              <a:defRPr sz="2667">
                <a:solidFill>
                  <a:schemeClr val="accent2"/>
                </a:solidFill>
              </a:defRPr>
            </a:lvl1pPr>
            <a:lvl2pPr marL="609630" lvl="1" indent="-152408" algn="l">
              <a:lnSpc>
                <a:spcPct val="100000"/>
              </a:lnSpc>
              <a:spcBef>
                <a:spcPts val="453"/>
              </a:spcBef>
              <a:spcAft>
                <a:spcPts val="0"/>
              </a:spcAft>
              <a:buClr>
                <a:schemeClr val="dk1"/>
              </a:buClr>
              <a:buSzPts val="1814"/>
              <a:buNone/>
              <a:defRPr/>
            </a:lvl2pPr>
            <a:lvl3pPr marL="914446" lvl="2" indent="-152408" algn="l">
              <a:lnSpc>
                <a:spcPct val="100000"/>
              </a:lnSpc>
              <a:spcBef>
                <a:spcPts val="373"/>
              </a:spcBef>
              <a:spcAft>
                <a:spcPts val="0"/>
              </a:spcAft>
              <a:buClr>
                <a:schemeClr val="dk1"/>
              </a:buClr>
              <a:buSzPts val="1867"/>
              <a:buNone/>
              <a:defRPr/>
            </a:lvl3pPr>
            <a:lvl4pPr marL="1219261" lvl="3" indent="-152408" algn="l">
              <a:lnSpc>
                <a:spcPct val="100000"/>
              </a:lnSpc>
              <a:spcBef>
                <a:spcPts val="373"/>
              </a:spcBef>
              <a:spcAft>
                <a:spcPts val="0"/>
              </a:spcAft>
              <a:buClr>
                <a:schemeClr val="dk1"/>
              </a:buClr>
              <a:buSzPts val="1867"/>
              <a:buNone/>
              <a:defRPr/>
            </a:lvl4pPr>
            <a:lvl5pPr marL="1524076" lvl="4" indent="-152408" algn="l">
              <a:lnSpc>
                <a:spcPct val="100000"/>
              </a:lnSpc>
              <a:spcBef>
                <a:spcPts val="373"/>
              </a:spcBef>
              <a:spcAft>
                <a:spcPts val="0"/>
              </a:spcAft>
              <a:buClr>
                <a:schemeClr val="dk1"/>
              </a:buClr>
              <a:buSzPts val="1867"/>
              <a:buNone/>
              <a:defRPr/>
            </a:lvl5pPr>
            <a:lvl6pPr marL="1828891" lvl="5" indent="-228611" algn="l">
              <a:lnSpc>
                <a:spcPct val="90000"/>
              </a:lnSpc>
              <a:spcBef>
                <a:spcPts val="360"/>
              </a:spcBef>
              <a:spcAft>
                <a:spcPts val="0"/>
              </a:spcAft>
              <a:buClr>
                <a:schemeClr val="dk1"/>
              </a:buClr>
              <a:buSzPts val="1800"/>
              <a:buChar char="•"/>
              <a:defRPr/>
            </a:lvl6pPr>
            <a:lvl7pPr marL="2133707" lvl="6" indent="-228611" algn="l">
              <a:lnSpc>
                <a:spcPct val="90000"/>
              </a:lnSpc>
              <a:spcBef>
                <a:spcPts val="360"/>
              </a:spcBef>
              <a:spcAft>
                <a:spcPts val="0"/>
              </a:spcAft>
              <a:buClr>
                <a:schemeClr val="dk1"/>
              </a:buClr>
              <a:buSzPts val="1800"/>
              <a:buChar char="•"/>
              <a:defRPr/>
            </a:lvl7pPr>
            <a:lvl8pPr marL="2438522" lvl="7" indent="-228611" algn="l">
              <a:lnSpc>
                <a:spcPct val="90000"/>
              </a:lnSpc>
              <a:spcBef>
                <a:spcPts val="360"/>
              </a:spcBef>
              <a:spcAft>
                <a:spcPts val="0"/>
              </a:spcAft>
              <a:buClr>
                <a:schemeClr val="dk1"/>
              </a:buClr>
              <a:buSzPts val="1800"/>
              <a:buChar char="•"/>
              <a:defRPr/>
            </a:lvl8pPr>
            <a:lvl9pPr marL="2743337" lvl="8" indent="-228611" algn="l">
              <a:lnSpc>
                <a:spcPct val="90000"/>
              </a:lnSpc>
              <a:spcBef>
                <a:spcPts val="360"/>
              </a:spcBef>
              <a:spcAft>
                <a:spcPts val="0"/>
              </a:spcAft>
              <a:buClr>
                <a:schemeClr val="dk1"/>
              </a:buClr>
              <a:buSzPts val="1800"/>
              <a:buChar char="•"/>
              <a:defRPr/>
            </a:lvl9pPr>
          </a:lstStyle>
          <a:p>
            <a:endParaRPr/>
          </a:p>
        </p:txBody>
      </p:sp>
    </p:spTree>
  </p:cSld>
  <p:clrMapOvr>
    <a:masterClrMapping/>
  </p:clrMapOvr>
</p:sldLayout>
</file>

<file path=ppt/slideLayouts/slideLayout2071.xml><?xml version="1.0" encoding="utf-8"?>
<p:sldLayout xmlns:a="http://schemas.openxmlformats.org/drawingml/2006/main" xmlns:r="http://schemas.openxmlformats.org/officeDocument/2006/relationships" xmlns:p="http://schemas.openxmlformats.org/presentationml/2006/main" matchingName="LM-Title">
  <p:cSld name="LM-Title">
    <p:spTree>
      <p:nvGrpSpPr>
        <p:cNvPr id="1" name="Shape 19552"/>
        <p:cNvGrpSpPr/>
        <p:nvPr/>
      </p:nvGrpSpPr>
      <p:grpSpPr>
        <a:xfrm>
          <a:off x="0" y="0"/>
          <a:ext cx="0" cy="0"/>
          <a:chOff x="0" y="0"/>
          <a:chExt cx="0" cy="0"/>
        </a:xfrm>
      </p:grpSpPr>
      <p:sp>
        <p:nvSpPr>
          <p:cNvPr id="19553" name="Google Shape;19553;p2153"/>
          <p:cNvSpPr txBox="1">
            <a:spLocks noGrp="1"/>
          </p:cNvSpPr>
          <p:nvPr>
            <p:ph type="body" idx="1"/>
          </p:nvPr>
        </p:nvSpPr>
        <p:spPr>
          <a:xfrm>
            <a:off x="4663019" y="3112038"/>
            <a:ext cx="6345767" cy="73501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4000"/>
              <a:buNone/>
              <a:defRPr sz="4000" b="1">
                <a:solidFill>
                  <a:srgbClr val="8C2347"/>
                </a:solidFill>
              </a:defRPr>
            </a:lvl1pPr>
            <a:lvl2pPr marL="609630" lvl="1" indent="-152408" algn="l">
              <a:lnSpc>
                <a:spcPct val="100000"/>
              </a:lnSpc>
              <a:spcBef>
                <a:spcPts val="1000"/>
              </a:spcBef>
              <a:spcAft>
                <a:spcPts val="0"/>
              </a:spcAft>
              <a:buSzPts val="4000"/>
              <a:buNone/>
              <a:defRPr sz="4000" b="1"/>
            </a:lvl2pPr>
            <a:lvl3pPr marL="914446" lvl="2" indent="-152408" algn="l">
              <a:lnSpc>
                <a:spcPct val="100000"/>
              </a:lnSpc>
              <a:spcBef>
                <a:spcPts val="1000"/>
              </a:spcBef>
              <a:spcAft>
                <a:spcPts val="0"/>
              </a:spcAft>
              <a:buSzPts val="4000"/>
              <a:buNone/>
              <a:defRPr sz="4000" b="1"/>
            </a:lvl3pPr>
            <a:lvl4pPr marL="1219261" lvl="3" indent="-152408" algn="l">
              <a:lnSpc>
                <a:spcPct val="100000"/>
              </a:lnSpc>
              <a:spcBef>
                <a:spcPts val="1000"/>
              </a:spcBef>
              <a:spcAft>
                <a:spcPts val="0"/>
              </a:spcAft>
              <a:buSzPts val="4000"/>
              <a:buNone/>
              <a:defRPr sz="4000" b="1"/>
            </a:lvl4pPr>
            <a:lvl5pPr marL="1524076" lvl="4" indent="-152408" algn="l">
              <a:lnSpc>
                <a:spcPct val="100000"/>
              </a:lnSpc>
              <a:spcBef>
                <a:spcPts val="1000"/>
              </a:spcBef>
              <a:spcAft>
                <a:spcPts val="0"/>
              </a:spcAft>
              <a:buSzPts val="4000"/>
              <a:buNone/>
              <a:defRPr sz="4000" b="1"/>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9554" name="Google Shape;19554;p2153"/>
          <p:cNvSpPr txBox="1">
            <a:spLocks noGrp="1"/>
          </p:cNvSpPr>
          <p:nvPr>
            <p:ph type="body" idx="2"/>
          </p:nvPr>
        </p:nvSpPr>
        <p:spPr>
          <a:xfrm>
            <a:off x="4663019" y="2731036"/>
            <a:ext cx="6345767" cy="381000"/>
          </a:xfrm>
          <a:prstGeom prst="rect">
            <a:avLst/>
          </a:prstGeom>
          <a:noFill/>
          <a:ln>
            <a:noFill/>
          </a:ln>
        </p:spPr>
        <p:txBody>
          <a:bodyPr spcFirstLastPara="1" wrap="square" lIns="91425" tIns="45700" rIns="91425" bIns="45700" anchor="ctr" anchorCtr="0">
            <a:noAutofit/>
          </a:bodyPr>
          <a:lstStyle>
            <a:lvl1pPr marL="304815" lvl="0" indent="-152408"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1pPr>
            <a:lvl2pPr marL="609630" lvl="1" indent="-152408"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2pPr>
            <a:lvl3pPr marL="914446" lvl="2" indent="-152408"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3pPr>
            <a:lvl4pPr marL="1219261" lvl="3" indent="-152408"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4pPr>
            <a:lvl5pPr marL="1524076" lvl="4" indent="-152408"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9555" name="Google Shape;19555;p2153"/>
          <p:cNvGrpSpPr/>
          <p:nvPr/>
        </p:nvGrpSpPr>
        <p:grpSpPr>
          <a:xfrm>
            <a:off x="791245" y="2369596"/>
            <a:ext cx="2416216" cy="1878202"/>
            <a:chOff x="297439" y="2116926"/>
            <a:chExt cx="1826636" cy="1893204"/>
          </a:xfrm>
        </p:grpSpPr>
        <p:pic>
          <p:nvPicPr>
            <p:cNvPr id="19556" name="Google Shape;19556;p2153"/>
            <p:cNvPicPr preferRelativeResize="0"/>
            <p:nvPr/>
          </p:nvPicPr>
          <p:blipFill rotWithShape="1">
            <a:blip r:embed="rId2">
              <a:alphaModFix/>
            </a:blip>
            <a:srcRect/>
            <a:stretch/>
          </p:blipFill>
          <p:spPr>
            <a:xfrm>
              <a:off x="517217" y="2677246"/>
              <a:ext cx="1450128" cy="1332884"/>
            </a:xfrm>
            <a:prstGeom prst="rect">
              <a:avLst/>
            </a:prstGeom>
            <a:noFill/>
            <a:ln>
              <a:noFill/>
            </a:ln>
          </p:spPr>
        </p:pic>
        <p:pic>
          <p:nvPicPr>
            <p:cNvPr id="19557" name="Google Shape;19557;p2153"/>
            <p:cNvPicPr preferRelativeResize="0"/>
            <p:nvPr/>
          </p:nvPicPr>
          <p:blipFill rotWithShape="1">
            <a:blip r:embed="rId3">
              <a:alphaModFix/>
            </a:blip>
            <a:srcRect/>
            <a:stretch/>
          </p:blipFill>
          <p:spPr>
            <a:xfrm>
              <a:off x="297439" y="2116926"/>
              <a:ext cx="1826636" cy="533646"/>
            </a:xfrm>
            <a:prstGeom prst="rect">
              <a:avLst/>
            </a:prstGeom>
            <a:noFill/>
            <a:ln>
              <a:noFill/>
            </a:ln>
          </p:spPr>
        </p:pic>
      </p:grpSp>
    </p:spTree>
  </p:cSld>
  <p:clrMapOvr>
    <a:masterClrMapping/>
  </p:clrMapOvr>
</p:sldLayout>
</file>

<file path=ppt/slideLayouts/slideLayout2072.xml><?xml version="1.0" encoding="utf-8"?>
<p:sldLayout xmlns:a="http://schemas.openxmlformats.org/drawingml/2006/main" xmlns:r="http://schemas.openxmlformats.org/officeDocument/2006/relationships" xmlns:p="http://schemas.openxmlformats.org/presentationml/2006/main" matchingName="LM-Title">
  <p:cSld name="1_LM-Title">
    <p:spTree>
      <p:nvGrpSpPr>
        <p:cNvPr id="1" name="Shape 19558"/>
        <p:cNvGrpSpPr/>
        <p:nvPr/>
      </p:nvGrpSpPr>
      <p:grpSpPr>
        <a:xfrm>
          <a:off x="0" y="0"/>
          <a:ext cx="0" cy="0"/>
          <a:chOff x="0" y="0"/>
          <a:chExt cx="0" cy="0"/>
        </a:xfrm>
      </p:grpSpPr>
      <p:sp>
        <p:nvSpPr>
          <p:cNvPr id="19559" name="Google Shape;19559;p2154"/>
          <p:cNvSpPr txBox="1">
            <a:spLocks noGrp="1"/>
          </p:cNvSpPr>
          <p:nvPr>
            <p:ph type="body" idx="1"/>
          </p:nvPr>
        </p:nvSpPr>
        <p:spPr>
          <a:xfrm>
            <a:off x="4663019" y="3112038"/>
            <a:ext cx="6345767" cy="73501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4000"/>
              <a:buNone/>
              <a:defRPr sz="4000" b="1">
                <a:solidFill>
                  <a:srgbClr val="8C2347"/>
                </a:solidFill>
              </a:defRPr>
            </a:lvl1pPr>
            <a:lvl2pPr marL="609630" lvl="1" indent="-152408" algn="l">
              <a:lnSpc>
                <a:spcPct val="100000"/>
              </a:lnSpc>
              <a:spcBef>
                <a:spcPts val="1000"/>
              </a:spcBef>
              <a:spcAft>
                <a:spcPts val="0"/>
              </a:spcAft>
              <a:buSzPts val="4000"/>
              <a:buNone/>
              <a:defRPr sz="4000" b="1"/>
            </a:lvl2pPr>
            <a:lvl3pPr marL="914446" lvl="2" indent="-152408" algn="l">
              <a:lnSpc>
                <a:spcPct val="100000"/>
              </a:lnSpc>
              <a:spcBef>
                <a:spcPts val="1000"/>
              </a:spcBef>
              <a:spcAft>
                <a:spcPts val="0"/>
              </a:spcAft>
              <a:buSzPts val="4000"/>
              <a:buNone/>
              <a:defRPr sz="4000" b="1"/>
            </a:lvl3pPr>
            <a:lvl4pPr marL="1219261" lvl="3" indent="-152408" algn="l">
              <a:lnSpc>
                <a:spcPct val="100000"/>
              </a:lnSpc>
              <a:spcBef>
                <a:spcPts val="1000"/>
              </a:spcBef>
              <a:spcAft>
                <a:spcPts val="0"/>
              </a:spcAft>
              <a:buSzPts val="4000"/>
              <a:buNone/>
              <a:defRPr sz="4000" b="1"/>
            </a:lvl4pPr>
            <a:lvl5pPr marL="1524076" lvl="4" indent="-152408" algn="l">
              <a:lnSpc>
                <a:spcPct val="100000"/>
              </a:lnSpc>
              <a:spcBef>
                <a:spcPts val="1000"/>
              </a:spcBef>
              <a:spcAft>
                <a:spcPts val="0"/>
              </a:spcAft>
              <a:buSzPts val="4000"/>
              <a:buNone/>
              <a:defRPr sz="4000" b="1"/>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9560" name="Google Shape;19560;p2154"/>
          <p:cNvSpPr txBox="1">
            <a:spLocks noGrp="1"/>
          </p:cNvSpPr>
          <p:nvPr>
            <p:ph type="body" idx="2"/>
          </p:nvPr>
        </p:nvSpPr>
        <p:spPr>
          <a:xfrm>
            <a:off x="4663019" y="2731036"/>
            <a:ext cx="6345767" cy="381000"/>
          </a:xfrm>
          <a:prstGeom prst="rect">
            <a:avLst/>
          </a:prstGeom>
          <a:noFill/>
          <a:ln>
            <a:noFill/>
          </a:ln>
        </p:spPr>
        <p:txBody>
          <a:bodyPr spcFirstLastPara="1" wrap="square" lIns="91425" tIns="45700" rIns="91425" bIns="45700" anchor="ctr" anchorCtr="0">
            <a:noAutofit/>
          </a:bodyPr>
          <a:lstStyle>
            <a:lvl1pPr marL="304815" lvl="0" indent="-152408"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1pPr>
            <a:lvl2pPr marL="609630" lvl="1" indent="-152408"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2pPr>
            <a:lvl3pPr marL="914446" lvl="2" indent="-152408"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3pPr>
            <a:lvl4pPr marL="1219261" lvl="3" indent="-152408"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4pPr>
            <a:lvl5pPr marL="1524076" lvl="4" indent="-152408"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9561" name="Google Shape;19561;p2154"/>
          <p:cNvGrpSpPr/>
          <p:nvPr/>
        </p:nvGrpSpPr>
        <p:grpSpPr>
          <a:xfrm>
            <a:off x="791245" y="2369596"/>
            <a:ext cx="2416216" cy="1878202"/>
            <a:chOff x="297439" y="2116926"/>
            <a:chExt cx="1826636" cy="1893204"/>
          </a:xfrm>
        </p:grpSpPr>
        <p:pic>
          <p:nvPicPr>
            <p:cNvPr id="19562" name="Google Shape;19562;p2154"/>
            <p:cNvPicPr preferRelativeResize="0"/>
            <p:nvPr/>
          </p:nvPicPr>
          <p:blipFill rotWithShape="1">
            <a:blip r:embed="rId2">
              <a:alphaModFix/>
            </a:blip>
            <a:srcRect/>
            <a:stretch/>
          </p:blipFill>
          <p:spPr>
            <a:xfrm>
              <a:off x="517217" y="2677246"/>
              <a:ext cx="1450128" cy="1332884"/>
            </a:xfrm>
            <a:prstGeom prst="rect">
              <a:avLst/>
            </a:prstGeom>
            <a:noFill/>
            <a:ln>
              <a:noFill/>
            </a:ln>
          </p:spPr>
        </p:pic>
        <p:pic>
          <p:nvPicPr>
            <p:cNvPr id="19563" name="Google Shape;19563;p2154"/>
            <p:cNvPicPr preferRelativeResize="0"/>
            <p:nvPr/>
          </p:nvPicPr>
          <p:blipFill rotWithShape="1">
            <a:blip r:embed="rId3">
              <a:alphaModFix/>
            </a:blip>
            <a:srcRect/>
            <a:stretch/>
          </p:blipFill>
          <p:spPr>
            <a:xfrm>
              <a:off x="297439" y="2116926"/>
              <a:ext cx="1826636" cy="533646"/>
            </a:xfrm>
            <a:prstGeom prst="rect">
              <a:avLst/>
            </a:prstGeom>
            <a:noFill/>
            <a:ln>
              <a:noFill/>
            </a:ln>
          </p:spPr>
        </p:pic>
      </p:grpSp>
    </p:spTree>
  </p:cSld>
  <p:clrMapOvr>
    <a:masterClrMapping/>
  </p:clrMapOvr>
</p:sldLayout>
</file>

<file path=ppt/slideLayouts/slideLayout2073.xml><?xml version="1.0" encoding="utf-8"?>
<p:sldLayout xmlns:a="http://schemas.openxmlformats.org/drawingml/2006/main" xmlns:r="http://schemas.openxmlformats.org/officeDocument/2006/relationships" xmlns:p="http://schemas.openxmlformats.org/presentationml/2006/main" matchingName="LM-Transition">
  <p:cSld name="LM-Transition">
    <p:spTree>
      <p:nvGrpSpPr>
        <p:cNvPr id="1" name="Shape 19564"/>
        <p:cNvGrpSpPr/>
        <p:nvPr/>
      </p:nvGrpSpPr>
      <p:grpSpPr>
        <a:xfrm>
          <a:off x="0" y="0"/>
          <a:ext cx="0" cy="0"/>
          <a:chOff x="0" y="0"/>
          <a:chExt cx="0" cy="0"/>
        </a:xfrm>
      </p:grpSpPr>
      <p:sp>
        <p:nvSpPr>
          <p:cNvPr id="19565" name="Google Shape;19565;p2155"/>
          <p:cNvSpPr/>
          <p:nvPr/>
        </p:nvSpPr>
        <p:spPr>
          <a:xfrm>
            <a:off x="0" y="2290794"/>
            <a:ext cx="12192000" cy="4567206"/>
          </a:xfrm>
          <a:prstGeom prst="rect">
            <a:avLst/>
          </a:prstGeom>
          <a:solidFill>
            <a:srgbClr val="8D2346"/>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700"/>
              <a:buFont typeface="Arial"/>
              <a:buNone/>
            </a:pPr>
            <a:endParaRPr sz="1800">
              <a:solidFill>
                <a:schemeClr val="lt1"/>
              </a:solidFill>
              <a:latin typeface="Calibri"/>
              <a:ea typeface="Calibri"/>
              <a:cs typeface="Calibri"/>
              <a:sym typeface="Calibri"/>
            </a:endParaRPr>
          </a:p>
        </p:txBody>
      </p:sp>
      <p:cxnSp>
        <p:nvCxnSpPr>
          <p:cNvPr id="19566" name="Google Shape;19566;p2155"/>
          <p:cNvCxnSpPr/>
          <p:nvPr/>
        </p:nvCxnSpPr>
        <p:spPr>
          <a:xfrm>
            <a:off x="875820" y="4631593"/>
            <a:ext cx="10440363" cy="0"/>
          </a:xfrm>
          <a:prstGeom prst="straightConnector1">
            <a:avLst/>
          </a:prstGeom>
          <a:noFill/>
          <a:ln w="9525" cap="flat" cmpd="sng">
            <a:solidFill>
              <a:srgbClr val="C9C9C9"/>
            </a:solidFill>
            <a:prstDash val="solid"/>
            <a:miter lim="800000"/>
            <a:headEnd type="none" w="sm" len="sm"/>
            <a:tailEnd type="none" w="sm" len="sm"/>
          </a:ln>
        </p:spPr>
      </p:cxnSp>
      <p:pic>
        <p:nvPicPr>
          <p:cNvPr id="19567" name="Google Shape;19567;p2155" descr="LM_3C_H-300.png"/>
          <p:cNvPicPr preferRelativeResize="0"/>
          <p:nvPr/>
        </p:nvPicPr>
        <p:blipFill rotWithShape="1">
          <a:blip r:embed="rId2">
            <a:alphaModFix/>
          </a:blip>
          <a:srcRect/>
          <a:stretch/>
        </p:blipFill>
        <p:spPr>
          <a:xfrm>
            <a:off x="3848101" y="497976"/>
            <a:ext cx="4584701" cy="1142196"/>
          </a:xfrm>
          <a:prstGeom prst="rect">
            <a:avLst/>
          </a:prstGeom>
          <a:noFill/>
          <a:ln>
            <a:noFill/>
          </a:ln>
        </p:spPr>
      </p:pic>
      <p:pic>
        <p:nvPicPr>
          <p:cNvPr id="19568" name="Google Shape;19568;p2155" descr="trinity_health.jpg"/>
          <p:cNvPicPr preferRelativeResize="0"/>
          <p:nvPr/>
        </p:nvPicPr>
        <p:blipFill rotWithShape="1">
          <a:blip r:embed="rId3">
            <a:alphaModFix/>
          </a:blip>
          <a:srcRect/>
          <a:stretch/>
        </p:blipFill>
        <p:spPr>
          <a:xfrm>
            <a:off x="4777706" y="1907926"/>
            <a:ext cx="2604577" cy="192492"/>
          </a:xfrm>
          <a:prstGeom prst="rect">
            <a:avLst/>
          </a:prstGeom>
          <a:noFill/>
          <a:ln>
            <a:noFill/>
          </a:ln>
        </p:spPr>
      </p:pic>
      <p:sp>
        <p:nvSpPr>
          <p:cNvPr id="19569" name="Google Shape;19569;p2155"/>
          <p:cNvSpPr txBox="1">
            <a:spLocks noGrp="1"/>
          </p:cNvSpPr>
          <p:nvPr>
            <p:ph type="body" idx="1"/>
          </p:nvPr>
        </p:nvSpPr>
        <p:spPr>
          <a:xfrm>
            <a:off x="875820" y="4031767"/>
            <a:ext cx="10440363" cy="381000"/>
          </a:xfrm>
          <a:prstGeom prst="rect">
            <a:avLst/>
          </a:prstGeom>
          <a:noFill/>
          <a:ln>
            <a:noFill/>
          </a:ln>
        </p:spPr>
        <p:txBody>
          <a:bodyPr spcFirstLastPara="1" wrap="square" lIns="91425" tIns="45700" rIns="91425" bIns="45700" anchor="ctr" anchorCtr="0">
            <a:noAutofit/>
          </a:bodyPr>
          <a:lstStyle>
            <a:lvl1pPr marL="304815" lvl="0" indent="-152408" algn="ctr">
              <a:lnSpc>
                <a:spcPct val="100000"/>
              </a:lnSpc>
              <a:spcBef>
                <a:spcPts val="1000"/>
              </a:spcBef>
              <a:spcAft>
                <a:spcPts val="0"/>
              </a:spcAft>
              <a:buSzPts val="2800"/>
              <a:buNone/>
              <a:defRPr sz="2800" b="1" i="0">
                <a:solidFill>
                  <a:schemeClr val="lt1"/>
                </a:solidFill>
                <a:latin typeface="Arial"/>
                <a:ea typeface="Arial"/>
                <a:cs typeface="Arial"/>
                <a:sym typeface="Arial"/>
              </a:defRPr>
            </a:lvl1pPr>
            <a:lvl2pPr marL="609630" lvl="1" indent="-152408"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2pPr>
            <a:lvl3pPr marL="914446" lvl="2" indent="-152408"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3pPr>
            <a:lvl4pPr marL="1219261" lvl="3" indent="-152408"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4pPr>
            <a:lvl5pPr marL="1524076" lvl="4" indent="-152408"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9570" name="Google Shape;19570;p2155"/>
          <p:cNvSpPr txBox="1">
            <a:spLocks noGrp="1"/>
          </p:cNvSpPr>
          <p:nvPr>
            <p:ph type="body" idx="2"/>
          </p:nvPr>
        </p:nvSpPr>
        <p:spPr>
          <a:xfrm>
            <a:off x="875820" y="4886876"/>
            <a:ext cx="10440363" cy="381000"/>
          </a:xfrm>
          <a:prstGeom prst="rect">
            <a:avLst/>
          </a:prstGeom>
          <a:noFill/>
          <a:ln>
            <a:noFill/>
          </a:ln>
        </p:spPr>
        <p:txBody>
          <a:bodyPr spcFirstLastPara="1" wrap="square" lIns="91425" tIns="45700" rIns="91425" bIns="45700" anchor="ctr" anchorCtr="0">
            <a:noAutofit/>
          </a:bodyPr>
          <a:lstStyle>
            <a:lvl1pPr marL="304815" lvl="0" indent="-152408" algn="ctr">
              <a:lnSpc>
                <a:spcPct val="100000"/>
              </a:lnSpc>
              <a:spcBef>
                <a:spcPts val="1000"/>
              </a:spcBef>
              <a:spcAft>
                <a:spcPts val="0"/>
              </a:spcAft>
              <a:buSzPts val="2800"/>
              <a:buNone/>
              <a:defRPr sz="2800" b="1" i="1">
                <a:solidFill>
                  <a:schemeClr val="lt1"/>
                </a:solidFill>
                <a:latin typeface="Times"/>
                <a:ea typeface="Times"/>
                <a:cs typeface="Times"/>
                <a:sym typeface="Times"/>
              </a:defRPr>
            </a:lvl1pPr>
            <a:lvl2pPr marL="609630" lvl="1" indent="-152408"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2pPr>
            <a:lvl3pPr marL="914446" lvl="2" indent="-152408"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3pPr>
            <a:lvl4pPr marL="1219261" lvl="3" indent="-152408"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4pPr>
            <a:lvl5pPr marL="1524076" lvl="4" indent="-152408"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074.xml><?xml version="1.0" encoding="utf-8"?>
<p:sldLayout xmlns:a="http://schemas.openxmlformats.org/drawingml/2006/main" xmlns:r="http://schemas.openxmlformats.org/officeDocument/2006/relationships" xmlns:p="http://schemas.openxmlformats.org/presentationml/2006/main" matchingName="1_1-Line Title (Blank, Logo Top)">
  <p:cSld name="1_1-Line Title (Blank, Logo Top)">
    <p:spTree>
      <p:nvGrpSpPr>
        <p:cNvPr id="1" name="Shape 19571"/>
        <p:cNvGrpSpPr/>
        <p:nvPr/>
      </p:nvGrpSpPr>
      <p:grpSpPr>
        <a:xfrm>
          <a:off x="0" y="0"/>
          <a:ext cx="0" cy="0"/>
          <a:chOff x="0" y="0"/>
          <a:chExt cx="0" cy="0"/>
        </a:xfrm>
      </p:grpSpPr>
      <p:cxnSp>
        <p:nvCxnSpPr>
          <p:cNvPr id="19572" name="Google Shape;19572;p2156"/>
          <p:cNvCxnSpPr/>
          <p:nvPr/>
        </p:nvCxnSpPr>
        <p:spPr>
          <a:xfrm>
            <a:off x="2" y="1129976"/>
            <a:ext cx="10289308" cy="0"/>
          </a:xfrm>
          <a:prstGeom prst="straightConnector1">
            <a:avLst/>
          </a:prstGeom>
          <a:noFill/>
          <a:ln w="12700" cap="flat" cmpd="sng">
            <a:solidFill>
              <a:srgbClr val="C9C9C9"/>
            </a:solidFill>
            <a:prstDash val="solid"/>
            <a:miter lim="800000"/>
            <a:headEnd type="none" w="sm" len="sm"/>
            <a:tailEnd type="oval" w="med" len="med"/>
          </a:ln>
        </p:spPr>
      </p:cxnSp>
      <p:sp>
        <p:nvSpPr>
          <p:cNvPr id="19573" name="Google Shape;19573;p2156"/>
          <p:cNvSpPr txBox="1">
            <a:spLocks noGrp="1"/>
          </p:cNvSpPr>
          <p:nvPr>
            <p:ph type="body" idx="1"/>
          </p:nvPr>
        </p:nvSpPr>
        <p:spPr>
          <a:xfrm>
            <a:off x="700621" y="533970"/>
            <a:ext cx="8867787" cy="488537"/>
          </a:xfrm>
          <a:prstGeom prst="rect">
            <a:avLst/>
          </a:prstGeom>
          <a:noFill/>
          <a:ln>
            <a:noFill/>
          </a:ln>
        </p:spPr>
        <p:txBody>
          <a:bodyPr spcFirstLastPara="1" wrap="square" lIns="91425" tIns="45700" rIns="91425" bIns="45700" anchor="ctr" anchorCtr="0">
            <a:noAutofit/>
          </a:bodyPr>
          <a:lstStyle>
            <a:lvl1pPr marL="304815" lvl="0" indent="-152408" algn="l">
              <a:lnSpc>
                <a:spcPct val="100000"/>
              </a:lnSpc>
              <a:spcBef>
                <a:spcPts val="1000"/>
              </a:spcBef>
              <a:spcAft>
                <a:spcPts val="0"/>
              </a:spcAft>
              <a:buSzPts val="2400"/>
              <a:buNone/>
              <a:defRPr b="1">
                <a:solidFill>
                  <a:srgbClr val="8C2347"/>
                </a:solidFill>
              </a:defRPr>
            </a:lvl1pPr>
            <a:lvl2pPr marL="609630" lvl="1" indent="-152408" algn="l">
              <a:lnSpc>
                <a:spcPct val="100000"/>
              </a:lnSpc>
              <a:spcBef>
                <a:spcPts val="1000"/>
              </a:spcBef>
              <a:spcAft>
                <a:spcPts val="0"/>
              </a:spcAft>
              <a:buSzPts val="2000"/>
              <a:buNone/>
              <a:defRPr b="1">
                <a:solidFill>
                  <a:srgbClr val="8C2347"/>
                </a:solidFill>
              </a:defRPr>
            </a:lvl2pPr>
            <a:lvl3pPr marL="914446" lvl="2" indent="-152408" algn="l">
              <a:lnSpc>
                <a:spcPct val="100000"/>
              </a:lnSpc>
              <a:spcBef>
                <a:spcPts val="1000"/>
              </a:spcBef>
              <a:spcAft>
                <a:spcPts val="0"/>
              </a:spcAft>
              <a:buSzPts val="1800"/>
              <a:buNone/>
              <a:defRPr b="1">
                <a:solidFill>
                  <a:srgbClr val="8C2347"/>
                </a:solidFill>
              </a:defRPr>
            </a:lvl3pPr>
            <a:lvl4pPr marL="1219261" lvl="3" indent="-152408" algn="l">
              <a:lnSpc>
                <a:spcPct val="100000"/>
              </a:lnSpc>
              <a:spcBef>
                <a:spcPts val="1000"/>
              </a:spcBef>
              <a:spcAft>
                <a:spcPts val="0"/>
              </a:spcAft>
              <a:buSzPts val="1600"/>
              <a:buNone/>
              <a:defRPr b="1">
                <a:solidFill>
                  <a:srgbClr val="8C2347"/>
                </a:solidFill>
              </a:defRPr>
            </a:lvl4pPr>
            <a:lvl5pPr marL="1524076" lvl="4" indent="-152408" algn="l">
              <a:lnSpc>
                <a:spcPct val="100000"/>
              </a:lnSpc>
              <a:spcBef>
                <a:spcPts val="1000"/>
              </a:spcBef>
              <a:spcAft>
                <a:spcPts val="0"/>
              </a:spcAft>
              <a:buSzPts val="1600"/>
              <a:buNone/>
              <a:defRPr b="1">
                <a:solidFill>
                  <a:srgbClr val="8C2347"/>
                </a:solidFill>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9574" name="Google Shape;19574;p2156"/>
          <p:cNvSpPr/>
          <p:nvPr/>
        </p:nvSpPr>
        <p:spPr>
          <a:xfrm>
            <a:off x="9815334" y="5955179"/>
            <a:ext cx="2376668" cy="902825"/>
          </a:xfrm>
          <a:prstGeom prst="rect">
            <a:avLst/>
          </a:prstGeom>
          <a:solidFill>
            <a:schemeClr val="lt1"/>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138"/>
              <a:buFont typeface="Arial"/>
              <a:buNone/>
            </a:pPr>
            <a:endParaRPr sz="1425">
              <a:solidFill>
                <a:schemeClr val="lt1"/>
              </a:solidFill>
              <a:latin typeface="Calibri"/>
              <a:ea typeface="Calibri"/>
              <a:cs typeface="Calibri"/>
              <a:sym typeface="Calibri"/>
            </a:endParaRPr>
          </a:p>
        </p:txBody>
      </p:sp>
      <p:sp>
        <p:nvSpPr>
          <p:cNvPr id="19575" name="Google Shape;19575;p2156"/>
          <p:cNvSpPr/>
          <p:nvPr/>
        </p:nvSpPr>
        <p:spPr>
          <a:xfrm>
            <a:off x="9815334" y="77979"/>
            <a:ext cx="2376668" cy="944524"/>
          </a:xfrm>
          <a:prstGeom prst="rect">
            <a:avLst/>
          </a:prstGeom>
          <a:solidFill>
            <a:schemeClr val="lt1"/>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138"/>
              <a:buFont typeface="Arial"/>
              <a:buNone/>
            </a:pPr>
            <a:endParaRPr sz="1425">
              <a:solidFill>
                <a:schemeClr val="lt1"/>
              </a:solidFill>
              <a:latin typeface="Calibri"/>
              <a:ea typeface="Calibri"/>
              <a:cs typeface="Calibri"/>
              <a:sym typeface="Calibri"/>
            </a:endParaRPr>
          </a:p>
        </p:txBody>
      </p:sp>
      <p:pic>
        <p:nvPicPr>
          <p:cNvPr id="19576" name="Google Shape;19576;p2156" descr="LM_LUMC_3C_V.png"/>
          <p:cNvPicPr preferRelativeResize="0"/>
          <p:nvPr/>
        </p:nvPicPr>
        <p:blipFill rotWithShape="1">
          <a:blip r:embed="rId2">
            <a:alphaModFix/>
          </a:blip>
          <a:srcRect/>
          <a:stretch/>
        </p:blipFill>
        <p:spPr>
          <a:xfrm>
            <a:off x="9997748" y="317116"/>
            <a:ext cx="1653863" cy="574078"/>
          </a:xfrm>
          <a:prstGeom prst="rect">
            <a:avLst/>
          </a:prstGeom>
          <a:noFill/>
          <a:ln>
            <a:noFill/>
          </a:ln>
        </p:spPr>
      </p:pic>
    </p:spTree>
  </p:cSld>
  <p:clrMapOvr>
    <a:masterClrMapping/>
  </p:clrMapOvr>
</p:sldLayout>
</file>

<file path=ppt/slideLayouts/slideLayout2075.xml><?xml version="1.0" encoding="utf-8"?>
<p:sldLayout xmlns:a="http://schemas.openxmlformats.org/drawingml/2006/main" xmlns:r="http://schemas.openxmlformats.org/officeDocument/2006/relationships" xmlns:p="http://schemas.openxmlformats.org/presentationml/2006/main" matchingName="1_1-Line Title (Blank, Logo Top)">
  <p:cSld name="2_1-Line Title (Blank, Logo Top)">
    <p:spTree>
      <p:nvGrpSpPr>
        <p:cNvPr id="1" name="Shape 19577"/>
        <p:cNvGrpSpPr/>
        <p:nvPr/>
      </p:nvGrpSpPr>
      <p:grpSpPr>
        <a:xfrm>
          <a:off x="0" y="0"/>
          <a:ext cx="0" cy="0"/>
          <a:chOff x="0" y="0"/>
          <a:chExt cx="0" cy="0"/>
        </a:xfrm>
      </p:grpSpPr>
      <p:cxnSp>
        <p:nvCxnSpPr>
          <p:cNvPr id="19578" name="Google Shape;19578;p2157"/>
          <p:cNvCxnSpPr/>
          <p:nvPr/>
        </p:nvCxnSpPr>
        <p:spPr>
          <a:xfrm>
            <a:off x="2" y="1129976"/>
            <a:ext cx="10289308" cy="0"/>
          </a:xfrm>
          <a:prstGeom prst="straightConnector1">
            <a:avLst/>
          </a:prstGeom>
          <a:noFill/>
          <a:ln w="12700" cap="flat" cmpd="sng">
            <a:solidFill>
              <a:srgbClr val="C9C9C9"/>
            </a:solidFill>
            <a:prstDash val="solid"/>
            <a:miter lim="800000"/>
            <a:headEnd type="none" w="sm" len="sm"/>
            <a:tailEnd type="oval" w="med" len="med"/>
          </a:ln>
        </p:spPr>
      </p:cxnSp>
      <p:sp>
        <p:nvSpPr>
          <p:cNvPr id="19579" name="Google Shape;19579;p2157"/>
          <p:cNvSpPr txBox="1">
            <a:spLocks noGrp="1"/>
          </p:cNvSpPr>
          <p:nvPr>
            <p:ph type="body" idx="1"/>
          </p:nvPr>
        </p:nvSpPr>
        <p:spPr>
          <a:xfrm>
            <a:off x="700621" y="533970"/>
            <a:ext cx="8867787" cy="488537"/>
          </a:xfrm>
          <a:prstGeom prst="rect">
            <a:avLst/>
          </a:prstGeom>
          <a:noFill/>
          <a:ln>
            <a:noFill/>
          </a:ln>
        </p:spPr>
        <p:txBody>
          <a:bodyPr spcFirstLastPara="1" wrap="square" lIns="91425" tIns="45700" rIns="91425" bIns="45700" anchor="ctr" anchorCtr="0">
            <a:noAutofit/>
          </a:bodyPr>
          <a:lstStyle>
            <a:lvl1pPr marL="304815" lvl="0" indent="-152408" algn="l">
              <a:lnSpc>
                <a:spcPct val="100000"/>
              </a:lnSpc>
              <a:spcBef>
                <a:spcPts val="1000"/>
              </a:spcBef>
              <a:spcAft>
                <a:spcPts val="0"/>
              </a:spcAft>
              <a:buSzPts val="2400"/>
              <a:buNone/>
              <a:defRPr b="1">
                <a:solidFill>
                  <a:srgbClr val="8C2347"/>
                </a:solidFill>
              </a:defRPr>
            </a:lvl1pPr>
            <a:lvl2pPr marL="609630" lvl="1" indent="-152408" algn="l">
              <a:lnSpc>
                <a:spcPct val="100000"/>
              </a:lnSpc>
              <a:spcBef>
                <a:spcPts val="1000"/>
              </a:spcBef>
              <a:spcAft>
                <a:spcPts val="0"/>
              </a:spcAft>
              <a:buSzPts val="2000"/>
              <a:buNone/>
              <a:defRPr b="1">
                <a:solidFill>
                  <a:srgbClr val="8C2347"/>
                </a:solidFill>
              </a:defRPr>
            </a:lvl2pPr>
            <a:lvl3pPr marL="914446" lvl="2" indent="-152408" algn="l">
              <a:lnSpc>
                <a:spcPct val="100000"/>
              </a:lnSpc>
              <a:spcBef>
                <a:spcPts val="1000"/>
              </a:spcBef>
              <a:spcAft>
                <a:spcPts val="0"/>
              </a:spcAft>
              <a:buSzPts val="1800"/>
              <a:buNone/>
              <a:defRPr b="1">
                <a:solidFill>
                  <a:srgbClr val="8C2347"/>
                </a:solidFill>
              </a:defRPr>
            </a:lvl3pPr>
            <a:lvl4pPr marL="1219261" lvl="3" indent="-152408" algn="l">
              <a:lnSpc>
                <a:spcPct val="100000"/>
              </a:lnSpc>
              <a:spcBef>
                <a:spcPts val="1000"/>
              </a:spcBef>
              <a:spcAft>
                <a:spcPts val="0"/>
              </a:spcAft>
              <a:buSzPts val="1600"/>
              <a:buNone/>
              <a:defRPr b="1">
                <a:solidFill>
                  <a:srgbClr val="8C2347"/>
                </a:solidFill>
              </a:defRPr>
            </a:lvl4pPr>
            <a:lvl5pPr marL="1524076" lvl="4" indent="-152408" algn="l">
              <a:lnSpc>
                <a:spcPct val="100000"/>
              </a:lnSpc>
              <a:spcBef>
                <a:spcPts val="1000"/>
              </a:spcBef>
              <a:spcAft>
                <a:spcPts val="0"/>
              </a:spcAft>
              <a:buSzPts val="1600"/>
              <a:buNone/>
              <a:defRPr b="1">
                <a:solidFill>
                  <a:srgbClr val="8C2347"/>
                </a:solidFill>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9580" name="Google Shape;19580;p2157"/>
          <p:cNvSpPr/>
          <p:nvPr/>
        </p:nvSpPr>
        <p:spPr>
          <a:xfrm>
            <a:off x="9815334" y="5955179"/>
            <a:ext cx="2376668" cy="902825"/>
          </a:xfrm>
          <a:prstGeom prst="rect">
            <a:avLst/>
          </a:prstGeom>
          <a:solidFill>
            <a:schemeClr val="lt1"/>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138"/>
              <a:buFont typeface="Arial"/>
              <a:buNone/>
            </a:pPr>
            <a:endParaRPr sz="1425">
              <a:solidFill>
                <a:schemeClr val="lt1"/>
              </a:solidFill>
              <a:latin typeface="Calibri"/>
              <a:ea typeface="Calibri"/>
              <a:cs typeface="Calibri"/>
              <a:sym typeface="Calibri"/>
            </a:endParaRPr>
          </a:p>
        </p:txBody>
      </p:sp>
      <p:sp>
        <p:nvSpPr>
          <p:cNvPr id="19581" name="Google Shape;19581;p2157"/>
          <p:cNvSpPr/>
          <p:nvPr/>
        </p:nvSpPr>
        <p:spPr>
          <a:xfrm>
            <a:off x="9815334" y="77979"/>
            <a:ext cx="2376668" cy="944524"/>
          </a:xfrm>
          <a:prstGeom prst="rect">
            <a:avLst/>
          </a:prstGeom>
          <a:solidFill>
            <a:schemeClr val="lt1"/>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138"/>
              <a:buFont typeface="Arial"/>
              <a:buNone/>
            </a:pPr>
            <a:endParaRPr sz="1425">
              <a:solidFill>
                <a:schemeClr val="lt1"/>
              </a:solidFill>
              <a:latin typeface="Calibri"/>
              <a:ea typeface="Calibri"/>
              <a:cs typeface="Calibri"/>
              <a:sym typeface="Calibri"/>
            </a:endParaRPr>
          </a:p>
        </p:txBody>
      </p:sp>
      <p:pic>
        <p:nvPicPr>
          <p:cNvPr id="19582" name="Google Shape;19582;p2157" descr="LM_LUMC_3C_V.png"/>
          <p:cNvPicPr preferRelativeResize="0"/>
          <p:nvPr/>
        </p:nvPicPr>
        <p:blipFill rotWithShape="1">
          <a:blip r:embed="rId2">
            <a:alphaModFix/>
          </a:blip>
          <a:srcRect/>
          <a:stretch/>
        </p:blipFill>
        <p:spPr>
          <a:xfrm>
            <a:off x="9997748" y="317116"/>
            <a:ext cx="1653863" cy="574078"/>
          </a:xfrm>
          <a:prstGeom prst="rect">
            <a:avLst/>
          </a:prstGeom>
          <a:noFill/>
          <a:ln>
            <a:noFill/>
          </a:ln>
        </p:spPr>
      </p:pic>
    </p:spTree>
  </p:cSld>
  <p:clrMapOvr>
    <a:masterClrMapping/>
  </p:clrMapOvr>
</p:sldLayout>
</file>

<file path=ppt/slideLayouts/slideLayout2076.xml><?xml version="1.0" encoding="utf-8"?>
<p:sldLayout xmlns:a="http://schemas.openxmlformats.org/drawingml/2006/main" xmlns:r="http://schemas.openxmlformats.org/officeDocument/2006/relationships" xmlns:p="http://schemas.openxmlformats.org/presentationml/2006/main" matchingName="Cover">
  <p:cSld name="1_Cover 8">
    <p:spTree>
      <p:nvGrpSpPr>
        <p:cNvPr id="1" name="Shape 19583"/>
        <p:cNvGrpSpPr/>
        <p:nvPr/>
      </p:nvGrpSpPr>
      <p:grpSpPr>
        <a:xfrm>
          <a:off x="0" y="0"/>
          <a:ext cx="0" cy="0"/>
          <a:chOff x="0" y="0"/>
          <a:chExt cx="0" cy="0"/>
        </a:xfrm>
      </p:grpSpPr>
      <p:sp>
        <p:nvSpPr>
          <p:cNvPr id="19584" name="Google Shape;19584;p2158"/>
          <p:cNvSpPr/>
          <p:nvPr/>
        </p:nvSpPr>
        <p:spPr>
          <a:xfrm>
            <a:off x="0" y="0"/>
            <a:ext cx="12193200" cy="6861600"/>
          </a:xfrm>
          <a:prstGeom prst="rect">
            <a:avLst/>
          </a:prstGeom>
          <a:solidFill>
            <a:schemeClr val="accent1"/>
          </a:solidFill>
          <a:ln>
            <a:noFill/>
          </a:ln>
        </p:spPr>
        <p:txBody>
          <a:bodyPr spcFirstLastPara="1" wrap="square" lIns="91417" tIns="45700" rIns="91417" bIns="45700" anchor="ctr" anchorCtr="0">
            <a:noAutofit/>
          </a:bodyPr>
          <a:lstStyle/>
          <a:p>
            <a:pPr marL="0" marR="0" lvl="0" indent="0" algn="ctr" rtl="0">
              <a:spcBef>
                <a:spcPts val="0"/>
              </a:spcBef>
              <a:spcAft>
                <a:spcPts val="0"/>
              </a:spcAft>
              <a:buClr>
                <a:schemeClr val="dk1"/>
              </a:buClr>
              <a:buSzPts val="2000"/>
              <a:buFont typeface="Calibri"/>
              <a:buNone/>
            </a:pPr>
            <a:endParaRPr sz="2000" b="0" i="0" u="none" strike="noStrike" cap="none">
              <a:solidFill>
                <a:schemeClr val="lt1"/>
              </a:solidFill>
              <a:latin typeface="Cambria"/>
              <a:ea typeface="Cambria"/>
              <a:cs typeface="Cambria"/>
              <a:sym typeface="Cambria"/>
            </a:endParaRPr>
          </a:p>
        </p:txBody>
      </p:sp>
      <p:pic>
        <p:nvPicPr>
          <p:cNvPr id="19585" name="Google Shape;19585;p2158"/>
          <p:cNvPicPr preferRelativeResize="0"/>
          <p:nvPr/>
        </p:nvPicPr>
        <p:blipFill rotWithShape="1">
          <a:blip r:embed="rId2">
            <a:alphaModFix/>
          </a:blip>
          <a:srcRect/>
          <a:stretch/>
        </p:blipFill>
        <p:spPr>
          <a:xfrm>
            <a:off x="0" y="4686300"/>
            <a:ext cx="12192000" cy="2171700"/>
          </a:xfrm>
          <a:prstGeom prst="rect">
            <a:avLst/>
          </a:prstGeom>
          <a:noFill/>
          <a:ln>
            <a:noFill/>
          </a:ln>
        </p:spPr>
      </p:pic>
      <p:sp>
        <p:nvSpPr>
          <p:cNvPr id="19586" name="Google Shape;19586;p2158"/>
          <p:cNvSpPr txBox="1">
            <a:spLocks noGrp="1"/>
          </p:cNvSpPr>
          <p:nvPr>
            <p:ph type="ctrTitle"/>
          </p:nvPr>
        </p:nvSpPr>
        <p:spPr>
          <a:xfrm>
            <a:off x="979200" y="1828800"/>
            <a:ext cx="10234800" cy="1414500"/>
          </a:xfrm>
          <a:prstGeom prst="rect">
            <a:avLst/>
          </a:prstGeom>
          <a:noFill/>
          <a:ln>
            <a:noFill/>
          </a:ln>
        </p:spPr>
        <p:txBody>
          <a:bodyPr spcFirstLastPara="1" wrap="square" lIns="0" tIns="0" rIns="0" bIns="0" anchor="b" anchorCtr="0">
            <a:noAutofit/>
          </a:bodyPr>
          <a:lstStyle>
            <a:lvl1pPr lvl="0" algn="ctr">
              <a:lnSpc>
                <a:spcPct val="85000"/>
              </a:lnSpc>
              <a:spcBef>
                <a:spcPts val="0"/>
              </a:spcBef>
              <a:spcAft>
                <a:spcPts val="0"/>
              </a:spcAft>
              <a:buClr>
                <a:schemeClr val="lt1"/>
              </a:buClr>
              <a:buSzPts val="5400"/>
              <a:buFont typeface="Calibri"/>
              <a:buNone/>
              <a:defRPr sz="54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587" name="Google Shape;19587;p2158"/>
          <p:cNvSpPr txBox="1">
            <a:spLocks noGrp="1"/>
          </p:cNvSpPr>
          <p:nvPr>
            <p:ph type="subTitle" idx="1"/>
          </p:nvPr>
        </p:nvSpPr>
        <p:spPr>
          <a:xfrm>
            <a:off x="979200" y="3520800"/>
            <a:ext cx="10234800" cy="442800"/>
          </a:xfrm>
          <a:prstGeom prst="rect">
            <a:avLst/>
          </a:prstGeom>
          <a:noFill/>
          <a:ln>
            <a:noFill/>
          </a:ln>
        </p:spPr>
        <p:txBody>
          <a:bodyPr spcFirstLastPara="1" wrap="square" lIns="0" tIns="0" rIns="0" bIns="0" anchor="t" anchorCtr="0">
            <a:noAutofit/>
          </a:bodyPr>
          <a:lstStyle>
            <a:lvl1pPr lvl="0" algn="ctr">
              <a:lnSpc>
                <a:spcPct val="90000"/>
              </a:lnSpc>
              <a:spcBef>
                <a:spcPts val="0"/>
              </a:spcBef>
              <a:spcAft>
                <a:spcPts val="0"/>
              </a:spcAft>
              <a:buSzPts val="3200"/>
              <a:buFont typeface="Calibri"/>
              <a:buChar char="​"/>
              <a:defRPr sz="3200" i="1">
                <a:solidFill>
                  <a:schemeClr val="lt1"/>
                </a:solidFill>
                <a:latin typeface="Cambria"/>
                <a:ea typeface="Cambria"/>
                <a:cs typeface="Cambria"/>
                <a:sym typeface="Cambria"/>
              </a:defRPr>
            </a:lvl1pPr>
            <a:lvl2pPr lvl="1" algn="ctr">
              <a:lnSpc>
                <a:spcPct val="90000"/>
              </a:lnSpc>
              <a:spcBef>
                <a:spcPts val="600"/>
              </a:spcBef>
              <a:spcAft>
                <a:spcPts val="0"/>
              </a:spcAft>
              <a:buSzPts val="3200"/>
              <a:buFont typeface="Calibri"/>
              <a:buNone/>
              <a:defRPr sz="3200" i="1">
                <a:solidFill>
                  <a:schemeClr val="lt1"/>
                </a:solidFill>
                <a:latin typeface="Cambria"/>
                <a:ea typeface="Cambria"/>
                <a:cs typeface="Cambria"/>
                <a:sym typeface="Cambria"/>
              </a:defRPr>
            </a:lvl2pPr>
            <a:lvl3pPr lvl="2" algn="ctr">
              <a:lnSpc>
                <a:spcPct val="90000"/>
              </a:lnSpc>
              <a:spcBef>
                <a:spcPts val="600"/>
              </a:spcBef>
              <a:spcAft>
                <a:spcPts val="0"/>
              </a:spcAft>
              <a:buSzPts val="3200"/>
              <a:buFont typeface="Calibri"/>
              <a:buChar char="​"/>
              <a:defRPr sz="3200" i="1">
                <a:solidFill>
                  <a:schemeClr val="lt1"/>
                </a:solidFill>
                <a:latin typeface="Cambria"/>
                <a:ea typeface="Cambria"/>
                <a:cs typeface="Cambria"/>
                <a:sym typeface="Cambria"/>
              </a:defRPr>
            </a:lvl3pPr>
            <a:lvl4pPr lvl="3"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4pPr>
            <a:lvl5pPr lvl="4" algn="ctr">
              <a:lnSpc>
                <a:spcPct val="90000"/>
              </a:lnSpc>
              <a:spcBef>
                <a:spcPts val="12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5pPr>
            <a:lvl6pPr lvl="5"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6pPr>
            <a:lvl7pPr lvl="6" algn="ctr">
              <a:lnSpc>
                <a:spcPct val="90000"/>
              </a:lnSpc>
              <a:spcBef>
                <a:spcPts val="9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7pPr>
            <a:lvl8pPr lvl="7"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8pPr>
            <a:lvl9pPr lvl="8"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9pPr>
          </a:lstStyle>
          <a:p>
            <a:endParaRPr/>
          </a:p>
        </p:txBody>
      </p:sp>
      <p:sp>
        <p:nvSpPr>
          <p:cNvPr id="19588" name="Google Shape;19588;p2158"/>
          <p:cNvSpPr txBox="1"/>
          <p:nvPr/>
        </p:nvSpPr>
        <p:spPr>
          <a:xfrm>
            <a:off x="11212800" y="6498000"/>
            <a:ext cx="522000" cy="360000"/>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Clr>
                <a:srgbClr val="595959"/>
              </a:buClr>
              <a:buSzPts val="1400"/>
              <a:buFont typeface="Calibri"/>
              <a:buNone/>
            </a:pPr>
            <a:fld id="{00000000-1234-1234-1234-123412341234}" type="slidenum">
              <a:rPr lang="en-US" sz="1400" b="0" i="0" u="none" strike="noStrike" cap="none">
                <a:solidFill>
                  <a:srgbClr val="595959"/>
                </a:solidFill>
                <a:latin typeface="Calibri"/>
                <a:ea typeface="Calibri"/>
                <a:cs typeface="Calibri"/>
                <a:sym typeface="Calibri"/>
              </a:rPr>
              <a:pPr marL="0" marR="0" lvl="0" indent="0" algn="r" rtl="0">
                <a:spcBef>
                  <a:spcPts val="0"/>
                </a:spcBef>
                <a:spcAft>
                  <a:spcPts val="0"/>
                </a:spcAft>
                <a:buClr>
                  <a:srgbClr val="595959"/>
                </a:buClr>
                <a:buSzPts val="1400"/>
                <a:buFont typeface="Calibri"/>
                <a:buNone/>
              </a:pPr>
              <a:t>‹#›</a:t>
            </a:fld>
            <a:endParaRPr sz="1400" b="0" i="0" u="none" strike="noStrike" cap="none">
              <a:solidFill>
                <a:srgbClr val="595959"/>
              </a:solidFill>
              <a:latin typeface="Calibri"/>
              <a:ea typeface="Calibri"/>
              <a:cs typeface="Calibri"/>
              <a:sym typeface="Calibri"/>
            </a:endParaRPr>
          </a:p>
        </p:txBody>
      </p:sp>
    </p:spTree>
  </p:cSld>
  <p:clrMapOvr>
    <a:masterClrMapping/>
  </p:clrMapOvr>
</p:sldLayout>
</file>

<file path=ppt/slideLayouts/slideLayout2077.xml><?xml version="1.0" encoding="utf-8"?>
<p:sldLayout xmlns:a="http://schemas.openxmlformats.org/drawingml/2006/main" xmlns:r="http://schemas.openxmlformats.org/officeDocument/2006/relationships" xmlns:p="http://schemas.openxmlformats.org/presentationml/2006/main" matchingName="Content and Picture">
  <p:cSld name="Content and Picture">
    <p:spTree>
      <p:nvGrpSpPr>
        <p:cNvPr id="1" name="Shape 19589"/>
        <p:cNvGrpSpPr/>
        <p:nvPr/>
      </p:nvGrpSpPr>
      <p:grpSpPr>
        <a:xfrm>
          <a:off x="0" y="0"/>
          <a:ext cx="0" cy="0"/>
          <a:chOff x="0" y="0"/>
          <a:chExt cx="0" cy="0"/>
        </a:xfrm>
      </p:grpSpPr>
      <p:sp>
        <p:nvSpPr>
          <p:cNvPr id="19590" name="Google Shape;19590;p2159"/>
          <p:cNvSpPr txBox="1">
            <a:spLocks noGrp="1"/>
          </p:cNvSpPr>
          <p:nvPr>
            <p:ph type="body" idx="1"/>
          </p:nvPr>
        </p:nvSpPr>
        <p:spPr>
          <a:xfrm>
            <a:off x="457200" y="1828800"/>
            <a:ext cx="5410800" cy="4388400"/>
          </a:xfrm>
          <a:prstGeom prst="rect">
            <a:avLst/>
          </a:prstGeom>
          <a:noFill/>
          <a:ln>
            <a:noFill/>
          </a:ln>
        </p:spPr>
        <p:txBody>
          <a:bodyPr spcFirstLastPara="1" wrap="square" lIns="0" tIns="0" rIns="0" bIns="0" anchor="t" anchorCtr="0">
            <a:noAutofit/>
          </a:bodyPr>
          <a:lstStyle>
            <a:lvl1pPr marL="304815" lvl="0" indent="-237079" algn="l">
              <a:lnSpc>
                <a:spcPct val="90000"/>
              </a:lnSpc>
              <a:spcBef>
                <a:spcPts val="0"/>
              </a:spcBef>
              <a:spcAft>
                <a:spcPts val="0"/>
              </a:spcAft>
              <a:buSzPts val="2000"/>
              <a:buChar char="•"/>
              <a:defRPr/>
            </a:lvl1pPr>
            <a:lvl2pPr marL="609630" lvl="1" indent="-228611" algn="l">
              <a:lnSpc>
                <a:spcPct val="90000"/>
              </a:lnSpc>
              <a:spcBef>
                <a:spcPts val="600"/>
              </a:spcBef>
              <a:spcAft>
                <a:spcPts val="0"/>
              </a:spcAft>
              <a:buSzPts val="1800"/>
              <a:buChar char="•"/>
              <a:defRPr/>
            </a:lvl2pPr>
            <a:lvl3pPr marL="914446" lvl="2" indent="-228611" algn="l">
              <a:lnSpc>
                <a:spcPct val="90000"/>
              </a:lnSpc>
              <a:spcBef>
                <a:spcPts val="600"/>
              </a:spcBef>
              <a:spcAft>
                <a:spcPts val="0"/>
              </a:spcAft>
              <a:buSzPts val="1800"/>
              <a:buChar char="•"/>
              <a:defRPr/>
            </a:lvl3pPr>
            <a:lvl4pPr marL="1219261" lvl="3" indent="-228611" algn="l">
              <a:lnSpc>
                <a:spcPct val="90000"/>
              </a:lnSpc>
              <a:spcBef>
                <a:spcPts val="600"/>
              </a:spcBef>
              <a:spcAft>
                <a:spcPts val="0"/>
              </a:spcAft>
              <a:buClr>
                <a:schemeClr val="dk1"/>
              </a:buClr>
              <a:buSzPts val="1800"/>
              <a:buChar char="​"/>
              <a:defRPr/>
            </a:lvl4pPr>
            <a:lvl5pPr marL="1524076" lvl="4" indent="-254013" algn="l">
              <a:lnSpc>
                <a:spcPct val="90000"/>
              </a:lnSpc>
              <a:spcBef>
                <a:spcPts val="1200"/>
              </a:spcBef>
              <a:spcAft>
                <a:spcPts val="0"/>
              </a:spcAft>
              <a:buClr>
                <a:schemeClr val="accent1"/>
              </a:buClr>
              <a:buSzPts val="2400"/>
              <a:buChar char="​"/>
              <a:defRPr/>
            </a:lvl5pPr>
            <a:lvl6pPr marL="1828891" lvl="5" indent="-228611" algn="l">
              <a:lnSpc>
                <a:spcPct val="90000"/>
              </a:lnSpc>
              <a:spcBef>
                <a:spcPts val="600"/>
              </a:spcBef>
              <a:spcAft>
                <a:spcPts val="0"/>
              </a:spcAft>
              <a:buClr>
                <a:schemeClr val="dk1"/>
              </a:buClr>
              <a:buSzPts val="1800"/>
              <a:buChar char="​"/>
              <a:defRPr/>
            </a:lvl6pPr>
            <a:lvl7pPr marL="2133707" lvl="6" indent="-228611" algn="l">
              <a:lnSpc>
                <a:spcPct val="80000"/>
              </a:lnSpc>
              <a:spcBef>
                <a:spcPts val="900"/>
              </a:spcBef>
              <a:spcAft>
                <a:spcPts val="0"/>
              </a:spcAft>
              <a:buClr>
                <a:schemeClr val="accent5"/>
              </a:buClr>
              <a:buSzPts val="1800"/>
              <a:buChar char="​"/>
              <a:defRPr/>
            </a:lvl7pPr>
            <a:lvl8pPr marL="2438522" lvl="7" indent="-228611" algn="l">
              <a:lnSpc>
                <a:spcPct val="80000"/>
              </a:lnSpc>
              <a:spcBef>
                <a:spcPts val="600"/>
              </a:spcBef>
              <a:spcAft>
                <a:spcPts val="0"/>
              </a:spcAft>
              <a:buClr>
                <a:schemeClr val="dk1"/>
              </a:buClr>
              <a:buSzPts val="1800"/>
              <a:buChar char="​"/>
              <a:defRPr/>
            </a:lvl8pPr>
            <a:lvl9pPr marL="2743337" lvl="8" indent="-228611" algn="l">
              <a:lnSpc>
                <a:spcPct val="80000"/>
              </a:lnSpc>
              <a:spcBef>
                <a:spcPts val="600"/>
              </a:spcBef>
              <a:spcAft>
                <a:spcPts val="0"/>
              </a:spcAft>
              <a:buClr>
                <a:schemeClr val="dk1"/>
              </a:buClr>
              <a:buSzPts val="1800"/>
              <a:buChar char="​"/>
              <a:defRPr/>
            </a:lvl9pPr>
          </a:lstStyle>
          <a:p>
            <a:endParaRPr/>
          </a:p>
        </p:txBody>
      </p:sp>
      <p:sp>
        <p:nvSpPr>
          <p:cNvPr id="19591" name="Google Shape;19591;p2159"/>
          <p:cNvSpPr txBox="1">
            <a:spLocks noGrp="1"/>
          </p:cNvSpPr>
          <p:nvPr>
            <p:ph type="subTitle" idx="2"/>
          </p:nvPr>
        </p:nvSpPr>
        <p:spPr>
          <a:xfrm>
            <a:off x="456000" y="6217200"/>
            <a:ext cx="11278800" cy="183600"/>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SzPts val="800"/>
              <a:buFont typeface="Calibri"/>
              <a:buChar char="​"/>
              <a:defRPr sz="800" i="0">
                <a:solidFill>
                  <a:schemeClr val="dk1"/>
                </a:solidFill>
                <a:latin typeface="Calibri"/>
                <a:ea typeface="Calibri"/>
                <a:cs typeface="Calibri"/>
                <a:sym typeface="Calibri"/>
              </a:defRPr>
            </a:lvl1pPr>
            <a:lvl2pPr lvl="1" algn="ctr">
              <a:lnSpc>
                <a:spcPct val="90000"/>
              </a:lnSpc>
              <a:spcBef>
                <a:spcPts val="600"/>
              </a:spcBef>
              <a:spcAft>
                <a:spcPts val="0"/>
              </a:spcAft>
              <a:buSzPts val="3200"/>
              <a:buFont typeface="Calibri"/>
              <a:buNone/>
              <a:defRPr sz="3200" i="1">
                <a:solidFill>
                  <a:schemeClr val="lt1"/>
                </a:solidFill>
                <a:latin typeface="Cambria"/>
                <a:ea typeface="Cambria"/>
                <a:cs typeface="Cambria"/>
                <a:sym typeface="Cambria"/>
              </a:defRPr>
            </a:lvl2pPr>
            <a:lvl3pPr lvl="2" algn="ctr">
              <a:lnSpc>
                <a:spcPct val="90000"/>
              </a:lnSpc>
              <a:spcBef>
                <a:spcPts val="600"/>
              </a:spcBef>
              <a:spcAft>
                <a:spcPts val="0"/>
              </a:spcAft>
              <a:buSzPts val="3200"/>
              <a:buFont typeface="Calibri"/>
              <a:buChar char="​"/>
              <a:defRPr sz="3200" i="1">
                <a:solidFill>
                  <a:schemeClr val="lt1"/>
                </a:solidFill>
                <a:latin typeface="Cambria"/>
                <a:ea typeface="Cambria"/>
                <a:cs typeface="Cambria"/>
                <a:sym typeface="Cambria"/>
              </a:defRPr>
            </a:lvl3pPr>
            <a:lvl4pPr lvl="3"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4pPr>
            <a:lvl5pPr lvl="4" algn="ctr">
              <a:lnSpc>
                <a:spcPct val="90000"/>
              </a:lnSpc>
              <a:spcBef>
                <a:spcPts val="12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5pPr>
            <a:lvl6pPr lvl="5"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6pPr>
            <a:lvl7pPr lvl="6" algn="ctr">
              <a:lnSpc>
                <a:spcPct val="90000"/>
              </a:lnSpc>
              <a:spcBef>
                <a:spcPts val="9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7pPr>
            <a:lvl8pPr lvl="7"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8pPr>
            <a:lvl9pPr lvl="8"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9pPr>
          </a:lstStyle>
          <a:p>
            <a:endParaRPr/>
          </a:p>
        </p:txBody>
      </p:sp>
      <p:sp>
        <p:nvSpPr>
          <p:cNvPr id="19592" name="Google Shape;19592;p2159"/>
          <p:cNvSpPr>
            <a:spLocks noGrp="1"/>
          </p:cNvSpPr>
          <p:nvPr>
            <p:ph type="pic" idx="3"/>
          </p:nvPr>
        </p:nvSpPr>
        <p:spPr>
          <a:xfrm>
            <a:off x="6325200" y="1828800"/>
            <a:ext cx="5410800" cy="4388400"/>
          </a:xfrm>
          <a:prstGeom prst="rect">
            <a:avLst/>
          </a:prstGeom>
          <a:noFill/>
          <a:ln>
            <a:noFill/>
          </a:ln>
        </p:spPr>
      </p:sp>
      <p:sp>
        <p:nvSpPr>
          <p:cNvPr id="19593" name="Google Shape;19593;p2159"/>
          <p:cNvSpPr txBox="1">
            <a:spLocks noGrp="1"/>
          </p:cNvSpPr>
          <p:nvPr>
            <p:ph type="dt" idx="10"/>
          </p:nvPr>
        </p:nvSpPr>
        <p:spPr>
          <a:xfrm>
            <a:off x="10111200" y="6498000"/>
            <a:ext cx="979200" cy="360000"/>
          </a:xfrm>
          <a:prstGeom prst="rect">
            <a:avLst/>
          </a:prstGeom>
          <a:noFill/>
          <a:ln>
            <a:noFill/>
          </a:ln>
        </p:spPr>
        <p:txBody>
          <a:bodyPr spcFirstLastPara="1" wrap="square" lIns="0" tIns="0" rIns="0" bIns="0" anchor="t" anchorCtr="0">
            <a:noAutofit/>
          </a:bodyPr>
          <a:lstStyle>
            <a:lvl1pPr marR="0" lvl="0" algn="r"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9594" name="Google Shape;19594;p2159"/>
          <p:cNvSpPr txBox="1">
            <a:spLocks noGrp="1"/>
          </p:cNvSpPr>
          <p:nvPr>
            <p:ph type="ftr" idx="11"/>
          </p:nvPr>
        </p:nvSpPr>
        <p:spPr>
          <a:xfrm>
            <a:off x="2597850" y="6498000"/>
            <a:ext cx="6996300" cy="360000"/>
          </a:xfrm>
          <a:prstGeom prst="rect">
            <a:avLst/>
          </a:prstGeom>
          <a:noFill/>
          <a:ln>
            <a:noFill/>
          </a:ln>
        </p:spPr>
        <p:txBody>
          <a:bodyPr spcFirstLastPara="1" wrap="square" lIns="0" tIns="0" rIns="0" bIns="0" anchor="t" anchorCtr="0">
            <a:noAutofit/>
          </a:bodyPr>
          <a:lstStyle>
            <a:lvl1pPr lvl="0" algn="l">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9595" name="Google Shape;19595;p2159"/>
          <p:cNvSpPr txBox="1">
            <a:spLocks noGrp="1"/>
          </p:cNvSpPr>
          <p:nvPr>
            <p:ph type="sldNum" idx="12"/>
          </p:nvPr>
        </p:nvSpPr>
        <p:spPr>
          <a:xfrm>
            <a:off x="11212800" y="6498000"/>
            <a:ext cx="522000" cy="360000"/>
          </a:xfrm>
          <a:prstGeom prst="rect">
            <a:avLst/>
          </a:prstGeom>
          <a:noFill/>
          <a:ln>
            <a:noFill/>
          </a:ln>
        </p:spPr>
        <p:txBody>
          <a:bodyPr spcFirstLastPara="1" wrap="square" lIns="0" tIns="0" rIns="0" bIns="0" anchor="t" anchorCtr="0">
            <a:noAutofit/>
          </a:bodyPr>
          <a:lstStyle>
            <a:lvl1pPr marL="0" marR="0" lvl="0" indent="0" algn="r">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19596" name="Google Shape;19596;p2159"/>
          <p:cNvSpPr txBox="1">
            <a:spLocks noGrp="1"/>
          </p:cNvSpPr>
          <p:nvPr>
            <p:ph type="title"/>
          </p:nvPr>
        </p:nvSpPr>
        <p:spPr>
          <a:xfrm>
            <a:off x="457200" y="457200"/>
            <a:ext cx="11278800" cy="1202100"/>
          </a:xfrm>
          <a:prstGeom prst="rect">
            <a:avLst/>
          </a:prstGeom>
          <a:noFill/>
          <a:ln>
            <a:noFill/>
          </a:ln>
        </p:spPr>
        <p:txBody>
          <a:bodyPr spcFirstLastPara="1" wrap="square" lIns="0" tIns="0" rIns="0" bIns="0" anchor="b" anchorCtr="0">
            <a:noAutofit/>
          </a:bodyPr>
          <a:lstStyle>
            <a:lvl1pPr lvl="0" algn="l">
              <a:lnSpc>
                <a:spcPct val="85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78.xml><?xml version="1.0" encoding="utf-8"?>
<p:sldLayout xmlns:a="http://schemas.openxmlformats.org/drawingml/2006/main" xmlns:r="http://schemas.openxmlformats.org/officeDocument/2006/relationships" xmlns:p="http://schemas.openxmlformats.org/presentationml/2006/main" matchingName="Title and Content: Green">
  <p:cSld name="Title and Content: Green">
    <p:spTree>
      <p:nvGrpSpPr>
        <p:cNvPr id="1" name="Shape 19597"/>
        <p:cNvGrpSpPr/>
        <p:nvPr/>
      </p:nvGrpSpPr>
      <p:grpSpPr>
        <a:xfrm>
          <a:off x="0" y="0"/>
          <a:ext cx="0" cy="0"/>
          <a:chOff x="0" y="0"/>
          <a:chExt cx="0" cy="0"/>
        </a:xfrm>
      </p:grpSpPr>
      <p:pic>
        <p:nvPicPr>
          <p:cNvPr id="19598" name="Google Shape;19598;p2160"/>
          <p:cNvPicPr preferRelativeResize="0"/>
          <p:nvPr/>
        </p:nvPicPr>
        <p:blipFill rotWithShape="1">
          <a:blip r:embed="rId2">
            <a:alphaModFix/>
          </a:blip>
          <a:srcRect/>
          <a:stretch/>
        </p:blipFill>
        <p:spPr>
          <a:xfrm>
            <a:off x="0" y="5295901"/>
            <a:ext cx="12192000" cy="1562099"/>
          </a:xfrm>
          <a:prstGeom prst="rect">
            <a:avLst/>
          </a:prstGeom>
          <a:noFill/>
          <a:ln>
            <a:noFill/>
          </a:ln>
        </p:spPr>
      </p:pic>
      <p:sp>
        <p:nvSpPr>
          <p:cNvPr id="19599" name="Google Shape;19599;p2160"/>
          <p:cNvSpPr txBox="1">
            <a:spLocks noGrp="1"/>
          </p:cNvSpPr>
          <p:nvPr>
            <p:ph type="body" idx="1"/>
          </p:nvPr>
        </p:nvSpPr>
        <p:spPr>
          <a:xfrm>
            <a:off x="457200" y="1828800"/>
            <a:ext cx="11278800" cy="3369900"/>
          </a:xfrm>
          <a:prstGeom prst="rect">
            <a:avLst/>
          </a:prstGeom>
          <a:noFill/>
          <a:ln>
            <a:noFill/>
          </a:ln>
        </p:spPr>
        <p:txBody>
          <a:bodyPr spcFirstLastPara="1" wrap="square" lIns="0" tIns="0" rIns="0" bIns="0" anchor="t" anchorCtr="0">
            <a:noAutofit/>
          </a:bodyPr>
          <a:lstStyle>
            <a:lvl1pPr marL="304815" lvl="0" indent="-237079" algn="l">
              <a:lnSpc>
                <a:spcPct val="90000"/>
              </a:lnSpc>
              <a:spcBef>
                <a:spcPts val="0"/>
              </a:spcBef>
              <a:spcAft>
                <a:spcPts val="0"/>
              </a:spcAft>
              <a:buSzPts val="2000"/>
              <a:buChar char="•"/>
              <a:defRPr/>
            </a:lvl1pPr>
            <a:lvl2pPr marL="609630" lvl="1" indent="-228611" algn="l">
              <a:lnSpc>
                <a:spcPct val="90000"/>
              </a:lnSpc>
              <a:spcBef>
                <a:spcPts val="600"/>
              </a:spcBef>
              <a:spcAft>
                <a:spcPts val="0"/>
              </a:spcAft>
              <a:buSzPts val="1800"/>
              <a:buChar char="•"/>
              <a:defRPr/>
            </a:lvl2pPr>
            <a:lvl3pPr marL="914446" lvl="2" indent="-228611" algn="l">
              <a:lnSpc>
                <a:spcPct val="90000"/>
              </a:lnSpc>
              <a:spcBef>
                <a:spcPts val="600"/>
              </a:spcBef>
              <a:spcAft>
                <a:spcPts val="0"/>
              </a:spcAft>
              <a:buSzPts val="1800"/>
              <a:buChar char="•"/>
              <a:defRPr/>
            </a:lvl3pPr>
            <a:lvl4pPr marL="1219261" lvl="3" indent="-228611" algn="l">
              <a:lnSpc>
                <a:spcPct val="90000"/>
              </a:lnSpc>
              <a:spcBef>
                <a:spcPts val="600"/>
              </a:spcBef>
              <a:spcAft>
                <a:spcPts val="0"/>
              </a:spcAft>
              <a:buClr>
                <a:schemeClr val="dk1"/>
              </a:buClr>
              <a:buSzPts val="1800"/>
              <a:buChar char="​"/>
              <a:defRPr/>
            </a:lvl4pPr>
            <a:lvl5pPr marL="1524076" lvl="4" indent="-254013" algn="l">
              <a:lnSpc>
                <a:spcPct val="90000"/>
              </a:lnSpc>
              <a:spcBef>
                <a:spcPts val="1200"/>
              </a:spcBef>
              <a:spcAft>
                <a:spcPts val="0"/>
              </a:spcAft>
              <a:buClr>
                <a:schemeClr val="accent1"/>
              </a:buClr>
              <a:buSzPts val="2400"/>
              <a:buChar char="​"/>
              <a:defRPr/>
            </a:lvl5pPr>
            <a:lvl6pPr marL="1828891" lvl="5" indent="-228611" algn="l">
              <a:lnSpc>
                <a:spcPct val="90000"/>
              </a:lnSpc>
              <a:spcBef>
                <a:spcPts val="600"/>
              </a:spcBef>
              <a:spcAft>
                <a:spcPts val="0"/>
              </a:spcAft>
              <a:buClr>
                <a:schemeClr val="dk1"/>
              </a:buClr>
              <a:buSzPts val="1800"/>
              <a:buChar char="​"/>
              <a:defRPr/>
            </a:lvl6pPr>
            <a:lvl7pPr marL="2133707" lvl="6" indent="-228611" algn="l">
              <a:lnSpc>
                <a:spcPct val="80000"/>
              </a:lnSpc>
              <a:spcBef>
                <a:spcPts val="900"/>
              </a:spcBef>
              <a:spcAft>
                <a:spcPts val="0"/>
              </a:spcAft>
              <a:buClr>
                <a:schemeClr val="accent5"/>
              </a:buClr>
              <a:buSzPts val="1800"/>
              <a:buChar char="​"/>
              <a:defRPr/>
            </a:lvl7pPr>
            <a:lvl8pPr marL="2438522" lvl="7" indent="-228611" algn="l">
              <a:lnSpc>
                <a:spcPct val="80000"/>
              </a:lnSpc>
              <a:spcBef>
                <a:spcPts val="600"/>
              </a:spcBef>
              <a:spcAft>
                <a:spcPts val="0"/>
              </a:spcAft>
              <a:buClr>
                <a:schemeClr val="dk1"/>
              </a:buClr>
              <a:buSzPts val="1800"/>
              <a:buChar char="​"/>
              <a:defRPr/>
            </a:lvl8pPr>
            <a:lvl9pPr marL="2743337" lvl="8" indent="-228611" algn="l">
              <a:lnSpc>
                <a:spcPct val="80000"/>
              </a:lnSpc>
              <a:spcBef>
                <a:spcPts val="600"/>
              </a:spcBef>
              <a:spcAft>
                <a:spcPts val="0"/>
              </a:spcAft>
              <a:buClr>
                <a:schemeClr val="dk1"/>
              </a:buClr>
              <a:buSzPts val="1800"/>
              <a:buChar char="​"/>
              <a:defRPr/>
            </a:lvl9pPr>
          </a:lstStyle>
          <a:p>
            <a:endParaRPr/>
          </a:p>
        </p:txBody>
      </p:sp>
      <p:sp>
        <p:nvSpPr>
          <p:cNvPr id="19600" name="Google Shape;19600;p2160"/>
          <p:cNvSpPr txBox="1">
            <a:spLocks noGrp="1"/>
          </p:cNvSpPr>
          <p:nvPr>
            <p:ph type="subTitle" idx="2"/>
          </p:nvPr>
        </p:nvSpPr>
        <p:spPr>
          <a:xfrm>
            <a:off x="456000" y="5204099"/>
            <a:ext cx="11278800" cy="183600"/>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SzPts val="800"/>
              <a:buFont typeface="Calibri"/>
              <a:buChar char="​"/>
              <a:defRPr sz="800" i="0">
                <a:solidFill>
                  <a:schemeClr val="dk1"/>
                </a:solidFill>
                <a:latin typeface="Calibri"/>
                <a:ea typeface="Calibri"/>
                <a:cs typeface="Calibri"/>
                <a:sym typeface="Calibri"/>
              </a:defRPr>
            </a:lvl1pPr>
            <a:lvl2pPr lvl="1" algn="ctr">
              <a:lnSpc>
                <a:spcPct val="90000"/>
              </a:lnSpc>
              <a:spcBef>
                <a:spcPts val="600"/>
              </a:spcBef>
              <a:spcAft>
                <a:spcPts val="0"/>
              </a:spcAft>
              <a:buSzPts val="3200"/>
              <a:buFont typeface="Calibri"/>
              <a:buNone/>
              <a:defRPr sz="3200" i="1">
                <a:solidFill>
                  <a:schemeClr val="lt1"/>
                </a:solidFill>
                <a:latin typeface="Cambria"/>
                <a:ea typeface="Cambria"/>
                <a:cs typeface="Cambria"/>
                <a:sym typeface="Cambria"/>
              </a:defRPr>
            </a:lvl2pPr>
            <a:lvl3pPr lvl="2" algn="ctr">
              <a:lnSpc>
                <a:spcPct val="90000"/>
              </a:lnSpc>
              <a:spcBef>
                <a:spcPts val="600"/>
              </a:spcBef>
              <a:spcAft>
                <a:spcPts val="0"/>
              </a:spcAft>
              <a:buSzPts val="3200"/>
              <a:buFont typeface="Calibri"/>
              <a:buChar char="​"/>
              <a:defRPr sz="3200" i="1">
                <a:solidFill>
                  <a:schemeClr val="lt1"/>
                </a:solidFill>
                <a:latin typeface="Cambria"/>
                <a:ea typeface="Cambria"/>
                <a:cs typeface="Cambria"/>
                <a:sym typeface="Cambria"/>
              </a:defRPr>
            </a:lvl3pPr>
            <a:lvl4pPr lvl="3"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4pPr>
            <a:lvl5pPr lvl="4" algn="ctr">
              <a:lnSpc>
                <a:spcPct val="90000"/>
              </a:lnSpc>
              <a:spcBef>
                <a:spcPts val="12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5pPr>
            <a:lvl6pPr lvl="5"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6pPr>
            <a:lvl7pPr lvl="6" algn="ctr">
              <a:lnSpc>
                <a:spcPct val="90000"/>
              </a:lnSpc>
              <a:spcBef>
                <a:spcPts val="9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7pPr>
            <a:lvl8pPr lvl="7"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8pPr>
            <a:lvl9pPr lvl="8"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9pPr>
          </a:lstStyle>
          <a:p>
            <a:endParaRPr/>
          </a:p>
        </p:txBody>
      </p:sp>
      <p:sp>
        <p:nvSpPr>
          <p:cNvPr id="19601" name="Google Shape;19601;p2160"/>
          <p:cNvSpPr txBox="1">
            <a:spLocks noGrp="1"/>
          </p:cNvSpPr>
          <p:nvPr>
            <p:ph type="dt" idx="10"/>
          </p:nvPr>
        </p:nvSpPr>
        <p:spPr>
          <a:xfrm>
            <a:off x="10111200" y="6498000"/>
            <a:ext cx="979200" cy="360000"/>
          </a:xfrm>
          <a:prstGeom prst="rect">
            <a:avLst/>
          </a:prstGeom>
          <a:noFill/>
          <a:ln>
            <a:noFill/>
          </a:ln>
        </p:spPr>
        <p:txBody>
          <a:bodyPr spcFirstLastPara="1" wrap="square" lIns="0" tIns="0" rIns="0" bIns="0" anchor="t" anchorCtr="0">
            <a:noAutofit/>
          </a:bodyPr>
          <a:lstStyle>
            <a:lvl1pPr marR="0" lvl="0" algn="r" rtl="0">
              <a:spcBef>
                <a:spcPts val="0"/>
              </a:spcBef>
              <a:spcAft>
                <a:spcPts val="0"/>
              </a:spcAft>
              <a:buClr>
                <a:schemeClr val="lt1"/>
              </a:buClr>
              <a:buSzPts val="1400"/>
              <a:buFont typeface="Calibri"/>
              <a:buNone/>
              <a:defRPr sz="1800">
                <a:solidFill>
                  <a:schemeClr val="lt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9602" name="Google Shape;19602;p2160"/>
          <p:cNvSpPr txBox="1">
            <a:spLocks noGrp="1"/>
          </p:cNvSpPr>
          <p:nvPr>
            <p:ph type="ftr" idx="11"/>
          </p:nvPr>
        </p:nvSpPr>
        <p:spPr>
          <a:xfrm>
            <a:off x="2597850" y="6498000"/>
            <a:ext cx="6996300" cy="360000"/>
          </a:xfrm>
          <a:prstGeom prst="rect">
            <a:avLst/>
          </a:prstGeom>
          <a:noFill/>
          <a:ln>
            <a:noFill/>
          </a:ln>
        </p:spPr>
        <p:txBody>
          <a:bodyPr spcFirstLastPara="1" wrap="square" lIns="0" tIns="0" rIns="0" bIns="0" anchor="t" anchorCtr="0">
            <a:noAutofit/>
          </a:bodyPr>
          <a:lstStyle>
            <a:lvl1pPr lvl="0" algn="l">
              <a:spcBef>
                <a:spcPts val="0"/>
              </a:spcBef>
              <a:spcAft>
                <a:spcPts val="0"/>
              </a:spcAft>
              <a:buClr>
                <a:schemeClr val="lt1"/>
              </a:buClr>
              <a:buSzPts val="1400"/>
              <a:buFont typeface="Calibri"/>
              <a:buNone/>
              <a:defRPr>
                <a:solidFill>
                  <a:schemeClr val="lt1"/>
                </a:solidFill>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9603" name="Google Shape;19603;p2160"/>
          <p:cNvSpPr txBox="1">
            <a:spLocks noGrp="1"/>
          </p:cNvSpPr>
          <p:nvPr>
            <p:ph type="sldNum" idx="12"/>
          </p:nvPr>
        </p:nvSpPr>
        <p:spPr>
          <a:xfrm>
            <a:off x="11212800" y="6498000"/>
            <a:ext cx="522000" cy="360000"/>
          </a:xfrm>
          <a:prstGeom prst="rect">
            <a:avLst/>
          </a:prstGeom>
          <a:noFill/>
          <a:ln>
            <a:noFill/>
          </a:ln>
        </p:spPr>
        <p:txBody>
          <a:bodyPr spcFirstLastPara="1" wrap="square" lIns="0" tIns="0" rIns="0" bIns="0" anchor="t" anchorCtr="0">
            <a:noAutofit/>
          </a:bodyPr>
          <a:lstStyle>
            <a:lvl1pPr marL="0" marR="0" lvl="0"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1pPr>
            <a:lvl2pPr marL="0" marR="0" lvl="1"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2pPr>
            <a:lvl3pPr marL="0" marR="0" lvl="2"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3pPr>
            <a:lvl4pPr marL="0" marR="0" lvl="3"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4pPr>
            <a:lvl5pPr marL="0" marR="0" lvl="4"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5pPr>
            <a:lvl6pPr marL="0" marR="0" lvl="5"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6pPr>
            <a:lvl7pPr marL="0" marR="0" lvl="6"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7pPr>
            <a:lvl8pPr marL="0" marR="0" lvl="7"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8pPr>
            <a:lvl9pPr marL="0" marR="0" lvl="8"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19604" name="Google Shape;19604;p2160"/>
          <p:cNvSpPr txBox="1"/>
          <p:nvPr/>
        </p:nvSpPr>
        <p:spPr>
          <a:xfrm>
            <a:off x="464043" y="6498000"/>
            <a:ext cx="2252557" cy="3600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lt1"/>
              </a:buClr>
              <a:buSzPts val="1400"/>
              <a:buFont typeface="Calibri"/>
              <a:buNone/>
            </a:pPr>
            <a:r>
              <a:rPr lang="en-US" sz="1400" b="0" i="0" u="none" strike="noStrike" cap="none">
                <a:solidFill>
                  <a:schemeClr val="lt1"/>
                </a:solidFill>
                <a:latin typeface="Calibri"/>
                <a:ea typeface="Calibri"/>
                <a:cs typeface="Calibri"/>
                <a:sym typeface="Calibri"/>
              </a:rPr>
              <a:t>OSF HealthCare</a:t>
            </a:r>
            <a:endParaRPr sz="1800">
              <a:solidFill>
                <a:schemeClr val="dk1"/>
              </a:solidFill>
              <a:latin typeface="Calibri"/>
              <a:ea typeface="Calibri"/>
              <a:cs typeface="Calibri"/>
              <a:sym typeface="Calibri"/>
            </a:endParaRPr>
          </a:p>
        </p:txBody>
      </p:sp>
      <p:sp>
        <p:nvSpPr>
          <p:cNvPr id="19605" name="Google Shape;19605;p2160"/>
          <p:cNvSpPr txBox="1">
            <a:spLocks noGrp="1"/>
          </p:cNvSpPr>
          <p:nvPr>
            <p:ph type="title"/>
          </p:nvPr>
        </p:nvSpPr>
        <p:spPr>
          <a:xfrm>
            <a:off x="457200" y="457200"/>
            <a:ext cx="11278800" cy="1202100"/>
          </a:xfrm>
          <a:prstGeom prst="rect">
            <a:avLst/>
          </a:prstGeom>
          <a:noFill/>
          <a:ln>
            <a:noFill/>
          </a:ln>
        </p:spPr>
        <p:txBody>
          <a:bodyPr spcFirstLastPara="1" wrap="square" lIns="0" tIns="0" rIns="0" bIns="0" anchor="b" anchorCtr="0">
            <a:noAutofit/>
          </a:bodyPr>
          <a:lstStyle>
            <a:lvl1pPr lvl="0" algn="l">
              <a:lnSpc>
                <a:spcPct val="85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79.xml><?xml version="1.0" encoding="utf-8"?>
<p:sldLayout xmlns:a="http://schemas.openxmlformats.org/drawingml/2006/main" xmlns:r="http://schemas.openxmlformats.org/officeDocument/2006/relationships" xmlns:p="http://schemas.openxmlformats.org/presentationml/2006/main" matchingName="Title and Content">
  <p:cSld name="2_Title and Content 7">
    <p:spTree>
      <p:nvGrpSpPr>
        <p:cNvPr id="1" name="Shape 19606"/>
        <p:cNvGrpSpPr/>
        <p:nvPr/>
      </p:nvGrpSpPr>
      <p:grpSpPr>
        <a:xfrm>
          <a:off x="0" y="0"/>
          <a:ext cx="0" cy="0"/>
          <a:chOff x="0" y="0"/>
          <a:chExt cx="0" cy="0"/>
        </a:xfrm>
      </p:grpSpPr>
      <p:grpSp>
        <p:nvGrpSpPr>
          <p:cNvPr id="19607" name="Google Shape;19607;p2161"/>
          <p:cNvGrpSpPr/>
          <p:nvPr/>
        </p:nvGrpSpPr>
        <p:grpSpPr>
          <a:xfrm>
            <a:off x="7191543" y="1"/>
            <a:ext cx="5000459" cy="1425992"/>
            <a:chOff x="7191542" y="1"/>
            <a:chExt cx="5000459" cy="1425992"/>
          </a:xfrm>
        </p:grpSpPr>
        <p:pic>
          <p:nvPicPr>
            <p:cNvPr id="19608" name="Google Shape;19608;p21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609" name="Google Shape;19609;p2161"/>
            <p:cNvGrpSpPr/>
            <p:nvPr/>
          </p:nvGrpSpPr>
          <p:grpSpPr>
            <a:xfrm>
              <a:off x="7191542" y="1"/>
              <a:ext cx="5000459" cy="1425992"/>
              <a:chOff x="7186272" y="0"/>
              <a:chExt cx="5005729" cy="1427495"/>
            </a:xfrm>
          </p:grpSpPr>
          <p:sp>
            <p:nvSpPr>
              <p:cNvPr id="19610" name="Google Shape;19610;p21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sp>
            <p:nvSpPr>
              <p:cNvPr id="19611" name="Google Shape;19611;p21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700"/>
                  <a:buFont typeface="Arial"/>
                  <a:buNone/>
                </a:pPr>
                <a:endParaRPr sz="1800">
                  <a:solidFill>
                    <a:schemeClr val="dk1"/>
                  </a:solidFill>
                  <a:latin typeface="Calibri"/>
                  <a:ea typeface="Calibri"/>
                  <a:cs typeface="Calibri"/>
                  <a:sym typeface="Calibri"/>
                </a:endParaRPr>
              </a:p>
            </p:txBody>
          </p:sp>
        </p:grpSp>
      </p:grpSp>
      <p:sp>
        <p:nvSpPr>
          <p:cNvPr id="19612" name="Google Shape;19612;p2161"/>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613" name="Google Shape;19613;p2161"/>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9614" name="Google Shape;19614;p216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lvl="1"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lvl="2"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lvl="3"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lvl="4"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lvl="5"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lvl="6"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lvl="7"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lvl="8" indent="0" algn="r">
              <a:spcBef>
                <a:spcPts val="0"/>
              </a:spcBef>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9615" name="Google Shape;19615;p21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16" name="Google Shape;19616;p216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matchingName="Divider">
  <p:cSld name="Divider 12">
    <p:spTree>
      <p:nvGrpSpPr>
        <p:cNvPr id="1" name="Shape 11015"/>
        <p:cNvGrpSpPr/>
        <p:nvPr/>
      </p:nvGrpSpPr>
      <p:grpSpPr>
        <a:xfrm>
          <a:off x="0" y="0"/>
          <a:ext cx="0" cy="0"/>
          <a:chOff x="0" y="0"/>
          <a:chExt cx="0" cy="0"/>
        </a:xfrm>
      </p:grpSpPr>
      <p:grpSp>
        <p:nvGrpSpPr>
          <p:cNvPr id="11016" name="Google Shape;11016;p1512"/>
          <p:cNvGrpSpPr/>
          <p:nvPr/>
        </p:nvGrpSpPr>
        <p:grpSpPr>
          <a:xfrm>
            <a:off x="0" y="5020347"/>
            <a:ext cx="12192000" cy="1837653"/>
            <a:chOff x="0" y="5020347"/>
            <a:chExt cx="12192000" cy="1837653"/>
          </a:xfrm>
        </p:grpSpPr>
        <p:sp>
          <p:nvSpPr>
            <p:cNvPr id="11017" name="Google Shape;11017;p151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018" name="Google Shape;11018;p151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019" name="Google Shape;11019;p151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1020" name="Google Shape;11020;p151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1021" name="Google Shape;11021;p151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022" name="Google Shape;11022;p151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080.xml><?xml version="1.0" encoding="utf-8"?>
<p:sldLayout xmlns:a="http://schemas.openxmlformats.org/drawingml/2006/main" xmlns:r="http://schemas.openxmlformats.org/officeDocument/2006/relationships" xmlns:p="http://schemas.openxmlformats.org/presentationml/2006/main" matchingName="agenda">
  <p:cSld name="1_agenda">
    <p:bg>
      <p:bgPr>
        <a:solidFill>
          <a:schemeClr val="lt1"/>
        </a:solidFill>
        <a:effectLst/>
      </p:bgPr>
    </p:bg>
    <p:spTree>
      <p:nvGrpSpPr>
        <p:cNvPr id="1" name="Shape 19617"/>
        <p:cNvGrpSpPr/>
        <p:nvPr/>
      </p:nvGrpSpPr>
      <p:grpSpPr>
        <a:xfrm>
          <a:off x="0" y="0"/>
          <a:ext cx="0" cy="0"/>
          <a:chOff x="0" y="0"/>
          <a:chExt cx="0" cy="0"/>
        </a:xfrm>
      </p:grpSpPr>
      <p:pic>
        <p:nvPicPr>
          <p:cNvPr id="19618" name="Google Shape;19618;p2162"/>
          <p:cNvPicPr preferRelativeResize="0"/>
          <p:nvPr/>
        </p:nvPicPr>
        <p:blipFill rotWithShape="1">
          <a:blip r:embed="rId2">
            <a:alphaModFix/>
          </a:blip>
          <a:srcRect/>
          <a:stretch/>
        </p:blipFill>
        <p:spPr>
          <a:xfrm>
            <a:off x="2" y="3572"/>
            <a:ext cx="12191999" cy="6858000"/>
          </a:xfrm>
          <a:prstGeom prst="rect">
            <a:avLst/>
          </a:prstGeom>
          <a:noFill/>
          <a:ln>
            <a:noFill/>
          </a:ln>
        </p:spPr>
      </p:pic>
      <p:sp>
        <p:nvSpPr>
          <p:cNvPr id="19619" name="Google Shape;19619;p2162"/>
          <p:cNvSpPr txBox="1">
            <a:spLocks noGrp="1"/>
          </p:cNvSpPr>
          <p:nvPr>
            <p:ph type="dt" idx="10"/>
          </p:nvPr>
        </p:nvSpPr>
        <p:spPr>
          <a:xfrm>
            <a:off x="6210300" y="6362701"/>
            <a:ext cx="1695450" cy="231921"/>
          </a:xfrm>
          <a:prstGeom prst="rect">
            <a:avLst/>
          </a:prstGeom>
          <a:noFill/>
          <a:ln>
            <a:noFill/>
          </a:ln>
        </p:spPr>
        <p:txBody>
          <a:bodyPr spcFirstLastPara="1" wrap="square" lIns="0" tIns="0" rIns="0" bIns="0" anchor="b" anchorCtr="0">
            <a:noAutofit/>
          </a:bodyPr>
          <a:lstStyle>
            <a:lvl1pPr marR="0" lvl="0" algn="l"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9620" name="Google Shape;19620;p2162"/>
          <p:cNvSpPr txBox="1">
            <a:spLocks noGrp="1"/>
          </p:cNvSpPr>
          <p:nvPr>
            <p:ph type="ftr" idx="11"/>
          </p:nvPr>
        </p:nvSpPr>
        <p:spPr>
          <a:xfrm>
            <a:off x="773048" y="6364784"/>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9621" name="Google Shape;19621;p2162"/>
          <p:cNvSpPr txBox="1">
            <a:spLocks noGrp="1"/>
          </p:cNvSpPr>
          <p:nvPr>
            <p:ph type="sldNum" idx="12"/>
          </p:nvPr>
        </p:nvSpPr>
        <p:spPr>
          <a:xfrm>
            <a:off x="457199" y="6362702"/>
            <a:ext cx="315849" cy="231921"/>
          </a:xfrm>
          <a:prstGeom prst="rect">
            <a:avLst/>
          </a:prstGeom>
          <a:noFill/>
          <a:ln>
            <a:noFill/>
          </a:ln>
        </p:spPr>
        <p:txBody>
          <a:bodyPr spcFirstLastPara="1" wrap="square" lIns="0" tIns="0" rIns="0" bIns="0" anchor="b" anchorCtr="0">
            <a:noAutofit/>
          </a:bodyPr>
          <a:lstStyle>
            <a:lvl1pPr marL="0" marR="0" lvl="0"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pPr marL="0" lvl="0" indent="0" algn="l" rtl="0">
                <a:spcBef>
                  <a:spcPts val="0"/>
                </a:spcBef>
                <a:spcAft>
                  <a:spcPts val="0"/>
                </a:spcAft>
                <a:buNone/>
              </a:pPr>
              <a:t>‹#›</a:t>
            </a:fld>
            <a:endParaRPr/>
          </a:p>
        </p:txBody>
      </p:sp>
      <p:sp>
        <p:nvSpPr>
          <p:cNvPr id="19622" name="Google Shape;19622;p2162"/>
          <p:cNvSpPr txBox="1">
            <a:spLocks noGrp="1"/>
          </p:cNvSpPr>
          <p:nvPr>
            <p:ph type="body" idx="1"/>
          </p:nvPr>
        </p:nvSpPr>
        <p:spPr>
          <a:xfrm>
            <a:off x="4305301" y="1781175"/>
            <a:ext cx="6156325" cy="4165600"/>
          </a:xfrm>
          <a:prstGeom prst="rect">
            <a:avLst/>
          </a:prstGeom>
          <a:noFill/>
          <a:ln>
            <a:noFill/>
          </a:ln>
        </p:spPr>
        <p:txBody>
          <a:bodyPr spcFirstLastPara="1" wrap="square" lIns="0" tIns="685800" rIns="0" bIns="0" anchor="t" anchorCtr="0">
            <a:noAutofit/>
          </a:bodyPr>
          <a:lstStyle>
            <a:lvl1pPr marL="304815" lvl="0" indent="-237079" algn="l">
              <a:lnSpc>
                <a:spcPct val="104999"/>
              </a:lnSpc>
              <a:spcBef>
                <a:spcPts val="0"/>
              </a:spcBef>
              <a:spcAft>
                <a:spcPts val="0"/>
              </a:spcAft>
              <a:buClr>
                <a:schemeClr val="accent1"/>
              </a:buClr>
              <a:buSzPts val="2000"/>
              <a:buFont typeface="Calibri"/>
              <a:buAutoNum type="arabicPeriod"/>
              <a:defRPr sz="2000" b="0">
                <a:solidFill>
                  <a:schemeClr val="accent1"/>
                </a:solidFill>
              </a:defRPr>
            </a:lvl1pPr>
            <a:lvl2pPr marL="609630" lvl="1" indent="-237079" algn="l">
              <a:lnSpc>
                <a:spcPct val="104999"/>
              </a:lnSpc>
              <a:spcBef>
                <a:spcPts val="1600"/>
              </a:spcBef>
              <a:spcAft>
                <a:spcPts val="0"/>
              </a:spcAft>
              <a:buClr>
                <a:schemeClr val="accent1"/>
              </a:buClr>
              <a:buSzPts val="2000"/>
              <a:buFont typeface="Calibri"/>
              <a:buAutoNum type="arabicPeriod"/>
              <a:defRPr sz="2000" b="0">
                <a:solidFill>
                  <a:schemeClr val="accent1"/>
                </a:solidFill>
              </a:defRPr>
            </a:lvl2pPr>
            <a:lvl3pPr marL="914446" lvl="2" indent="-228611" algn="l">
              <a:lnSpc>
                <a:spcPct val="116666"/>
              </a:lnSpc>
              <a:spcBef>
                <a:spcPts val="1600"/>
              </a:spcBef>
              <a:spcAft>
                <a:spcPts val="0"/>
              </a:spcAft>
              <a:buClr>
                <a:schemeClr val="accent1"/>
              </a:buClr>
              <a:buSzPts val="1800"/>
              <a:buFont typeface="Calibri"/>
              <a:buAutoNum type="arabicPeriod"/>
              <a:defRPr sz="1800" b="0">
                <a:solidFill>
                  <a:schemeClr val="accent1"/>
                </a:solidFill>
              </a:defRPr>
            </a:lvl3pPr>
            <a:lvl4pPr marL="1219261" lvl="3" indent="-228611" algn="l">
              <a:lnSpc>
                <a:spcPct val="116666"/>
              </a:lnSpc>
              <a:spcBef>
                <a:spcPts val="1600"/>
              </a:spcBef>
              <a:spcAft>
                <a:spcPts val="0"/>
              </a:spcAft>
              <a:buClr>
                <a:schemeClr val="accent1"/>
              </a:buClr>
              <a:buSzPts val="1800"/>
              <a:buFont typeface="Calibri"/>
              <a:buAutoNum type="arabicPeriod"/>
              <a:defRPr sz="1800" b="0">
                <a:solidFill>
                  <a:schemeClr val="accent1"/>
                </a:solidFill>
              </a:defRPr>
            </a:lvl4pPr>
            <a:lvl5pPr marL="1524076" lvl="4" indent="-228611" algn="l">
              <a:lnSpc>
                <a:spcPct val="116666"/>
              </a:lnSpc>
              <a:spcBef>
                <a:spcPts val="1600"/>
              </a:spcBef>
              <a:spcAft>
                <a:spcPts val="0"/>
              </a:spcAft>
              <a:buClr>
                <a:schemeClr val="accent1"/>
              </a:buClr>
              <a:buSzPts val="1800"/>
              <a:buFont typeface="Calibri"/>
              <a:buAutoNum type="arabicPeriod"/>
              <a:defRPr sz="1800" b="0">
                <a:solidFill>
                  <a:schemeClr val="accent1"/>
                </a:solidFill>
              </a:defRPr>
            </a:lvl5pPr>
            <a:lvl6pPr marL="1828891" lvl="5" indent="-228611" algn="l">
              <a:lnSpc>
                <a:spcPct val="116666"/>
              </a:lnSpc>
              <a:spcBef>
                <a:spcPts val="1600"/>
              </a:spcBef>
              <a:spcAft>
                <a:spcPts val="0"/>
              </a:spcAft>
              <a:buClr>
                <a:schemeClr val="accent1"/>
              </a:buClr>
              <a:buSzPts val="1800"/>
              <a:buFont typeface="Calibri"/>
              <a:buAutoNum type="arabicPeriod"/>
              <a:defRPr sz="1800" b="0">
                <a:solidFill>
                  <a:schemeClr val="accent1"/>
                </a:solidFill>
              </a:defRPr>
            </a:lvl6pPr>
            <a:lvl7pPr marL="2133707" lvl="6" indent="-228611" algn="l">
              <a:lnSpc>
                <a:spcPct val="116666"/>
              </a:lnSpc>
              <a:spcBef>
                <a:spcPts val="1600"/>
              </a:spcBef>
              <a:spcAft>
                <a:spcPts val="0"/>
              </a:spcAft>
              <a:buClr>
                <a:schemeClr val="accent1"/>
              </a:buClr>
              <a:buSzPts val="1800"/>
              <a:buFont typeface="Calibri"/>
              <a:buAutoNum type="arabicPeriod"/>
              <a:defRPr sz="1800" b="0">
                <a:solidFill>
                  <a:schemeClr val="accent1"/>
                </a:solidFill>
              </a:defRPr>
            </a:lvl7pPr>
            <a:lvl8pPr marL="2438522" lvl="7" indent="-228611" algn="l">
              <a:lnSpc>
                <a:spcPct val="116666"/>
              </a:lnSpc>
              <a:spcBef>
                <a:spcPts val="1600"/>
              </a:spcBef>
              <a:spcAft>
                <a:spcPts val="0"/>
              </a:spcAft>
              <a:buClr>
                <a:schemeClr val="accent1"/>
              </a:buClr>
              <a:buSzPts val="1800"/>
              <a:buFont typeface="Calibri"/>
              <a:buAutoNum type="arabicPeriod"/>
              <a:defRPr sz="1800" b="0">
                <a:solidFill>
                  <a:schemeClr val="accent1"/>
                </a:solidFill>
              </a:defRPr>
            </a:lvl8pPr>
            <a:lvl9pPr marL="2743337" lvl="8" indent="-228611" algn="l">
              <a:lnSpc>
                <a:spcPct val="116666"/>
              </a:lnSpc>
              <a:spcBef>
                <a:spcPts val="1600"/>
              </a:spcBef>
              <a:spcAft>
                <a:spcPts val="1600"/>
              </a:spcAft>
              <a:buClr>
                <a:schemeClr val="accent1"/>
              </a:buClr>
              <a:buSzPts val="1800"/>
              <a:buFont typeface="Calibri"/>
              <a:buAutoNum type="arabicPeriod"/>
              <a:defRPr sz="1800" b="0">
                <a:solidFill>
                  <a:schemeClr val="accent1"/>
                </a:solidFill>
              </a:defRPr>
            </a:lvl9pPr>
          </a:lstStyle>
          <a:p>
            <a:endParaRPr/>
          </a:p>
        </p:txBody>
      </p:sp>
      <p:sp>
        <p:nvSpPr>
          <p:cNvPr id="19623" name="Google Shape;19623;p2162"/>
          <p:cNvSpPr txBox="1"/>
          <p:nvPr/>
        </p:nvSpPr>
        <p:spPr>
          <a:xfrm>
            <a:off x="1736725" y="-1782"/>
            <a:ext cx="2336800" cy="1781173"/>
          </a:xfrm>
          <a:prstGeom prst="rect">
            <a:avLst/>
          </a:prstGeom>
          <a:noFill/>
          <a:ln>
            <a:noFill/>
          </a:ln>
        </p:spPr>
        <p:txBody>
          <a:bodyPr spcFirstLastPara="1" wrap="square" lIns="0" tIns="0" rIns="0" bIns="128000" anchor="b" anchorCtr="0">
            <a:noAutofit/>
          </a:bodyPr>
          <a:lstStyle/>
          <a:p>
            <a:pPr marL="0" marR="0" lvl="0" indent="0" algn="l" rtl="0">
              <a:lnSpc>
                <a:spcPct val="77272"/>
              </a:lnSpc>
              <a:spcBef>
                <a:spcPts val="0"/>
              </a:spcBef>
              <a:spcAft>
                <a:spcPts val="0"/>
              </a:spcAft>
              <a:buClr>
                <a:schemeClr val="lt1"/>
              </a:buClr>
              <a:buSzPts val="4400"/>
              <a:buFont typeface="Calibri"/>
              <a:buNone/>
            </a:pPr>
            <a:r>
              <a:rPr lang="en-US" sz="4400" b="1" i="0" u="none" strike="noStrike" cap="none">
                <a:solidFill>
                  <a:schemeClr val="lt1"/>
                </a:solidFill>
                <a:latin typeface="Calibri"/>
                <a:ea typeface="Calibri"/>
                <a:cs typeface="Calibri"/>
                <a:sym typeface="Calibri"/>
              </a:rPr>
              <a:t>Agenda</a:t>
            </a:r>
            <a:endParaRPr sz="1800">
              <a:solidFill>
                <a:schemeClr val="dk1"/>
              </a:solidFill>
              <a:latin typeface="Calibri"/>
              <a:ea typeface="Calibri"/>
              <a:cs typeface="Calibri"/>
              <a:sym typeface="Calibri"/>
            </a:endParaRPr>
          </a:p>
        </p:txBody>
      </p:sp>
      <p:pic>
        <p:nvPicPr>
          <p:cNvPr id="19624" name="Google Shape;19624;p2162"/>
          <p:cNvPicPr preferRelativeResize="0"/>
          <p:nvPr/>
        </p:nvPicPr>
        <p:blipFill rotWithShape="1">
          <a:blip r:embed="rId3">
            <a:alphaModFix/>
          </a:blip>
          <a:srcRect/>
          <a:stretch/>
        </p:blipFill>
        <p:spPr>
          <a:xfrm>
            <a:off x="9810446" y="6358648"/>
            <a:ext cx="2016517" cy="235975"/>
          </a:xfrm>
          <a:prstGeom prst="rect">
            <a:avLst/>
          </a:prstGeom>
          <a:noFill/>
          <a:ln>
            <a:noFill/>
          </a:ln>
        </p:spPr>
      </p:pic>
    </p:spTree>
  </p:cSld>
  <p:clrMapOvr>
    <a:masterClrMapping/>
  </p:clrMapOvr>
</p:sldLayout>
</file>

<file path=ppt/slideLayouts/slideLayout2081.xml><?xml version="1.0" encoding="utf-8"?>
<p:sldLayout xmlns:a="http://schemas.openxmlformats.org/drawingml/2006/main" xmlns:r="http://schemas.openxmlformats.org/officeDocument/2006/relationships" xmlns:p="http://schemas.openxmlformats.org/presentationml/2006/main" matchingName="content_1_column">
  <p:cSld name="1_content_1_column">
    <p:bg>
      <p:bgPr>
        <a:solidFill>
          <a:schemeClr val="lt1"/>
        </a:solidFill>
        <a:effectLst/>
      </p:bgPr>
    </p:bg>
    <p:spTree>
      <p:nvGrpSpPr>
        <p:cNvPr id="1" name="Shape 19625"/>
        <p:cNvGrpSpPr/>
        <p:nvPr/>
      </p:nvGrpSpPr>
      <p:grpSpPr>
        <a:xfrm>
          <a:off x="0" y="0"/>
          <a:ext cx="0" cy="0"/>
          <a:chOff x="0" y="0"/>
          <a:chExt cx="0" cy="0"/>
        </a:xfrm>
      </p:grpSpPr>
      <p:pic>
        <p:nvPicPr>
          <p:cNvPr id="19626" name="Google Shape;19626;p2163"/>
          <p:cNvPicPr preferRelativeResize="0"/>
          <p:nvPr/>
        </p:nvPicPr>
        <p:blipFill rotWithShape="1">
          <a:blip r:embed="rId2">
            <a:alphaModFix/>
          </a:blip>
          <a:srcRect/>
          <a:stretch/>
        </p:blipFill>
        <p:spPr>
          <a:xfrm>
            <a:off x="0" y="1"/>
            <a:ext cx="12192000" cy="6850855"/>
          </a:xfrm>
          <a:prstGeom prst="rect">
            <a:avLst/>
          </a:prstGeom>
          <a:noFill/>
          <a:ln>
            <a:noFill/>
          </a:ln>
        </p:spPr>
      </p:pic>
      <p:sp>
        <p:nvSpPr>
          <p:cNvPr id="19627" name="Google Shape;19627;p2163"/>
          <p:cNvSpPr txBox="1">
            <a:spLocks noGrp="1"/>
          </p:cNvSpPr>
          <p:nvPr>
            <p:ph type="dt" idx="10"/>
          </p:nvPr>
        </p:nvSpPr>
        <p:spPr>
          <a:xfrm>
            <a:off x="6210300" y="6362701"/>
            <a:ext cx="1695450" cy="231921"/>
          </a:xfrm>
          <a:prstGeom prst="rect">
            <a:avLst/>
          </a:prstGeom>
          <a:noFill/>
          <a:ln>
            <a:noFill/>
          </a:ln>
        </p:spPr>
        <p:txBody>
          <a:bodyPr spcFirstLastPara="1" wrap="square" lIns="0" tIns="0" rIns="0" bIns="0" anchor="b" anchorCtr="0">
            <a:noAutofit/>
          </a:bodyPr>
          <a:lstStyle>
            <a:lvl1pPr marR="0" lvl="0" algn="l"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9628" name="Google Shape;19628;p2163"/>
          <p:cNvSpPr txBox="1">
            <a:spLocks noGrp="1"/>
          </p:cNvSpPr>
          <p:nvPr>
            <p:ph type="ftr" idx="11"/>
          </p:nvPr>
        </p:nvSpPr>
        <p:spPr>
          <a:xfrm>
            <a:off x="773048" y="6364784"/>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9629" name="Google Shape;19629;p2163"/>
          <p:cNvSpPr txBox="1">
            <a:spLocks noGrp="1"/>
          </p:cNvSpPr>
          <p:nvPr>
            <p:ph type="sldNum" idx="12"/>
          </p:nvPr>
        </p:nvSpPr>
        <p:spPr>
          <a:xfrm>
            <a:off x="457199" y="6362702"/>
            <a:ext cx="315849" cy="231921"/>
          </a:xfrm>
          <a:prstGeom prst="rect">
            <a:avLst/>
          </a:prstGeom>
          <a:noFill/>
          <a:ln>
            <a:noFill/>
          </a:ln>
        </p:spPr>
        <p:txBody>
          <a:bodyPr spcFirstLastPara="1" wrap="square" lIns="0" tIns="0" rIns="0" bIns="0" anchor="b" anchorCtr="0">
            <a:noAutofit/>
          </a:bodyPr>
          <a:lstStyle>
            <a:lvl1pPr marL="0" marR="0" lvl="0"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pPr marL="0" lvl="0" indent="0" algn="l" rtl="0">
                <a:spcBef>
                  <a:spcPts val="0"/>
                </a:spcBef>
                <a:spcAft>
                  <a:spcPts val="0"/>
                </a:spcAft>
                <a:buNone/>
              </a:pPr>
              <a:t>‹#›</a:t>
            </a:fld>
            <a:endParaRPr/>
          </a:p>
        </p:txBody>
      </p:sp>
      <p:sp>
        <p:nvSpPr>
          <p:cNvPr id="19630" name="Google Shape;19630;p2163"/>
          <p:cNvSpPr txBox="1">
            <a:spLocks noGrp="1"/>
          </p:cNvSpPr>
          <p:nvPr>
            <p:ph type="title"/>
          </p:nvPr>
        </p:nvSpPr>
        <p:spPr>
          <a:xfrm>
            <a:off x="457201" y="460375"/>
            <a:ext cx="10004425" cy="1063625"/>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accent1"/>
              </a:buClr>
              <a:buSzPts val="4000"/>
              <a:buFont typeface="Calibri"/>
              <a:buNone/>
              <a:defRPr sz="4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631" name="Google Shape;19631;p2163"/>
          <p:cNvPicPr preferRelativeResize="0"/>
          <p:nvPr/>
        </p:nvPicPr>
        <p:blipFill rotWithShape="1">
          <a:blip r:embed="rId3">
            <a:alphaModFix/>
          </a:blip>
          <a:srcRect/>
          <a:stretch/>
        </p:blipFill>
        <p:spPr>
          <a:xfrm>
            <a:off x="9810446" y="6358648"/>
            <a:ext cx="2016517" cy="235975"/>
          </a:xfrm>
          <a:prstGeom prst="rect">
            <a:avLst/>
          </a:prstGeom>
          <a:noFill/>
          <a:ln>
            <a:noFill/>
          </a:ln>
        </p:spPr>
      </p:pic>
      <p:sp>
        <p:nvSpPr>
          <p:cNvPr id="19632" name="Google Shape;19632;p2163"/>
          <p:cNvSpPr txBox="1">
            <a:spLocks noGrp="1"/>
          </p:cNvSpPr>
          <p:nvPr>
            <p:ph type="body" idx="1"/>
          </p:nvPr>
        </p:nvSpPr>
        <p:spPr>
          <a:xfrm>
            <a:off x="457199" y="1781175"/>
            <a:ext cx="10004427" cy="4165600"/>
          </a:xfrm>
          <a:prstGeom prst="rect">
            <a:avLst/>
          </a:prstGeom>
          <a:noFill/>
          <a:ln>
            <a:noFill/>
          </a:ln>
        </p:spPr>
        <p:txBody>
          <a:bodyPr spcFirstLastPara="1" wrap="square" lIns="0" tIns="0" rIns="0" bIns="0" anchor="t" anchorCtr="0">
            <a:normAutofit/>
          </a:bodyPr>
          <a:lstStyle>
            <a:lvl1pPr marL="304815" lvl="0" indent="-152408" algn="l">
              <a:lnSpc>
                <a:spcPct val="100000"/>
              </a:lnSpc>
              <a:spcBef>
                <a:spcPts val="0"/>
              </a:spcBef>
              <a:spcAft>
                <a:spcPts val="0"/>
              </a:spcAft>
              <a:buClr>
                <a:schemeClr val="dk2"/>
              </a:buClr>
              <a:buSzPts val="1800"/>
              <a:buNone/>
              <a:defRPr/>
            </a:lvl1pPr>
            <a:lvl2pPr marL="609630" lvl="1" indent="-152408" algn="l">
              <a:lnSpc>
                <a:spcPct val="100000"/>
              </a:lnSpc>
              <a:spcBef>
                <a:spcPts val="1200"/>
              </a:spcBef>
              <a:spcAft>
                <a:spcPts val="0"/>
              </a:spcAft>
              <a:buSzPts val="1800"/>
              <a:buNone/>
              <a:defRPr/>
            </a:lvl2pPr>
            <a:lvl3pPr marL="914446" lvl="2" indent="-237079" algn="l">
              <a:lnSpc>
                <a:spcPct val="100000"/>
              </a:lnSpc>
              <a:spcBef>
                <a:spcPts val="1200"/>
              </a:spcBef>
              <a:spcAft>
                <a:spcPts val="0"/>
              </a:spcAft>
              <a:buSzPts val="2000"/>
              <a:buChar char="•"/>
              <a:defRPr/>
            </a:lvl3pPr>
            <a:lvl4pPr marL="1219261" lvl="3" indent="-228611" algn="l">
              <a:lnSpc>
                <a:spcPct val="100000"/>
              </a:lnSpc>
              <a:spcBef>
                <a:spcPts val="600"/>
              </a:spcBef>
              <a:spcAft>
                <a:spcPts val="0"/>
              </a:spcAft>
              <a:buSzPts val="1800"/>
              <a:buChar char="•"/>
              <a:defRPr/>
            </a:lvl4pPr>
            <a:lvl5pPr marL="1524076" lvl="4" indent="-228611" algn="l">
              <a:lnSpc>
                <a:spcPct val="100000"/>
              </a:lnSpc>
              <a:spcBef>
                <a:spcPts val="600"/>
              </a:spcBef>
              <a:spcAft>
                <a:spcPts val="0"/>
              </a:spcAft>
              <a:buSzPts val="1800"/>
              <a:buChar char="•"/>
              <a:defRPr/>
            </a:lvl5pPr>
            <a:lvl6pPr marL="1828891" lvl="5" indent="-228611" algn="l">
              <a:lnSpc>
                <a:spcPct val="116666"/>
              </a:lnSpc>
              <a:spcBef>
                <a:spcPts val="600"/>
              </a:spcBef>
              <a:spcAft>
                <a:spcPts val="0"/>
              </a:spcAft>
              <a:buClr>
                <a:schemeClr val="dk1"/>
              </a:buClr>
              <a:buSzPts val="1800"/>
              <a:buChar char="•"/>
              <a:defRPr/>
            </a:lvl6pPr>
            <a:lvl7pPr marL="2133707" lvl="6" indent="-228611" algn="l">
              <a:lnSpc>
                <a:spcPct val="116666"/>
              </a:lnSpc>
              <a:spcBef>
                <a:spcPts val="1200"/>
              </a:spcBef>
              <a:spcAft>
                <a:spcPts val="0"/>
              </a:spcAft>
              <a:buClr>
                <a:schemeClr val="dk1"/>
              </a:buClr>
              <a:buSzPts val="1800"/>
              <a:buChar char="•"/>
              <a:defRPr/>
            </a:lvl7pPr>
            <a:lvl8pPr marL="2438522" lvl="7" indent="-228611" algn="l">
              <a:lnSpc>
                <a:spcPct val="116666"/>
              </a:lnSpc>
              <a:spcBef>
                <a:spcPts val="1200"/>
              </a:spcBef>
              <a:spcAft>
                <a:spcPts val="0"/>
              </a:spcAft>
              <a:buClr>
                <a:schemeClr val="dk1"/>
              </a:buClr>
              <a:buSzPts val="1800"/>
              <a:buChar char="•"/>
              <a:defRPr/>
            </a:lvl8pPr>
            <a:lvl9pPr marL="2743337" lvl="8" indent="-228611" algn="l">
              <a:lnSpc>
                <a:spcPct val="116666"/>
              </a:lnSpc>
              <a:spcBef>
                <a:spcPts val="1200"/>
              </a:spcBef>
              <a:spcAft>
                <a:spcPts val="1200"/>
              </a:spcAft>
              <a:buClr>
                <a:schemeClr val="dk1"/>
              </a:buClr>
              <a:buSzPts val="1800"/>
              <a:buChar char="•"/>
              <a:defRPr/>
            </a:lvl9pPr>
          </a:lstStyle>
          <a:p>
            <a:endParaRPr/>
          </a:p>
        </p:txBody>
      </p:sp>
    </p:spTree>
  </p:cSld>
  <p:clrMapOvr>
    <a:masterClrMapping/>
  </p:clrMapOvr>
</p:sldLayout>
</file>

<file path=ppt/slideLayouts/slideLayout2082.xml><?xml version="1.0" encoding="utf-8"?>
<p:sldLayout xmlns:a="http://schemas.openxmlformats.org/drawingml/2006/main" xmlns:r="http://schemas.openxmlformats.org/officeDocument/2006/relationships" xmlns:p="http://schemas.openxmlformats.org/presentationml/2006/main" matchingName="callout_graphic">
  <p:cSld name="1_callout_graphic">
    <p:bg>
      <p:bgPr>
        <a:solidFill>
          <a:schemeClr val="lt1"/>
        </a:solidFill>
        <a:effectLst/>
      </p:bgPr>
    </p:bg>
    <p:spTree>
      <p:nvGrpSpPr>
        <p:cNvPr id="1" name="Shape 19633"/>
        <p:cNvGrpSpPr/>
        <p:nvPr/>
      </p:nvGrpSpPr>
      <p:grpSpPr>
        <a:xfrm>
          <a:off x="0" y="0"/>
          <a:ext cx="0" cy="0"/>
          <a:chOff x="0" y="0"/>
          <a:chExt cx="0" cy="0"/>
        </a:xfrm>
      </p:grpSpPr>
      <p:pic>
        <p:nvPicPr>
          <p:cNvPr id="19634" name="Google Shape;19634;p2164"/>
          <p:cNvPicPr preferRelativeResize="0"/>
          <p:nvPr/>
        </p:nvPicPr>
        <p:blipFill rotWithShape="1">
          <a:blip r:embed="rId2">
            <a:alphaModFix/>
          </a:blip>
          <a:srcRect/>
          <a:stretch/>
        </p:blipFill>
        <p:spPr>
          <a:xfrm>
            <a:off x="12695" y="1"/>
            <a:ext cx="12166611" cy="6850855"/>
          </a:xfrm>
          <a:prstGeom prst="rect">
            <a:avLst/>
          </a:prstGeom>
          <a:noFill/>
          <a:ln>
            <a:noFill/>
          </a:ln>
        </p:spPr>
      </p:pic>
      <p:sp>
        <p:nvSpPr>
          <p:cNvPr id="19635" name="Google Shape;19635;p2164"/>
          <p:cNvSpPr txBox="1">
            <a:spLocks noGrp="1"/>
          </p:cNvSpPr>
          <p:nvPr>
            <p:ph type="dt" idx="10"/>
          </p:nvPr>
        </p:nvSpPr>
        <p:spPr>
          <a:xfrm>
            <a:off x="6210300" y="6362701"/>
            <a:ext cx="1695450" cy="231921"/>
          </a:xfrm>
          <a:prstGeom prst="rect">
            <a:avLst/>
          </a:prstGeom>
          <a:noFill/>
          <a:ln>
            <a:noFill/>
          </a:ln>
        </p:spPr>
        <p:txBody>
          <a:bodyPr spcFirstLastPara="1" wrap="square" lIns="0" tIns="0" rIns="0" bIns="0" anchor="b" anchorCtr="0">
            <a:noAutofit/>
          </a:bodyPr>
          <a:lstStyle>
            <a:lvl1pPr marR="0" lvl="0" algn="l"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9636" name="Google Shape;19636;p2164"/>
          <p:cNvSpPr txBox="1">
            <a:spLocks noGrp="1"/>
          </p:cNvSpPr>
          <p:nvPr>
            <p:ph type="ftr" idx="11"/>
          </p:nvPr>
        </p:nvSpPr>
        <p:spPr>
          <a:xfrm>
            <a:off x="773048" y="6364784"/>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9637" name="Google Shape;19637;p2164"/>
          <p:cNvSpPr txBox="1">
            <a:spLocks noGrp="1"/>
          </p:cNvSpPr>
          <p:nvPr>
            <p:ph type="sldNum" idx="12"/>
          </p:nvPr>
        </p:nvSpPr>
        <p:spPr>
          <a:xfrm>
            <a:off x="457199" y="6362702"/>
            <a:ext cx="315849" cy="231921"/>
          </a:xfrm>
          <a:prstGeom prst="rect">
            <a:avLst/>
          </a:prstGeom>
          <a:noFill/>
          <a:ln>
            <a:noFill/>
          </a:ln>
        </p:spPr>
        <p:txBody>
          <a:bodyPr spcFirstLastPara="1" wrap="square" lIns="0" tIns="0" rIns="0" bIns="0" anchor="b" anchorCtr="0">
            <a:noAutofit/>
          </a:bodyPr>
          <a:lstStyle>
            <a:lvl1pPr marL="0" marR="0" lvl="0"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l">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pPr marL="0" lvl="0" indent="0" algn="l" rtl="0">
                <a:spcBef>
                  <a:spcPts val="0"/>
                </a:spcBef>
                <a:spcAft>
                  <a:spcPts val="0"/>
                </a:spcAft>
                <a:buNone/>
              </a:pPr>
              <a:t>‹#›</a:t>
            </a:fld>
            <a:endParaRPr/>
          </a:p>
        </p:txBody>
      </p:sp>
      <p:sp>
        <p:nvSpPr>
          <p:cNvPr id="19638" name="Google Shape;19638;p2164"/>
          <p:cNvSpPr txBox="1">
            <a:spLocks noGrp="1"/>
          </p:cNvSpPr>
          <p:nvPr>
            <p:ph type="title"/>
          </p:nvPr>
        </p:nvSpPr>
        <p:spPr>
          <a:xfrm>
            <a:off x="457201" y="460376"/>
            <a:ext cx="6388100" cy="5486399"/>
          </a:xfrm>
          <a:prstGeom prst="rect">
            <a:avLst/>
          </a:prstGeom>
          <a:noFill/>
          <a:ln>
            <a:noFill/>
          </a:ln>
        </p:spPr>
        <p:txBody>
          <a:bodyPr spcFirstLastPara="1" wrap="square" lIns="0" tIns="274300" rIns="0" bIns="0" anchor="ctr" anchorCtr="0">
            <a:noAutofit/>
          </a:bodyPr>
          <a:lstStyle>
            <a:lvl1pPr lvl="0" algn="l">
              <a:lnSpc>
                <a:spcPct val="100000"/>
              </a:lnSpc>
              <a:spcBef>
                <a:spcPts val="0"/>
              </a:spcBef>
              <a:spcAft>
                <a:spcPts val="0"/>
              </a:spcAft>
              <a:buClr>
                <a:schemeClr val="accent6"/>
              </a:buClr>
              <a:buSzPts val="4000"/>
              <a:buFont typeface="Calibri"/>
              <a:buNone/>
              <a:defRPr sz="4000">
                <a:solidFill>
                  <a:schemeClr val="accent6"/>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639" name="Google Shape;19639;p2164"/>
          <p:cNvPicPr preferRelativeResize="0"/>
          <p:nvPr/>
        </p:nvPicPr>
        <p:blipFill rotWithShape="1">
          <a:blip r:embed="rId3">
            <a:alphaModFix/>
          </a:blip>
          <a:srcRect/>
          <a:stretch/>
        </p:blipFill>
        <p:spPr>
          <a:xfrm>
            <a:off x="9810446" y="6358648"/>
            <a:ext cx="2016517" cy="235975"/>
          </a:xfrm>
          <a:prstGeom prst="rect">
            <a:avLst/>
          </a:prstGeom>
          <a:noFill/>
          <a:ln>
            <a:noFill/>
          </a:ln>
        </p:spPr>
      </p:pic>
    </p:spTree>
  </p:cSld>
  <p:clrMapOvr>
    <a:masterClrMapping/>
  </p:clrMapOvr>
</p:sldLayout>
</file>

<file path=ppt/slideLayouts/slideLayout208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270810-9D64-77DA-5CBD-062BC8F389A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F02FCC4-FA53-A8FC-E187-28FB4962584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201E23D-2621-171F-576B-FC1A01DC0F50}"/>
              </a:ext>
            </a:extLst>
          </p:cNvPr>
          <p:cNvSpPr>
            <a:spLocks noGrp="1"/>
          </p:cNvSpPr>
          <p:nvPr>
            <p:ph type="dt" sz="half" idx="10"/>
          </p:nvPr>
        </p:nvSpPr>
        <p:spPr/>
        <p:txBody>
          <a:bodyPr/>
          <a:lstStyle/>
          <a:p>
            <a:fld id="{F15A4539-35EC-40BF-AED3-EA2BC215CF19}" type="datetimeFigureOut">
              <a:rPr lang="en-US" smtClean="0"/>
              <a:t>5/20/2026</a:t>
            </a:fld>
            <a:endParaRPr lang="en-US"/>
          </a:p>
        </p:txBody>
      </p:sp>
      <p:sp>
        <p:nvSpPr>
          <p:cNvPr id="5" name="Footer Placeholder 4">
            <a:extLst>
              <a:ext uri="{FF2B5EF4-FFF2-40B4-BE49-F238E27FC236}">
                <a16:creationId xmlns:a16="http://schemas.microsoft.com/office/drawing/2014/main" id="{0D9CC5C9-0230-300D-9120-F89D07BECBC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38AD6B-CC40-8BDB-C68C-FAB04F84D551}"/>
              </a:ext>
            </a:extLst>
          </p:cNvPr>
          <p:cNvSpPr>
            <a:spLocks noGrp="1"/>
          </p:cNvSpPr>
          <p:nvPr>
            <p:ph type="sldNum" sz="quarter" idx="12"/>
          </p:nvPr>
        </p:nvSpPr>
        <p:spPr/>
        <p:txBody>
          <a:bodyPr/>
          <a:lstStyle/>
          <a:p>
            <a:fld id="{3EBAEB4A-7557-44D8-B879-4EE614481276}" type="slidenum">
              <a:rPr lang="en-US" smtClean="0"/>
              <a:t>‹#›</a:t>
            </a:fld>
            <a:endParaRPr lang="en-US"/>
          </a:p>
        </p:txBody>
      </p:sp>
    </p:spTree>
    <p:extLst>
      <p:ext uri="{BB962C8B-B14F-4D97-AF65-F5344CB8AC3E}">
        <p14:creationId xmlns:p14="http://schemas.microsoft.com/office/powerpoint/2010/main" val="3786227246"/>
      </p:ext>
    </p:extLst>
  </p:cSld>
  <p:clrMapOvr>
    <a:masterClrMapping/>
  </p:clrMapOvr>
</p:sldLayout>
</file>

<file path=ppt/slideLayouts/slideLayout20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6F89E8-CEAE-C1D9-E5BF-24ED97A3058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5A8EC28-0D91-DFCC-6648-79895C4CFFA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584AAD1-4CB8-2247-A705-D547D96328E9}"/>
              </a:ext>
            </a:extLst>
          </p:cNvPr>
          <p:cNvSpPr>
            <a:spLocks noGrp="1"/>
          </p:cNvSpPr>
          <p:nvPr>
            <p:ph type="dt" sz="half" idx="10"/>
          </p:nvPr>
        </p:nvSpPr>
        <p:spPr/>
        <p:txBody>
          <a:bodyPr/>
          <a:lstStyle/>
          <a:p>
            <a:fld id="{F15A4539-35EC-40BF-AED3-EA2BC215CF19}" type="datetimeFigureOut">
              <a:rPr lang="en-US" smtClean="0"/>
              <a:t>5/20/2026</a:t>
            </a:fld>
            <a:endParaRPr lang="en-US"/>
          </a:p>
        </p:txBody>
      </p:sp>
      <p:sp>
        <p:nvSpPr>
          <p:cNvPr id="5" name="Footer Placeholder 4">
            <a:extLst>
              <a:ext uri="{FF2B5EF4-FFF2-40B4-BE49-F238E27FC236}">
                <a16:creationId xmlns:a16="http://schemas.microsoft.com/office/drawing/2014/main" id="{717AE3B5-5E21-ED98-27F8-2C6532ACD73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C8914A7-E6A6-3FC0-F7E7-5BE4912F1173}"/>
              </a:ext>
            </a:extLst>
          </p:cNvPr>
          <p:cNvSpPr>
            <a:spLocks noGrp="1"/>
          </p:cNvSpPr>
          <p:nvPr>
            <p:ph type="sldNum" sz="quarter" idx="12"/>
          </p:nvPr>
        </p:nvSpPr>
        <p:spPr/>
        <p:txBody>
          <a:bodyPr/>
          <a:lstStyle/>
          <a:p>
            <a:fld id="{3EBAEB4A-7557-44D8-B879-4EE614481276}" type="slidenum">
              <a:rPr lang="en-US" smtClean="0"/>
              <a:t>‹#›</a:t>
            </a:fld>
            <a:endParaRPr lang="en-US"/>
          </a:p>
        </p:txBody>
      </p:sp>
    </p:spTree>
    <p:extLst>
      <p:ext uri="{BB962C8B-B14F-4D97-AF65-F5344CB8AC3E}">
        <p14:creationId xmlns:p14="http://schemas.microsoft.com/office/powerpoint/2010/main" val="3566187969"/>
      </p:ext>
    </p:extLst>
  </p:cSld>
  <p:clrMapOvr>
    <a:masterClrMapping/>
  </p:clrMapOvr>
</p:sldLayout>
</file>

<file path=ppt/slideLayouts/slideLayout20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6FB0D9-8EDD-4F48-72B1-AECC9FB06C5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448B9BF-B339-55EF-3D93-97880D536B2B}"/>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F3B4665-BFE0-42BE-BC10-6C2E15FA034D}"/>
              </a:ext>
            </a:extLst>
          </p:cNvPr>
          <p:cNvSpPr>
            <a:spLocks noGrp="1"/>
          </p:cNvSpPr>
          <p:nvPr>
            <p:ph type="dt" sz="half" idx="10"/>
          </p:nvPr>
        </p:nvSpPr>
        <p:spPr/>
        <p:txBody>
          <a:bodyPr/>
          <a:lstStyle/>
          <a:p>
            <a:fld id="{F15A4539-35EC-40BF-AED3-EA2BC215CF19}" type="datetimeFigureOut">
              <a:rPr lang="en-US" smtClean="0"/>
              <a:t>5/20/2026</a:t>
            </a:fld>
            <a:endParaRPr lang="en-US"/>
          </a:p>
        </p:txBody>
      </p:sp>
      <p:sp>
        <p:nvSpPr>
          <p:cNvPr id="5" name="Footer Placeholder 4">
            <a:extLst>
              <a:ext uri="{FF2B5EF4-FFF2-40B4-BE49-F238E27FC236}">
                <a16:creationId xmlns:a16="http://schemas.microsoft.com/office/drawing/2014/main" id="{30AC8C91-847D-FE54-49C3-B639696BA8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8A3A6FE-985E-83B2-855D-0B1BB5D6BCB9}"/>
              </a:ext>
            </a:extLst>
          </p:cNvPr>
          <p:cNvSpPr>
            <a:spLocks noGrp="1"/>
          </p:cNvSpPr>
          <p:nvPr>
            <p:ph type="sldNum" sz="quarter" idx="12"/>
          </p:nvPr>
        </p:nvSpPr>
        <p:spPr/>
        <p:txBody>
          <a:bodyPr/>
          <a:lstStyle/>
          <a:p>
            <a:fld id="{3EBAEB4A-7557-44D8-B879-4EE614481276}" type="slidenum">
              <a:rPr lang="en-US" smtClean="0"/>
              <a:t>‹#›</a:t>
            </a:fld>
            <a:endParaRPr lang="en-US"/>
          </a:p>
        </p:txBody>
      </p:sp>
    </p:spTree>
    <p:extLst>
      <p:ext uri="{BB962C8B-B14F-4D97-AF65-F5344CB8AC3E}">
        <p14:creationId xmlns:p14="http://schemas.microsoft.com/office/powerpoint/2010/main" val="101353485"/>
      </p:ext>
    </p:extLst>
  </p:cSld>
  <p:clrMapOvr>
    <a:masterClrMapping/>
  </p:clrMapOvr>
</p:sldLayout>
</file>

<file path=ppt/slideLayouts/slideLayout20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3B5020-5E63-896B-E799-37B6C542AC8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FF1470D-D5CE-7DF5-E60C-A2A66A0E978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E6EE6CD-89FE-E2DB-19D9-27F9F08F9EA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481DFD2-C51D-ECE7-9781-8A2C3C16AF0E}"/>
              </a:ext>
            </a:extLst>
          </p:cNvPr>
          <p:cNvSpPr>
            <a:spLocks noGrp="1"/>
          </p:cNvSpPr>
          <p:nvPr>
            <p:ph type="dt" sz="half" idx="10"/>
          </p:nvPr>
        </p:nvSpPr>
        <p:spPr/>
        <p:txBody>
          <a:bodyPr/>
          <a:lstStyle/>
          <a:p>
            <a:fld id="{F15A4539-35EC-40BF-AED3-EA2BC215CF19}" type="datetimeFigureOut">
              <a:rPr lang="en-US" smtClean="0"/>
              <a:t>5/20/2026</a:t>
            </a:fld>
            <a:endParaRPr lang="en-US"/>
          </a:p>
        </p:txBody>
      </p:sp>
      <p:sp>
        <p:nvSpPr>
          <p:cNvPr id="6" name="Footer Placeholder 5">
            <a:extLst>
              <a:ext uri="{FF2B5EF4-FFF2-40B4-BE49-F238E27FC236}">
                <a16:creationId xmlns:a16="http://schemas.microsoft.com/office/drawing/2014/main" id="{ADA41A63-AE77-9C3C-EAC3-1DD9217DFE0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7AEDF49-1C40-27D0-1744-C82ACFA6CDD6}"/>
              </a:ext>
            </a:extLst>
          </p:cNvPr>
          <p:cNvSpPr>
            <a:spLocks noGrp="1"/>
          </p:cNvSpPr>
          <p:nvPr>
            <p:ph type="sldNum" sz="quarter" idx="12"/>
          </p:nvPr>
        </p:nvSpPr>
        <p:spPr/>
        <p:txBody>
          <a:bodyPr/>
          <a:lstStyle/>
          <a:p>
            <a:fld id="{3EBAEB4A-7557-44D8-B879-4EE614481276}" type="slidenum">
              <a:rPr lang="en-US" smtClean="0"/>
              <a:t>‹#›</a:t>
            </a:fld>
            <a:endParaRPr lang="en-US"/>
          </a:p>
        </p:txBody>
      </p:sp>
    </p:spTree>
    <p:extLst>
      <p:ext uri="{BB962C8B-B14F-4D97-AF65-F5344CB8AC3E}">
        <p14:creationId xmlns:p14="http://schemas.microsoft.com/office/powerpoint/2010/main" val="2788030009"/>
      </p:ext>
    </p:extLst>
  </p:cSld>
  <p:clrMapOvr>
    <a:masterClrMapping/>
  </p:clrMapOvr>
</p:sldLayout>
</file>

<file path=ppt/slideLayouts/slideLayout20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33729-3BF6-A949-3CA9-642C68B019D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2A5BD77-74EC-04F6-6F38-9129928C8941}"/>
              </a:ext>
            </a:extLst>
          </p:cNvPr>
          <p:cNvSpPr>
            <a:spLocks noGrp="1"/>
          </p:cNvSpPr>
          <p:nvPr>
            <p:ph type="dt" sz="half" idx="10"/>
          </p:nvPr>
        </p:nvSpPr>
        <p:spPr/>
        <p:txBody>
          <a:bodyPr/>
          <a:lstStyle/>
          <a:p>
            <a:fld id="{F15A4539-35EC-40BF-AED3-EA2BC215CF19}" type="datetimeFigureOut">
              <a:rPr lang="en-US" smtClean="0"/>
              <a:t>5/20/2026</a:t>
            </a:fld>
            <a:endParaRPr lang="en-US"/>
          </a:p>
        </p:txBody>
      </p:sp>
      <p:sp>
        <p:nvSpPr>
          <p:cNvPr id="4" name="Footer Placeholder 3">
            <a:extLst>
              <a:ext uri="{FF2B5EF4-FFF2-40B4-BE49-F238E27FC236}">
                <a16:creationId xmlns:a16="http://schemas.microsoft.com/office/drawing/2014/main" id="{E6ADC3BD-7F15-EE02-6D63-C9B74A738B7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FB9DAA0-7918-7688-BAF9-B61BC05D2888}"/>
              </a:ext>
            </a:extLst>
          </p:cNvPr>
          <p:cNvSpPr>
            <a:spLocks noGrp="1"/>
          </p:cNvSpPr>
          <p:nvPr>
            <p:ph type="sldNum" sz="quarter" idx="12"/>
          </p:nvPr>
        </p:nvSpPr>
        <p:spPr/>
        <p:txBody>
          <a:bodyPr/>
          <a:lstStyle/>
          <a:p>
            <a:fld id="{3EBAEB4A-7557-44D8-B879-4EE614481276}" type="slidenum">
              <a:rPr lang="en-US" smtClean="0"/>
              <a:t>‹#›</a:t>
            </a:fld>
            <a:endParaRPr lang="en-US"/>
          </a:p>
        </p:txBody>
      </p:sp>
    </p:spTree>
    <p:extLst>
      <p:ext uri="{BB962C8B-B14F-4D97-AF65-F5344CB8AC3E}">
        <p14:creationId xmlns:p14="http://schemas.microsoft.com/office/powerpoint/2010/main" val="296929597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matchingName="Photo Slide">
  <p:cSld name="Photo Slide 11">
    <p:spTree>
      <p:nvGrpSpPr>
        <p:cNvPr id="1" name="Shape 11023"/>
        <p:cNvGrpSpPr/>
        <p:nvPr/>
      </p:nvGrpSpPr>
      <p:grpSpPr>
        <a:xfrm>
          <a:off x="0" y="0"/>
          <a:ext cx="0" cy="0"/>
          <a:chOff x="0" y="0"/>
          <a:chExt cx="0" cy="0"/>
        </a:xfrm>
      </p:grpSpPr>
      <p:sp>
        <p:nvSpPr>
          <p:cNvPr id="11024" name="Google Shape;11024;p151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25" name="Google Shape;11025;p151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026" name="Google Shape;11026;p1513"/>
          <p:cNvGrpSpPr/>
          <p:nvPr/>
        </p:nvGrpSpPr>
        <p:grpSpPr>
          <a:xfrm>
            <a:off x="0" y="5379426"/>
            <a:ext cx="2807368" cy="753891"/>
            <a:chOff x="0" y="5379426"/>
            <a:chExt cx="2807368" cy="753891"/>
          </a:xfrm>
        </p:grpSpPr>
        <p:sp>
          <p:nvSpPr>
            <p:cNvPr id="11027" name="Google Shape;11027;p151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028" name="Google Shape;11028;p151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1029" name="Google Shape;11029;p1513"/>
          <p:cNvSpPr>
            <a:spLocks noGrp="1"/>
          </p:cNvSpPr>
          <p:nvPr>
            <p:ph type="pic" idx="2"/>
          </p:nvPr>
        </p:nvSpPr>
        <p:spPr>
          <a:xfrm>
            <a:off x="2807368" y="457202"/>
            <a:ext cx="8915400" cy="5943598"/>
          </a:xfrm>
          <a:prstGeom prst="rect">
            <a:avLst/>
          </a:prstGeom>
          <a:noFill/>
          <a:ln>
            <a:noFill/>
          </a:ln>
        </p:spPr>
      </p:sp>
      <p:pic>
        <p:nvPicPr>
          <p:cNvPr id="11030" name="Google Shape;11030;p151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Divider">
  <p:cSld name="Divider">
    <p:spTree>
      <p:nvGrpSpPr>
        <p:cNvPr id="1" name="Shape 9128"/>
        <p:cNvGrpSpPr/>
        <p:nvPr/>
      </p:nvGrpSpPr>
      <p:grpSpPr>
        <a:xfrm>
          <a:off x="0" y="0"/>
          <a:ext cx="0" cy="0"/>
          <a:chOff x="0" y="0"/>
          <a:chExt cx="0" cy="0"/>
        </a:xfrm>
      </p:grpSpPr>
      <p:grpSp>
        <p:nvGrpSpPr>
          <p:cNvPr id="9129" name="Google Shape;9129;p1327"/>
          <p:cNvGrpSpPr/>
          <p:nvPr/>
        </p:nvGrpSpPr>
        <p:grpSpPr>
          <a:xfrm>
            <a:off x="0" y="5020347"/>
            <a:ext cx="12192000" cy="1837653"/>
            <a:chOff x="0" y="5020347"/>
            <a:chExt cx="12192000" cy="1837653"/>
          </a:xfrm>
        </p:grpSpPr>
        <p:sp>
          <p:nvSpPr>
            <p:cNvPr id="9130" name="Google Shape;9130;p132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31" name="Google Shape;9131;p132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32" name="Google Shape;9132;p132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133" name="Google Shape;9133;p132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134" name="Google Shape;9134;p132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35" name="Google Shape;9135;p132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matchingName="Quotation">
  <p:cSld name="Quotation 16">
    <p:spTree>
      <p:nvGrpSpPr>
        <p:cNvPr id="1" name="Shape 11031"/>
        <p:cNvGrpSpPr/>
        <p:nvPr/>
      </p:nvGrpSpPr>
      <p:grpSpPr>
        <a:xfrm>
          <a:off x="0" y="0"/>
          <a:ext cx="0" cy="0"/>
          <a:chOff x="0" y="0"/>
          <a:chExt cx="0" cy="0"/>
        </a:xfrm>
      </p:grpSpPr>
      <p:sp>
        <p:nvSpPr>
          <p:cNvPr id="11032" name="Google Shape;11032;p15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033" name="Google Shape;11033;p15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034" name="Google Shape;11034;p15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35" name="Google Shape;11035;p15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036" name="Google Shape;11036;p15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37" name="Google Shape;11037;p15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038" name="Google Shape;11038;p1514"/>
          <p:cNvGrpSpPr/>
          <p:nvPr/>
        </p:nvGrpSpPr>
        <p:grpSpPr>
          <a:xfrm>
            <a:off x="7191542" y="1"/>
            <a:ext cx="5000459" cy="1425992"/>
            <a:chOff x="7191542" y="1"/>
            <a:chExt cx="5000459" cy="1425992"/>
          </a:xfrm>
        </p:grpSpPr>
        <p:pic>
          <p:nvPicPr>
            <p:cNvPr id="11039" name="Google Shape;11039;p15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40" name="Google Shape;11040;p1514"/>
            <p:cNvGrpSpPr/>
            <p:nvPr/>
          </p:nvGrpSpPr>
          <p:grpSpPr>
            <a:xfrm>
              <a:off x="7191542" y="1"/>
              <a:ext cx="5000459" cy="1425992"/>
              <a:chOff x="7186272" y="0"/>
              <a:chExt cx="5005729" cy="1427495"/>
            </a:xfrm>
          </p:grpSpPr>
          <p:sp>
            <p:nvSpPr>
              <p:cNvPr id="11041" name="Google Shape;11041;p15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042" name="Google Shape;11042;p15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043" name="Google Shape;11043;p151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matchingName="Quotation">
  <p:cSld name="Quotation 16 2">
    <p:spTree>
      <p:nvGrpSpPr>
        <p:cNvPr id="1" name="Shape 11044"/>
        <p:cNvGrpSpPr/>
        <p:nvPr/>
      </p:nvGrpSpPr>
      <p:grpSpPr>
        <a:xfrm>
          <a:off x="0" y="0"/>
          <a:ext cx="0" cy="0"/>
          <a:chOff x="0" y="0"/>
          <a:chExt cx="0" cy="0"/>
        </a:xfrm>
      </p:grpSpPr>
      <p:sp>
        <p:nvSpPr>
          <p:cNvPr id="11045" name="Google Shape;11045;p151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046" name="Google Shape;11046;p151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047" name="Google Shape;11047;p151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48" name="Google Shape;11048;p15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049" name="Google Shape;11049;p15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50" name="Google Shape;11050;p15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051" name="Google Shape;11051;p1515"/>
          <p:cNvGrpSpPr/>
          <p:nvPr/>
        </p:nvGrpSpPr>
        <p:grpSpPr>
          <a:xfrm>
            <a:off x="7191542" y="1"/>
            <a:ext cx="5000459" cy="1425992"/>
            <a:chOff x="7191542" y="1"/>
            <a:chExt cx="5000459" cy="1425992"/>
          </a:xfrm>
        </p:grpSpPr>
        <p:pic>
          <p:nvPicPr>
            <p:cNvPr id="11052" name="Google Shape;11052;p15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53" name="Google Shape;11053;p1515"/>
            <p:cNvGrpSpPr/>
            <p:nvPr/>
          </p:nvGrpSpPr>
          <p:grpSpPr>
            <a:xfrm>
              <a:off x="7191542" y="1"/>
              <a:ext cx="5000459" cy="1425992"/>
              <a:chOff x="7186272" y="0"/>
              <a:chExt cx="5005729" cy="1427495"/>
            </a:xfrm>
          </p:grpSpPr>
          <p:sp>
            <p:nvSpPr>
              <p:cNvPr id="11054" name="Google Shape;11054;p15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055" name="Google Shape;11055;p15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056" name="Google Shape;11056;p151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matchingName="Two Content">
  <p:cSld name="Two Content 10">
    <p:spTree>
      <p:nvGrpSpPr>
        <p:cNvPr id="1" name="Shape 11057"/>
        <p:cNvGrpSpPr/>
        <p:nvPr/>
      </p:nvGrpSpPr>
      <p:grpSpPr>
        <a:xfrm>
          <a:off x="0" y="0"/>
          <a:ext cx="0" cy="0"/>
          <a:chOff x="0" y="0"/>
          <a:chExt cx="0" cy="0"/>
        </a:xfrm>
      </p:grpSpPr>
      <p:sp>
        <p:nvSpPr>
          <p:cNvPr id="11058" name="Google Shape;11058;p151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059" name="Google Shape;11059;p151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060" name="Google Shape;11060;p1516"/>
          <p:cNvGrpSpPr/>
          <p:nvPr/>
        </p:nvGrpSpPr>
        <p:grpSpPr>
          <a:xfrm>
            <a:off x="7191542" y="1"/>
            <a:ext cx="5000459" cy="1425992"/>
            <a:chOff x="7191542" y="1"/>
            <a:chExt cx="5000459" cy="1425992"/>
          </a:xfrm>
        </p:grpSpPr>
        <p:pic>
          <p:nvPicPr>
            <p:cNvPr id="11061" name="Google Shape;11061;p15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62" name="Google Shape;11062;p1516"/>
            <p:cNvGrpSpPr/>
            <p:nvPr/>
          </p:nvGrpSpPr>
          <p:grpSpPr>
            <a:xfrm>
              <a:off x="7191542" y="1"/>
              <a:ext cx="5000459" cy="1425992"/>
              <a:chOff x="7186272" y="0"/>
              <a:chExt cx="5005729" cy="1427495"/>
            </a:xfrm>
          </p:grpSpPr>
          <p:sp>
            <p:nvSpPr>
              <p:cNvPr id="11063" name="Google Shape;11063;p15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064" name="Google Shape;11064;p15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065" name="Google Shape;11065;p151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66" name="Google Shape;11066;p151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067" name="Google Shape;11067;p15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68" name="Google Shape;11068;p15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matchingName="Comparison">
  <p:cSld name="Comparison 9">
    <p:spTree>
      <p:nvGrpSpPr>
        <p:cNvPr id="1" name="Shape 11069"/>
        <p:cNvGrpSpPr/>
        <p:nvPr/>
      </p:nvGrpSpPr>
      <p:grpSpPr>
        <a:xfrm>
          <a:off x="0" y="0"/>
          <a:ext cx="0" cy="0"/>
          <a:chOff x="0" y="0"/>
          <a:chExt cx="0" cy="0"/>
        </a:xfrm>
      </p:grpSpPr>
      <p:grpSp>
        <p:nvGrpSpPr>
          <p:cNvPr id="11070" name="Google Shape;11070;p1517"/>
          <p:cNvGrpSpPr/>
          <p:nvPr/>
        </p:nvGrpSpPr>
        <p:grpSpPr>
          <a:xfrm>
            <a:off x="7191542" y="1"/>
            <a:ext cx="5000459" cy="1425992"/>
            <a:chOff x="7191542" y="1"/>
            <a:chExt cx="5000459" cy="1425992"/>
          </a:xfrm>
        </p:grpSpPr>
        <p:pic>
          <p:nvPicPr>
            <p:cNvPr id="11071" name="Google Shape;11071;p15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72" name="Google Shape;11072;p1517"/>
            <p:cNvGrpSpPr/>
            <p:nvPr/>
          </p:nvGrpSpPr>
          <p:grpSpPr>
            <a:xfrm>
              <a:off x="7191542" y="1"/>
              <a:ext cx="5000459" cy="1425992"/>
              <a:chOff x="7186272" y="0"/>
              <a:chExt cx="5005729" cy="1427495"/>
            </a:xfrm>
          </p:grpSpPr>
          <p:sp>
            <p:nvSpPr>
              <p:cNvPr id="11073" name="Google Shape;11073;p15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074" name="Google Shape;11074;p15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075" name="Google Shape;11075;p151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076" name="Google Shape;11076;p151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077" name="Google Shape;11077;p151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78" name="Google Shape;11078;p151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079" name="Google Shape;11079;p151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80" name="Google Shape;11080;p15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081" name="Google Shape;11081;p15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82" name="Google Shape;11082;p15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matchingName="Title Only">
  <p:cSld name="Title Only 9">
    <p:spTree>
      <p:nvGrpSpPr>
        <p:cNvPr id="1" name="Shape 11083"/>
        <p:cNvGrpSpPr/>
        <p:nvPr/>
      </p:nvGrpSpPr>
      <p:grpSpPr>
        <a:xfrm>
          <a:off x="0" y="0"/>
          <a:ext cx="0" cy="0"/>
          <a:chOff x="0" y="0"/>
          <a:chExt cx="0" cy="0"/>
        </a:xfrm>
      </p:grpSpPr>
      <p:grpSp>
        <p:nvGrpSpPr>
          <p:cNvPr id="11084" name="Google Shape;11084;p1518"/>
          <p:cNvGrpSpPr/>
          <p:nvPr/>
        </p:nvGrpSpPr>
        <p:grpSpPr>
          <a:xfrm>
            <a:off x="7191542" y="1"/>
            <a:ext cx="5000459" cy="1425992"/>
            <a:chOff x="7191542" y="1"/>
            <a:chExt cx="5000459" cy="1425992"/>
          </a:xfrm>
        </p:grpSpPr>
        <p:pic>
          <p:nvPicPr>
            <p:cNvPr id="11085" name="Google Shape;11085;p15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86" name="Google Shape;11086;p1518"/>
            <p:cNvGrpSpPr/>
            <p:nvPr/>
          </p:nvGrpSpPr>
          <p:grpSpPr>
            <a:xfrm>
              <a:off x="7191542" y="1"/>
              <a:ext cx="5000459" cy="1425992"/>
              <a:chOff x="7186272" y="0"/>
              <a:chExt cx="5005729" cy="1427495"/>
            </a:xfrm>
          </p:grpSpPr>
          <p:sp>
            <p:nvSpPr>
              <p:cNvPr id="11087" name="Google Shape;11087;p15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088" name="Google Shape;11088;p15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089" name="Google Shape;11089;p151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090" name="Google Shape;11090;p15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091" name="Google Shape;11091;p15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92" name="Google Shape;11092;p15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matchingName="End">
  <p:cSld name="End 10">
    <p:spTree>
      <p:nvGrpSpPr>
        <p:cNvPr id="1" name="Shape 11093"/>
        <p:cNvGrpSpPr/>
        <p:nvPr/>
      </p:nvGrpSpPr>
      <p:grpSpPr>
        <a:xfrm>
          <a:off x="0" y="0"/>
          <a:ext cx="0" cy="0"/>
          <a:chOff x="0" y="0"/>
          <a:chExt cx="0" cy="0"/>
        </a:xfrm>
      </p:grpSpPr>
      <p:grpSp>
        <p:nvGrpSpPr>
          <p:cNvPr id="11094" name="Google Shape;11094;p1519"/>
          <p:cNvGrpSpPr/>
          <p:nvPr/>
        </p:nvGrpSpPr>
        <p:grpSpPr>
          <a:xfrm>
            <a:off x="0" y="0"/>
            <a:ext cx="12192000" cy="2148830"/>
            <a:chOff x="0" y="0"/>
            <a:chExt cx="12192000" cy="2148830"/>
          </a:xfrm>
        </p:grpSpPr>
        <p:sp>
          <p:nvSpPr>
            <p:cNvPr id="11095" name="Google Shape;11095;p151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096" name="Google Shape;11096;p151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1097" name="Google Shape;11097;p151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098" name="Google Shape;11098;p151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99" name="Google Shape;11099;p151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1100" name="Google Shape;11100;p151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1101" name="Google Shape;11101;p151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matchingName="Blank">
  <p:cSld name="Blank 8">
    <p:spTree>
      <p:nvGrpSpPr>
        <p:cNvPr id="1" name="Shape 11102"/>
        <p:cNvGrpSpPr/>
        <p:nvPr/>
      </p:nvGrpSpPr>
      <p:grpSpPr>
        <a:xfrm>
          <a:off x="0" y="0"/>
          <a:ext cx="0" cy="0"/>
          <a:chOff x="0" y="0"/>
          <a:chExt cx="0" cy="0"/>
        </a:xfrm>
      </p:grpSpPr>
      <p:sp>
        <p:nvSpPr>
          <p:cNvPr id="11103" name="Google Shape;11103;p15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104" name="Google Shape;11104;p15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05" name="Google Shape;11105;p15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106" name="Google Shape;11106;p1520"/>
          <p:cNvGrpSpPr/>
          <p:nvPr/>
        </p:nvGrpSpPr>
        <p:grpSpPr>
          <a:xfrm>
            <a:off x="7191542" y="1"/>
            <a:ext cx="5000459" cy="1425992"/>
            <a:chOff x="7191542" y="1"/>
            <a:chExt cx="5000459" cy="1425992"/>
          </a:xfrm>
        </p:grpSpPr>
        <p:pic>
          <p:nvPicPr>
            <p:cNvPr id="11107" name="Google Shape;11107;p15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108" name="Google Shape;11108;p1520"/>
            <p:cNvGrpSpPr/>
            <p:nvPr/>
          </p:nvGrpSpPr>
          <p:grpSpPr>
            <a:xfrm>
              <a:off x="7191542" y="1"/>
              <a:ext cx="5000459" cy="1425992"/>
              <a:chOff x="7186272" y="0"/>
              <a:chExt cx="5005729" cy="1427495"/>
            </a:xfrm>
          </p:grpSpPr>
          <p:sp>
            <p:nvSpPr>
              <p:cNvPr id="11109" name="Google Shape;11109;p15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110" name="Google Shape;11110;p15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matchingName="Cover">
  <p:cSld name="Cover 12">
    <p:spTree>
      <p:nvGrpSpPr>
        <p:cNvPr id="1" name="Shape 11111"/>
        <p:cNvGrpSpPr/>
        <p:nvPr/>
      </p:nvGrpSpPr>
      <p:grpSpPr>
        <a:xfrm>
          <a:off x="0" y="0"/>
          <a:ext cx="0" cy="0"/>
          <a:chOff x="0" y="0"/>
          <a:chExt cx="0" cy="0"/>
        </a:xfrm>
      </p:grpSpPr>
      <p:sp>
        <p:nvSpPr>
          <p:cNvPr id="11112" name="Google Shape;11112;p152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113" name="Google Shape;11113;p152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114" name="Google Shape;11114;p152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15" name="Google Shape;11115;p1521"/>
          <p:cNvSpPr>
            <a:spLocks noGrp="1"/>
          </p:cNvSpPr>
          <p:nvPr>
            <p:ph type="pic" idx="2"/>
          </p:nvPr>
        </p:nvSpPr>
        <p:spPr>
          <a:xfrm>
            <a:off x="7118684" y="233915"/>
            <a:ext cx="5073316" cy="5943600"/>
          </a:xfrm>
          <a:prstGeom prst="rect">
            <a:avLst/>
          </a:prstGeom>
          <a:noFill/>
          <a:ln>
            <a:noFill/>
          </a:ln>
        </p:spPr>
      </p:sp>
      <p:grpSp>
        <p:nvGrpSpPr>
          <p:cNvPr id="11116" name="Google Shape;11116;p1521"/>
          <p:cNvGrpSpPr/>
          <p:nvPr/>
        </p:nvGrpSpPr>
        <p:grpSpPr>
          <a:xfrm>
            <a:off x="0" y="5020348"/>
            <a:ext cx="12192000" cy="1837653"/>
            <a:chOff x="0" y="5020348"/>
            <a:chExt cx="12192000" cy="1837653"/>
          </a:xfrm>
        </p:grpSpPr>
        <p:sp>
          <p:nvSpPr>
            <p:cNvPr id="11117" name="Google Shape;11117;p152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118" name="Google Shape;11118;p152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1119" name="Google Shape;11119;p152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matchingName="Divider">
  <p:cSld name="Divider 13">
    <p:spTree>
      <p:nvGrpSpPr>
        <p:cNvPr id="1" name="Shape 11120"/>
        <p:cNvGrpSpPr/>
        <p:nvPr/>
      </p:nvGrpSpPr>
      <p:grpSpPr>
        <a:xfrm>
          <a:off x="0" y="0"/>
          <a:ext cx="0" cy="0"/>
          <a:chOff x="0" y="0"/>
          <a:chExt cx="0" cy="0"/>
        </a:xfrm>
      </p:grpSpPr>
      <p:grpSp>
        <p:nvGrpSpPr>
          <p:cNvPr id="11121" name="Google Shape;11121;p1522"/>
          <p:cNvGrpSpPr/>
          <p:nvPr/>
        </p:nvGrpSpPr>
        <p:grpSpPr>
          <a:xfrm>
            <a:off x="0" y="5020347"/>
            <a:ext cx="12192000" cy="1837653"/>
            <a:chOff x="0" y="5020347"/>
            <a:chExt cx="12192000" cy="1837653"/>
          </a:xfrm>
        </p:grpSpPr>
        <p:sp>
          <p:nvSpPr>
            <p:cNvPr id="11122" name="Google Shape;11122;p152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123" name="Google Shape;11123;p152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124" name="Google Shape;11124;p152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1125" name="Google Shape;11125;p152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1126" name="Google Shape;11126;p152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127" name="Google Shape;11127;p152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matchingName="Photo Slide">
  <p:cSld name="Photo Slide 12">
    <p:spTree>
      <p:nvGrpSpPr>
        <p:cNvPr id="1" name="Shape 11128"/>
        <p:cNvGrpSpPr/>
        <p:nvPr/>
      </p:nvGrpSpPr>
      <p:grpSpPr>
        <a:xfrm>
          <a:off x="0" y="0"/>
          <a:ext cx="0" cy="0"/>
          <a:chOff x="0" y="0"/>
          <a:chExt cx="0" cy="0"/>
        </a:xfrm>
      </p:grpSpPr>
      <p:sp>
        <p:nvSpPr>
          <p:cNvPr id="11129" name="Google Shape;11129;p152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130" name="Google Shape;11130;p152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31" name="Google Shape;11131;p1523"/>
          <p:cNvGrpSpPr/>
          <p:nvPr/>
        </p:nvGrpSpPr>
        <p:grpSpPr>
          <a:xfrm>
            <a:off x="0" y="5379426"/>
            <a:ext cx="2807368" cy="753891"/>
            <a:chOff x="0" y="5379426"/>
            <a:chExt cx="2807368" cy="753891"/>
          </a:xfrm>
        </p:grpSpPr>
        <p:sp>
          <p:nvSpPr>
            <p:cNvPr id="11132" name="Google Shape;11132;p152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133" name="Google Shape;11133;p152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1134" name="Google Shape;11134;p1523"/>
          <p:cNvSpPr>
            <a:spLocks noGrp="1"/>
          </p:cNvSpPr>
          <p:nvPr>
            <p:ph type="pic" idx="2"/>
          </p:nvPr>
        </p:nvSpPr>
        <p:spPr>
          <a:xfrm>
            <a:off x="2807368" y="457202"/>
            <a:ext cx="8915400" cy="5943598"/>
          </a:xfrm>
          <a:prstGeom prst="rect">
            <a:avLst/>
          </a:prstGeom>
          <a:noFill/>
          <a:ln>
            <a:noFill/>
          </a:ln>
        </p:spPr>
      </p:sp>
      <p:pic>
        <p:nvPicPr>
          <p:cNvPr id="11135" name="Google Shape;11135;p152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9136"/>
        <p:cNvGrpSpPr/>
        <p:nvPr/>
      </p:nvGrpSpPr>
      <p:grpSpPr>
        <a:xfrm>
          <a:off x="0" y="0"/>
          <a:ext cx="0" cy="0"/>
          <a:chOff x="0" y="0"/>
          <a:chExt cx="0" cy="0"/>
        </a:xfrm>
      </p:grpSpPr>
      <p:sp>
        <p:nvSpPr>
          <p:cNvPr id="9137" name="Google Shape;9137;p132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138" name="Google Shape;9138;p132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139" name="Google Shape;9139;p1328"/>
          <p:cNvGrpSpPr/>
          <p:nvPr/>
        </p:nvGrpSpPr>
        <p:grpSpPr>
          <a:xfrm>
            <a:off x="0" y="5379426"/>
            <a:ext cx="2807368" cy="753891"/>
            <a:chOff x="0" y="5379426"/>
            <a:chExt cx="2807368" cy="753891"/>
          </a:xfrm>
        </p:grpSpPr>
        <p:sp>
          <p:nvSpPr>
            <p:cNvPr id="9140" name="Google Shape;9140;p132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41" name="Google Shape;9141;p132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142" name="Google Shape;9142;p1328"/>
          <p:cNvSpPr>
            <a:spLocks noGrp="1"/>
          </p:cNvSpPr>
          <p:nvPr>
            <p:ph type="pic" idx="2"/>
          </p:nvPr>
        </p:nvSpPr>
        <p:spPr>
          <a:xfrm>
            <a:off x="2807368" y="457202"/>
            <a:ext cx="8915400" cy="5943598"/>
          </a:xfrm>
          <a:prstGeom prst="rect">
            <a:avLst/>
          </a:prstGeom>
          <a:noFill/>
          <a:ln>
            <a:noFill/>
          </a:ln>
        </p:spPr>
      </p:sp>
      <p:pic>
        <p:nvPicPr>
          <p:cNvPr id="9143" name="Google Shape;9143;p132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matchingName="Quotation">
  <p:cSld name="Quotation 17">
    <p:spTree>
      <p:nvGrpSpPr>
        <p:cNvPr id="1" name="Shape 11136"/>
        <p:cNvGrpSpPr/>
        <p:nvPr/>
      </p:nvGrpSpPr>
      <p:grpSpPr>
        <a:xfrm>
          <a:off x="0" y="0"/>
          <a:ext cx="0" cy="0"/>
          <a:chOff x="0" y="0"/>
          <a:chExt cx="0" cy="0"/>
        </a:xfrm>
      </p:grpSpPr>
      <p:sp>
        <p:nvSpPr>
          <p:cNvPr id="11137" name="Google Shape;11137;p152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138" name="Google Shape;11138;p152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139" name="Google Shape;11139;p15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40" name="Google Shape;11140;p15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141" name="Google Shape;11141;p15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42" name="Google Shape;11142;p15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143" name="Google Shape;11143;p1524"/>
          <p:cNvGrpSpPr/>
          <p:nvPr/>
        </p:nvGrpSpPr>
        <p:grpSpPr>
          <a:xfrm>
            <a:off x="7191542" y="1"/>
            <a:ext cx="5000459" cy="1425992"/>
            <a:chOff x="7191542" y="1"/>
            <a:chExt cx="5000459" cy="1425992"/>
          </a:xfrm>
        </p:grpSpPr>
        <p:pic>
          <p:nvPicPr>
            <p:cNvPr id="11144" name="Google Shape;11144;p15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145" name="Google Shape;11145;p1524"/>
            <p:cNvGrpSpPr/>
            <p:nvPr/>
          </p:nvGrpSpPr>
          <p:grpSpPr>
            <a:xfrm>
              <a:off x="7191542" y="1"/>
              <a:ext cx="5000459" cy="1425992"/>
              <a:chOff x="7186272" y="0"/>
              <a:chExt cx="5005729" cy="1427495"/>
            </a:xfrm>
          </p:grpSpPr>
          <p:sp>
            <p:nvSpPr>
              <p:cNvPr id="11146" name="Google Shape;11146;p15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147" name="Google Shape;11147;p15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148" name="Google Shape;11148;p152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matchingName="Quotation">
  <p:cSld name="Quotation 17 2">
    <p:spTree>
      <p:nvGrpSpPr>
        <p:cNvPr id="1" name="Shape 11149"/>
        <p:cNvGrpSpPr/>
        <p:nvPr/>
      </p:nvGrpSpPr>
      <p:grpSpPr>
        <a:xfrm>
          <a:off x="0" y="0"/>
          <a:ext cx="0" cy="0"/>
          <a:chOff x="0" y="0"/>
          <a:chExt cx="0" cy="0"/>
        </a:xfrm>
      </p:grpSpPr>
      <p:sp>
        <p:nvSpPr>
          <p:cNvPr id="11150" name="Google Shape;11150;p152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151" name="Google Shape;11151;p152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152" name="Google Shape;11152;p152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53" name="Google Shape;11153;p15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154" name="Google Shape;11154;p15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55" name="Google Shape;11155;p15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156" name="Google Shape;11156;p1525"/>
          <p:cNvGrpSpPr/>
          <p:nvPr/>
        </p:nvGrpSpPr>
        <p:grpSpPr>
          <a:xfrm>
            <a:off x="7191542" y="1"/>
            <a:ext cx="5000459" cy="1425992"/>
            <a:chOff x="7191542" y="1"/>
            <a:chExt cx="5000459" cy="1425992"/>
          </a:xfrm>
        </p:grpSpPr>
        <p:pic>
          <p:nvPicPr>
            <p:cNvPr id="11157" name="Google Shape;11157;p15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158" name="Google Shape;11158;p1525"/>
            <p:cNvGrpSpPr/>
            <p:nvPr/>
          </p:nvGrpSpPr>
          <p:grpSpPr>
            <a:xfrm>
              <a:off x="7191542" y="1"/>
              <a:ext cx="5000459" cy="1425992"/>
              <a:chOff x="7186272" y="0"/>
              <a:chExt cx="5005729" cy="1427495"/>
            </a:xfrm>
          </p:grpSpPr>
          <p:sp>
            <p:nvSpPr>
              <p:cNvPr id="11159" name="Google Shape;11159;p15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160" name="Google Shape;11160;p15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161" name="Google Shape;11161;p152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matchingName="Title and Content">
  <p:cSld name="Title and Content 14">
    <p:spTree>
      <p:nvGrpSpPr>
        <p:cNvPr id="1" name="Shape 11162"/>
        <p:cNvGrpSpPr/>
        <p:nvPr/>
      </p:nvGrpSpPr>
      <p:grpSpPr>
        <a:xfrm>
          <a:off x="0" y="0"/>
          <a:ext cx="0" cy="0"/>
          <a:chOff x="0" y="0"/>
          <a:chExt cx="0" cy="0"/>
        </a:xfrm>
      </p:grpSpPr>
      <p:grpSp>
        <p:nvGrpSpPr>
          <p:cNvPr id="11163" name="Google Shape;11163;p1526"/>
          <p:cNvGrpSpPr/>
          <p:nvPr/>
        </p:nvGrpSpPr>
        <p:grpSpPr>
          <a:xfrm>
            <a:off x="7191542" y="1"/>
            <a:ext cx="5000459" cy="1425992"/>
            <a:chOff x="7191542" y="1"/>
            <a:chExt cx="5000459" cy="1425992"/>
          </a:xfrm>
        </p:grpSpPr>
        <p:pic>
          <p:nvPicPr>
            <p:cNvPr id="11164" name="Google Shape;11164;p15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165" name="Google Shape;11165;p1526"/>
            <p:cNvGrpSpPr/>
            <p:nvPr/>
          </p:nvGrpSpPr>
          <p:grpSpPr>
            <a:xfrm>
              <a:off x="7191542" y="1"/>
              <a:ext cx="5000459" cy="1425992"/>
              <a:chOff x="7186272" y="0"/>
              <a:chExt cx="5005729" cy="1427495"/>
            </a:xfrm>
          </p:grpSpPr>
          <p:sp>
            <p:nvSpPr>
              <p:cNvPr id="11166" name="Google Shape;11166;p15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167" name="Google Shape;11167;p15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168" name="Google Shape;11168;p15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169" name="Google Shape;11169;p152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70" name="Google Shape;11170;p15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171" name="Google Shape;11171;p15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72" name="Google Shape;11172;p15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matchingName="Two Content">
  <p:cSld name="Two Content 11">
    <p:spTree>
      <p:nvGrpSpPr>
        <p:cNvPr id="1" name="Shape 11173"/>
        <p:cNvGrpSpPr/>
        <p:nvPr/>
      </p:nvGrpSpPr>
      <p:grpSpPr>
        <a:xfrm>
          <a:off x="0" y="0"/>
          <a:ext cx="0" cy="0"/>
          <a:chOff x="0" y="0"/>
          <a:chExt cx="0" cy="0"/>
        </a:xfrm>
      </p:grpSpPr>
      <p:sp>
        <p:nvSpPr>
          <p:cNvPr id="11174" name="Google Shape;11174;p152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175" name="Google Shape;11175;p152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176" name="Google Shape;11176;p1527"/>
          <p:cNvGrpSpPr/>
          <p:nvPr/>
        </p:nvGrpSpPr>
        <p:grpSpPr>
          <a:xfrm>
            <a:off x="7191542" y="1"/>
            <a:ext cx="5000459" cy="1425992"/>
            <a:chOff x="7191542" y="1"/>
            <a:chExt cx="5000459" cy="1425992"/>
          </a:xfrm>
        </p:grpSpPr>
        <p:pic>
          <p:nvPicPr>
            <p:cNvPr id="11177" name="Google Shape;11177;p15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178" name="Google Shape;11178;p1527"/>
            <p:cNvGrpSpPr/>
            <p:nvPr/>
          </p:nvGrpSpPr>
          <p:grpSpPr>
            <a:xfrm>
              <a:off x="7191542" y="1"/>
              <a:ext cx="5000459" cy="1425992"/>
              <a:chOff x="7186272" y="0"/>
              <a:chExt cx="5005729" cy="1427495"/>
            </a:xfrm>
          </p:grpSpPr>
          <p:sp>
            <p:nvSpPr>
              <p:cNvPr id="11179" name="Google Shape;11179;p15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180" name="Google Shape;11180;p15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181" name="Google Shape;11181;p152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82" name="Google Shape;11182;p152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183" name="Google Shape;11183;p15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84" name="Google Shape;11184;p15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matchingName="Comparison">
  <p:cSld name="Comparison 10">
    <p:spTree>
      <p:nvGrpSpPr>
        <p:cNvPr id="1" name="Shape 11185"/>
        <p:cNvGrpSpPr/>
        <p:nvPr/>
      </p:nvGrpSpPr>
      <p:grpSpPr>
        <a:xfrm>
          <a:off x="0" y="0"/>
          <a:ext cx="0" cy="0"/>
          <a:chOff x="0" y="0"/>
          <a:chExt cx="0" cy="0"/>
        </a:xfrm>
      </p:grpSpPr>
      <p:grpSp>
        <p:nvGrpSpPr>
          <p:cNvPr id="11186" name="Google Shape;11186;p1528"/>
          <p:cNvGrpSpPr/>
          <p:nvPr/>
        </p:nvGrpSpPr>
        <p:grpSpPr>
          <a:xfrm>
            <a:off x="7191542" y="1"/>
            <a:ext cx="5000459" cy="1425992"/>
            <a:chOff x="7191542" y="1"/>
            <a:chExt cx="5000459" cy="1425992"/>
          </a:xfrm>
        </p:grpSpPr>
        <p:pic>
          <p:nvPicPr>
            <p:cNvPr id="11187" name="Google Shape;11187;p15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188" name="Google Shape;11188;p1528"/>
            <p:cNvGrpSpPr/>
            <p:nvPr/>
          </p:nvGrpSpPr>
          <p:grpSpPr>
            <a:xfrm>
              <a:off x="7191542" y="1"/>
              <a:ext cx="5000459" cy="1425992"/>
              <a:chOff x="7186272" y="0"/>
              <a:chExt cx="5005729" cy="1427495"/>
            </a:xfrm>
          </p:grpSpPr>
          <p:sp>
            <p:nvSpPr>
              <p:cNvPr id="11189" name="Google Shape;11189;p15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190" name="Google Shape;11190;p15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191" name="Google Shape;11191;p152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192" name="Google Shape;11192;p152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193" name="Google Shape;11193;p152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94" name="Google Shape;11194;p152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195" name="Google Shape;11195;p152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96" name="Google Shape;11196;p15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197" name="Google Shape;11197;p15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98" name="Google Shape;11198;p15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matchingName="Title Only">
  <p:cSld name="Title Only 10">
    <p:spTree>
      <p:nvGrpSpPr>
        <p:cNvPr id="1" name="Shape 11199"/>
        <p:cNvGrpSpPr/>
        <p:nvPr/>
      </p:nvGrpSpPr>
      <p:grpSpPr>
        <a:xfrm>
          <a:off x="0" y="0"/>
          <a:ext cx="0" cy="0"/>
          <a:chOff x="0" y="0"/>
          <a:chExt cx="0" cy="0"/>
        </a:xfrm>
      </p:grpSpPr>
      <p:grpSp>
        <p:nvGrpSpPr>
          <p:cNvPr id="11200" name="Google Shape;11200;p1529"/>
          <p:cNvGrpSpPr/>
          <p:nvPr/>
        </p:nvGrpSpPr>
        <p:grpSpPr>
          <a:xfrm>
            <a:off x="7191542" y="1"/>
            <a:ext cx="5000459" cy="1425992"/>
            <a:chOff x="7191542" y="1"/>
            <a:chExt cx="5000459" cy="1425992"/>
          </a:xfrm>
        </p:grpSpPr>
        <p:pic>
          <p:nvPicPr>
            <p:cNvPr id="11201" name="Google Shape;11201;p15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202" name="Google Shape;11202;p1529"/>
            <p:cNvGrpSpPr/>
            <p:nvPr/>
          </p:nvGrpSpPr>
          <p:grpSpPr>
            <a:xfrm>
              <a:off x="7191542" y="1"/>
              <a:ext cx="5000459" cy="1425992"/>
              <a:chOff x="7186272" y="0"/>
              <a:chExt cx="5005729" cy="1427495"/>
            </a:xfrm>
          </p:grpSpPr>
          <p:sp>
            <p:nvSpPr>
              <p:cNvPr id="11203" name="Google Shape;11203;p15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204" name="Google Shape;11204;p15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205" name="Google Shape;11205;p152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06" name="Google Shape;11206;p15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207" name="Google Shape;11207;p15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208" name="Google Shape;11208;p15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matchingName="End">
  <p:cSld name="End 11">
    <p:spTree>
      <p:nvGrpSpPr>
        <p:cNvPr id="1" name="Shape 11209"/>
        <p:cNvGrpSpPr/>
        <p:nvPr/>
      </p:nvGrpSpPr>
      <p:grpSpPr>
        <a:xfrm>
          <a:off x="0" y="0"/>
          <a:ext cx="0" cy="0"/>
          <a:chOff x="0" y="0"/>
          <a:chExt cx="0" cy="0"/>
        </a:xfrm>
      </p:grpSpPr>
      <p:grpSp>
        <p:nvGrpSpPr>
          <p:cNvPr id="11210" name="Google Shape;11210;p1530"/>
          <p:cNvGrpSpPr/>
          <p:nvPr/>
        </p:nvGrpSpPr>
        <p:grpSpPr>
          <a:xfrm>
            <a:off x="0" y="0"/>
            <a:ext cx="12192000" cy="2148830"/>
            <a:chOff x="0" y="0"/>
            <a:chExt cx="12192000" cy="2148830"/>
          </a:xfrm>
        </p:grpSpPr>
        <p:sp>
          <p:nvSpPr>
            <p:cNvPr id="11211" name="Google Shape;11211;p153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212" name="Google Shape;11212;p153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1213" name="Google Shape;11213;p153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214" name="Google Shape;11214;p153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15" name="Google Shape;11215;p153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1216" name="Google Shape;11216;p153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1217" name="Google Shape;11217;p153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matchingName="Blank">
  <p:cSld name="Blank 9">
    <p:spTree>
      <p:nvGrpSpPr>
        <p:cNvPr id="1" name="Shape 11218"/>
        <p:cNvGrpSpPr/>
        <p:nvPr/>
      </p:nvGrpSpPr>
      <p:grpSpPr>
        <a:xfrm>
          <a:off x="0" y="0"/>
          <a:ext cx="0" cy="0"/>
          <a:chOff x="0" y="0"/>
          <a:chExt cx="0" cy="0"/>
        </a:xfrm>
      </p:grpSpPr>
      <p:sp>
        <p:nvSpPr>
          <p:cNvPr id="11219" name="Google Shape;11219;p15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220" name="Google Shape;11220;p15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221" name="Google Shape;11221;p15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222" name="Google Shape;11222;p1531"/>
          <p:cNvGrpSpPr/>
          <p:nvPr/>
        </p:nvGrpSpPr>
        <p:grpSpPr>
          <a:xfrm>
            <a:off x="7191542" y="1"/>
            <a:ext cx="5000459" cy="1425992"/>
            <a:chOff x="7191542" y="1"/>
            <a:chExt cx="5000459" cy="1425992"/>
          </a:xfrm>
        </p:grpSpPr>
        <p:pic>
          <p:nvPicPr>
            <p:cNvPr id="11223" name="Google Shape;11223;p15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224" name="Google Shape;11224;p1531"/>
            <p:cNvGrpSpPr/>
            <p:nvPr/>
          </p:nvGrpSpPr>
          <p:grpSpPr>
            <a:xfrm>
              <a:off x="7191542" y="1"/>
              <a:ext cx="5000459" cy="1425992"/>
              <a:chOff x="7186272" y="0"/>
              <a:chExt cx="5005729" cy="1427495"/>
            </a:xfrm>
          </p:grpSpPr>
          <p:sp>
            <p:nvSpPr>
              <p:cNvPr id="11225" name="Google Shape;11225;p15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226" name="Google Shape;11226;p15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matchingName="1_Title Slide">
  <p:cSld name="1_Title Slide">
    <p:spTree>
      <p:nvGrpSpPr>
        <p:cNvPr id="1" name="Shape 11227"/>
        <p:cNvGrpSpPr/>
        <p:nvPr/>
      </p:nvGrpSpPr>
      <p:grpSpPr>
        <a:xfrm>
          <a:off x="0" y="0"/>
          <a:ext cx="0" cy="0"/>
          <a:chOff x="0" y="0"/>
          <a:chExt cx="0" cy="0"/>
        </a:xfrm>
      </p:grpSpPr>
      <p:sp>
        <p:nvSpPr>
          <p:cNvPr id="11228" name="Google Shape;11228;p1532"/>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1229" name="Google Shape;11229;p1532"/>
          <p:cNvPicPr preferRelativeResize="0"/>
          <p:nvPr/>
        </p:nvPicPr>
        <p:blipFill rotWithShape="1">
          <a:blip r:embed="rId2">
            <a:alphaModFix/>
          </a:blip>
          <a:srcRect/>
          <a:stretch/>
        </p:blipFill>
        <p:spPr>
          <a:xfrm>
            <a:off x="7945967" y="408518"/>
            <a:ext cx="3706284" cy="1813983"/>
          </a:xfrm>
          <a:prstGeom prst="rect">
            <a:avLst/>
          </a:prstGeom>
          <a:noFill/>
          <a:ln>
            <a:noFill/>
          </a:ln>
        </p:spPr>
      </p:pic>
      <p:grpSp>
        <p:nvGrpSpPr>
          <p:cNvPr id="11230" name="Google Shape;11230;p1532"/>
          <p:cNvGrpSpPr/>
          <p:nvPr/>
        </p:nvGrpSpPr>
        <p:grpSpPr>
          <a:xfrm>
            <a:off x="0" y="0"/>
            <a:ext cx="1862667" cy="6629400"/>
            <a:chOff x="-15876" y="0"/>
            <a:chExt cx="1927803" cy="6858000"/>
          </a:xfrm>
        </p:grpSpPr>
        <p:sp>
          <p:nvSpPr>
            <p:cNvPr id="11231" name="Google Shape;11231;p1532"/>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1232" name="Google Shape;11232;p1532"/>
            <p:cNvPicPr preferRelativeResize="0"/>
            <p:nvPr/>
          </p:nvPicPr>
          <p:blipFill rotWithShape="1">
            <a:blip r:embed="rId3">
              <a:alphaModFix/>
            </a:blip>
            <a:srcRect/>
            <a:stretch/>
          </p:blipFill>
          <p:spPr>
            <a:xfrm>
              <a:off x="-15876" y="0"/>
              <a:ext cx="1927803" cy="6858000"/>
            </a:xfrm>
            <a:prstGeom prst="rect">
              <a:avLst/>
            </a:prstGeom>
            <a:solidFill>
              <a:schemeClr val="dk2"/>
            </a:solidFill>
            <a:ln>
              <a:noFill/>
            </a:ln>
          </p:spPr>
        </p:pic>
      </p:grpSp>
      <p:sp>
        <p:nvSpPr>
          <p:cNvPr id="11233" name="Google Shape;11233;p1532"/>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1234" name="Google Shape;11234;p1532"/>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35" name="Google Shape;11235;p1532"/>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36" name="Google Shape;11236;p1532"/>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matchingName="1_Title Slide">
  <p:cSld name="1_Title Slide 2">
    <p:spTree>
      <p:nvGrpSpPr>
        <p:cNvPr id="1" name="Shape 11237"/>
        <p:cNvGrpSpPr/>
        <p:nvPr/>
      </p:nvGrpSpPr>
      <p:grpSpPr>
        <a:xfrm>
          <a:off x="0" y="0"/>
          <a:ext cx="0" cy="0"/>
          <a:chOff x="0" y="0"/>
          <a:chExt cx="0" cy="0"/>
        </a:xfrm>
      </p:grpSpPr>
      <p:sp>
        <p:nvSpPr>
          <p:cNvPr id="11238" name="Google Shape;11238;p1533"/>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1239" name="Google Shape;11239;p1533"/>
          <p:cNvPicPr preferRelativeResize="0"/>
          <p:nvPr/>
        </p:nvPicPr>
        <p:blipFill rotWithShape="1">
          <a:blip r:embed="rId2">
            <a:alphaModFix/>
          </a:blip>
          <a:srcRect/>
          <a:stretch/>
        </p:blipFill>
        <p:spPr>
          <a:xfrm>
            <a:off x="7945967" y="408518"/>
            <a:ext cx="3706284" cy="1813983"/>
          </a:xfrm>
          <a:prstGeom prst="rect">
            <a:avLst/>
          </a:prstGeom>
          <a:noFill/>
          <a:ln>
            <a:noFill/>
          </a:ln>
        </p:spPr>
      </p:pic>
      <p:grpSp>
        <p:nvGrpSpPr>
          <p:cNvPr id="11240" name="Google Shape;11240;p1533"/>
          <p:cNvGrpSpPr/>
          <p:nvPr/>
        </p:nvGrpSpPr>
        <p:grpSpPr>
          <a:xfrm>
            <a:off x="0" y="0"/>
            <a:ext cx="1862667" cy="6629400"/>
            <a:chOff x="-15876" y="0"/>
            <a:chExt cx="1927803" cy="6858000"/>
          </a:xfrm>
        </p:grpSpPr>
        <p:sp>
          <p:nvSpPr>
            <p:cNvPr id="11241" name="Google Shape;11241;p1533"/>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1242" name="Google Shape;11242;p1533"/>
            <p:cNvPicPr preferRelativeResize="0"/>
            <p:nvPr/>
          </p:nvPicPr>
          <p:blipFill rotWithShape="1">
            <a:blip r:embed="rId3">
              <a:alphaModFix/>
            </a:blip>
            <a:srcRect/>
            <a:stretch/>
          </p:blipFill>
          <p:spPr>
            <a:xfrm>
              <a:off x="-15876" y="0"/>
              <a:ext cx="1927803" cy="6858000"/>
            </a:xfrm>
            <a:prstGeom prst="rect">
              <a:avLst/>
            </a:prstGeom>
            <a:solidFill>
              <a:schemeClr val="dk2"/>
            </a:solidFill>
            <a:ln>
              <a:noFill/>
            </a:ln>
          </p:spPr>
        </p:pic>
      </p:grpSp>
      <p:sp>
        <p:nvSpPr>
          <p:cNvPr id="11243" name="Google Shape;11243;p1533"/>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1244" name="Google Shape;11244;p1533"/>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45" name="Google Shape;11245;p1533"/>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46" name="Google Shape;11246;p1533"/>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itle and Content">
  <p:cSld name="Title and Content 4">
    <p:spTree>
      <p:nvGrpSpPr>
        <p:cNvPr id="1" name="Shape 9144"/>
        <p:cNvGrpSpPr/>
        <p:nvPr/>
      </p:nvGrpSpPr>
      <p:grpSpPr>
        <a:xfrm>
          <a:off x="0" y="0"/>
          <a:ext cx="0" cy="0"/>
          <a:chOff x="0" y="0"/>
          <a:chExt cx="0" cy="0"/>
        </a:xfrm>
      </p:grpSpPr>
      <p:grpSp>
        <p:nvGrpSpPr>
          <p:cNvPr id="9145" name="Google Shape;9145;p1329"/>
          <p:cNvGrpSpPr/>
          <p:nvPr/>
        </p:nvGrpSpPr>
        <p:grpSpPr>
          <a:xfrm>
            <a:off x="7191542" y="1"/>
            <a:ext cx="5000459" cy="1425992"/>
            <a:chOff x="7191542" y="1"/>
            <a:chExt cx="5000459" cy="1425992"/>
          </a:xfrm>
        </p:grpSpPr>
        <p:pic>
          <p:nvPicPr>
            <p:cNvPr id="9146" name="Google Shape;9146;p13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147" name="Google Shape;9147;p1329"/>
            <p:cNvGrpSpPr/>
            <p:nvPr/>
          </p:nvGrpSpPr>
          <p:grpSpPr>
            <a:xfrm>
              <a:off x="7191542" y="1"/>
              <a:ext cx="5000459" cy="1425992"/>
              <a:chOff x="7186272" y="0"/>
              <a:chExt cx="5005729" cy="1427495"/>
            </a:xfrm>
          </p:grpSpPr>
          <p:sp>
            <p:nvSpPr>
              <p:cNvPr id="9148" name="Google Shape;9148;p13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149" name="Google Shape;9149;p13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150" name="Google Shape;9150;p132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51" name="Google Shape;9151;p132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52" name="Google Shape;9152;p13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153" name="Google Shape;9153;p13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54" name="Google Shape;9154;p13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matchingName="1_Title Slide">
  <p:cSld name="1_Title Slide 3">
    <p:spTree>
      <p:nvGrpSpPr>
        <p:cNvPr id="1" name="Shape 11247"/>
        <p:cNvGrpSpPr/>
        <p:nvPr/>
      </p:nvGrpSpPr>
      <p:grpSpPr>
        <a:xfrm>
          <a:off x="0" y="0"/>
          <a:ext cx="0" cy="0"/>
          <a:chOff x="0" y="0"/>
          <a:chExt cx="0" cy="0"/>
        </a:xfrm>
      </p:grpSpPr>
      <p:sp>
        <p:nvSpPr>
          <p:cNvPr id="11248" name="Google Shape;11248;p1534"/>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1249" name="Google Shape;11249;p1534"/>
          <p:cNvPicPr preferRelativeResize="0"/>
          <p:nvPr/>
        </p:nvPicPr>
        <p:blipFill rotWithShape="1">
          <a:blip r:embed="rId2">
            <a:alphaModFix/>
          </a:blip>
          <a:srcRect/>
          <a:stretch/>
        </p:blipFill>
        <p:spPr>
          <a:xfrm>
            <a:off x="7945967" y="408518"/>
            <a:ext cx="3706284" cy="1813983"/>
          </a:xfrm>
          <a:prstGeom prst="rect">
            <a:avLst/>
          </a:prstGeom>
          <a:noFill/>
          <a:ln>
            <a:noFill/>
          </a:ln>
        </p:spPr>
      </p:pic>
      <p:grpSp>
        <p:nvGrpSpPr>
          <p:cNvPr id="11250" name="Google Shape;11250;p1534"/>
          <p:cNvGrpSpPr/>
          <p:nvPr/>
        </p:nvGrpSpPr>
        <p:grpSpPr>
          <a:xfrm>
            <a:off x="0" y="0"/>
            <a:ext cx="1862667" cy="6629400"/>
            <a:chOff x="-15876" y="0"/>
            <a:chExt cx="1927803" cy="6858000"/>
          </a:xfrm>
        </p:grpSpPr>
        <p:sp>
          <p:nvSpPr>
            <p:cNvPr id="11251" name="Google Shape;11251;p1534"/>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1252" name="Google Shape;11252;p1534"/>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1253" name="Google Shape;11253;p1534"/>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1254" name="Google Shape;11254;p1534"/>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55" name="Google Shape;11255;p1534"/>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56" name="Google Shape;11256;p1534"/>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matchingName="Table of Content">
  <p:cSld name="Table of Content">
    <p:spTree>
      <p:nvGrpSpPr>
        <p:cNvPr id="1" name="Shape 11257"/>
        <p:cNvGrpSpPr/>
        <p:nvPr/>
      </p:nvGrpSpPr>
      <p:grpSpPr>
        <a:xfrm>
          <a:off x="0" y="0"/>
          <a:ext cx="0" cy="0"/>
          <a:chOff x="0" y="0"/>
          <a:chExt cx="0" cy="0"/>
        </a:xfrm>
      </p:grpSpPr>
      <p:sp>
        <p:nvSpPr>
          <p:cNvPr id="11258" name="Google Shape;11258;p1535"/>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1259" name="Google Shape;11259;p1535"/>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60" name="Google Shape;11260;p1535"/>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61" name="Google Shape;11261;p1535"/>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62" name="Google Shape;11262;p15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1263" name="Google Shape;11263;p1535"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8">
    <p:spTree>
      <p:nvGrpSpPr>
        <p:cNvPr id="1" name="Shape 11264"/>
        <p:cNvGrpSpPr/>
        <p:nvPr/>
      </p:nvGrpSpPr>
      <p:grpSpPr>
        <a:xfrm>
          <a:off x="0" y="0"/>
          <a:ext cx="0" cy="0"/>
          <a:chOff x="0" y="0"/>
          <a:chExt cx="0" cy="0"/>
        </a:xfrm>
      </p:grpSpPr>
      <p:sp>
        <p:nvSpPr>
          <p:cNvPr id="11265" name="Google Shape;11265;p153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66" name="Google Shape;11266;p153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67" name="Google Shape;11267;p153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1268" name="Google Shape;11268;p15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69" name="Google Shape;11269;p15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1270" name="Google Shape;11270;p153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1271" name="Google Shape;11271;p153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1272" name="Google Shape;11272;p153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273" name="Google Shape;11273;p1536"/>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matchingName="1_Title Slide">
  <p:cSld name="1_Title Slide 2 2">
    <p:spTree>
      <p:nvGrpSpPr>
        <p:cNvPr id="1" name="Shape 11274"/>
        <p:cNvGrpSpPr/>
        <p:nvPr/>
      </p:nvGrpSpPr>
      <p:grpSpPr>
        <a:xfrm>
          <a:off x="0" y="0"/>
          <a:ext cx="0" cy="0"/>
          <a:chOff x="0" y="0"/>
          <a:chExt cx="0" cy="0"/>
        </a:xfrm>
      </p:grpSpPr>
      <p:sp>
        <p:nvSpPr>
          <p:cNvPr id="11275" name="Google Shape;11275;p1537"/>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1276" name="Google Shape;11276;p1537"/>
          <p:cNvPicPr preferRelativeResize="0"/>
          <p:nvPr/>
        </p:nvPicPr>
        <p:blipFill rotWithShape="1">
          <a:blip r:embed="rId2">
            <a:alphaModFix/>
          </a:blip>
          <a:srcRect/>
          <a:stretch/>
        </p:blipFill>
        <p:spPr>
          <a:xfrm>
            <a:off x="7945967" y="408518"/>
            <a:ext cx="3706284" cy="1813983"/>
          </a:xfrm>
          <a:prstGeom prst="rect">
            <a:avLst/>
          </a:prstGeom>
          <a:noFill/>
          <a:ln>
            <a:noFill/>
          </a:ln>
        </p:spPr>
      </p:pic>
      <p:grpSp>
        <p:nvGrpSpPr>
          <p:cNvPr id="11277" name="Google Shape;11277;p1537"/>
          <p:cNvGrpSpPr/>
          <p:nvPr/>
        </p:nvGrpSpPr>
        <p:grpSpPr>
          <a:xfrm>
            <a:off x="0" y="0"/>
            <a:ext cx="1862667" cy="6629400"/>
            <a:chOff x="-15876" y="0"/>
            <a:chExt cx="1927803" cy="6858000"/>
          </a:xfrm>
        </p:grpSpPr>
        <p:sp>
          <p:nvSpPr>
            <p:cNvPr id="11278" name="Google Shape;11278;p1537"/>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1279" name="Google Shape;11279;p1537"/>
            <p:cNvPicPr preferRelativeResize="0"/>
            <p:nvPr/>
          </p:nvPicPr>
          <p:blipFill rotWithShape="1">
            <a:blip r:embed="rId3">
              <a:alphaModFix/>
            </a:blip>
            <a:srcRect/>
            <a:stretch/>
          </p:blipFill>
          <p:spPr>
            <a:xfrm>
              <a:off x="-15876" y="0"/>
              <a:ext cx="1927803" cy="6858000"/>
            </a:xfrm>
            <a:prstGeom prst="rect">
              <a:avLst/>
            </a:prstGeom>
            <a:solidFill>
              <a:schemeClr val="dk2"/>
            </a:solidFill>
            <a:ln>
              <a:noFill/>
            </a:ln>
          </p:spPr>
        </p:pic>
      </p:grpSp>
      <p:sp>
        <p:nvSpPr>
          <p:cNvPr id="11280" name="Google Shape;11280;p1537"/>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1281" name="Google Shape;11281;p1537"/>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82" name="Google Shape;11282;p1537"/>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83" name="Google Shape;11283;p1537"/>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matchingName="Table of Content">
  <p:cSld name="Table of Content 2">
    <p:spTree>
      <p:nvGrpSpPr>
        <p:cNvPr id="1" name="Shape 11284"/>
        <p:cNvGrpSpPr/>
        <p:nvPr/>
      </p:nvGrpSpPr>
      <p:grpSpPr>
        <a:xfrm>
          <a:off x="0" y="0"/>
          <a:ext cx="0" cy="0"/>
          <a:chOff x="0" y="0"/>
          <a:chExt cx="0" cy="0"/>
        </a:xfrm>
      </p:grpSpPr>
      <p:sp>
        <p:nvSpPr>
          <p:cNvPr id="11285" name="Google Shape;11285;p1538"/>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1286" name="Google Shape;11286;p1538"/>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87" name="Google Shape;11287;p1538"/>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88" name="Google Shape;11288;p1538"/>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89" name="Google Shape;11289;p15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1290" name="Google Shape;11290;p1538"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9">
    <p:spTree>
      <p:nvGrpSpPr>
        <p:cNvPr id="1" name="Shape 11291"/>
        <p:cNvGrpSpPr/>
        <p:nvPr/>
      </p:nvGrpSpPr>
      <p:grpSpPr>
        <a:xfrm>
          <a:off x="0" y="0"/>
          <a:ext cx="0" cy="0"/>
          <a:chOff x="0" y="0"/>
          <a:chExt cx="0" cy="0"/>
        </a:xfrm>
      </p:grpSpPr>
      <p:sp>
        <p:nvSpPr>
          <p:cNvPr id="11292" name="Google Shape;11292;p153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93" name="Google Shape;11293;p153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94" name="Google Shape;11294;p153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1295" name="Google Shape;11295;p15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96" name="Google Shape;11296;p15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1297" name="Google Shape;11297;p153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1298" name="Google Shape;11298;p153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1299" name="Google Shape;11299;p153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300" name="Google Shape;11300;p1539"/>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7">
    <p:spTree>
      <p:nvGrpSpPr>
        <p:cNvPr id="1" name="Shape 11301"/>
        <p:cNvGrpSpPr/>
        <p:nvPr/>
      </p:nvGrpSpPr>
      <p:grpSpPr>
        <a:xfrm>
          <a:off x="0" y="0"/>
          <a:ext cx="0" cy="0"/>
          <a:chOff x="0" y="0"/>
          <a:chExt cx="0" cy="0"/>
        </a:xfrm>
      </p:grpSpPr>
      <p:sp>
        <p:nvSpPr>
          <p:cNvPr id="11302" name="Google Shape;11302;p1540"/>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03" name="Google Shape;11303;p154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1304" name="Google Shape;11304;p154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1305" name="Google Shape;11305;p1540"/>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306" name="Google Shape;11306;p154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matchingName="1_Title and Content">
  <p:cSld name="1_Title and Content 7">
    <p:spTree>
      <p:nvGrpSpPr>
        <p:cNvPr id="1" name="Shape 11307"/>
        <p:cNvGrpSpPr/>
        <p:nvPr/>
      </p:nvGrpSpPr>
      <p:grpSpPr>
        <a:xfrm>
          <a:off x="0" y="0"/>
          <a:ext cx="0" cy="0"/>
          <a:chOff x="0" y="0"/>
          <a:chExt cx="0" cy="0"/>
        </a:xfrm>
      </p:grpSpPr>
      <p:sp>
        <p:nvSpPr>
          <p:cNvPr id="11308" name="Google Shape;11308;p154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1309" name="Google Shape;11309;p15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1310" name="Google Shape;11310;p154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1311" name="Google Shape;11311;p1541"/>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12" name="Google Shape;11312;p1541"/>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7">
    <p:spTree>
      <p:nvGrpSpPr>
        <p:cNvPr id="1" name="Shape 11313"/>
        <p:cNvGrpSpPr/>
        <p:nvPr/>
      </p:nvGrpSpPr>
      <p:grpSpPr>
        <a:xfrm>
          <a:off x="0" y="0"/>
          <a:ext cx="0" cy="0"/>
          <a:chOff x="0" y="0"/>
          <a:chExt cx="0" cy="0"/>
        </a:xfrm>
      </p:grpSpPr>
      <p:sp>
        <p:nvSpPr>
          <p:cNvPr id="11314" name="Google Shape;11314;p154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1315" name="Google Shape;11315;p154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1316" name="Google Shape;11316;p1542"/>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17" name="Google Shape;11317;p1542"/>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18" name="Google Shape;11318;p1542"/>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1319" name="Google Shape;11319;p154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matchingName="1_Title Slide">
  <p:cSld name="1_Title Slide 2 3">
    <p:spTree>
      <p:nvGrpSpPr>
        <p:cNvPr id="1" name="Shape 11320"/>
        <p:cNvGrpSpPr/>
        <p:nvPr/>
      </p:nvGrpSpPr>
      <p:grpSpPr>
        <a:xfrm>
          <a:off x="0" y="0"/>
          <a:ext cx="0" cy="0"/>
          <a:chOff x="0" y="0"/>
          <a:chExt cx="0" cy="0"/>
        </a:xfrm>
      </p:grpSpPr>
      <p:sp>
        <p:nvSpPr>
          <p:cNvPr id="11321" name="Google Shape;11321;p1543"/>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1322" name="Google Shape;11322;p1543"/>
          <p:cNvPicPr preferRelativeResize="0"/>
          <p:nvPr/>
        </p:nvPicPr>
        <p:blipFill rotWithShape="1">
          <a:blip r:embed="rId2">
            <a:alphaModFix/>
          </a:blip>
          <a:srcRect/>
          <a:stretch/>
        </p:blipFill>
        <p:spPr>
          <a:xfrm>
            <a:off x="7945967" y="408518"/>
            <a:ext cx="3706284" cy="1813983"/>
          </a:xfrm>
          <a:prstGeom prst="rect">
            <a:avLst/>
          </a:prstGeom>
          <a:noFill/>
          <a:ln>
            <a:noFill/>
          </a:ln>
        </p:spPr>
      </p:pic>
      <p:grpSp>
        <p:nvGrpSpPr>
          <p:cNvPr id="11323" name="Google Shape;11323;p1543"/>
          <p:cNvGrpSpPr/>
          <p:nvPr/>
        </p:nvGrpSpPr>
        <p:grpSpPr>
          <a:xfrm>
            <a:off x="0" y="0"/>
            <a:ext cx="1862667" cy="6629400"/>
            <a:chOff x="-15876" y="0"/>
            <a:chExt cx="1927803" cy="6858000"/>
          </a:xfrm>
        </p:grpSpPr>
        <p:sp>
          <p:nvSpPr>
            <p:cNvPr id="11324" name="Google Shape;11324;p1543"/>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1325" name="Google Shape;11325;p1543"/>
            <p:cNvPicPr preferRelativeResize="0"/>
            <p:nvPr/>
          </p:nvPicPr>
          <p:blipFill rotWithShape="1">
            <a:blip r:embed="rId3">
              <a:alphaModFix/>
            </a:blip>
            <a:srcRect/>
            <a:stretch/>
          </p:blipFill>
          <p:spPr>
            <a:xfrm>
              <a:off x="-15876" y="0"/>
              <a:ext cx="1927803" cy="6858000"/>
            </a:xfrm>
            <a:prstGeom prst="rect">
              <a:avLst/>
            </a:prstGeom>
            <a:solidFill>
              <a:schemeClr val="dk2"/>
            </a:solidFill>
            <a:ln>
              <a:noFill/>
            </a:ln>
          </p:spPr>
        </p:pic>
      </p:grpSp>
      <p:sp>
        <p:nvSpPr>
          <p:cNvPr id="11326" name="Google Shape;11326;p1543"/>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1327" name="Google Shape;11327;p1543"/>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28" name="Google Shape;11328;p1543"/>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29" name="Google Shape;11329;p1543"/>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itle and Content">
  <p:cSld name="Title and Content 5">
    <p:spTree>
      <p:nvGrpSpPr>
        <p:cNvPr id="1" name="Shape 9155"/>
        <p:cNvGrpSpPr/>
        <p:nvPr/>
      </p:nvGrpSpPr>
      <p:grpSpPr>
        <a:xfrm>
          <a:off x="0" y="0"/>
          <a:ext cx="0" cy="0"/>
          <a:chOff x="0" y="0"/>
          <a:chExt cx="0" cy="0"/>
        </a:xfrm>
      </p:grpSpPr>
      <p:grpSp>
        <p:nvGrpSpPr>
          <p:cNvPr id="9156" name="Google Shape;9156;p1330"/>
          <p:cNvGrpSpPr/>
          <p:nvPr/>
        </p:nvGrpSpPr>
        <p:grpSpPr>
          <a:xfrm>
            <a:off x="7191542" y="1"/>
            <a:ext cx="5000459" cy="1425992"/>
            <a:chOff x="7191542" y="1"/>
            <a:chExt cx="5000459" cy="1425992"/>
          </a:xfrm>
        </p:grpSpPr>
        <p:pic>
          <p:nvPicPr>
            <p:cNvPr id="9157" name="Google Shape;9157;p13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158" name="Google Shape;9158;p1330"/>
            <p:cNvGrpSpPr/>
            <p:nvPr/>
          </p:nvGrpSpPr>
          <p:grpSpPr>
            <a:xfrm>
              <a:off x="7191542" y="1"/>
              <a:ext cx="5000459" cy="1425992"/>
              <a:chOff x="7186272" y="0"/>
              <a:chExt cx="5005729" cy="1427495"/>
            </a:xfrm>
          </p:grpSpPr>
          <p:sp>
            <p:nvSpPr>
              <p:cNvPr id="9159" name="Google Shape;9159;p13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160" name="Google Shape;9160;p13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161" name="Google Shape;9161;p133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62" name="Google Shape;9162;p133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63" name="Google Shape;9163;p13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164" name="Google Shape;9164;p13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65" name="Google Shape;9165;p13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9 2">
    <p:spTree>
      <p:nvGrpSpPr>
        <p:cNvPr id="1" name="Shape 11330"/>
        <p:cNvGrpSpPr/>
        <p:nvPr/>
      </p:nvGrpSpPr>
      <p:grpSpPr>
        <a:xfrm>
          <a:off x="0" y="0"/>
          <a:ext cx="0" cy="0"/>
          <a:chOff x="0" y="0"/>
          <a:chExt cx="0" cy="0"/>
        </a:xfrm>
      </p:grpSpPr>
      <p:sp>
        <p:nvSpPr>
          <p:cNvPr id="11331" name="Google Shape;11331;p154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32" name="Google Shape;11332;p154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33" name="Google Shape;11333;p154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1334" name="Google Shape;11334;p15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35" name="Google Shape;11335;p15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1336" name="Google Shape;11336;p154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1337" name="Google Shape;11337;p154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1338" name="Google Shape;11338;p154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339" name="Google Shape;11339;p1544"/>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matchingName="1_Title Slide">
  <p:cSld name="1_Title Slide 2 4">
    <p:spTree>
      <p:nvGrpSpPr>
        <p:cNvPr id="1" name="Shape 11340"/>
        <p:cNvGrpSpPr/>
        <p:nvPr/>
      </p:nvGrpSpPr>
      <p:grpSpPr>
        <a:xfrm>
          <a:off x="0" y="0"/>
          <a:ext cx="0" cy="0"/>
          <a:chOff x="0" y="0"/>
          <a:chExt cx="0" cy="0"/>
        </a:xfrm>
      </p:grpSpPr>
      <p:sp>
        <p:nvSpPr>
          <p:cNvPr id="11341" name="Google Shape;11341;p1545"/>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1342" name="Google Shape;11342;p1545"/>
          <p:cNvPicPr preferRelativeResize="0"/>
          <p:nvPr/>
        </p:nvPicPr>
        <p:blipFill rotWithShape="1">
          <a:blip r:embed="rId2">
            <a:alphaModFix/>
          </a:blip>
          <a:srcRect/>
          <a:stretch/>
        </p:blipFill>
        <p:spPr>
          <a:xfrm>
            <a:off x="7945967" y="408518"/>
            <a:ext cx="3706284" cy="1813983"/>
          </a:xfrm>
          <a:prstGeom prst="rect">
            <a:avLst/>
          </a:prstGeom>
          <a:noFill/>
          <a:ln>
            <a:noFill/>
          </a:ln>
        </p:spPr>
      </p:pic>
      <p:grpSp>
        <p:nvGrpSpPr>
          <p:cNvPr id="11343" name="Google Shape;11343;p1545"/>
          <p:cNvGrpSpPr/>
          <p:nvPr/>
        </p:nvGrpSpPr>
        <p:grpSpPr>
          <a:xfrm>
            <a:off x="0" y="0"/>
            <a:ext cx="1862667" cy="6629400"/>
            <a:chOff x="-15876" y="0"/>
            <a:chExt cx="1927803" cy="6858000"/>
          </a:xfrm>
        </p:grpSpPr>
        <p:sp>
          <p:nvSpPr>
            <p:cNvPr id="11344" name="Google Shape;11344;p1545"/>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1345" name="Google Shape;11345;p1545"/>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1346" name="Google Shape;11346;p1545"/>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1347" name="Google Shape;11347;p1545"/>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48" name="Google Shape;11348;p1545"/>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49" name="Google Shape;11349;p1545"/>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1350"/>
        <p:cNvGrpSpPr/>
        <p:nvPr/>
      </p:nvGrpSpPr>
      <p:grpSpPr>
        <a:xfrm>
          <a:off x="0" y="0"/>
          <a:ext cx="0" cy="0"/>
          <a:chOff x="0" y="0"/>
          <a:chExt cx="0" cy="0"/>
        </a:xfrm>
      </p:grpSpPr>
      <p:sp>
        <p:nvSpPr>
          <p:cNvPr id="11351" name="Google Shape;11351;p1546"/>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52" name="Google Shape;11352;p1546"/>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11353" name="Google Shape;11353;p154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1354" name="Google Shape;11354;p15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55" name="Google Shape;11355;p15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1356"/>
        <p:cNvGrpSpPr/>
        <p:nvPr/>
      </p:nvGrpSpPr>
      <p:grpSpPr>
        <a:xfrm>
          <a:off x="0" y="0"/>
          <a:ext cx="0" cy="0"/>
          <a:chOff x="0" y="0"/>
          <a:chExt cx="0" cy="0"/>
        </a:xfrm>
      </p:grpSpPr>
      <p:sp>
        <p:nvSpPr>
          <p:cNvPr id="11357" name="Google Shape;11357;p1547"/>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58" name="Google Shape;11358;p1547"/>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1359" name="Google Shape;11359;p1547"/>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11360" name="Google Shape;11360;p154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1361" name="Google Shape;11361;p15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62" name="Google Shape;11362;p15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matchingName="EVERYDAY - CONTENT ONLY">
  <p:cSld name="EVERYDAY - CONTENT ONLY">
    <p:spTree>
      <p:nvGrpSpPr>
        <p:cNvPr id="1" name="Shape 11363"/>
        <p:cNvGrpSpPr/>
        <p:nvPr/>
      </p:nvGrpSpPr>
      <p:grpSpPr>
        <a:xfrm>
          <a:off x="0" y="0"/>
          <a:ext cx="0" cy="0"/>
          <a:chOff x="0" y="0"/>
          <a:chExt cx="0" cy="0"/>
        </a:xfrm>
      </p:grpSpPr>
      <p:sp>
        <p:nvSpPr>
          <p:cNvPr id="11364" name="Google Shape;11364;p1548"/>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365" name="Google Shape;11365;p1548"/>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1176"/>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1366" name="Google Shape;11366;p1548"/>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67" name="Google Shape;11367;p1548"/>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1176"/>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1368" name="Google Shape;11368;p1548"/>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69" name="Google Shape;11369;p1548"/>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370" name="Google Shape;11370;p1548"/>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1371" name="Google Shape;11371;p1548"/>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1372" name="Google Shape;11372;p1548"/>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1373"/>
        <p:cNvGrpSpPr/>
        <p:nvPr/>
      </p:nvGrpSpPr>
      <p:grpSpPr>
        <a:xfrm>
          <a:off x="0" y="0"/>
          <a:ext cx="0" cy="0"/>
          <a:chOff x="0" y="0"/>
          <a:chExt cx="0" cy="0"/>
        </a:xfrm>
      </p:grpSpPr>
      <p:sp>
        <p:nvSpPr>
          <p:cNvPr id="11374" name="Google Shape;11374;p154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375" name="Google Shape;11375;p154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76" name="Google Shape;11376;p154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77" name="Google Shape;11377;p15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378" name="Google Shape;11378;p15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379" name="Google Shape;11379;p15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380" name="Google Shape;11380;p1549"/>
          <p:cNvGrpSpPr/>
          <p:nvPr/>
        </p:nvGrpSpPr>
        <p:grpSpPr>
          <a:xfrm>
            <a:off x="7191542" y="1"/>
            <a:ext cx="5000459" cy="1425992"/>
            <a:chOff x="7191542" y="1"/>
            <a:chExt cx="5000459" cy="1425992"/>
          </a:xfrm>
        </p:grpSpPr>
        <p:pic>
          <p:nvPicPr>
            <p:cNvPr id="11381" name="Google Shape;11381;p15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382" name="Google Shape;11382;p1549"/>
            <p:cNvGrpSpPr/>
            <p:nvPr/>
          </p:nvGrpSpPr>
          <p:grpSpPr>
            <a:xfrm>
              <a:off x="7191542" y="1"/>
              <a:ext cx="5000459" cy="1425992"/>
              <a:chOff x="7186272" y="0"/>
              <a:chExt cx="5005729" cy="1427495"/>
            </a:xfrm>
          </p:grpSpPr>
          <p:sp>
            <p:nvSpPr>
              <p:cNvPr id="11383" name="Google Shape;11383;p15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384" name="Google Shape;11384;p15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385" name="Google Shape;11385;p154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matchingName="EVERYDAY - CONTENT ONLY">
  <p:cSld name="EVERYDAY - CONTENT ONLY 2">
    <p:spTree>
      <p:nvGrpSpPr>
        <p:cNvPr id="1" name="Shape 11386"/>
        <p:cNvGrpSpPr/>
        <p:nvPr/>
      </p:nvGrpSpPr>
      <p:grpSpPr>
        <a:xfrm>
          <a:off x="0" y="0"/>
          <a:ext cx="0" cy="0"/>
          <a:chOff x="0" y="0"/>
          <a:chExt cx="0" cy="0"/>
        </a:xfrm>
      </p:grpSpPr>
      <p:sp>
        <p:nvSpPr>
          <p:cNvPr id="11387" name="Google Shape;11387;p1550"/>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388" name="Google Shape;11388;p1550"/>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1176"/>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1389" name="Google Shape;11389;p1550"/>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90" name="Google Shape;11390;p1550"/>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1176"/>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1391" name="Google Shape;11391;p1550"/>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92" name="Google Shape;11392;p1550"/>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393" name="Google Shape;11393;p1550"/>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1394" name="Google Shape;11394;p1550"/>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1395" name="Google Shape;11395;p1550"/>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matchingName="Cover">
  <p:cSld name="Cover 13">
    <p:spTree>
      <p:nvGrpSpPr>
        <p:cNvPr id="1" name="Shape 11396"/>
        <p:cNvGrpSpPr/>
        <p:nvPr/>
      </p:nvGrpSpPr>
      <p:grpSpPr>
        <a:xfrm>
          <a:off x="0" y="0"/>
          <a:ext cx="0" cy="0"/>
          <a:chOff x="0" y="0"/>
          <a:chExt cx="0" cy="0"/>
        </a:xfrm>
      </p:grpSpPr>
      <p:sp>
        <p:nvSpPr>
          <p:cNvPr id="11397" name="Google Shape;11397;p155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398" name="Google Shape;11398;p155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99" name="Google Shape;11399;p155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400" name="Google Shape;11400;p1551"/>
          <p:cNvSpPr>
            <a:spLocks noGrp="1"/>
          </p:cNvSpPr>
          <p:nvPr>
            <p:ph type="pic" idx="2"/>
          </p:nvPr>
        </p:nvSpPr>
        <p:spPr>
          <a:xfrm>
            <a:off x="7118684" y="233915"/>
            <a:ext cx="5073316" cy="5943600"/>
          </a:xfrm>
          <a:prstGeom prst="rect">
            <a:avLst/>
          </a:prstGeom>
          <a:noFill/>
          <a:ln>
            <a:noFill/>
          </a:ln>
        </p:spPr>
      </p:sp>
      <p:grpSp>
        <p:nvGrpSpPr>
          <p:cNvPr id="11401" name="Google Shape;11401;p1551"/>
          <p:cNvGrpSpPr/>
          <p:nvPr/>
        </p:nvGrpSpPr>
        <p:grpSpPr>
          <a:xfrm>
            <a:off x="0" y="5020348"/>
            <a:ext cx="12192000" cy="1837653"/>
            <a:chOff x="0" y="5020348"/>
            <a:chExt cx="12192000" cy="1837653"/>
          </a:xfrm>
        </p:grpSpPr>
        <p:sp>
          <p:nvSpPr>
            <p:cNvPr id="11402" name="Google Shape;11402;p155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403" name="Google Shape;11403;p155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1404" name="Google Shape;11404;p155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matchingName="Divider">
  <p:cSld name="Divider 14">
    <p:spTree>
      <p:nvGrpSpPr>
        <p:cNvPr id="1" name="Shape 11405"/>
        <p:cNvGrpSpPr/>
        <p:nvPr/>
      </p:nvGrpSpPr>
      <p:grpSpPr>
        <a:xfrm>
          <a:off x="0" y="0"/>
          <a:ext cx="0" cy="0"/>
          <a:chOff x="0" y="0"/>
          <a:chExt cx="0" cy="0"/>
        </a:xfrm>
      </p:grpSpPr>
      <p:grpSp>
        <p:nvGrpSpPr>
          <p:cNvPr id="11406" name="Google Shape;11406;p1552"/>
          <p:cNvGrpSpPr/>
          <p:nvPr/>
        </p:nvGrpSpPr>
        <p:grpSpPr>
          <a:xfrm>
            <a:off x="0" y="5020347"/>
            <a:ext cx="12192000" cy="1837653"/>
            <a:chOff x="0" y="5020347"/>
            <a:chExt cx="12192000" cy="1837653"/>
          </a:xfrm>
        </p:grpSpPr>
        <p:sp>
          <p:nvSpPr>
            <p:cNvPr id="11407" name="Google Shape;11407;p155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408" name="Google Shape;11408;p155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409" name="Google Shape;11409;p155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1410" name="Google Shape;11410;p155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1411" name="Google Shape;11411;p155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412" name="Google Shape;11412;p155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matchingName="Photo Slide">
  <p:cSld name="Photo Slide 13">
    <p:spTree>
      <p:nvGrpSpPr>
        <p:cNvPr id="1" name="Shape 11413"/>
        <p:cNvGrpSpPr/>
        <p:nvPr/>
      </p:nvGrpSpPr>
      <p:grpSpPr>
        <a:xfrm>
          <a:off x="0" y="0"/>
          <a:ext cx="0" cy="0"/>
          <a:chOff x="0" y="0"/>
          <a:chExt cx="0" cy="0"/>
        </a:xfrm>
      </p:grpSpPr>
      <p:sp>
        <p:nvSpPr>
          <p:cNvPr id="11414" name="Google Shape;11414;p155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415" name="Google Shape;11415;p155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416" name="Google Shape;11416;p1553"/>
          <p:cNvGrpSpPr/>
          <p:nvPr/>
        </p:nvGrpSpPr>
        <p:grpSpPr>
          <a:xfrm>
            <a:off x="0" y="5379426"/>
            <a:ext cx="2807368" cy="753891"/>
            <a:chOff x="0" y="5379426"/>
            <a:chExt cx="2807368" cy="753891"/>
          </a:xfrm>
        </p:grpSpPr>
        <p:sp>
          <p:nvSpPr>
            <p:cNvPr id="11417" name="Google Shape;11417;p155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418" name="Google Shape;11418;p155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1419" name="Google Shape;11419;p1553"/>
          <p:cNvSpPr>
            <a:spLocks noGrp="1"/>
          </p:cNvSpPr>
          <p:nvPr>
            <p:ph type="pic" idx="2"/>
          </p:nvPr>
        </p:nvSpPr>
        <p:spPr>
          <a:xfrm>
            <a:off x="2807368" y="457202"/>
            <a:ext cx="8915400" cy="5943598"/>
          </a:xfrm>
          <a:prstGeom prst="rect">
            <a:avLst/>
          </a:prstGeom>
          <a:noFill/>
          <a:ln>
            <a:noFill/>
          </a:ln>
        </p:spPr>
      </p:sp>
      <p:pic>
        <p:nvPicPr>
          <p:cNvPr id="11420" name="Google Shape;11420;p155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and Content">
  <p:cSld name="Title and Content 5 2">
    <p:spTree>
      <p:nvGrpSpPr>
        <p:cNvPr id="1" name="Shape 9166"/>
        <p:cNvGrpSpPr/>
        <p:nvPr/>
      </p:nvGrpSpPr>
      <p:grpSpPr>
        <a:xfrm>
          <a:off x="0" y="0"/>
          <a:ext cx="0" cy="0"/>
          <a:chOff x="0" y="0"/>
          <a:chExt cx="0" cy="0"/>
        </a:xfrm>
      </p:grpSpPr>
      <p:grpSp>
        <p:nvGrpSpPr>
          <p:cNvPr id="9167" name="Google Shape;9167;p1331"/>
          <p:cNvGrpSpPr/>
          <p:nvPr/>
        </p:nvGrpSpPr>
        <p:grpSpPr>
          <a:xfrm>
            <a:off x="7191542" y="1"/>
            <a:ext cx="5000459" cy="1425992"/>
            <a:chOff x="7191542" y="1"/>
            <a:chExt cx="5000459" cy="1425992"/>
          </a:xfrm>
        </p:grpSpPr>
        <p:pic>
          <p:nvPicPr>
            <p:cNvPr id="9168" name="Google Shape;9168;p13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169" name="Google Shape;9169;p1331"/>
            <p:cNvGrpSpPr/>
            <p:nvPr/>
          </p:nvGrpSpPr>
          <p:grpSpPr>
            <a:xfrm>
              <a:off x="7191542" y="1"/>
              <a:ext cx="5000459" cy="1425992"/>
              <a:chOff x="7186272" y="0"/>
              <a:chExt cx="5005729" cy="1427495"/>
            </a:xfrm>
          </p:grpSpPr>
          <p:sp>
            <p:nvSpPr>
              <p:cNvPr id="9170" name="Google Shape;9170;p13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171" name="Google Shape;9171;p13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172" name="Google Shape;9172;p133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73" name="Google Shape;9173;p133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74" name="Google Shape;9174;p13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175" name="Google Shape;9175;p13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76" name="Google Shape;9176;p13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matchingName="4_Quotation">
  <p:cSld name="4_Quotation 2">
    <p:spTree>
      <p:nvGrpSpPr>
        <p:cNvPr id="1" name="Shape 11421"/>
        <p:cNvGrpSpPr/>
        <p:nvPr/>
      </p:nvGrpSpPr>
      <p:grpSpPr>
        <a:xfrm>
          <a:off x="0" y="0"/>
          <a:ext cx="0" cy="0"/>
          <a:chOff x="0" y="0"/>
          <a:chExt cx="0" cy="0"/>
        </a:xfrm>
      </p:grpSpPr>
      <p:sp>
        <p:nvSpPr>
          <p:cNvPr id="11422" name="Google Shape;11422;p155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423" name="Google Shape;11423;p155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424" name="Google Shape;11424;p155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25" name="Google Shape;11425;p15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426" name="Google Shape;11426;p15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427" name="Google Shape;11427;p15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428" name="Google Shape;11428;p1554"/>
          <p:cNvGrpSpPr/>
          <p:nvPr/>
        </p:nvGrpSpPr>
        <p:grpSpPr>
          <a:xfrm>
            <a:off x="7191542" y="1"/>
            <a:ext cx="5000459" cy="1425992"/>
            <a:chOff x="7191542" y="1"/>
            <a:chExt cx="5000459" cy="1425992"/>
          </a:xfrm>
        </p:grpSpPr>
        <p:pic>
          <p:nvPicPr>
            <p:cNvPr id="11429" name="Google Shape;11429;p15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430" name="Google Shape;11430;p1554"/>
            <p:cNvGrpSpPr/>
            <p:nvPr/>
          </p:nvGrpSpPr>
          <p:grpSpPr>
            <a:xfrm>
              <a:off x="7191542" y="1"/>
              <a:ext cx="5000459" cy="1425992"/>
              <a:chOff x="7186272" y="0"/>
              <a:chExt cx="5005729" cy="1427495"/>
            </a:xfrm>
          </p:grpSpPr>
          <p:sp>
            <p:nvSpPr>
              <p:cNvPr id="11431" name="Google Shape;11431;p15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432" name="Google Shape;11432;p15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433" name="Google Shape;11433;p155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matchingName="EVERYDAY - CONTENT ONLY">
  <p:cSld name="EVERYDAY - CONTENT ONLY 2 2">
    <p:spTree>
      <p:nvGrpSpPr>
        <p:cNvPr id="1" name="Shape 11434"/>
        <p:cNvGrpSpPr/>
        <p:nvPr/>
      </p:nvGrpSpPr>
      <p:grpSpPr>
        <a:xfrm>
          <a:off x="0" y="0"/>
          <a:ext cx="0" cy="0"/>
          <a:chOff x="0" y="0"/>
          <a:chExt cx="0" cy="0"/>
        </a:xfrm>
      </p:grpSpPr>
      <p:sp>
        <p:nvSpPr>
          <p:cNvPr id="11435" name="Google Shape;11435;p1555"/>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436" name="Google Shape;11436;p1555"/>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1176"/>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1437" name="Google Shape;11437;p1555"/>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38" name="Google Shape;11438;p1555"/>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1176"/>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1439" name="Google Shape;11439;p1555"/>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440" name="Google Shape;11440;p1555"/>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441" name="Google Shape;11441;p1555"/>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1442" name="Google Shape;11442;p1555"/>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1443" name="Google Shape;11443;p1555"/>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matchingName="Cover">
  <p:cSld name="Cover 13 2">
    <p:spTree>
      <p:nvGrpSpPr>
        <p:cNvPr id="1" name="Shape 11444"/>
        <p:cNvGrpSpPr/>
        <p:nvPr/>
      </p:nvGrpSpPr>
      <p:grpSpPr>
        <a:xfrm>
          <a:off x="0" y="0"/>
          <a:ext cx="0" cy="0"/>
          <a:chOff x="0" y="0"/>
          <a:chExt cx="0" cy="0"/>
        </a:xfrm>
      </p:grpSpPr>
      <p:sp>
        <p:nvSpPr>
          <p:cNvPr id="11445" name="Google Shape;11445;p155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446" name="Google Shape;11446;p155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447" name="Google Shape;11447;p155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448" name="Google Shape;11448;p1556"/>
          <p:cNvSpPr>
            <a:spLocks noGrp="1"/>
          </p:cNvSpPr>
          <p:nvPr>
            <p:ph type="pic" idx="2"/>
          </p:nvPr>
        </p:nvSpPr>
        <p:spPr>
          <a:xfrm>
            <a:off x="7118684" y="233915"/>
            <a:ext cx="5073316" cy="5943600"/>
          </a:xfrm>
          <a:prstGeom prst="rect">
            <a:avLst/>
          </a:prstGeom>
          <a:noFill/>
          <a:ln>
            <a:noFill/>
          </a:ln>
        </p:spPr>
      </p:sp>
      <p:grpSp>
        <p:nvGrpSpPr>
          <p:cNvPr id="11449" name="Google Shape;11449;p1556"/>
          <p:cNvGrpSpPr/>
          <p:nvPr/>
        </p:nvGrpSpPr>
        <p:grpSpPr>
          <a:xfrm>
            <a:off x="0" y="5020348"/>
            <a:ext cx="12192000" cy="1837653"/>
            <a:chOff x="0" y="5020348"/>
            <a:chExt cx="12192000" cy="1837653"/>
          </a:xfrm>
        </p:grpSpPr>
        <p:sp>
          <p:nvSpPr>
            <p:cNvPr id="11450" name="Google Shape;11450;p155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451" name="Google Shape;11451;p155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1452" name="Google Shape;11452;p155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matchingName="Divider">
  <p:cSld name="Divider 14 2">
    <p:spTree>
      <p:nvGrpSpPr>
        <p:cNvPr id="1" name="Shape 11453"/>
        <p:cNvGrpSpPr/>
        <p:nvPr/>
      </p:nvGrpSpPr>
      <p:grpSpPr>
        <a:xfrm>
          <a:off x="0" y="0"/>
          <a:ext cx="0" cy="0"/>
          <a:chOff x="0" y="0"/>
          <a:chExt cx="0" cy="0"/>
        </a:xfrm>
      </p:grpSpPr>
      <p:grpSp>
        <p:nvGrpSpPr>
          <p:cNvPr id="11454" name="Google Shape;11454;p1557"/>
          <p:cNvGrpSpPr/>
          <p:nvPr/>
        </p:nvGrpSpPr>
        <p:grpSpPr>
          <a:xfrm>
            <a:off x="0" y="5020347"/>
            <a:ext cx="12192000" cy="1837653"/>
            <a:chOff x="0" y="5020347"/>
            <a:chExt cx="12192000" cy="1837653"/>
          </a:xfrm>
        </p:grpSpPr>
        <p:sp>
          <p:nvSpPr>
            <p:cNvPr id="11455" name="Google Shape;11455;p155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456" name="Google Shape;11456;p155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457" name="Google Shape;11457;p155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1458" name="Google Shape;11458;p155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1459" name="Google Shape;11459;p155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460" name="Google Shape;11460;p155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matchingName="Photo Slide">
  <p:cSld name="Photo Slide 13 2">
    <p:spTree>
      <p:nvGrpSpPr>
        <p:cNvPr id="1" name="Shape 11461"/>
        <p:cNvGrpSpPr/>
        <p:nvPr/>
      </p:nvGrpSpPr>
      <p:grpSpPr>
        <a:xfrm>
          <a:off x="0" y="0"/>
          <a:ext cx="0" cy="0"/>
          <a:chOff x="0" y="0"/>
          <a:chExt cx="0" cy="0"/>
        </a:xfrm>
      </p:grpSpPr>
      <p:sp>
        <p:nvSpPr>
          <p:cNvPr id="11462" name="Google Shape;11462;p155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463" name="Google Shape;11463;p155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464" name="Google Shape;11464;p1558"/>
          <p:cNvGrpSpPr/>
          <p:nvPr/>
        </p:nvGrpSpPr>
        <p:grpSpPr>
          <a:xfrm>
            <a:off x="0" y="5379426"/>
            <a:ext cx="2807368" cy="753891"/>
            <a:chOff x="0" y="5379426"/>
            <a:chExt cx="2807368" cy="753891"/>
          </a:xfrm>
        </p:grpSpPr>
        <p:sp>
          <p:nvSpPr>
            <p:cNvPr id="11465" name="Google Shape;11465;p155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466" name="Google Shape;11466;p155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1467" name="Google Shape;11467;p1558"/>
          <p:cNvSpPr>
            <a:spLocks noGrp="1"/>
          </p:cNvSpPr>
          <p:nvPr>
            <p:ph type="pic" idx="2"/>
          </p:nvPr>
        </p:nvSpPr>
        <p:spPr>
          <a:xfrm>
            <a:off x="2807368" y="457202"/>
            <a:ext cx="8915400" cy="5943598"/>
          </a:xfrm>
          <a:prstGeom prst="rect">
            <a:avLst/>
          </a:prstGeom>
          <a:noFill/>
          <a:ln>
            <a:noFill/>
          </a:ln>
        </p:spPr>
      </p:sp>
      <p:pic>
        <p:nvPicPr>
          <p:cNvPr id="11468" name="Google Shape;11468;p155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matchingName="Blank">
  <p:cSld name="Blank 10">
    <p:spTree>
      <p:nvGrpSpPr>
        <p:cNvPr id="1" name="Shape 11469"/>
        <p:cNvGrpSpPr/>
        <p:nvPr/>
      </p:nvGrpSpPr>
      <p:grpSpPr>
        <a:xfrm>
          <a:off x="0" y="0"/>
          <a:ext cx="0" cy="0"/>
          <a:chOff x="0" y="0"/>
          <a:chExt cx="0" cy="0"/>
        </a:xfrm>
      </p:grpSpPr>
      <p:sp>
        <p:nvSpPr>
          <p:cNvPr id="11470" name="Google Shape;11470;p15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471" name="Google Shape;11471;p15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472" name="Google Shape;11472;p15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473" name="Google Shape;11473;p1559"/>
          <p:cNvGrpSpPr/>
          <p:nvPr/>
        </p:nvGrpSpPr>
        <p:grpSpPr>
          <a:xfrm>
            <a:off x="7191542" y="1"/>
            <a:ext cx="5000459" cy="1425992"/>
            <a:chOff x="7191542" y="1"/>
            <a:chExt cx="5000459" cy="1425992"/>
          </a:xfrm>
        </p:grpSpPr>
        <p:pic>
          <p:nvPicPr>
            <p:cNvPr id="11474" name="Google Shape;11474;p15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475" name="Google Shape;11475;p1559"/>
            <p:cNvGrpSpPr/>
            <p:nvPr/>
          </p:nvGrpSpPr>
          <p:grpSpPr>
            <a:xfrm>
              <a:off x="7191542" y="1"/>
              <a:ext cx="5000459" cy="1425992"/>
              <a:chOff x="7186272" y="0"/>
              <a:chExt cx="5005729" cy="1427495"/>
            </a:xfrm>
          </p:grpSpPr>
          <p:sp>
            <p:nvSpPr>
              <p:cNvPr id="11476" name="Google Shape;11476;p15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477" name="Google Shape;11477;p15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matchingName="Quotation">
  <p:cSld name="Quotation 18">
    <p:spTree>
      <p:nvGrpSpPr>
        <p:cNvPr id="1" name="Shape 11478"/>
        <p:cNvGrpSpPr/>
        <p:nvPr/>
      </p:nvGrpSpPr>
      <p:grpSpPr>
        <a:xfrm>
          <a:off x="0" y="0"/>
          <a:ext cx="0" cy="0"/>
          <a:chOff x="0" y="0"/>
          <a:chExt cx="0" cy="0"/>
        </a:xfrm>
      </p:grpSpPr>
      <p:sp>
        <p:nvSpPr>
          <p:cNvPr id="11479" name="Google Shape;11479;p156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480" name="Google Shape;11480;p156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481" name="Google Shape;11481;p156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82" name="Google Shape;11482;p15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483" name="Google Shape;11483;p15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484" name="Google Shape;11484;p15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485" name="Google Shape;11485;p1560"/>
          <p:cNvGrpSpPr/>
          <p:nvPr/>
        </p:nvGrpSpPr>
        <p:grpSpPr>
          <a:xfrm>
            <a:off x="7191542" y="1"/>
            <a:ext cx="5000459" cy="1425992"/>
            <a:chOff x="7191542" y="1"/>
            <a:chExt cx="5000459" cy="1425992"/>
          </a:xfrm>
        </p:grpSpPr>
        <p:pic>
          <p:nvPicPr>
            <p:cNvPr id="11486" name="Google Shape;11486;p15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487" name="Google Shape;11487;p1560"/>
            <p:cNvGrpSpPr/>
            <p:nvPr/>
          </p:nvGrpSpPr>
          <p:grpSpPr>
            <a:xfrm>
              <a:off x="7191542" y="1"/>
              <a:ext cx="5000459" cy="1425992"/>
              <a:chOff x="7186272" y="0"/>
              <a:chExt cx="5005729" cy="1427495"/>
            </a:xfrm>
          </p:grpSpPr>
          <p:sp>
            <p:nvSpPr>
              <p:cNvPr id="11488" name="Google Shape;11488;p15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489" name="Google Shape;11489;p15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490" name="Google Shape;11490;p156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matchingName="Two Content">
  <p:cSld name="Two Content 12">
    <p:spTree>
      <p:nvGrpSpPr>
        <p:cNvPr id="1" name="Shape 11491"/>
        <p:cNvGrpSpPr/>
        <p:nvPr/>
      </p:nvGrpSpPr>
      <p:grpSpPr>
        <a:xfrm>
          <a:off x="0" y="0"/>
          <a:ext cx="0" cy="0"/>
          <a:chOff x="0" y="0"/>
          <a:chExt cx="0" cy="0"/>
        </a:xfrm>
      </p:grpSpPr>
      <p:sp>
        <p:nvSpPr>
          <p:cNvPr id="11492" name="Google Shape;11492;p156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493" name="Google Shape;11493;p156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494" name="Google Shape;11494;p1561"/>
          <p:cNvGrpSpPr/>
          <p:nvPr/>
        </p:nvGrpSpPr>
        <p:grpSpPr>
          <a:xfrm>
            <a:off x="7191542" y="1"/>
            <a:ext cx="5000459" cy="1425992"/>
            <a:chOff x="7191542" y="1"/>
            <a:chExt cx="5000459" cy="1425992"/>
          </a:xfrm>
        </p:grpSpPr>
        <p:pic>
          <p:nvPicPr>
            <p:cNvPr id="11495" name="Google Shape;11495;p15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496" name="Google Shape;11496;p1561"/>
            <p:cNvGrpSpPr/>
            <p:nvPr/>
          </p:nvGrpSpPr>
          <p:grpSpPr>
            <a:xfrm>
              <a:off x="7191542" y="1"/>
              <a:ext cx="5000459" cy="1425992"/>
              <a:chOff x="7186272" y="0"/>
              <a:chExt cx="5005729" cy="1427495"/>
            </a:xfrm>
          </p:grpSpPr>
          <p:sp>
            <p:nvSpPr>
              <p:cNvPr id="11497" name="Google Shape;11497;p15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498" name="Google Shape;11498;p15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499" name="Google Shape;11499;p156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00" name="Google Shape;11500;p156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501" name="Google Shape;11501;p15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02" name="Google Shape;11502;p15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matchingName="Comparison">
  <p:cSld name="Comparison 11">
    <p:spTree>
      <p:nvGrpSpPr>
        <p:cNvPr id="1" name="Shape 11503"/>
        <p:cNvGrpSpPr/>
        <p:nvPr/>
      </p:nvGrpSpPr>
      <p:grpSpPr>
        <a:xfrm>
          <a:off x="0" y="0"/>
          <a:ext cx="0" cy="0"/>
          <a:chOff x="0" y="0"/>
          <a:chExt cx="0" cy="0"/>
        </a:xfrm>
      </p:grpSpPr>
      <p:grpSp>
        <p:nvGrpSpPr>
          <p:cNvPr id="11504" name="Google Shape;11504;p1562"/>
          <p:cNvGrpSpPr/>
          <p:nvPr/>
        </p:nvGrpSpPr>
        <p:grpSpPr>
          <a:xfrm>
            <a:off x="7191542" y="1"/>
            <a:ext cx="5000459" cy="1425992"/>
            <a:chOff x="7191542" y="1"/>
            <a:chExt cx="5000459" cy="1425992"/>
          </a:xfrm>
        </p:grpSpPr>
        <p:pic>
          <p:nvPicPr>
            <p:cNvPr id="11505" name="Google Shape;11505;p15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506" name="Google Shape;11506;p1562"/>
            <p:cNvGrpSpPr/>
            <p:nvPr/>
          </p:nvGrpSpPr>
          <p:grpSpPr>
            <a:xfrm>
              <a:off x="7191542" y="1"/>
              <a:ext cx="5000459" cy="1425992"/>
              <a:chOff x="7186272" y="0"/>
              <a:chExt cx="5005729" cy="1427495"/>
            </a:xfrm>
          </p:grpSpPr>
          <p:sp>
            <p:nvSpPr>
              <p:cNvPr id="11507" name="Google Shape;11507;p15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508" name="Google Shape;11508;p15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509" name="Google Shape;11509;p156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510" name="Google Shape;11510;p156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11" name="Google Shape;11511;p156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12" name="Google Shape;11512;p156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13" name="Google Shape;11513;p156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14" name="Google Shape;11514;p15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515" name="Google Shape;11515;p15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16" name="Google Shape;11516;p15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matchingName="Title Only">
  <p:cSld name="Title Only 11">
    <p:spTree>
      <p:nvGrpSpPr>
        <p:cNvPr id="1" name="Shape 11517"/>
        <p:cNvGrpSpPr/>
        <p:nvPr/>
      </p:nvGrpSpPr>
      <p:grpSpPr>
        <a:xfrm>
          <a:off x="0" y="0"/>
          <a:ext cx="0" cy="0"/>
          <a:chOff x="0" y="0"/>
          <a:chExt cx="0" cy="0"/>
        </a:xfrm>
      </p:grpSpPr>
      <p:grpSp>
        <p:nvGrpSpPr>
          <p:cNvPr id="11518" name="Google Shape;11518;p1563"/>
          <p:cNvGrpSpPr/>
          <p:nvPr/>
        </p:nvGrpSpPr>
        <p:grpSpPr>
          <a:xfrm>
            <a:off x="7191542" y="1"/>
            <a:ext cx="5000459" cy="1425992"/>
            <a:chOff x="7191542" y="1"/>
            <a:chExt cx="5000459" cy="1425992"/>
          </a:xfrm>
        </p:grpSpPr>
        <p:pic>
          <p:nvPicPr>
            <p:cNvPr id="11519" name="Google Shape;11519;p15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520" name="Google Shape;11520;p1563"/>
            <p:cNvGrpSpPr/>
            <p:nvPr/>
          </p:nvGrpSpPr>
          <p:grpSpPr>
            <a:xfrm>
              <a:off x="7191542" y="1"/>
              <a:ext cx="5000459" cy="1425992"/>
              <a:chOff x="7186272" y="0"/>
              <a:chExt cx="5005729" cy="1427495"/>
            </a:xfrm>
          </p:grpSpPr>
          <p:sp>
            <p:nvSpPr>
              <p:cNvPr id="11521" name="Google Shape;11521;p15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522" name="Google Shape;11522;p15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523" name="Google Shape;11523;p156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524" name="Google Shape;11524;p15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525" name="Google Shape;11525;p15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26" name="Google Shape;11526;p15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Divider">
  <p:cSld name="Divider 2">
    <p:spTree>
      <p:nvGrpSpPr>
        <p:cNvPr id="1" name="Shape 9177"/>
        <p:cNvGrpSpPr/>
        <p:nvPr/>
      </p:nvGrpSpPr>
      <p:grpSpPr>
        <a:xfrm>
          <a:off x="0" y="0"/>
          <a:ext cx="0" cy="0"/>
          <a:chOff x="0" y="0"/>
          <a:chExt cx="0" cy="0"/>
        </a:xfrm>
      </p:grpSpPr>
      <p:grpSp>
        <p:nvGrpSpPr>
          <p:cNvPr id="9178" name="Google Shape;9178;p33"/>
          <p:cNvGrpSpPr/>
          <p:nvPr/>
        </p:nvGrpSpPr>
        <p:grpSpPr>
          <a:xfrm>
            <a:off x="0" y="5020347"/>
            <a:ext cx="12192000" cy="1837653"/>
            <a:chOff x="0" y="5020347"/>
            <a:chExt cx="12192000" cy="1837653"/>
          </a:xfrm>
        </p:grpSpPr>
        <p:sp>
          <p:nvSpPr>
            <p:cNvPr id="9179" name="Google Shape;9179;p3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80" name="Google Shape;9180;p3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81" name="Google Shape;9181;p3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182" name="Google Shape;9182;p3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183" name="Google Shape;9183;p3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84" name="Google Shape;9184;p3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matchingName="End">
  <p:cSld name="End 12">
    <p:spTree>
      <p:nvGrpSpPr>
        <p:cNvPr id="1" name="Shape 11527"/>
        <p:cNvGrpSpPr/>
        <p:nvPr/>
      </p:nvGrpSpPr>
      <p:grpSpPr>
        <a:xfrm>
          <a:off x="0" y="0"/>
          <a:ext cx="0" cy="0"/>
          <a:chOff x="0" y="0"/>
          <a:chExt cx="0" cy="0"/>
        </a:xfrm>
      </p:grpSpPr>
      <p:grpSp>
        <p:nvGrpSpPr>
          <p:cNvPr id="11528" name="Google Shape;11528;p1564"/>
          <p:cNvGrpSpPr/>
          <p:nvPr/>
        </p:nvGrpSpPr>
        <p:grpSpPr>
          <a:xfrm>
            <a:off x="0" y="0"/>
            <a:ext cx="12192000" cy="2148830"/>
            <a:chOff x="0" y="0"/>
            <a:chExt cx="12192000" cy="2148830"/>
          </a:xfrm>
        </p:grpSpPr>
        <p:sp>
          <p:nvSpPr>
            <p:cNvPr id="11529" name="Google Shape;11529;p156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530" name="Google Shape;11530;p156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1531" name="Google Shape;11531;p156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532" name="Google Shape;11532;p156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33" name="Google Shape;11533;p156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1534" name="Google Shape;11534;p1564"/>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1535" name="Google Shape;11535;p156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matchingName="Blank">
  <p:cSld name="Blank 11">
    <p:spTree>
      <p:nvGrpSpPr>
        <p:cNvPr id="1" name="Shape 11536"/>
        <p:cNvGrpSpPr/>
        <p:nvPr/>
      </p:nvGrpSpPr>
      <p:grpSpPr>
        <a:xfrm>
          <a:off x="0" y="0"/>
          <a:ext cx="0" cy="0"/>
          <a:chOff x="0" y="0"/>
          <a:chExt cx="0" cy="0"/>
        </a:xfrm>
      </p:grpSpPr>
      <p:sp>
        <p:nvSpPr>
          <p:cNvPr id="11537" name="Google Shape;11537;p15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538" name="Google Shape;11538;p15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39" name="Google Shape;11539;p15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540" name="Google Shape;11540;p1565"/>
          <p:cNvGrpSpPr/>
          <p:nvPr/>
        </p:nvGrpSpPr>
        <p:grpSpPr>
          <a:xfrm>
            <a:off x="7191542" y="1"/>
            <a:ext cx="5000459" cy="1425992"/>
            <a:chOff x="7191542" y="1"/>
            <a:chExt cx="5000459" cy="1425992"/>
          </a:xfrm>
        </p:grpSpPr>
        <p:pic>
          <p:nvPicPr>
            <p:cNvPr id="11541" name="Google Shape;11541;p15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542" name="Google Shape;11542;p1565"/>
            <p:cNvGrpSpPr/>
            <p:nvPr/>
          </p:nvGrpSpPr>
          <p:grpSpPr>
            <a:xfrm>
              <a:off x="7191542" y="1"/>
              <a:ext cx="5000459" cy="1425992"/>
              <a:chOff x="7186272" y="0"/>
              <a:chExt cx="5005729" cy="1427495"/>
            </a:xfrm>
          </p:grpSpPr>
          <p:sp>
            <p:nvSpPr>
              <p:cNvPr id="11543" name="Google Shape;11543;p15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544" name="Google Shape;11544;p15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matchingName="4_Quotation">
  <p:cSld name="4_Quotation 2 2">
    <p:spTree>
      <p:nvGrpSpPr>
        <p:cNvPr id="1" name="Shape 11545"/>
        <p:cNvGrpSpPr/>
        <p:nvPr/>
      </p:nvGrpSpPr>
      <p:grpSpPr>
        <a:xfrm>
          <a:off x="0" y="0"/>
          <a:ext cx="0" cy="0"/>
          <a:chOff x="0" y="0"/>
          <a:chExt cx="0" cy="0"/>
        </a:xfrm>
      </p:grpSpPr>
      <p:sp>
        <p:nvSpPr>
          <p:cNvPr id="11546" name="Google Shape;11546;p156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547" name="Google Shape;11547;p156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548" name="Google Shape;11548;p15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49" name="Google Shape;11549;p15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550" name="Google Shape;11550;p15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51" name="Google Shape;11551;p15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552" name="Google Shape;11552;p1566"/>
          <p:cNvGrpSpPr/>
          <p:nvPr/>
        </p:nvGrpSpPr>
        <p:grpSpPr>
          <a:xfrm>
            <a:off x="7191542" y="1"/>
            <a:ext cx="5000459" cy="1425992"/>
            <a:chOff x="7191542" y="1"/>
            <a:chExt cx="5000459" cy="1425992"/>
          </a:xfrm>
        </p:grpSpPr>
        <p:pic>
          <p:nvPicPr>
            <p:cNvPr id="11553" name="Google Shape;11553;p15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554" name="Google Shape;11554;p1566"/>
            <p:cNvGrpSpPr/>
            <p:nvPr/>
          </p:nvGrpSpPr>
          <p:grpSpPr>
            <a:xfrm>
              <a:off x="7191542" y="1"/>
              <a:ext cx="5000459" cy="1425992"/>
              <a:chOff x="7186272" y="0"/>
              <a:chExt cx="5005729" cy="1427495"/>
            </a:xfrm>
          </p:grpSpPr>
          <p:sp>
            <p:nvSpPr>
              <p:cNvPr id="11555" name="Google Shape;11555;p15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556" name="Google Shape;11556;p15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557" name="Google Shape;11557;p156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matchingName="Cover B">
  <p:cSld name="Cover B 3">
    <p:spTree>
      <p:nvGrpSpPr>
        <p:cNvPr id="1" name="Shape 11558"/>
        <p:cNvGrpSpPr/>
        <p:nvPr/>
      </p:nvGrpSpPr>
      <p:grpSpPr>
        <a:xfrm>
          <a:off x="0" y="0"/>
          <a:ext cx="0" cy="0"/>
          <a:chOff x="0" y="0"/>
          <a:chExt cx="0" cy="0"/>
        </a:xfrm>
      </p:grpSpPr>
      <p:sp>
        <p:nvSpPr>
          <p:cNvPr id="11559" name="Google Shape;11559;p1567"/>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560" name="Google Shape;11560;p1567"/>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1561" name="Google Shape;11561;p1567"/>
          <p:cNvGrpSpPr/>
          <p:nvPr/>
        </p:nvGrpSpPr>
        <p:grpSpPr>
          <a:xfrm flipH="1">
            <a:off x="-1" y="1"/>
            <a:ext cx="6418725" cy="1509822"/>
            <a:chOff x="7522541" y="1"/>
            <a:chExt cx="4669459" cy="1098357"/>
          </a:xfrm>
        </p:grpSpPr>
        <p:sp>
          <p:nvSpPr>
            <p:cNvPr id="11562" name="Google Shape;11562;p1567"/>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563" name="Google Shape;11563;p1567"/>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11564" name="Google Shape;11564;p156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matchingName="Cover">
  <p:cSld name="Cover 14">
    <p:spTree>
      <p:nvGrpSpPr>
        <p:cNvPr id="1" name="Shape 11565"/>
        <p:cNvGrpSpPr/>
        <p:nvPr/>
      </p:nvGrpSpPr>
      <p:grpSpPr>
        <a:xfrm>
          <a:off x="0" y="0"/>
          <a:ext cx="0" cy="0"/>
          <a:chOff x="0" y="0"/>
          <a:chExt cx="0" cy="0"/>
        </a:xfrm>
      </p:grpSpPr>
      <p:sp>
        <p:nvSpPr>
          <p:cNvPr id="11566" name="Google Shape;11566;p156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567" name="Google Shape;11567;p156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568" name="Google Shape;11568;p156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569" name="Google Shape;11569;p1568"/>
          <p:cNvSpPr>
            <a:spLocks noGrp="1"/>
          </p:cNvSpPr>
          <p:nvPr>
            <p:ph type="pic" idx="2"/>
          </p:nvPr>
        </p:nvSpPr>
        <p:spPr>
          <a:xfrm>
            <a:off x="7118684" y="233915"/>
            <a:ext cx="5073316" cy="5943600"/>
          </a:xfrm>
          <a:prstGeom prst="rect">
            <a:avLst/>
          </a:prstGeom>
          <a:noFill/>
          <a:ln>
            <a:noFill/>
          </a:ln>
        </p:spPr>
      </p:sp>
      <p:grpSp>
        <p:nvGrpSpPr>
          <p:cNvPr id="11570" name="Google Shape;11570;p1568"/>
          <p:cNvGrpSpPr/>
          <p:nvPr/>
        </p:nvGrpSpPr>
        <p:grpSpPr>
          <a:xfrm>
            <a:off x="0" y="5020348"/>
            <a:ext cx="12192000" cy="1837653"/>
            <a:chOff x="0" y="5020348"/>
            <a:chExt cx="12192000" cy="1837653"/>
          </a:xfrm>
        </p:grpSpPr>
        <p:sp>
          <p:nvSpPr>
            <p:cNvPr id="11571" name="Google Shape;11571;p156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572" name="Google Shape;11572;p156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1573" name="Google Shape;11573;p156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matchingName="Divider">
  <p:cSld name="Divider 15">
    <p:spTree>
      <p:nvGrpSpPr>
        <p:cNvPr id="1" name="Shape 11574"/>
        <p:cNvGrpSpPr/>
        <p:nvPr/>
      </p:nvGrpSpPr>
      <p:grpSpPr>
        <a:xfrm>
          <a:off x="0" y="0"/>
          <a:ext cx="0" cy="0"/>
          <a:chOff x="0" y="0"/>
          <a:chExt cx="0" cy="0"/>
        </a:xfrm>
      </p:grpSpPr>
      <p:grpSp>
        <p:nvGrpSpPr>
          <p:cNvPr id="11575" name="Google Shape;11575;p1569"/>
          <p:cNvGrpSpPr/>
          <p:nvPr/>
        </p:nvGrpSpPr>
        <p:grpSpPr>
          <a:xfrm>
            <a:off x="0" y="5020347"/>
            <a:ext cx="12192000" cy="1837653"/>
            <a:chOff x="0" y="5020347"/>
            <a:chExt cx="12192000" cy="1837653"/>
          </a:xfrm>
        </p:grpSpPr>
        <p:sp>
          <p:nvSpPr>
            <p:cNvPr id="11576" name="Google Shape;11576;p156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577" name="Google Shape;11577;p156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578" name="Google Shape;11578;p156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1579" name="Google Shape;11579;p156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1580" name="Google Shape;11580;p156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581" name="Google Shape;11581;p156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matchingName="Photo Slide">
  <p:cSld name="Photo Slide 14">
    <p:spTree>
      <p:nvGrpSpPr>
        <p:cNvPr id="1" name="Shape 11582"/>
        <p:cNvGrpSpPr/>
        <p:nvPr/>
      </p:nvGrpSpPr>
      <p:grpSpPr>
        <a:xfrm>
          <a:off x="0" y="0"/>
          <a:ext cx="0" cy="0"/>
          <a:chOff x="0" y="0"/>
          <a:chExt cx="0" cy="0"/>
        </a:xfrm>
      </p:grpSpPr>
      <p:sp>
        <p:nvSpPr>
          <p:cNvPr id="11583" name="Google Shape;11583;p157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584" name="Google Shape;11584;p157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585" name="Google Shape;11585;p1570"/>
          <p:cNvGrpSpPr/>
          <p:nvPr/>
        </p:nvGrpSpPr>
        <p:grpSpPr>
          <a:xfrm>
            <a:off x="0" y="5379426"/>
            <a:ext cx="2807368" cy="753891"/>
            <a:chOff x="0" y="5379426"/>
            <a:chExt cx="2807368" cy="753891"/>
          </a:xfrm>
        </p:grpSpPr>
        <p:sp>
          <p:nvSpPr>
            <p:cNvPr id="11586" name="Google Shape;11586;p157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587" name="Google Shape;11587;p157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1588" name="Google Shape;11588;p1570"/>
          <p:cNvSpPr>
            <a:spLocks noGrp="1"/>
          </p:cNvSpPr>
          <p:nvPr>
            <p:ph type="pic" idx="2"/>
          </p:nvPr>
        </p:nvSpPr>
        <p:spPr>
          <a:xfrm>
            <a:off x="2807368" y="457202"/>
            <a:ext cx="8915400" cy="5943598"/>
          </a:xfrm>
          <a:prstGeom prst="rect">
            <a:avLst/>
          </a:prstGeom>
          <a:noFill/>
          <a:ln>
            <a:noFill/>
          </a:ln>
        </p:spPr>
      </p:sp>
      <p:pic>
        <p:nvPicPr>
          <p:cNvPr id="11589" name="Google Shape;11589;p157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matchingName="Quotation">
  <p:cSld name="Quotation 19">
    <p:spTree>
      <p:nvGrpSpPr>
        <p:cNvPr id="1" name="Shape 11590"/>
        <p:cNvGrpSpPr/>
        <p:nvPr/>
      </p:nvGrpSpPr>
      <p:grpSpPr>
        <a:xfrm>
          <a:off x="0" y="0"/>
          <a:ext cx="0" cy="0"/>
          <a:chOff x="0" y="0"/>
          <a:chExt cx="0" cy="0"/>
        </a:xfrm>
      </p:grpSpPr>
      <p:sp>
        <p:nvSpPr>
          <p:cNvPr id="11591" name="Google Shape;11591;p157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592" name="Google Shape;11592;p157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593" name="Google Shape;11593;p157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94" name="Google Shape;11594;p15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595" name="Google Shape;11595;p15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96" name="Google Shape;11596;p15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597" name="Google Shape;11597;p1571"/>
          <p:cNvGrpSpPr/>
          <p:nvPr/>
        </p:nvGrpSpPr>
        <p:grpSpPr>
          <a:xfrm>
            <a:off x="7191542" y="1"/>
            <a:ext cx="5000459" cy="1425992"/>
            <a:chOff x="7191542" y="1"/>
            <a:chExt cx="5000459" cy="1425992"/>
          </a:xfrm>
        </p:grpSpPr>
        <p:pic>
          <p:nvPicPr>
            <p:cNvPr id="11598" name="Google Shape;11598;p15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599" name="Google Shape;11599;p1571"/>
            <p:cNvGrpSpPr/>
            <p:nvPr/>
          </p:nvGrpSpPr>
          <p:grpSpPr>
            <a:xfrm>
              <a:off x="7191542" y="1"/>
              <a:ext cx="5000459" cy="1425992"/>
              <a:chOff x="7186272" y="0"/>
              <a:chExt cx="5005729" cy="1427495"/>
            </a:xfrm>
          </p:grpSpPr>
          <p:sp>
            <p:nvSpPr>
              <p:cNvPr id="11600" name="Google Shape;11600;p15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601" name="Google Shape;11601;p15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602" name="Google Shape;11602;p157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matchingName="Quotation">
  <p:cSld name="Quotation 20">
    <p:spTree>
      <p:nvGrpSpPr>
        <p:cNvPr id="1" name="Shape 11603"/>
        <p:cNvGrpSpPr/>
        <p:nvPr/>
      </p:nvGrpSpPr>
      <p:grpSpPr>
        <a:xfrm>
          <a:off x="0" y="0"/>
          <a:ext cx="0" cy="0"/>
          <a:chOff x="0" y="0"/>
          <a:chExt cx="0" cy="0"/>
        </a:xfrm>
      </p:grpSpPr>
      <p:sp>
        <p:nvSpPr>
          <p:cNvPr id="11604" name="Google Shape;11604;p157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605" name="Google Shape;11605;p157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606" name="Google Shape;11606;p157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07" name="Google Shape;11607;p15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608" name="Google Shape;11608;p15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09" name="Google Shape;11609;p15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610" name="Google Shape;11610;p1572"/>
          <p:cNvGrpSpPr/>
          <p:nvPr/>
        </p:nvGrpSpPr>
        <p:grpSpPr>
          <a:xfrm>
            <a:off x="7191542" y="1"/>
            <a:ext cx="5000459" cy="1425992"/>
            <a:chOff x="7191542" y="1"/>
            <a:chExt cx="5000459" cy="1425992"/>
          </a:xfrm>
        </p:grpSpPr>
        <p:pic>
          <p:nvPicPr>
            <p:cNvPr id="11611" name="Google Shape;11611;p15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612" name="Google Shape;11612;p1572"/>
            <p:cNvGrpSpPr/>
            <p:nvPr/>
          </p:nvGrpSpPr>
          <p:grpSpPr>
            <a:xfrm>
              <a:off x="7191542" y="1"/>
              <a:ext cx="5000459" cy="1425992"/>
              <a:chOff x="7186272" y="0"/>
              <a:chExt cx="5005729" cy="1427495"/>
            </a:xfrm>
          </p:grpSpPr>
          <p:sp>
            <p:nvSpPr>
              <p:cNvPr id="11613" name="Google Shape;11613;p15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614" name="Google Shape;11614;p15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615" name="Google Shape;11615;p157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matchingName="Title and Content">
  <p:cSld name="Title and Content 15">
    <p:spTree>
      <p:nvGrpSpPr>
        <p:cNvPr id="1" name="Shape 11616"/>
        <p:cNvGrpSpPr/>
        <p:nvPr/>
      </p:nvGrpSpPr>
      <p:grpSpPr>
        <a:xfrm>
          <a:off x="0" y="0"/>
          <a:ext cx="0" cy="0"/>
          <a:chOff x="0" y="0"/>
          <a:chExt cx="0" cy="0"/>
        </a:xfrm>
      </p:grpSpPr>
      <p:grpSp>
        <p:nvGrpSpPr>
          <p:cNvPr id="11617" name="Google Shape;11617;p1573"/>
          <p:cNvGrpSpPr/>
          <p:nvPr/>
        </p:nvGrpSpPr>
        <p:grpSpPr>
          <a:xfrm>
            <a:off x="7191542" y="1"/>
            <a:ext cx="5000459" cy="1425992"/>
            <a:chOff x="7191542" y="1"/>
            <a:chExt cx="5000459" cy="1425992"/>
          </a:xfrm>
        </p:grpSpPr>
        <p:pic>
          <p:nvPicPr>
            <p:cNvPr id="11618" name="Google Shape;11618;p15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619" name="Google Shape;11619;p1573"/>
            <p:cNvGrpSpPr/>
            <p:nvPr/>
          </p:nvGrpSpPr>
          <p:grpSpPr>
            <a:xfrm>
              <a:off x="7191542" y="1"/>
              <a:ext cx="5000459" cy="1425992"/>
              <a:chOff x="7186272" y="0"/>
              <a:chExt cx="5005729" cy="1427495"/>
            </a:xfrm>
          </p:grpSpPr>
          <p:sp>
            <p:nvSpPr>
              <p:cNvPr id="11620" name="Google Shape;11620;p15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621" name="Google Shape;11621;p15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622" name="Google Shape;11622;p15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623" name="Google Shape;11623;p157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24" name="Google Shape;11624;p15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625" name="Google Shape;11625;p15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26" name="Google Shape;11626;p15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itle and Content">
  <p:cSld name="Title and Content 7">
    <p:spTree>
      <p:nvGrpSpPr>
        <p:cNvPr id="1" name="Shape 9185"/>
        <p:cNvGrpSpPr/>
        <p:nvPr/>
      </p:nvGrpSpPr>
      <p:grpSpPr>
        <a:xfrm>
          <a:off x="0" y="0"/>
          <a:ext cx="0" cy="0"/>
          <a:chOff x="0" y="0"/>
          <a:chExt cx="0" cy="0"/>
        </a:xfrm>
      </p:grpSpPr>
      <p:grpSp>
        <p:nvGrpSpPr>
          <p:cNvPr id="9186" name="Google Shape;9186;p35"/>
          <p:cNvGrpSpPr/>
          <p:nvPr/>
        </p:nvGrpSpPr>
        <p:grpSpPr>
          <a:xfrm>
            <a:off x="7191542" y="1"/>
            <a:ext cx="5000459" cy="1425992"/>
            <a:chOff x="7191542" y="1"/>
            <a:chExt cx="5000459" cy="1425992"/>
          </a:xfrm>
        </p:grpSpPr>
        <p:pic>
          <p:nvPicPr>
            <p:cNvPr id="9187" name="Google Shape;9187;p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188" name="Google Shape;9188;p35"/>
            <p:cNvGrpSpPr/>
            <p:nvPr/>
          </p:nvGrpSpPr>
          <p:grpSpPr>
            <a:xfrm>
              <a:off x="7191542" y="1"/>
              <a:ext cx="5000459" cy="1425992"/>
              <a:chOff x="7186272" y="0"/>
              <a:chExt cx="5005729" cy="1427495"/>
            </a:xfrm>
          </p:grpSpPr>
          <p:sp>
            <p:nvSpPr>
              <p:cNvPr id="9189" name="Google Shape;9189;p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190" name="Google Shape;9190;p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191" name="Google Shape;9191;p3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92" name="Google Shape;9192;p3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93" name="Google Shape;9193;p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194" name="Google Shape;9194;p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95" name="Google Shape;9195;p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matchingName="Two Content">
  <p:cSld name="Two Content 13">
    <p:spTree>
      <p:nvGrpSpPr>
        <p:cNvPr id="1" name="Shape 11627"/>
        <p:cNvGrpSpPr/>
        <p:nvPr/>
      </p:nvGrpSpPr>
      <p:grpSpPr>
        <a:xfrm>
          <a:off x="0" y="0"/>
          <a:ext cx="0" cy="0"/>
          <a:chOff x="0" y="0"/>
          <a:chExt cx="0" cy="0"/>
        </a:xfrm>
      </p:grpSpPr>
      <p:sp>
        <p:nvSpPr>
          <p:cNvPr id="11628" name="Google Shape;11628;p157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629" name="Google Shape;11629;p157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630" name="Google Shape;11630;p1574"/>
          <p:cNvGrpSpPr/>
          <p:nvPr/>
        </p:nvGrpSpPr>
        <p:grpSpPr>
          <a:xfrm>
            <a:off x="7191542" y="1"/>
            <a:ext cx="5000459" cy="1425992"/>
            <a:chOff x="7191542" y="1"/>
            <a:chExt cx="5000459" cy="1425992"/>
          </a:xfrm>
        </p:grpSpPr>
        <p:pic>
          <p:nvPicPr>
            <p:cNvPr id="11631" name="Google Shape;11631;p15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632" name="Google Shape;11632;p1574"/>
            <p:cNvGrpSpPr/>
            <p:nvPr/>
          </p:nvGrpSpPr>
          <p:grpSpPr>
            <a:xfrm>
              <a:off x="7191542" y="1"/>
              <a:ext cx="5000459" cy="1425992"/>
              <a:chOff x="7186272" y="0"/>
              <a:chExt cx="5005729" cy="1427495"/>
            </a:xfrm>
          </p:grpSpPr>
          <p:sp>
            <p:nvSpPr>
              <p:cNvPr id="11633" name="Google Shape;11633;p15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634" name="Google Shape;11634;p15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635" name="Google Shape;11635;p157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36" name="Google Shape;11636;p157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637" name="Google Shape;11637;p15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38" name="Google Shape;11638;p15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matchingName="Comparison">
  <p:cSld name="Comparison 12">
    <p:spTree>
      <p:nvGrpSpPr>
        <p:cNvPr id="1" name="Shape 11639"/>
        <p:cNvGrpSpPr/>
        <p:nvPr/>
      </p:nvGrpSpPr>
      <p:grpSpPr>
        <a:xfrm>
          <a:off x="0" y="0"/>
          <a:ext cx="0" cy="0"/>
          <a:chOff x="0" y="0"/>
          <a:chExt cx="0" cy="0"/>
        </a:xfrm>
      </p:grpSpPr>
      <p:grpSp>
        <p:nvGrpSpPr>
          <p:cNvPr id="11640" name="Google Shape;11640;p1575"/>
          <p:cNvGrpSpPr/>
          <p:nvPr/>
        </p:nvGrpSpPr>
        <p:grpSpPr>
          <a:xfrm>
            <a:off x="7191542" y="1"/>
            <a:ext cx="5000459" cy="1425992"/>
            <a:chOff x="7191542" y="1"/>
            <a:chExt cx="5000459" cy="1425992"/>
          </a:xfrm>
        </p:grpSpPr>
        <p:pic>
          <p:nvPicPr>
            <p:cNvPr id="11641" name="Google Shape;11641;p15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642" name="Google Shape;11642;p1575"/>
            <p:cNvGrpSpPr/>
            <p:nvPr/>
          </p:nvGrpSpPr>
          <p:grpSpPr>
            <a:xfrm>
              <a:off x="7191542" y="1"/>
              <a:ext cx="5000459" cy="1425992"/>
              <a:chOff x="7186272" y="0"/>
              <a:chExt cx="5005729" cy="1427495"/>
            </a:xfrm>
          </p:grpSpPr>
          <p:sp>
            <p:nvSpPr>
              <p:cNvPr id="11643" name="Google Shape;11643;p15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644" name="Google Shape;11644;p15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645" name="Google Shape;11645;p157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646" name="Google Shape;11646;p157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647" name="Google Shape;11647;p157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48" name="Google Shape;11648;p157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649" name="Google Shape;11649;p157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50" name="Google Shape;11650;p15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651" name="Google Shape;11651;p15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52" name="Google Shape;11652;p15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matchingName="Title Only">
  <p:cSld name="Title Only 12">
    <p:spTree>
      <p:nvGrpSpPr>
        <p:cNvPr id="1" name="Shape 11653"/>
        <p:cNvGrpSpPr/>
        <p:nvPr/>
      </p:nvGrpSpPr>
      <p:grpSpPr>
        <a:xfrm>
          <a:off x="0" y="0"/>
          <a:ext cx="0" cy="0"/>
          <a:chOff x="0" y="0"/>
          <a:chExt cx="0" cy="0"/>
        </a:xfrm>
      </p:grpSpPr>
      <p:grpSp>
        <p:nvGrpSpPr>
          <p:cNvPr id="11654" name="Google Shape;11654;p1576"/>
          <p:cNvGrpSpPr/>
          <p:nvPr/>
        </p:nvGrpSpPr>
        <p:grpSpPr>
          <a:xfrm>
            <a:off x="7191542" y="1"/>
            <a:ext cx="5000459" cy="1425992"/>
            <a:chOff x="7191542" y="1"/>
            <a:chExt cx="5000459" cy="1425992"/>
          </a:xfrm>
        </p:grpSpPr>
        <p:pic>
          <p:nvPicPr>
            <p:cNvPr id="11655" name="Google Shape;11655;p15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656" name="Google Shape;11656;p1576"/>
            <p:cNvGrpSpPr/>
            <p:nvPr/>
          </p:nvGrpSpPr>
          <p:grpSpPr>
            <a:xfrm>
              <a:off x="7191542" y="1"/>
              <a:ext cx="5000459" cy="1425992"/>
              <a:chOff x="7186272" y="0"/>
              <a:chExt cx="5005729" cy="1427495"/>
            </a:xfrm>
          </p:grpSpPr>
          <p:sp>
            <p:nvSpPr>
              <p:cNvPr id="11657" name="Google Shape;11657;p15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658" name="Google Shape;11658;p15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659" name="Google Shape;11659;p157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660" name="Google Shape;11660;p15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661" name="Google Shape;11661;p15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62" name="Google Shape;11662;p15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matchingName="End">
  <p:cSld name="End 13">
    <p:spTree>
      <p:nvGrpSpPr>
        <p:cNvPr id="1" name="Shape 11663"/>
        <p:cNvGrpSpPr/>
        <p:nvPr/>
      </p:nvGrpSpPr>
      <p:grpSpPr>
        <a:xfrm>
          <a:off x="0" y="0"/>
          <a:ext cx="0" cy="0"/>
          <a:chOff x="0" y="0"/>
          <a:chExt cx="0" cy="0"/>
        </a:xfrm>
      </p:grpSpPr>
      <p:grpSp>
        <p:nvGrpSpPr>
          <p:cNvPr id="11664" name="Google Shape;11664;p1577"/>
          <p:cNvGrpSpPr/>
          <p:nvPr/>
        </p:nvGrpSpPr>
        <p:grpSpPr>
          <a:xfrm>
            <a:off x="0" y="0"/>
            <a:ext cx="12192000" cy="2148830"/>
            <a:chOff x="0" y="0"/>
            <a:chExt cx="12192000" cy="2148830"/>
          </a:xfrm>
        </p:grpSpPr>
        <p:sp>
          <p:nvSpPr>
            <p:cNvPr id="11665" name="Google Shape;11665;p157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666" name="Google Shape;11666;p157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1667" name="Google Shape;11667;p157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668" name="Google Shape;11668;p157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69" name="Google Shape;11669;p157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1670" name="Google Shape;11670;p157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1671" name="Google Shape;11671;p157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matchingName="Blank">
  <p:cSld name="Blank 12">
    <p:spTree>
      <p:nvGrpSpPr>
        <p:cNvPr id="1" name="Shape 11672"/>
        <p:cNvGrpSpPr/>
        <p:nvPr/>
      </p:nvGrpSpPr>
      <p:grpSpPr>
        <a:xfrm>
          <a:off x="0" y="0"/>
          <a:ext cx="0" cy="0"/>
          <a:chOff x="0" y="0"/>
          <a:chExt cx="0" cy="0"/>
        </a:xfrm>
      </p:grpSpPr>
      <p:sp>
        <p:nvSpPr>
          <p:cNvPr id="11673" name="Google Shape;11673;p15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674" name="Google Shape;11674;p15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75" name="Google Shape;11675;p15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676" name="Google Shape;11676;p1578"/>
          <p:cNvGrpSpPr/>
          <p:nvPr/>
        </p:nvGrpSpPr>
        <p:grpSpPr>
          <a:xfrm>
            <a:off x="7191542" y="1"/>
            <a:ext cx="5000459" cy="1425992"/>
            <a:chOff x="7191542" y="1"/>
            <a:chExt cx="5000459" cy="1425992"/>
          </a:xfrm>
        </p:grpSpPr>
        <p:pic>
          <p:nvPicPr>
            <p:cNvPr id="11677" name="Google Shape;11677;p15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678" name="Google Shape;11678;p1578"/>
            <p:cNvGrpSpPr/>
            <p:nvPr/>
          </p:nvGrpSpPr>
          <p:grpSpPr>
            <a:xfrm>
              <a:off x="7191542" y="1"/>
              <a:ext cx="5000459" cy="1425992"/>
              <a:chOff x="7186272" y="0"/>
              <a:chExt cx="5005729" cy="1427495"/>
            </a:xfrm>
          </p:grpSpPr>
          <p:sp>
            <p:nvSpPr>
              <p:cNvPr id="11679" name="Google Shape;11679;p15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680" name="Google Shape;11680;p15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matchingName="Quotation">
  <p:cSld name="Quotation 18 2">
    <p:spTree>
      <p:nvGrpSpPr>
        <p:cNvPr id="1" name="Shape 11681"/>
        <p:cNvGrpSpPr/>
        <p:nvPr/>
      </p:nvGrpSpPr>
      <p:grpSpPr>
        <a:xfrm>
          <a:off x="0" y="0"/>
          <a:ext cx="0" cy="0"/>
          <a:chOff x="0" y="0"/>
          <a:chExt cx="0" cy="0"/>
        </a:xfrm>
      </p:grpSpPr>
      <p:sp>
        <p:nvSpPr>
          <p:cNvPr id="11682" name="Google Shape;11682;p157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683" name="Google Shape;11683;p157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684" name="Google Shape;11684;p157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85" name="Google Shape;11685;p157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686" name="Google Shape;11686;p15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87" name="Google Shape;11687;p15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688" name="Google Shape;11688;p1579"/>
          <p:cNvGrpSpPr/>
          <p:nvPr/>
        </p:nvGrpSpPr>
        <p:grpSpPr>
          <a:xfrm>
            <a:off x="7191542" y="1"/>
            <a:ext cx="5000459" cy="1425992"/>
            <a:chOff x="7191542" y="1"/>
            <a:chExt cx="5000459" cy="1425992"/>
          </a:xfrm>
        </p:grpSpPr>
        <p:pic>
          <p:nvPicPr>
            <p:cNvPr id="11689" name="Google Shape;11689;p15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690" name="Google Shape;11690;p1579"/>
            <p:cNvGrpSpPr/>
            <p:nvPr/>
          </p:nvGrpSpPr>
          <p:grpSpPr>
            <a:xfrm>
              <a:off x="7191542" y="1"/>
              <a:ext cx="5000459" cy="1425992"/>
              <a:chOff x="7186272" y="0"/>
              <a:chExt cx="5005729" cy="1427495"/>
            </a:xfrm>
          </p:grpSpPr>
          <p:sp>
            <p:nvSpPr>
              <p:cNvPr id="11691" name="Google Shape;11691;p15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692" name="Google Shape;11692;p15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693" name="Google Shape;11693;p157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matchingName="Two Content">
  <p:cSld name="Two Content 12 2">
    <p:spTree>
      <p:nvGrpSpPr>
        <p:cNvPr id="1" name="Shape 11694"/>
        <p:cNvGrpSpPr/>
        <p:nvPr/>
      </p:nvGrpSpPr>
      <p:grpSpPr>
        <a:xfrm>
          <a:off x="0" y="0"/>
          <a:ext cx="0" cy="0"/>
          <a:chOff x="0" y="0"/>
          <a:chExt cx="0" cy="0"/>
        </a:xfrm>
      </p:grpSpPr>
      <p:sp>
        <p:nvSpPr>
          <p:cNvPr id="11695" name="Google Shape;11695;p158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696" name="Google Shape;11696;p1580"/>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697" name="Google Shape;11697;p1580"/>
          <p:cNvGrpSpPr/>
          <p:nvPr/>
        </p:nvGrpSpPr>
        <p:grpSpPr>
          <a:xfrm>
            <a:off x="7191542" y="1"/>
            <a:ext cx="5000459" cy="1425992"/>
            <a:chOff x="7191542" y="1"/>
            <a:chExt cx="5000459" cy="1425992"/>
          </a:xfrm>
        </p:grpSpPr>
        <p:pic>
          <p:nvPicPr>
            <p:cNvPr id="11698" name="Google Shape;11698;p15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699" name="Google Shape;11699;p1580"/>
            <p:cNvGrpSpPr/>
            <p:nvPr/>
          </p:nvGrpSpPr>
          <p:grpSpPr>
            <a:xfrm>
              <a:off x="7191542" y="1"/>
              <a:ext cx="5000459" cy="1425992"/>
              <a:chOff x="7186272" y="0"/>
              <a:chExt cx="5005729" cy="1427495"/>
            </a:xfrm>
          </p:grpSpPr>
          <p:sp>
            <p:nvSpPr>
              <p:cNvPr id="11700" name="Google Shape;11700;p15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701" name="Google Shape;11701;p15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702" name="Google Shape;11702;p1580"/>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03" name="Google Shape;11703;p1580"/>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704" name="Google Shape;11704;p15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705" name="Google Shape;11705;p15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matchingName="Comparison">
  <p:cSld name="Comparison 11 2">
    <p:spTree>
      <p:nvGrpSpPr>
        <p:cNvPr id="1" name="Shape 11706"/>
        <p:cNvGrpSpPr/>
        <p:nvPr/>
      </p:nvGrpSpPr>
      <p:grpSpPr>
        <a:xfrm>
          <a:off x="0" y="0"/>
          <a:ext cx="0" cy="0"/>
          <a:chOff x="0" y="0"/>
          <a:chExt cx="0" cy="0"/>
        </a:xfrm>
      </p:grpSpPr>
      <p:grpSp>
        <p:nvGrpSpPr>
          <p:cNvPr id="11707" name="Google Shape;11707;p1581"/>
          <p:cNvGrpSpPr/>
          <p:nvPr/>
        </p:nvGrpSpPr>
        <p:grpSpPr>
          <a:xfrm>
            <a:off x="7191542" y="1"/>
            <a:ext cx="5000459" cy="1425992"/>
            <a:chOff x="7191542" y="1"/>
            <a:chExt cx="5000459" cy="1425992"/>
          </a:xfrm>
        </p:grpSpPr>
        <p:pic>
          <p:nvPicPr>
            <p:cNvPr id="11708" name="Google Shape;11708;p15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709" name="Google Shape;11709;p1581"/>
            <p:cNvGrpSpPr/>
            <p:nvPr/>
          </p:nvGrpSpPr>
          <p:grpSpPr>
            <a:xfrm>
              <a:off x="7191542" y="1"/>
              <a:ext cx="5000459" cy="1425992"/>
              <a:chOff x="7186272" y="0"/>
              <a:chExt cx="5005729" cy="1427495"/>
            </a:xfrm>
          </p:grpSpPr>
          <p:sp>
            <p:nvSpPr>
              <p:cNvPr id="11710" name="Google Shape;11710;p15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711" name="Google Shape;11711;p15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712" name="Google Shape;11712;p15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713" name="Google Shape;11713;p1581"/>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714" name="Google Shape;11714;p1581"/>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15" name="Google Shape;11715;p158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716" name="Google Shape;11716;p158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17" name="Google Shape;11717;p15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718" name="Google Shape;11718;p15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719" name="Google Shape;11719;p15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matchingName="Title Only">
  <p:cSld name="Title Only 11 2">
    <p:spTree>
      <p:nvGrpSpPr>
        <p:cNvPr id="1" name="Shape 11720"/>
        <p:cNvGrpSpPr/>
        <p:nvPr/>
      </p:nvGrpSpPr>
      <p:grpSpPr>
        <a:xfrm>
          <a:off x="0" y="0"/>
          <a:ext cx="0" cy="0"/>
          <a:chOff x="0" y="0"/>
          <a:chExt cx="0" cy="0"/>
        </a:xfrm>
      </p:grpSpPr>
      <p:grpSp>
        <p:nvGrpSpPr>
          <p:cNvPr id="11721" name="Google Shape;11721;p1582"/>
          <p:cNvGrpSpPr/>
          <p:nvPr/>
        </p:nvGrpSpPr>
        <p:grpSpPr>
          <a:xfrm>
            <a:off x="7191542" y="1"/>
            <a:ext cx="5000459" cy="1425992"/>
            <a:chOff x="7191542" y="1"/>
            <a:chExt cx="5000459" cy="1425992"/>
          </a:xfrm>
        </p:grpSpPr>
        <p:pic>
          <p:nvPicPr>
            <p:cNvPr id="11722" name="Google Shape;11722;p15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723" name="Google Shape;11723;p1582"/>
            <p:cNvGrpSpPr/>
            <p:nvPr/>
          </p:nvGrpSpPr>
          <p:grpSpPr>
            <a:xfrm>
              <a:off x="7191542" y="1"/>
              <a:ext cx="5000459" cy="1425992"/>
              <a:chOff x="7186272" y="0"/>
              <a:chExt cx="5005729" cy="1427495"/>
            </a:xfrm>
          </p:grpSpPr>
          <p:sp>
            <p:nvSpPr>
              <p:cNvPr id="11724" name="Google Shape;11724;p15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725" name="Google Shape;11725;p15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726" name="Google Shape;11726;p158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727" name="Google Shape;11727;p15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728" name="Google Shape;11728;p15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729" name="Google Shape;11729;p15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matchingName="End">
  <p:cSld name="End 12 2">
    <p:spTree>
      <p:nvGrpSpPr>
        <p:cNvPr id="1" name="Shape 11730"/>
        <p:cNvGrpSpPr/>
        <p:nvPr/>
      </p:nvGrpSpPr>
      <p:grpSpPr>
        <a:xfrm>
          <a:off x="0" y="0"/>
          <a:ext cx="0" cy="0"/>
          <a:chOff x="0" y="0"/>
          <a:chExt cx="0" cy="0"/>
        </a:xfrm>
      </p:grpSpPr>
      <p:grpSp>
        <p:nvGrpSpPr>
          <p:cNvPr id="11731" name="Google Shape;11731;p1583"/>
          <p:cNvGrpSpPr/>
          <p:nvPr/>
        </p:nvGrpSpPr>
        <p:grpSpPr>
          <a:xfrm>
            <a:off x="0" y="0"/>
            <a:ext cx="12192000" cy="2148830"/>
            <a:chOff x="0" y="0"/>
            <a:chExt cx="12192000" cy="2148830"/>
          </a:xfrm>
        </p:grpSpPr>
        <p:sp>
          <p:nvSpPr>
            <p:cNvPr id="11732" name="Google Shape;11732;p158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733" name="Google Shape;11733;p158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1734" name="Google Shape;11734;p1583"/>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735" name="Google Shape;11735;p1583"/>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36" name="Google Shape;11736;p1583"/>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1737" name="Google Shape;11737;p1583"/>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1738" name="Google Shape;11738;p1583"/>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Cover">
  <p:cSld name="Cover 2">
    <p:spTree>
      <p:nvGrpSpPr>
        <p:cNvPr id="1" name="Shape 9196"/>
        <p:cNvGrpSpPr/>
        <p:nvPr/>
      </p:nvGrpSpPr>
      <p:grpSpPr>
        <a:xfrm>
          <a:off x="0" y="0"/>
          <a:ext cx="0" cy="0"/>
          <a:chOff x="0" y="0"/>
          <a:chExt cx="0" cy="0"/>
        </a:xfrm>
      </p:grpSpPr>
      <p:sp>
        <p:nvSpPr>
          <p:cNvPr id="9197" name="Google Shape;9197;p133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98" name="Google Shape;9198;p133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99" name="Google Shape;9199;p133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200" name="Google Shape;9200;p1332"/>
          <p:cNvSpPr>
            <a:spLocks noGrp="1"/>
          </p:cNvSpPr>
          <p:nvPr>
            <p:ph type="pic" idx="2"/>
          </p:nvPr>
        </p:nvSpPr>
        <p:spPr>
          <a:xfrm>
            <a:off x="7118684" y="233915"/>
            <a:ext cx="5073316" cy="5943600"/>
          </a:xfrm>
          <a:prstGeom prst="rect">
            <a:avLst/>
          </a:prstGeom>
          <a:noFill/>
          <a:ln>
            <a:noFill/>
          </a:ln>
        </p:spPr>
      </p:sp>
      <p:grpSp>
        <p:nvGrpSpPr>
          <p:cNvPr id="9201" name="Google Shape;9201;p1332"/>
          <p:cNvGrpSpPr/>
          <p:nvPr/>
        </p:nvGrpSpPr>
        <p:grpSpPr>
          <a:xfrm>
            <a:off x="0" y="5020348"/>
            <a:ext cx="12192000" cy="1837653"/>
            <a:chOff x="0" y="5020348"/>
            <a:chExt cx="12192000" cy="1837653"/>
          </a:xfrm>
        </p:grpSpPr>
        <p:sp>
          <p:nvSpPr>
            <p:cNvPr id="9202" name="Google Shape;9202;p133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203" name="Google Shape;9203;p133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204" name="Google Shape;9204;p133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matchingName="Blank">
  <p:cSld name="Blank 11 2">
    <p:spTree>
      <p:nvGrpSpPr>
        <p:cNvPr id="1" name="Shape 11739"/>
        <p:cNvGrpSpPr/>
        <p:nvPr/>
      </p:nvGrpSpPr>
      <p:grpSpPr>
        <a:xfrm>
          <a:off x="0" y="0"/>
          <a:ext cx="0" cy="0"/>
          <a:chOff x="0" y="0"/>
          <a:chExt cx="0" cy="0"/>
        </a:xfrm>
      </p:grpSpPr>
      <p:sp>
        <p:nvSpPr>
          <p:cNvPr id="11740" name="Google Shape;11740;p15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741" name="Google Shape;11741;p15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742" name="Google Shape;11742;p15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743" name="Google Shape;11743;p1584"/>
          <p:cNvGrpSpPr/>
          <p:nvPr/>
        </p:nvGrpSpPr>
        <p:grpSpPr>
          <a:xfrm>
            <a:off x="7191542" y="1"/>
            <a:ext cx="5000459" cy="1425992"/>
            <a:chOff x="7191542" y="1"/>
            <a:chExt cx="5000459" cy="1425992"/>
          </a:xfrm>
        </p:grpSpPr>
        <p:pic>
          <p:nvPicPr>
            <p:cNvPr id="11744" name="Google Shape;11744;p15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745" name="Google Shape;11745;p1584"/>
            <p:cNvGrpSpPr/>
            <p:nvPr/>
          </p:nvGrpSpPr>
          <p:grpSpPr>
            <a:xfrm>
              <a:off x="7191542" y="1"/>
              <a:ext cx="5000459" cy="1425992"/>
              <a:chOff x="7186272" y="0"/>
              <a:chExt cx="5005729" cy="1427495"/>
            </a:xfrm>
          </p:grpSpPr>
          <p:sp>
            <p:nvSpPr>
              <p:cNvPr id="11746" name="Google Shape;11746;p15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747" name="Google Shape;11747;p15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matchingName="4_Quotation">
  <p:cSld name="4_Quotation 2 3">
    <p:spTree>
      <p:nvGrpSpPr>
        <p:cNvPr id="1" name="Shape 11748"/>
        <p:cNvGrpSpPr/>
        <p:nvPr/>
      </p:nvGrpSpPr>
      <p:grpSpPr>
        <a:xfrm>
          <a:off x="0" y="0"/>
          <a:ext cx="0" cy="0"/>
          <a:chOff x="0" y="0"/>
          <a:chExt cx="0" cy="0"/>
        </a:xfrm>
      </p:grpSpPr>
      <p:sp>
        <p:nvSpPr>
          <p:cNvPr id="11749" name="Google Shape;11749;p158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750" name="Google Shape;11750;p158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751" name="Google Shape;11751;p158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52" name="Google Shape;11752;p15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753" name="Google Shape;11753;p15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754" name="Google Shape;11754;p15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755" name="Google Shape;11755;p1585"/>
          <p:cNvGrpSpPr/>
          <p:nvPr/>
        </p:nvGrpSpPr>
        <p:grpSpPr>
          <a:xfrm>
            <a:off x="7191542" y="1"/>
            <a:ext cx="5000459" cy="1425992"/>
            <a:chOff x="7191542" y="1"/>
            <a:chExt cx="5000459" cy="1425992"/>
          </a:xfrm>
        </p:grpSpPr>
        <p:pic>
          <p:nvPicPr>
            <p:cNvPr id="11756" name="Google Shape;11756;p15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757" name="Google Shape;11757;p1585"/>
            <p:cNvGrpSpPr/>
            <p:nvPr/>
          </p:nvGrpSpPr>
          <p:grpSpPr>
            <a:xfrm>
              <a:off x="7191542" y="1"/>
              <a:ext cx="5000459" cy="1425992"/>
              <a:chOff x="7186272" y="0"/>
              <a:chExt cx="5005729" cy="1427495"/>
            </a:xfrm>
          </p:grpSpPr>
          <p:sp>
            <p:nvSpPr>
              <p:cNvPr id="11758" name="Google Shape;11758;p15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759" name="Google Shape;11759;p15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760" name="Google Shape;11760;p158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matchingName="Cover">
  <p:cSld name="Cover 14 2">
    <p:spTree>
      <p:nvGrpSpPr>
        <p:cNvPr id="1" name="Shape 11761"/>
        <p:cNvGrpSpPr/>
        <p:nvPr/>
      </p:nvGrpSpPr>
      <p:grpSpPr>
        <a:xfrm>
          <a:off x="0" y="0"/>
          <a:ext cx="0" cy="0"/>
          <a:chOff x="0" y="0"/>
          <a:chExt cx="0" cy="0"/>
        </a:xfrm>
      </p:grpSpPr>
      <p:sp>
        <p:nvSpPr>
          <p:cNvPr id="11762" name="Google Shape;11762;p158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763" name="Google Shape;11763;p158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764" name="Google Shape;11764;p158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765" name="Google Shape;11765;p1586"/>
          <p:cNvSpPr>
            <a:spLocks noGrp="1"/>
          </p:cNvSpPr>
          <p:nvPr>
            <p:ph type="pic" idx="2"/>
          </p:nvPr>
        </p:nvSpPr>
        <p:spPr>
          <a:xfrm>
            <a:off x="7118684" y="233915"/>
            <a:ext cx="5073316" cy="5943600"/>
          </a:xfrm>
          <a:prstGeom prst="rect">
            <a:avLst/>
          </a:prstGeom>
          <a:noFill/>
          <a:ln>
            <a:noFill/>
          </a:ln>
        </p:spPr>
      </p:sp>
      <p:grpSp>
        <p:nvGrpSpPr>
          <p:cNvPr id="11766" name="Google Shape;11766;p1586"/>
          <p:cNvGrpSpPr/>
          <p:nvPr/>
        </p:nvGrpSpPr>
        <p:grpSpPr>
          <a:xfrm>
            <a:off x="0" y="5020348"/>
            <a:ext cx="12192000" cy="1837653"/>
            <a:chOff x="0" y="5020348"/>
            <a:chExt cx="12192000" cy="1837653"/>
          </a:xfrm>
        </p:grpSpPr>
        <p:sp>
          <p:nvSpPr>
            <p:cNvPr id="11767" name="Google Shape;11767;p158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768" name="Google Shape;11768;p158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1769" name="Google Shape;11769;p158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matchingName="Divider">
  <p:cSld name="Divider 15 2">
    <p:spTree>
      <p:nvGrpSpPr>
        <p:cNvPr id="1" name="Shape 11770"/>
        <p:cNvGrpSpPr/>
        <p:nvPr/>
      </p:nvGrpSpPr>
      <p:grpSpPr>
        <a:xfrm>
          <a:off x="0" y="0"/>
          <a:ext cx="0" cy="0"/>
          <a:chOff x="0" y="0"/>
          <a:chExt cx="0" cy="0"/>
        </a:xfrm>
      </p:grpSpPr>
      <p:grpSp>
        <p:nvGrpSpPr>
          <p:cNvPr id="11771" name="Google Shape;11771;p1587"/>
          <p:cNvGrpSpPr/>
          <p:nvPr/>
        </p:nvGrpSpPr>
        <p:grpSpPr>
          <a:xfrm>
            <a:off x="0" y="5020347"/>
            <a:ext cx="12192000" cy="1837653"/>
            <a:chOff x="0" y="5020347"/>
            <a:chExt cx="12192000" cy="1837653"/>
          </a:xfrm>
        </p:grpSpPr>
        <p:sp>
          <p:nvSpPr>
            <p:cNvPr id="11772" name="Google Shape;11772;p158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773" name="Google Shape;11773;p158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774" name="Google Shape;11774;p158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1775" name="Google Shape;11775;p158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1776" name="Google Shape;11776;p158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777" name="Google Shape;11777;p158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matchingName="Photo Slide">
  <p:cSld name="Photo Slide 14 2">
    <p:spTree>
      <p:nvGrpSpPr>
        <p:cNvPr id="1" name="Shape 11778"/>
        <p:cNvGrpSpPr/>
        <p:nvPr/>
      </p:nvGrpSpPr>
      <p:grpSpPr>
        <a:xfrm>
          <a:off x="0" y="0"/>
          <a:ext cx="0" cy="0"/>
          <a:chOff x="0" y="0"/>
          <a:chExt cx="0" cy="0"/>
        </a:xfrm>
      </p:grpSpPr>
      <p:sp>
        <p:nvSpPr>
          <p:cNvPr id="11779" name="Google Shape;11779;p158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780" name="Google Shape;11780;p158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781" name="Google Shape;11781;p1588"/>
          <p:cNvGrpSpPr/>
          <p:nvPr/>
        </p:nvGrpSpPr>
        <p:grpSpPr>
          <a:xfrm>
            <a:off x="0" y="5379426"/>
            <a:ext cx="2807368" cy="753891"/>
            <a:chOff x="0" y="5379426"/>
            <a:chExt cx="2807368" cy="753891"/>
          </a:xfrm>
        </p:grpSpPr>
        <p:sp>
          <p:nvSpPr>
            <p:cNvPr id="11782" name="Google Shape;11782;p158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783" name="Google Shape;11783;p158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1784" name="Google Shape;11784;p1588"/>
          <p:cNvSpPr>
            <a:spLocks noGrp="1"/>
          </p:cNvSpPr>
          <p:nvPr>
            <p:ph type="pic" idx="2"/>
          </p:nvPr>
        </p:nvSpPr>
        <p:spPr>
          <a:xfrm>
            <a:off x="2807368" y="457202"/>
            <a:ext cx="8915400" cy="5943598"/>
          </a:xfrm>
          <a:prstGeom prst="rect">
            <a:avLst/>
          </a:prstGeom>
          <a:noFill/>
          <a:ln>
            <a:noFill/>
          </a:ln>
        </p:spPr>
      </p:sp>
      <p:pic>
        <p:nvPicPr>
          <p:cNvPr id="11785" name="Google Shape;11785;p158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matchingName="Quotation">
  <p:cSld name="Quotation 19 2">
    <p:spTree>
      <p:nvGrpSpPr>
        <p:cNvPr id="1" name="Shape 11786"/>
        <p:cNvGrpSpPr/>
        <p:nvPr/>
      </p:nvGrpSpPr>
      <p:grpSpPr>
        <a:xfrm>
          <a:off x="0" y="0"/>
          <a:ext cx="0" cy="0"/>
          <a:chOff x="0" y="0"/>
          <a:chExt cx="0" cy="0"/>
        </a:xfrm>
      </p:grpSpPr>
      <p:sp>
        <p:nvSpPr>
          <p:cNvPr id="11787" name="Google Shape;11787;p15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788" name="Google Shape;11788;p15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789" name="Google Shape;11789;p15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90" name="Google Shape;11790;p15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791" name="Google Shape;11791;p15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792" name="Google Shape;11792;p15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793" name="Google Shape;11793;p1589"/>
          <p:cNvGrpSpPr/>
          <p:nvPr/>
        </p:nvGrpSpPr>
        <p:grpSpPr>
          <a:xfrm>
            <a:off x="7191542" y="1"/>
            <a:ext cx="5000459" cy="1425992"/>
            <a:chOff x="7191542" y="1"/>
            <a:chExt cx="5000459" cy="1425992"/>
          </a:xfrm>
        </p:grpSpPr>
        <p:pic>
          <p:nvPicPr>
            <p:cNvPr id="11794" name="Google Shape;11794;p15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795" name="Google Shape;11795;p1589"/>
            <p:cNvGrpSpPr/>
            <p:nvPr/>
          </p:nvGrpSpPr>
          <p:grpSpPr>
            <a:xfrm>
              <a:off x="7191542" y="1"/>
              <a:ext cx="5000459" cy="1425992"/>
              <a:chOff x="7186272" y="0"/>
              <a:chExt cx="5005729" cy="1427495"/>
            </a:xfrm>
          </p:grpSpPr>
          <p:sp>
            <p:nvSpPr>
              <p:cNvPr id="11796" name="Google Shape;11796;p15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797" name="Google Shape;11797;p15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798" name="Google Shape;11798;p158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matchingName="Quotation">
  <p:cSld name="Quotation 20 2">
    <p:spTree>
      <p:nvGrpSpPr>
        <p:cNvPr id="1" name="Shape 11799"/>
        <p:cNvGrpSpPr/>
        <p:nvPr/>
      </p:nvGrpSpPr>
      <p:grpSpPr>
        <a:xfrm>
          <a:off x="0" y="0"/>
          <a:ext cx="0" cy="0"/>
          <a:chOff x="0" y="0"/>
          <a:chExt cx="0" cy="0"/>
        </a:xfrm>
      </p:grpSpPr>
      <p:sp>
        <p:nvSpPr>
          <p:cNvPr id="11800" name="Google Shape;11800;p15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801" name="Google Shape;11801;p15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802" name="Google Shape;11802;p15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03" name="Google Shape;11803;p15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804" name="Google Shape;11804;p15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05" name="Google Shape;11805;p15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806" name="Google Shape;11806;p1590"/>
          <p:cNvGrpSpPr/>
          <p:nvPr/>
        </p:nvGrpSpPr>
        <p:grpSpPr>
          <a:xfrm>
            <a:off x="7191542" y="1"/>
            <a:ext cx="5000459" cy="1425992"/>
            <a:chOff x="7191542" y="1"/>
            <a:chExt cx="5000459" cy="1425992"/>
          </a:xfrm>
        </p:grpSpPr>
        <p:pic>
          <p:nvPicPr>
            <p:cNvPr id="11807" name="Google Shape;11807;p15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808" name="Google Shape;11808;p1590"/>
            <p:cNvGrpSpPr/>
            <p:nvPr/>
          </p:nvGrpSpPr>
          <p:grpSpPr>
            <a:xfrm>
              <a:off x="7191542" y="1"/>
              <a:ext cx="5000459" cy="1425992"/>
              <a:chOff x="7186272" y="0"/>
              <a:chExt cx="5005729" cy="1427495"/>
            </a:xfrm>
          </p:grpSpPr>
          <p:sp>
            <p:nvSpPr>
              <p:cNvPr id="11809" name="Google Shape;11809;p15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810" name="Google Shape;11810;p15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811" name="Google Shape;11811;p159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matchingName="Title and Content">
  <p:cSld name="Title and Content 15 2">
    <p:spTree>
      <p:nvGrpSpPr>
        <p:cNvPr id="1" name="Shape 11812"/>
        <p:cNvGrpSpPr/>
        <p:nvPr/>
      </p:nvGrpSpPr>
      <p:grpSpPr>
        <a:xfrm>
          <a:off x="0" y="0"/>
          <a:ext cx="0" cy="0"/>
          <a:chOff x="0" y="0"/>
          <a:chExt cx="0" cy="0"/>
        </a:xfrm>
      </p:grpSpPr>
      <p:grpSp>
        <p:nvGrpSpPr>
          <p:cNvPr id="11813" name="Google Shape;11813;p1591"/>
          <p:cNvGrpSpPr/>
          <p:nvPr/>
        </p:nvGrpSpPr>
        <p:grpSpPr>
          <a:xfrm>
            <a:off x="7191542" y="1"/>
            <a:ext cx="5000459" cy="1425992"/>
            <a:chOff x="7191542" y="1"/>
            <a:chExt cx="5000459" cy="1425992"/>
          </a:xfrm>
        </p:grpSpPr>
        <p:pic>
          <p:nvPicPr>
            <p:cNvPr id="11814" name="Google Shape;11814;p15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815" name="Google Shape;11815;p1591"/>
            <p:cNvGrpSpPr/>
            <p:nvPr/>
          </p:nvGrpSpPr>
          <p:grpSpPr>
            <a:xfrm>
              <a:off x="7191542" y="1"/>
              <a:ext cx="5000459" cy="1425992"/>
              <a:chOff x="7186272" y="0"/>
              <a:chExt cx="5005729" cy="1427495"/>
            </a:xfrm>
          </p:grpSpPr>
          <p:sp>
            <p:nvSpPr>
              <p:cNvPr id="11816" name="Google Shape;11816;p15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817" name="Google Shape;11817;p15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818" name="Google Shape;11818;p159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819" name="Google Shape;11819;p159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20" name="Google Shape;11820;p15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821" name="Google Shape;11821;p15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22" name="Google Shape;11822;p15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matchingName="Two Content">
  <p:cSld name="Two Content 13 2">
    <p:spTree>
      <p:nvGrpSpPr>
        <p:cNvPr id="1" name="Shape 11823"/>
        <p:cNvGrpSpPr/>
        <p:nvPr/>
      </p:nvGrpSpPr>
      <p:grpSpPr>
        <a:xfrm>
          <a:off x="0" y="0"/>
          <a:ext cx="0" cy="0"/>
          <a:chOff x="0" y="0"/>
          <a:chExt cx="0" cy="0"/>
        </a:xfrm>
      </p:grpSpPr>
      <p:sp>
        <p:nvSpPr>
          <p:cNvPr id="11824" name="Google Shape;11824;p15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825" name="Google Shape;11825;p159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826" name="Google Shape;11826;p1592"/>
          <p:cNvGrpSpPr/>
          <p:nvPr/>
        </p:nvGrpSpPr>
        <p:grpSpPr>
          <a:xfrm>
            <a:off x="7191542" y="1"/>
            <a:ext cx="5000459" cy="1425992"/>
            <a:chOff x="7191542" y="1"/>
            <a:chExt cx="5000459" cy="1425992"/>
          </a:xfrm>
        </p:grpSpPr>
        <p:pic>
          <p:nvPicPr>
            <p:cNvPr id="11827" name="Google Shape;11827;p15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828" name="Google Shape;11828;p1592"/>
            <p:cNvGrpSpPr/>
            <p:nvPr/>
          </p:nvGrpSpPr>
          <p:grpSpPr>
            <a:xfrm>
              <a:off x="7191542" y="1"/>
              <a:ext cx="5000459" cy="1425992"/>
              <a:chOff x="7186272" y="0"/>
              <a:chExt cx="5005729" cy="1427495"/>
            </a:xfrm>
          </p:grpSpPr>
          <p:sp>
            <p:nvSpPr>
              <p:cNvPr id="11829" name="Google Shape;11829;p15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830" name="Google Shape;11830;p15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831" name="Google Shape;11831;p159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32" name="Google Shape;11832;p159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833" name="Google Shape;11833;p15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34" name="Google Shape;11834;p15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matchingName="Comparison">
  <p:cSld name="Comparison 12 2">
    <p:spTree>
      <p:nvGrpSpPr>
        <p:cNvPr id="1" name="Shape 11835"/>
        <p:cNvGrpSpPr/>
        <p:nvPr/>
      </p:nvGrpSpPr>
      <p:grpSpPr>
        <a:xfrm>
          <a:off x="0" y="0"/>
          <a:ext cx="0" cy="0"/>
          <a:chOff x="0" y="0"/>
          <a:chExt cx="0" cy="0"/>
        </a:xfrm>
      </p:grpSpPr>
      <p:grpSp>
        <p:nvGrpSpPr>
          <p:cNvPr id="11836" name="Google Shape;11836;p1593"/>
          <p:cNvGrpSpPr/>
          <p:nvPr/>
        </p:nvGrpSpPr>
        <p:grpSpPr>
          <a:xfrm>
            <a:off x="7191542" y="1"/>
            <a:ext cx="5000459" cy="1425992"/>
            <a:chOff x="7191542" y="1"/>
            <a:chExt cx="5000459" cy="1425992"/>
          </a:xfrm>
        </p:grpSpPr>
        <p:pic>
          <p:nvPicPr>
            <p:cNvPr id="11837" name="Google Shape;11837;p15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838" name="Google Shape;11838;p1593"/>
            <p:cNvGrpSpPr/>
            <p:nvPr/>
          </p:nvGrpSpPr>
          <p:grpSpPr>
            <a:xfrm>
              <a:off x="7191542" y="1"/>
              <a:ext cx="5000459" cy="1425992"/>
              <a:chOff x="7186272" y="0"/>
              <a:chExt cx="5005729" cy="1427495"/>
            </a:xfrm>
          </p:grpSpPr>
          <p:sp>
            <p:nvSpPr>
              <p:cNvPr id="11839" name="Google Shape;11839;p15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840" name="Google Shape;11840;p15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841" name="Google Shape;11841;p15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842" name="Google Shape;11842;p159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843" name="Google Shape;11843;p159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44" name="Google Shape;11844;p159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845" name="Google Shape;11845;p159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46" name="Google Shape;11846;p15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847" name="Google Shape;11847;p15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48" name="Google Shape;11848;p15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Divider">
  <p:cSld name="Divider 3">
    <p:spTree>
      <p:nvGrpSpPr>
        <p:cNvPr id="1" name="Shape 9205"/>
        <p:cNvGrpSpPr/>
        <p:nvPr/>
      </p:nvGrpSpPr>
      <p:grpSpPr>
        <a:xfrm>
          <a:off x="0" y="0"/>
          <a:ext cx="0" cy="0"/>
          <a:chOff x="0" y="0"/>
          <a:chExt cx="0" cy="0"/>
        </a:xfrm>
      </p:grpSpPr>
      <p:grpSp>
        <p:nvGrpSpPr>
          <p:cNvPr id="9206" name="Google Shape;9206;p1333"/>
          <p:cNvGrpSpPr/>
          <p:nvPr/>
        </p:nvGrpSpPr>
        <p:grpSpPr>
          <a:xfrm>
            <a:off x="0" y="5020347"/>
            <a:ext cx="12192000" cy="1837653"/>
            <a:chOff x="0" y="5020347"/>
            <a:chExt cx="12192000" cy="1837653"/>
          </a:xfrm>
        </p:grpSpPr>
        <p:sp>
          <p:nvSpPr>
            <p:cNvPr id="9207" name="Google Shape;9207;p133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208" name="Google Shape;9208;p133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209" name="Google Shape;9209;p133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210" name="Google Shape;9210;p133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211" name="Google Shape;9211;p133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212" name="Google Shape;9212;p133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matchingName="Title Only">
  <p:cSld name="Title Only 12 2">
    <p:spTree>
      <p:nvGrpSpPr>
        <p:cNvPr id="1" name="Shape 11849"/>
        <p:cNvGrpSpPr/>
        <p:nvPr/>
      </p:nvGrpSpPr>
      <p:grpSpPr>
        <a:xfrm>
          <a:off x="0" y="0"/>
          <a:ext cx="0" cy="0"/>
          <a:chOff x="0" y="0"/>
          <a:chExt cx="0" cy="0"/>
        </a:xfrm>
      </p:grpSpPr>
      <p:grpSp>
        <p:nvGrpSpPr>
          <p:cNvPr id="11850" name="Google Shape;11850;p1594"/>
          <p:cNvGrpSpPr/>
          <p:nvPr/>
        </p:nvGrpSpPr>
        <p:grpSpPr>
          <a:xfrm>
            <a:off x="7191542" y="1"/>
            <a:ext cx="5000459" cy="1425992"/>
            <a:chOff x="7191542" y="1"/>
            <a:chExt cx="5000459" cy="1425992"/>
          </a:xfrm>
        </p:grpSpPr>
        <p:pic>
          <p:nvPicPr>
            <p:cNvPr id="11851" name="Google Shape;11851;p15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852" name="Google Shape;11852;p1594"/>
            <p:cNvGrpSpPr/>
            <p:nvPr/>
          </p:nvGrpSpPr>
          <p:grpSpPr>
            <a:xfrm>
              <a:off x="7191542" y="1"/>
              <a:ext cx="5000459" cy="1425992"/>
              <a:chOff x="7186272" y="0"/>
              <a:chExt cx="5005729" cy="1427495"/>
            </a:xfrm>
          </p:grpSpPr>
          <p:sp>
            <p:nvSpPr>
              <p:cNvPr id="11853" name="Google Shape;11853;p15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854" name="Google Shape;11854;p15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855" name="Google Shape;11855;p15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856" name="Google Shape;11856;p15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857" name="Google Shape;11857;p15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58" name="Google Shape;11858;p15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matchingName="End">
  <p:cSld name="End 13 2">
    <p:spTree>
      <p:nvGrpSpPr>
        <p:cNvPr id="1" name="Shape 11859"/>
        <p:cNvGrpSpPr/>
        <p:nvPr/>
      </p:nvGrpSpPr>
      <p:grpSpPr>
        <a:xfrm>
          <a:off x="0" y="0"/>
          <a:ext cx="0" cy="0"/>
          <a:chOff x="0" y="0"/>
          <a:chExt cx="0" cy="0"/>
        </a:xfrm>
      </p:grpSpPr>
      <p:grpSp>
        <p:nvGrpSpPr>
          <p:cNvPr id="11860" name="Google Shape;11860;p1595"/>
          <p:cNvGrpSpPr/>
          <p:nvPr/>
        </p:nvGrpSpPr>
        <p:grpSpPr>
          <a:xfrm>
            <a:off x="0" y="0"/>
            <a:ext cx="12192000" cy="2148830"/>
            <a:chOff x="0" y="0"/>
            <a:chExt cx="12192000" cy="2148830"/>
          </a:xfrm>
        </p:grpSpPr>
        <p:sp>
          <p:nvSpPr>
            <p:cNvPr id="11861" name="Google Shape;11861;p159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862" name="Google Shape;11862;p159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1863" name="Google Shape;11863;p159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864" name="Google Shape;11864;p159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65" name="Google Shape;11865;p159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1866" name="Google Shape;11866;p159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1867" name="Google Shape;11867;p159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matchingName="Blank">
  <p:cSld name="Blank 12 2">
    <p:spTree>
      <p:nvGrpSpPr>
        <p:cNvPr id="1" name="Shape 11868"/>
        <p:cNvGrpSpPr/>
        <p:nvPr/>
      </p:nvGrpSpPr>
      <p:grpSpPr>
        <a:xfrm>
          <a:off x="0" y="0"/>
          <a:ext cx="0" cy="0"/>
          <a:chOff x="0" y="0"/>
          <a:chExt cx="0" cy="0"/>
        </a:xfrm>
      </p:grpSpPr>
      <p:sp>
        <p:nvSpPr>
          <p:cNvPr id="11869" name="Google Shape;11869;p15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870" name="Google Shape;11870;p15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71" name="Google Shape;11871;p15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872" name="Google Shape;11872;p1596"/>
          <p:cNvGrpSpPr/>
          <p:nvPr/>
        </p:nvGrpSpPr>
        <p:grpSpPr>
          <a:xfrm>
            <a:off x="7191542" y="1"/>
            <a:ext cx="5000459" cy="1425992"/>
            <a:chOff x="7191542" y="1"/>
            <a:chExt cx="5000459" cy="1425992"/>
          </a:xfrm>
        </p:grpSpPr>
        <p:pic>
          <p:nvPicPr>
            <p:cNvPr id="11873" name="Google Shape;11873;p15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874" name="Google Shape;11874;p1596"/>
            <p:cNvGrpSpPr/>
            <p:nvPr/>
          </p:nvGrpSpPr>
          <p:grpSpPr>
            <a:xfrm>
              <a:off x="7191542" y="1"/>
              <a:ext cx="5000459" cy="1425992"/>
              <a:chOff x="7186272" y="0"/>
              <a:chExt cx="5005729" cy="1427495"/>
            </a:xfrm>
          </p:grpSpPr>
          <p:sp>
            <p:nvSpPr>
              <p:cNvPr id="11875" name="Google Shape;11875;p15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876" name="Google Shape;11876;p15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matchingName="Title Slide">
  <p:cSld name="Title Slide 2">
    <p:spTree>
      <p:nvGrpSpPr>
        <p:cNvPr id="1" name="Shape 11877"/>
        <p:cNvGrpSpPr/>
        <p:nvPr/>
      </p:nvGrpSpPr>
      <p:grpSpPr>
        <a:xfrm>
          <a:off x="0" y="0"/>
          <a:ext cx="0" cy="0"/>
          <a:chOff x="0" y="0"/>
          <a:chExt cx="0" cy="0"/>
        </a:xfrm>
      </p:grpSpPr>
      <p:sp>
        <p:nvSpPr>
          <p:cNvPr id="11878" name="Google Shape;11878;p1597"/>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879" name="Google Shape;11879;p1597"/>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1880" name="Google Shape;11880;p1597"/>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1881" name="Google Shape;11881;p1597"/>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1882" name="Google Shape;11882;p1597"/>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11883" name="Google Shape;11883;p1597"/>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884" name="Google Shape;11884;p1597"/>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885" name="Google Shape;11885;p1597"/>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1886" name="Google Shape;11886;p1597"/>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887" name="Google Shape;11887;p1597"/>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1888" name="Google Shape;11888;p1597"/>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matchingName="2_Quotation">
  <p:cSld name="2_Quotation 3">
    <p:spTree>
      <p:nvGrpSpPr>
        <p:cNvPr id="1" name="Shape 11889"/>
        <p:cNvGrpSpPr/>
        <p:nvPr/>
      </p:nvGrpSpPr>
      <p:grpSpPr>
        <a:xfrm>
          <a:off x="0" y="0"/>
          <a:ext cx="0" cy="0"/>
          <a:chOff x="0" y="0"/>
          <a:chExt cx="0" cy="0"/>
        </a:xfrm>
      </p:grpSpPr>
      <p:sp>
        <p:nvSpPr>
          <p:cNvPr id="11890" name="Google Shape;11890;p159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891" name="Google Shape;11891;p159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892" name="Google Shape;11892;p159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93" name="Google Shape;11893;p15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894" name="Google Shape;11894;p15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95" name="Google Shape;11895;p15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896" name="Google Shape;11896;p1598"/>
          <p:cNvGrpSpPr/>
          <p:nvPr/>
        </p:nvGrpSpPr>
        <p:grpSpPr>
          <a:xfrm>
            <a:off x="7191542" y="1"/>
            <a:ext cx="5000459" cy="1425992"/>
            <a:chOff x="7191542" y="1"/>
            <a:chExt cx="5000459" cy="1425992"/>
          </a:xfrm>
        </p:grpSpPr>
        <p:pic>
          <p:nvPicPr>
            <p:cNvPr id="11897" name="Google Shape;11897;p15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898" name="Google Shape;11898;p1598"/>
            <p:cNvGrpSpPr/>
            <p:nvPr/>
          </p:nvGrpSpPr>
          <p:grpSpPr>
            <a:xfrm>
              <a:off x="7191542" y="1"/>
              <a:ext cx="5000459" cy="1425992"/>
              <a:chOff x="7186272" y="0"/>
              <a:chExt cx="5005729" cy="1427495"/>
            </a:xfrm>
          </p:grpSpPr>
          <p:sp>
            <p:nvSpPr>
              <p:cNvPr id="11899" name="Google Shape;11899;p15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900" name="Google Shape;11900;p15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901" name="Google Shape;11901;p159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matchingName="2_Quotation">
  <p:cSld name="2_Quotation 3 2">
    <p:spTree>
      <p:nvGrpSpPr>
        <p:cNvPr id="1" name="Shape 11902"/>
        <p:cNvGrpSpPr/>
        <p:nvPr/>
      </p:nvGrpSpPr>
      <p:grpSpPr>
        <a:xfrm>
          <a:off x="0" y="0"/>
          <a:ext cx="0" cy="0"/>
          <a:chOff x="0" y="0"/>
          <a:chExt cx="0" cy="0"/>
        </a:xfrm>
      </p:grpSpPr>
      <p:sp>
        <p:nvSpPr>
          <p:cNvPr id="11903" name="Google Shape;11903;p159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904" name="Google Shape;11904;p159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905" name="Google Shape;11905;p159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06" name="Google Shape;11906;p159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907" name="Google Shape;11907;p15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08" name="Google Shape;11908;p15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909" name="Google Shape;11909;p1599"/>
          <p:cNvGrpSpPr/>
          <p:nvPr/>
        </p:nvGrpSpPr>
        <p:grpSpPr>
          <a:xfrm>
            <a:off x="7191542" y="1"/>
            <a:ext cx="5000459" cy="1425992"/>
            <a:chOff x="7191542" y="1"/>
            <a:chExt cx="5000459" cy="1425992"/>
          </a:xfrm>
        </p:grpSpPr>
        <p:pic>
          <p:nvPicPr>
            <p:cNvPr id="11910" name="Google Shape;11910;p15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911" name="Google Shape;11911;p1599"/>
            <p:cNvGrpSpPr/>
            <p:nvPr/>
          </p:nvGrpSpPr>
          <p:grpSpPr>
            <a:xfrm>
              <a:off x="7191542" y="1"/>
              <a:ext cx="5000459" cy="1425992"/>
              <a:chOff x="7186272" y="0"/>
              <a:chExt cx="5005729" cy="1427495"/>
            </a:xfrm>
          </p:grpSpPr>
          <p:sp>
            <p:nvSpPr>
              <p:cNvPr id="11912" name="Google Shape;11912;p15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913" name="Google Shape;11913;p15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914" name="Google Shape;11914;p159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11915"/>
        <p:cNvGrpSpPr/>
        <p:nvPr/>
      </p:nvGrpSpPr>
      <p:grpSpPr>
        <a:xfrm>
          <a:off x="0" y="0"/>
          <a:ext cx="0" cy="0"/>
          <a:chOff x="0" y="0"/>
          <a:chExt cx="0" cy="0"/>
        </a:xfrm>
      </p:grpSpPr>
      <p:sp>
        <p:nvSpPr>
          <p:cNvPr id="11916" name="Google Shape;11916;p1600"/>
          <p:cNvSpPr/>
          <p:nvPr/>
        </p:nvSpPr>
        <p:spPr>
          <a:xfrm flipH="1">
            <a:off x="-17261" y="2735667"/>
            <a:ext cx="12226784" cy="4153423"/>
          </a:xfrm>
          <a:custGeom>
            <a:avLst/>
            <a:gdLst/>
            <a:ahLst/>
            <a:cxnLst/>
            <a:rect l="l" t="t" r="r" b="b"/>
            <a:pathLst>
              <a:path w="285317" h="115437" extrusionOk="0">
                <a:moveTo>
                  <a:pt x="1114" y="1"/>
                </a:moveTo>
                <a:cubicBezTo>
                  <a:pt x="743" y="1"/>
                  <a:pt x="371" y="4"/>
                  <a:pt x="0" y="10"/>
                </a:cubicBezTo>
                <a:lnTo>
                  <a:pt x="0" y="115437"/>
                </a:lnTo>
                <a:lnTo>
                  <a:pt x="285316" y="115437"/>
                </a:lnTo>
                <a:lnTo>
                  <a:pt x="285316" y="16649"/>
                </a:lnTo>
                <a:cubicBezTo>
                  <a:pt x="275981" y="17517"/>
                  <a:pt x="266737" y="22219"/>
                  <a:pt x="260505" y="29363"/>
                </a:cubicBezTo>
                <a:cubicBezTo>
                  <a:pt x="255233" y="35366"/>
                  <a:pt x="250873" y="43355"/>
                  <a:pt x="243067" y="45021"/>
                </a:cubicBezTo>
                <a:cubicBezTo>
                  <a:pt x="241949" y="45253"/>
                  <a:pt x="240817" y="45339"/>
                  <a:pt x="239680" y="45339"/>
                </a:cubicBezTo>
                <a:cubicBezTo>
                  <a:pt x="237914" y="45339"/>
                  <a:pt x="236134" y="45133"/>
                  <a:pt x="234370" y="44952"/>
                </a:cubicBezTo>
                <a:cubicBezTo>
                  <a:pt x="231734" y="44685"/>
                  <a:pt x="229019" y="44498"/>
                  <a:pt x="226316" y="44498"/>
                </a:cubicBezTo>
                <a:cubicBezTo>
                  <a:pt x="219329" y="44498"/>
                  <a:pt x="212416" y="45750"/>
                  <a:pt x="207117" y="50111"/>
                </a:cubicBezTo>
                <a:cubicBezTo>
                  <a:pt x="200087" y="55886"/>
                  <a:pt x="197850" y="65495"/>
                  <a:pt x="194997" y="74169"/>
                </a:cubicBezTo>
                <a:cubicBezTo>
                  <a:pt x="192166" y="82842"/>
                  <a:pt x="187168" y="92178"/>
                  <a:pt x="178288" y="94255"/>
                </a:cubicBezTo>
                <a:cubicBezTo>
                  <a:pt x="177041" y="94543"/>
                  <a:pt x="175796" y="94669"/>
                  <a:pt x="174551" y="94669"/>
                </a:cubicBezTo>
                <a:cubicBezTo>
                  <a:pt x="165708" y="94669"/>
                  <a:pt x="156917" y="88301"/>
                  <a:pt x="148045" y="88301"/>
                </a:cubicBezTo>
                <a:cubicBezTo>
                  <a:pt x="146875" y="88301"/>
                  <a:pt x="145703" y="88412"/>
                  <a:pt x="144530" y="88663"/>
                </a:cubicBezTo>
                <a:cubicBezTo>
                  <a:pt x="141060" y="89393"/>
                  <a:pt x="137956" y="91333"/>
                  <a:pt x="134646" y="92612"/>
                </a:cubicBezTo>
                <a:cubicBezTo>
                  <a:pt x="131720" y="93737"/>
                  <a:pt x="128631" y="94264"/>
                  <a:pt x="125532" y="94264"/>
                </a:cubicBezTo>
                <a:cubicBezTo>
                  <a:pt x="113985" y="94264"/>
                  <a:pt x="102305" y="86940"/>
                  <a:pt x="98400" y="75926"/>
                </a:cubicBezTo>
                <a:cubicBezTo>
                  <a:pt x="97190" y="72525"/>
                  <a:pt x="96642" y="68873"/>
                  <a:pt x="94930" y="65678"/>
                </a:cubicBezTo>
                <a:cubicBezTo>
                  <a:pt x="90993" y="58324"/>
                  <a:pt x="81998" y="55419"/>
                  <a:pt x="73534" y="55419"/>
                </a:cubicBezTo>
                <a:cubicBezTo>
                  <a:pt x="72724" y="55419"/>
                  <a:pt x="71919" y="55446"/>
                  <a:pt x="71124" y="55498"/>
                </a:cubicBezTo>
                <a:cubicBezTo>
                  <a:pt x="62016" y="56114"/>
                  <a:pt x="53160" y="59195"/>
                  <a:pt x="44030" y="59264"/>
                </a:cubicBezTo>
                <a:cubicBezTo>
                  <a:pt x="43906" y="59265"/>
                  <a:pt x="43782" y="59266"/>
                  <a:pt x="43658" y="59266"/>
                </a:cubicBezTo>
                <a:cubicBezTo>
                  <a:pt x="41834" y="59266"/>
                  <a:pt x="39970" y="59093"/>
                  <a:pt x="38347" y="58260"/>
                </a:cubicBezTo>
                <a:cubicBezTo>
                  <a:pt x="34261" y="56205"/>
                  <a:pt x="33120" y="50727"/>
                  <a:pt x="33964" y="46208"/>
                </a:cubicBezTo>
                <a:cubicBezTo>
                  <a:pt x="34809" y="41688"/>
                  <a:pt x="37091" y="37557"/>
                  <a:pt x="37958" y="33038"/>
                </a:cubicBezTo>
                <a:cubicBezTo>
                  <a:pt x="40241" y="21169"/>
                  <a:pt x="31864" y="9117"/>
                  <a:pt x="20908" y="3981"/>
                </a:cubicBezTo>
                <a:cubicBezTo>
                  <a:pt x="14632" y="1016"/>
                  <a:pt x="7904" y="1"/>
                  <a:pt x="1114" y="1"/>
                </a:cubicBezTo>
                <a:close/>
              </a:path>
            </a:pathLst>
          </a:custGeom>
          <a:solidFill>
            <a:schemeClr val="lt1">
              <a:alpha val="40000"/>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11917" name="Google Shape;11917;p1600"/>
          <p:cNvSpPr txBox="1">
            <a:spLocks noGrp="1"/>
          </p:cNvSpPr>
          <p:nvPr>
            <p:ph type="title"/>
          </p:nvPr>
        </p:nvSpPr>
        <p:spPr>
          <a:xfrm>
            <a:off x="2540033" y="1086200"/>
            <a:ext cx="7112000" cy="11224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3600"/>
              <a:buNone/>
              <a:defRPr sz="6000"/>
            </a:lvl1pPr>
            <a:lvl2pPr lvl="1" algn="ctr">
              <a:lnSpc>
                <a:spcPct val="100000"/>
              </a:lnSpc>
              <a:spcBef>
                <a:spcPts val="0"/>
              </a:spcBef>
              <a:spcAft>
                <a:spcPts val="0"/>
              </a:spcAft>
              <a:buSzPts val="3600"/>
              <a:buNone/>
              <a:defRPr sz="4800"/>
            </a:lvl2pPr>
            <a:lvl3pPr lvl="2" algn="ctr">
              <a:lnSpc>
                <a:spcPct val="100000"/>
              </a:lnSpc>
              <a:spcBef>
                <a:spcPts val="0"/>
              </a:spcBef>
              <a:spcAft>
                <a:spcPts val="0"/>
              </a:spcAft>
              <a:buSzPts val="3600"/>
              <a:buNone/>
              <a:defRPr sz="4800"/>
            </a:lvl3pPr>
            <a:lvl4pPr lvl="3" algn="ctr">
              <a:lnSpc>
                <a:spcPct val="100000"/>
              </a:lnSpc>
              <a:spcBef>
                <a:spcPts val="0"/>
              </a:spcBef>
              <a:spcAft>
                <a:spcPts val="0"/>
              </a:spcAft>
              <a:buSzPts val="3600"/>
              <a:buNone/>
              <a:defRPr sz="4800"/>
            </a:lvl4pPr>
            <a:lvl5pPr lvl="4" algn="ctr">
              <a:lnSpc>
                <a:spcPct val="100000"/>
              </a:lnSpc>
              <a:spcBef>
                <a:spcPts val="0"/>
              </a:spcBef>
              <a:spcAft>
                <a:spcPts val="0"/>
              </a:spcAft>
              <a:buSzPts val="3600"/>
              <a:buNone/>
              <a:defRPr sz="4800"/>
            </a:lvl5pPr>
            <a:lvl6pPr lvl="5" algn="ctr">
              <a:lnSpc>
                <a:spcPct val="100000"/>
              </a:lnSpc>
              <a:spcBef>
                <a:spcPts val="0"/>
              </a:spcBef>
              <a:spcAft>
                <a:spcPts val="0"/>
              </a:spcAft>
              <a:buSzPts val="3600"/>
              <a:buNone/>
              <a:defRPr sz="4800"/>
            </a:lvl6pPr>
            <a:lvl7pPr lvl="6" algn="ctr">
              <a:lnSpc>
                <a:spcPct val="100000"/>
              </a:lnSpc>
              <a:spcBef>
                <a:spcPts val="0"/>
              </a:spcBef>
              <a:spcAft>
                <a:spcPts val="0"/>
              </a:spcAft>
              <a:buSzPts val="3600"/>
              <a:buNone/>
              <a:defRPr sz="4800"/>
            </a:lvl7pPr>
            <a:lvl8pPr lvl="7" algn="ctr">
              <a:lnSpc>
                <a:spcPct val="100000"/>
              </a:lnSpc>
              <a:spcBef>
                <a:spcPts val="0"/>
              </a:spcBef>
              <a:spcAft>
                <a:spcPts val="0"/>
              </a:spcAft>
              <a:buSzPts val="3600"/>
              <a:buNone/>
              <a:defRPr sz="4800"/>
            </a:lvl8pPr>
            <a:lvl9pPr lvl="8" algn="ctr">
              <a:lnSpc>
                <a:spcPct val="100000"/>
              </a:lnSpc>
              <a:spcBef>
                <a:spcPts val="0"/>
              </a:spcBef>
              <a:spcAft>
                <a:spcPts val="0"/>
              </a:spcAft>
              <a:buSzPts val="3600"/>
              <a:buNone/>
              <a:defRPr sz="4800"/>
            </a:lvl9pPr>
          </a:lstStyle>
          <a:p>
            <a:endParaRPr/>
          </a:p>
        </p:txBody>
      </p:sp>
      <p:sp>
        <p:nvSpPr>
          <p:cNvPr id="11918" name="Google Shape;11918;p1600"/>
          <p:cNvSpPr txBox="1">
            <a:spLocks noGrp="1"/>
          </p:cNvSpPr>
          <p:nvPr>
            <p:ph type="subTitle" idx="1"/>
          </p:nvPr>
        </p:nvSpPr>
        <p:spPr>
          <a:xfrm>
            <a:off x="2893867" y="2208600"/>
            <a:ext cx="6404400" cy="1786400"/>
          </a:xfrm>
          <a:prstGeom prst="rect">
            <a:avLst/>
          </a:prstGeom>
          <a:noFill/>
          <a:ln>
            <a:noFill/>
          </a:ln>
        </p:spPr>
        <p:txBody>
          <a:bodyPr spcFirstLastPara="1" wrap="square" lIns="91425" tIns="91425" rIns="91425" bIns="91425" anchor="t" anchorCtr="0">
            <a:noAutofit/>
          </a:bodyPr>
          <a:lstStyle>
            <a:lvl1pPr lvl="0" algn="ctr">
              <a:lnSpc>
                <a:spcPct val="100000"/>
              </a:lnSpc>
              <a:spcBef>
                <a:spcPts val="0"/>
              </a:spcBef>
              <a:spcAft>
                <a:spcPts val="0"/>
              </a:spcAft>
              <a:buSzPts val="1400"/>
              <a:buNone/>
              <a:defRPr sz="2133"/>
            </a:lvl1pPr>
            <a:lvl2pPr lvl="1" algn="ctr">
              <a:lnSpc>
                <a:spcPct val="100000"/>
              </a:lnSpc>
              <a:spcBef>
                <a:spcPts val="0"/>
              </a:spcBef>
              <a:spcAft>
                <a:spcPts val="0"/>
              </a:spcAft>
              <a:buSzPts val="1400"/>
              <a:buNone/>
              <a:defRPr/>
            </a:lvl2pPr>
            <a:lvl3pPr lvl="2" algn="ctr">
              <a:lnSpc>
                <a:spcPct val="100000"/>
              </a:lnSpc>
              <a:spcBef>
                <a:spcPts val="2133"/>
              </a:spcBef>
              <a:spcAft>
                <a:spcPts val="0"/>
              </a:spcAft>
              <a:buSzPts val="1400"/>
              <a:buNone/>
              <a:defRPr/>
            </a:lvl3pPr>
            <a:lvl4pPr lvl="3" algn="ctr">
              <a:lnSpc>
                <a:spcPct val="100000"/>
              </a:lnSpc>
              <a:spcBef>
                <a:spcPts val="2133"/>
              </a:spcBef>
              <a:spcAft>
                <a:spcPts val="0"/>
              </a:spcAft>
              <a:buSzPts val="1400"/>
              <a:buNone/>
              <a:defRPr/>
            </a:lvl4pPr>
            <a:lvl5pPr lvl="4" algn="ctr">
              <a:lnSpc>
                <a:spcPct val="100000"/>
              </a:lnSpc>
              <a:spcBef>
                <a:spcPts val="2133"/>
              </a:spcBef>
              <a:spcAft>
                <a:spcPts val="0"/>
              </a:spcAft>
              <a:buSzPts val="1400"/>
              <a:buNone/>
              <a:defRPr/>
            </a:lvl5pPr>
            <a:lvl6pPr lvl="5" algn="ctr">
              <a:lnSpc>
                <a:spcPct val="100000"/>
              </a:lnSpc>
              <a:spcBef>
                <a:spcPts val="2133"/>
              </a:spcBef>
              <a:spcAft>
                <a:spcPts val="0"/>
              </a:spcAft>
              <a:buSzPts val="1400"/>
              <a:buNone/>
              <a:defRPr/>
            </a:lvl6pPr>
            <a:lvl7pPr lvl="6" algn="ctr">
              <a:lnSpc>
                <a:spcPct val="100000"/>
              </a:lnSpc>
              <a:spcBef>
                <a:spcPts val="2133"/>
              </a:spcBef>
              <a:spcAft>
                <a:spcPts val="0"/>
              </a:spcAft>
              <a:buSzPts val="1400"/>
              <a:buNone/>
              <a:defRPr/>
            </a:lvl7pPr>
            <a:lvl8pPr lvl="7" algn="ctr">
              <a:lnSpc>
                <a:spcPct val="100000"/>
              </a:lnSpc>
              <a:spcBef>
                <a:spcPts val="2133"/>
              </a:spcBef>
              <a:spcAft>
                <a:spcPts val="0"/>
              </a:spcAft>
              <a:buSzPts val="1400"/>
              <a:buNone/>
              <a:defRPr/>
            </a:lvl8pPr>
            <a:lvl9pPr lvl="8" algn="ctr">
              <a:lnSpc>
                <a:spcPct val="100000"/>
              </a:lnSpc>
              <a:spcBef>
                <a:spcPts val="2133"/>
              </a:spcBef>
              <a:spcAft>
                <a:spcPts val="2133"/>
              </a:spcAft>
              <a:buSzPts val="1400"/>
              <a:buNone/>
              <a:defRPr/>
            </a:lvl9pPr>
          </a:lstStyle>
          <a:p>
            <a:endParaRPr/>
          </a:p>
        </p:txBody>
      </p:sp>
      <p:sp>
        <p:nvSpPr>
          <p:cNvPr id="11919" name="Google Shape;11919;p1600"/>
          <p:cNvSpPr/>
          <p:nvPr/>
        </p:nvSpPr>
        <p:spPr>
          <a:xfrm flipH="1">
            <a:off x="279689" y="2690400"/>
            <a:ext cx="273520" cy="273520"/>
          </a:xfrm>
          <a:custGeom>
            <a:avLst/>
            <a:gdLst/>
            <a:ahLst/>
            <a:cxnLst/>
            <a:rect l="l" t="t" r="r" b="b"/>
            <a:pathLst>
              <a:path w="7602" h="7602" extrusionOk="0">
                <a:moveTo>
                  <a:pt x="2648" y="1"/>
                </a:moveTo>
                <a:cubicBezTo>
                  <a:pt x="2420" y="1"/>
                  <a:pt x="2237" y="183"/>
                  <a:pt x="2237" y="434"/>
                </a:cubicBezTo>
                <a:lnTo>
                  <a:pt x="2237" y="1804"/>
                </a:lnTo>
                <a:cubicBezTo>
                  <a:pt x="2237" y="2032"/>
                  <a:pt x="2032" y="2215"/>
                  <a:pt x="1804" y="2215"/>
                </a:cubicBezTo>
                <a:lnTo>
                  <a:pt x="434" y="2215"/>
                </a:lnTo>
                <a:cubicBezTo>
                  <a:pt x="206" y="2215"/>
                  <a:pt x="0" y="2420"/>
                  <a:pt x="0" y="2648"/>
                </a:cubicBezTo>
                <a:lnTo>
                  <a:pt x="0" y="4954"/>
                </a:lnTo>
                <a:cubicBezTo>
                  <a:pt x="0" y="5182"/>
                  <a:pt x="206" y="5387"/>
                  <a:pt x="434" y="5387"/>
                </a:cubicBezTo>
                <a:lnTo>
                  <a:pt x="1804" y="5387"/>
                </a:lnTo>
                <a:cubicBezTo>
                  <a:pt x="2032" y="5387"/>
                  <a:pt x="2237" y="5570"/>
                  <a:pt x="2237" y="5798"/>
                </a:cubicBezTo>
                <a:lnTo>
                  <a:pt x="2237" y="7168"/>
                </a:lnTo>
                <a:cubicBezTo>
                  <a:pt x="2237" y="7419"/>
                  <a:pt x="2420" y="7601"/>
                  <a:pt x="2648" y="7601"/>
                </a:cubicBezTo>
                <a:lnTo>
                  <a:pt x="4976" y="7601"/>
                </a:lnTo>
                <a:cubicBezTo>
                  <a:pt x="5205" y="7601"/>
                  <a:pt x="5387" y="7419"/>
                  <a:pt x="5387" y="7168"/>
                </a:cubicBezTo>
                <a:lnTo>
                  <a:pt x="5387" y="5798"/>
                </a:lnTo>
                <a:cubicBezTo>
                  <a:pt x="5387" y="5570"/>
                  <a:pt x="5570" y="5387"/>
                  <a:pt x="5798" y="5387"/>
                </a:cubicBezTo>
                <a:lnTo>
                  <a:pt x="7190" y="5387"/>
                </a:lnTo>
                <a:cubicBezTo>
                  <a:pt x="7419" y="5387"/>
                  <a:pt x="7601" y="5182"/>
                  <a:pt x="7601" y="4954"/>
                </a:cubicBezTo>
                <a:lnTo>
                  <a:pt x="7601" y="2648"/>
                </a:lnTo>
                <a:cubicBezTo>
                  <a:pt x="7601" y="2420"/>
                  <a:pt x="7419" y="2215"/>
                  <a:pt x="7190" y="2215"/>
                </a:cubicBezTo>
                <a:lnTo>
                  <a:pt x="5798" y="2215"/>
                </a:lnTo>
                <a:cubicBezTo>
                  <a:pt x="5570" y="2215"/>
                  <a:pt x="5387" y="2032"/>
                  <a:pt x="5387" y="1804"/>
                </a:cubicBezTo>
                <a:lnTo>
                  <a:pt x="5387" y="434"/>
                </a:lnTo>
                <a:cubicBezTo>
                  <a:pt x="5387" y="183"/>
                  <a:pt x="5205" y="1"/>
                  <a:pt x="4976" y="1"/>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11920" name="Google Shape;11920;p1600"/>
          <p:cNvSpPr/>
          <p:nvPr/>
        </p:nvSpPr>
        <p:spPr>
          <a:xfrm flipH="1">
            <a:off x="11819097" y="3465518"/>
            <a:ext cx="598743" cy="2244684"/>
          </a:xfrm>
          <a:custGeom>
            <a:avLst/>
            <a:gdLst/>
            <a:ahLst/>
            <a:cxnLst/>
            <a:rect l="l" t="t" r="r" b="b"/>
            <a:pathLst>
              <a:path w="16641" h="62387" extrusionOk="0">
                <a:moveTo>
                  <a:pt x="5438" y="1"/>
                </a:moveTo>
                <a:cubicBezTo>
                  <a:pt x="5170" y="1"/>
                  <a:pt x="4901" y="24"/>
                  <a:pt x="4634" y="73"/>
                </a:cubicBezTo>
                <a:cubicBezTo>
                  <a:pt x="2831" y="415"/>
                  <a:pt x="1393" y="1853"/>
                  <a:pt x="708" y="3543"/>
                </a:cubicBezTo>
                <a:cubicBezTo>
                  <a:pt x="0" y="5232"/>
                  <a:pt x="0" y="7103"/>
                  <a:pt x="274" y="8906"/>
                </a:cubicBezTo>
                <a:cubicBezTo>
                  <a:pt x="959" y="13152"/>
                  <a:pt x="3173" y="16964"/>
                  <a:pt x="4839" y="20913"/>
                </a:cubicBezTo>
                <a:cubicBezTo>
                  <a:pt x="6483" y="24884"/>
                  <a:pt x="7579" y="29472"/>
                  <a:pt x="5912" y="33421"/>
                </a:cubicBezTo>
                <a:cubicBezTo>
                  <a:pt x="5136" y="35224"/>
                  <a:pt x="3858" y="36776"/>
                  <a:pt x="3196" y="38602"/>
                </a:cubicBezTo>
                <a:cubicBezTo>
                  <a:pt x="2078" y="41752"/>
                  <a:pt x="2945" y="45267"/>
                  <a:pt x="3972" y="48440"/>
                </a:cubicBezTo>
                <a:cubicBezTo>
                  <a:pt x="4520" y="50083"/>
                  <a:pt x="5091" y="51727"/>
                  <a:pt x="5227" y="53461"/>
                </a:cubicBezTo>
                <a:cubicBezTo>
                  <a:pt x="5433" y="56566"/>
                  <a:pt x="4109" y="59556"/>
                  <a:pt x="2831" y="62386"/>
                </a:cubicBezTo>
                <a:cubicBezTo>
                  <a:pt x="7738" y="57889"/>
                  <a:pt x="9975" y="51110"/>
                  <a:pt x="9359" y="44560"/>
                </a:cubicBezTo>
                <a:cubicBezTo>
                  <a:pt x="9199" y="42802"/>
                  <a:pt x="8834" y="40999"/>
                  <a:pt x="9222" y="39264"/>
                </a:cubicBezTo>
                <a:cubicBezTo>
                  <a:pt x="9633" y="37392"/>
                  <a:pt x="10843" y="35817"/>
                  <a:pt x="11824" y="34174"/>
                </a:cubicBezTo>
                <a:cubicBezTo>
                  <a:pt x="16640" y="26117"/>
                  <a:pt x="15887" y="15777"/>
                  <a:pt x="12577" y="7012"/>
                </a:cubicBezTo>
                <a:cubicBezTo>
                  <a:pt x="11915" y="5209"/>
                  <a:pt x="11116" y="3406"/>
                  <a:pt x="9793" y="2036"/>
                </a:cubicBezTo>
                <a:cubicBezTo>
                  <a:pt x="8658" y="842"/>
                  <a:pt x="7053" y="1"/>
                  <a:pt x="5438" y="1"/>
                </a:cubicBezTo>
                <a:close/>
              </a:path>
            </a:pathLst>
          </a:custGeom>
          <a:solidFill>
            <a:schemeClr val="accent6"/>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grpSp>
        <p:nvGrpSpPr>
          <p:cNvPr id="11921" name="Google Shape;11921;p1600"/>
          <p:cNvGrpSpPr/>
          <p:nvPr/>
        </p:nvGrpSpPr>
        <p:grpSpPr>
          <a:xfrm flipH="1">
            <a:off x="11305841" y="2311747"/>
            <a:ext cx="1166040" cy="1974763"/>
            <a:chOff x="-117729" y="1733810"/>
            <a:chExt cx="874530" cy="1481072"/>
          </a:xfrm>
        </p:grpSpPr>
        <p:sp>
          <p:nvSpPr>
            <p:cNvPr id="11922" name="Google Shape;11922;p1600"/>
            <p:cNvSpPr/>
            <p:nvPr/>
          </p:nvSpPr>
          <p:spPr>
            <a:xfrm>
              <a:off x="21973" y="1733810"/>
              <a:ext cx="518652" cy="505591"/>
            </a:xfrm>
            <a:custGeom>
              <a:avLst/>
              <a:gdLst/>
              <a:ahLst/>
              <a:cxnLst/>
              <a:rect l="l" t="t" r="r" b="b"/>
              <a:pathLst>
                <a:path w="19220" h="18736" extrusionOk="0">
                  <a:moveTo>
                    <a:pt x="9145" y="0"/>
                  </a:moveTo>
                  <a:cubicBezTo>
                    <a:pt x="9095" y="0"/>
                    <a:pt x="9044" y="1"/>
                    <a:pt x="8994" y="2"/>
                  </a:cubicBezTo>
                  <a:cubicBezTo>
                    <a:pt x="7190" y="48"/>
                    <a:pt x="5410" y="824"/>
                    <a:pt x="4132" y="2079"/>
                  </a:cubicBezTo>
                  <a:cubicBezTo>
                    <a:pt x="3675" y="2536"/>
                    <a:pt x="3264" y="3084"/>
                    <a:pt x="3127" y="3723"/>
                  </a:cubicBezTo>
                  <a:cubicBezTo>
                    <a:pt x="2945" y="4476"/>
                    <a:pt x="3173" y="5275"/>
                    <a:pt x="3493" y="6005"/>
                  </a:cubicBezTo>
                  <a:cubicBezTo>
                    <a:pt x="4155" y="7466"/>
                    <a:pt x="5182" y="8744"/>
                    <a:pt x="5866" y="10182"/>
                  </a:cubicBezTo>
                  <a:cubicBezTo>
                    <a:pt x="4908" y="9406"/>
                    <a:pt x="3926" y="8630"/>
                    <a:pt x="2945" y="7854"/>
                  </a:cubicBezTo>
                  <a:cubicBezTo>
                    <a:pt x="2717" y="7671"/>
                    <a:pt x="2466" y="7489"/>
                    <a:pt x="2192" y="7420"/>
                  </a:cubicBezTo>
                  <a:cubicBezTo>
                    <a:pt x="2152" y="7416"/>
                    <a:pt x="2112" y="7413"/>
                    <a:pt x="2072" y="7413"/>
                  </a:cubicBezTo>
                  <a:cubicBezTo>
                    <a:pt x="1725" y="7413"/>
                    <a:pt x="1390" y="7586"/>
                    <a:pt x="1164" y="7831"/>
                  </a:cubicBezTo>
                  <a:cubicBezTo>
                    <a:pt x="913" y="8105"/>
                    <a:pt x="776" y="8470"/>
                    <a:pt x="662" y="8835"/>
                  </a:cubicBezTo>
                  <a:cubicBezTo>
                    <a:pt x="0" y="11323"/>
                    <a:pt x="1210" y="14062"/>
                    <a:pt x="3150" y="15752"/>
                  </a:cubicBezTo>
                  <a:cubicBezTo>
                    <a:pt x="5090" y="17441"/>
                    <a:pt x="7647" y="18239"/>
                    <a:pt x="10180" y="18673"/>
                  </a:cubicBezTo>
                  <a:cubicBezTo>
                    <a:pt x="10426" y="18715"/>
                    <a:pt x="10675" y="18735"/>
                    <a:pt x="10925" y="18735"/>
                  </a:cubicBezTo>
                  <a:cubicBezTo>
                    <a:pt x="12446" y="18735"/>
                    <a:pt x="14020" y="17997"/>
                    <a:pt x="15156" y="16938"/>
                  </a:cubicBezTo>
                  <a:cubicBezTo>
                    <a:pt x="16320" y="15866"/>
                    <a:pt x="16868" y="14291"/>
                    <a:pt x="17507" y="12853"/>
                  </a:cubicBezTo>
                  <a:cubicBezTo>
                    <a:pt x="18101" y="11483"/>
                    <a:pt x="18831" y="10159"/>
                    <a:pt x="19014" y="8676"/>
                  </a:cubicBezTo>
                  <a:cubicBezTo>
                    <a:pt x="19219" y="6987"/>
                    <a:pt x="18671" y="5275"/>
                    <a:pt x="18078" y="3677"/>
                  </a:cubicBezTo>
                  <a:cubicBezTo>
                    <a:pt x="17850" y="3015"/>
                    <a:pt x="17599" y="2376"/>
                    <a:pt x="17142" y="1874"/>
                  </a:cubicBezTo>
                  <a:cubicBezTo>
                    <a:pt x="16771" y="1485"/>
                    <a:pt x="16249" y="1205"/>
                    <a:pt x="15735" y="1205"/>
                  </a:cubicBezTo>
                  <a:cubicBezTo>
                    <a:pt x="15586" y="1205"/>
                    <a:pt x="15437" y="1229"/>
                    <a:pt x="15293" y="1280"/>
                  </a:cubicBezTo>
                  <a:cubicBezTo>
                    <a:pt x="14700" y="1509"/>
                    <a:pt x="14335" y="2102"/>
                    <a:pt x="14084" y="2695"/>
                  </a:cubicBezTo>
                  <a:cubicBezTo>
                    <a:pt x="13513" y="3997"/>
                    <a:pt x="13285" y="5412"/>
                    <a:pt x="13079" y="6804"/>
                  </a:cubicBezTo>
                  <a:cubicBezTo>
                    <a:pt x="13148" y="5571"/>
                    <a:pt x="13034" y="4339"/>
                    <a:pt x="12760" y="3129"/>
                  </a:cubicBezTo>
                  <a:cubicBezTo>
                    <a:pt x="12577" y="2262"/>
                    <a:pt x="12280" y="1372"/>
                    <a:pt x="11618" y="778"/>
                  </a:cubicBezTo>
                  <a:cubicBezTo>
                    <a:pt x="10949" y="195"/>
                    <a:pt x="10034" y="0"/>
                    <a:pt x="9145" y="0"/>
                  </a:cubicBezTo>
                  <a:close/>
                </a:path>
              </a:pathLst>
            </a:cu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11923" name="Google Shape;11923;p1600"/>
            <p:cNvSpPr/>
            <p:nvPr/>
          </p:nvSpPr>
          <p:spPr>
            <a:xfrm>
              <a:off x="182722" y="1995375"/>
              <a:ext cx="268582" cy="236173"/>
            </a:xfrm>
            <a:custGeom>
              <a:avLst/>
              <a:gdLst/>
              <a:ahLst/>
              <a:cxnLst/>
              <a:rect l="l" t="t" r="r" b="b"/>
              <a:pathLst>
                <a:path w="9953" h="8752" extrusionOk="0">
                  <a:moveTo>
                    <a:pt x="6563" y="1"/>
                  </a:moveTo>
                  <a:cubicBezTo>
                    <a:pt x="6452" y="1"/>
                    <a:pt x="6342" y="4"/>
                    <a:pt x="6232" y="10"/>
                  </a:cubicBezTo>
                  <a:cubicBezTo>
                    <a:pt x="4406" y="78"/>
                    <a:pt x="2626" y="740"/>
                    <a:pt x="1211" y="1882"/>
                  </a:cubicBezTo>
                  <a:cubicBezTo>
                    <a:pt x="754" y="2270"/>
                    <a:pt x="298" y="2726"/>
                    <a:pt x="138" y="3297"/>
                  </a:cubicBezTo>
                  <a:cubicBezTo>
                    <a:pt x="1" y="3776"/>
                    <a:pt x="92" y="4278"/>
                    <a:pt x="229" y="4758"/>
                  </a:cubicBezTo>
                  <a:cubicBezTo>
                    <a:pt x="822" y="6835"/>
                    <a:pt x="2671" y="8569"/>
                    <a:pt x="4817" y="8752"/>
                  </a:cubicBezTo>
                  <a:cubicBezTo>
                    <a:pt x="5661" y="8250"/>
                    <a:pt x="6780" y="8318"/>
                    <a:pt x="7670" y="7930"/>
                  </a:cubicBezTo>
                  <a:cubicBezTo>
                    <a:pt x="8515" y="7588"/>
                    <a:pt x="9131" y="6880"/>
                    <a:pt x="9496" y="6059"/>
                  </a:cubicBezTo>
                  <a:cubicBezTo>
                    <a:pt x="9838" y="5237"/>
                    <a:pt x="9953" y="4324"/>
                    <a:pt x="9884" y="3434"/>
                  </a:cubicBezTo>
                  <a:cubicBezTo>
                    <a:pt x="9816" y="2361"/>
                    <a:pt x="9519" y="1242"/>
                    <a:pt x="8674" y="603"/>
                  </a:cubicBezTo>
                  <a:cubicBezTo>
                    <a:pt x="8078" y="146"/>
                    <a:pt x="7310" y="1"/>
                    <a:pt x="6563" y="1"/>
                  </a:cubicBezTo>
                  <a:close/>
                </a:path>
              </a:pathLst>
            </a:custGeom>
            <a:solidFill>
              <a:schemeClr val="accent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11924" name="Google Shape;11924;p1600"/>
            <p:cNvSpPr/>
            <p:nvPr/>
          </p:nvSpPr>
          <p:spPr>
            <a:xfrm>
              <a:off x="-117729" y="2086450"/>
              <a:ext cx="874530" cy="1128432"/>
            </a:xfrm>
            <a:custGeom>
              <a:avLst/>
              <a:gdLst/>
              <a:ahLst/>
              <a:cxnLst/>
              <a:rect l="l" t="t" r="r" b="b"/>
              <a:pathLst>
                <a:path w="32408" h="41817" extrusionOk="0">
                  <a:moveTo>
                    <a:pt x="30309" y="1"/>
                  </a:moveTo>
                  <a:cubicBezTo>
                    <a:pt x="29836" y="1"/>
                    <a:pt x="29342" y="124"/>
                    <a:pt x="28916" y="310"/>
                  </a:cubicBezTo>
                  <a:cubicBezTo>
                    <a:pt x="27090" y="1109"/>
                    <a:pt x="25720" y="2661"/>
                    <a:pt x="24556" y="4281"/>
                  </a:cubicBezTo>
                  <a:cubicBezTo>
                    <a:pt x="22662" y="6906"/>
                    <a:pt x="21132" y="9828"/>
                    <a:pt x="20037" y="12909"/>
                  </a:cubicBezTo>
                  <a:cubicBezTo>
                    <a:pt x="20196" y="11700"/>
                    <a:pt x="20219" y="10513"/>
                    <a:pt x="20082" y="9326"/>
                  </a:cubicBezTo>
                  <a:cubicBezTo>
                    <a:pt x="19991" y="8413"/>
                    <a:pt x="19786" y="7500"/>
                    <a:pt x="19786" y="6587"/>
                  </a:cubicBezTo>
                  <a:cubicBezTo>
                    <a:pt x="19808" y="5674"/>
                    <a:pt x="20082" y="4715"/>
                    <a:pt x="20744" y="4099"/>
                  </a:cubicBezTo>
                  <a:cubicBezTo>
                    <a:pt x="21109" y="3779"/>
                    <a:pt x="21543" y="3574"/>
                    <a:pt x="21931" y="3277"/>
                  </a:cubicBezTo>
                  <a:cubicBezTo>
                    <a:pt x="22296" y="2980"/>
                    <a:pt x="22616" y="2524"/>
                    <a:pt x="22547" y="2044"/>
                  </a:cubicBezTo>
                  <a:cubicBezTo>
                    <a:pt x="22468" y="1992"/>
                    <a:pt x="22387" y="1969"/>
                    <a:pt x="22306" y="1969"/>
                  </a:cubicBezTo>
                  <a:cubicBezTo>
                    <a:pt x="21776" y="1969"/>
                    <a:pt x="21200" y="2926"/>
                    <a:pt x="20693" y="2926"/>
                  </a:cubicBezTo>
                  <a:cubicBezTo>
                    <a:pt x="20601" y="2926"/>
                    <a:pt x="20511" y="2895"/>
                    <a:pt x="20425" y="2820"/>
                  </a:cubicBezTo>
                  <a:cubicBezTo>
                    <a:pt x="20356" y="2752"/>
                    <a:pt x="20288" y="2661"/>
                    <a:pt x="20219" y="2569"/>
                  </a:cubicBezTo>
                  <a:cubicBezTo>
                    <a:pt x="20134" y="2490"/>
                    <a:pt x="20035" y="2455"/>
                    <a:pt x="19933" y="2455"/>
                  </a:cubicBezTo>
                  <a:cubicBezTo>
                    <a:pt x="19624" y="2455"/>
                    <a:pt x="19278" y="2763"/>
                    <a:pt x="19124" y="3072"/>
                  </a:cubicBezTo>
                  <a:cubicBezTo>
                    <a:pt x="18918" y="3482"/>
                    <a:pt x="18758" y="4030"/>
                    <a:pt x="18325" y="4190"/>
                  </a:cubicBezTo>
                  <a:cubicBezTo>
                    <a:pt x="18233" y="4223"/>
                    <a:pt x="18137" y="4236"/>
                    <a:pt x="18038" y="4236"/>
                  </a:cubicBezTo>
                  <a:cubicBezTo>
                    <a:pt x="17577" y="4236"/>
                    <a:pt x="17054" y="3945"/>
                    <a:pt x="16652" y="3945"/>
                  </a:cubicBezTo>
                  <a:cubicBezTo>
                    <a:pt x="16473" y="3945"/>
                    <a:pt x="16318" y="4002"/>
                    <a:pt x="16202" y="4167"/>
                  </a:cubicBezTo>
                  <a:cubicBezTo>
                    <a:pt x="16065" y="4350"/>
                    <a:pt x="16065" y="4578"/>
                    <a:pt x="15997" y="4783"/>
                  </a:cubicBezTo>
                  <a:cubicBezTo>
                    <a:pt x="15791" y="5423"/>
                    <a:pt x="15015" y="5605"/>
                    <a:pt x="14353" y="5719"/>
                  </a:cubicBezTo>
                  <a:cubicBezTo>
                    <a:pt x="14473" y="6130"/>
                    <a:pt x="14901" y="6336"/>
                    <a:pt x="15339" y="6336"/>
                  </a:cubicBezTo>
                  <a:cubicBezTo>
                    <a:pt x="15484" y="6336"/>
                    <a:pt x="15631" y="6313"/>
                    <a:pt x="15768" y="6267"/>
                  </a:cubicBezTo>
                  <a:cubicBezTo>
                    <a:pt x="16293" y="6107"/>
                    <a:pt x="16727" y="5696"/>
                    <a:pt x="17229" y="5423"/>
                  </a:cubicBezTo>
                  <a:cubicBezTo>
                    <a:pt x="17506" y="5271"/>
                    <a:pt x="17832" y="5169"/>
                    <a:pt x="18138" y="5169"/>
                  </a:cubicBezTo>
                  <a:cubicBezTo>
                    <a:pt x="18386" y="5169"/>
                    <a:pt x="18620" y="5236"/>
                    <a:pt x="18804" y="5400"/>
                  </a:cubicBezTo>
                  <a:cubicBezTo>
                    <a:pt x="19101" y="5674"/>
                    <a:pt x="19192" y="6062"/>
                    <a:pt x="19238" y="6450"/>
                  </a:cubicBezTo>
                  <a:cubicBezTo>
                    <a:pt x="19991" y="11311"/>
                    <a:pt x="19146" y="16356"/>
                    <a:pt x="17298" y="20898"/>
                  </a:cubicBezTo>
                  <a:cubicBezTo>
                    <a:pt x="16750" y="22290"/>
                    <a:pt x="16088" y="23614"/>
                    <a:pt x="15380" y="24915"/>
                  </a:cubicBezTo>
                  <a:cubicBezTo>
                    <a:pt x="16430" y="21925"/>
                    <a:pt x="16955" y="18753"/>
                    <a:pt x="16932" y="15603"/>
                  </a:cubicBezTo>
                  <a:cubicBezTo>
                    <a:pt x="16932" y="13480"/>
                    <a:pt x="16613" y="11220"/>
                    <a:pt x="15152" y="9668"/>
                  </a:cubicBezTo>
                  <a:cubicBezTo>
                    <a:pt x="14855" y="9349"/>
                    <a:pt x="14490" y="9052"/>
                    <a:pt x="14056" y="8960"/>
                  </a:cubicBezTo>
                  <a:cubicBezTo>
                    <a:pt x="13940" y="8931"/>
                    <a:pt x="13823" y="8918"/>
                    <a:pt x="13707" y="8918"/>
                  </a:cubicBezTo>
                  <a:cubicBezTo>
                    <a:pt x="12825" y="8918"/>
                    <a:pt x="12001" y="9716"/>
                    <a:pt x="11820" y="10604"/>
                  </a:cubicBezTo>
                  <a:cubicBezTo>
                    <a:pt x="11614" y="11608"/>
                    <a:pt x="12025" y="12658"/>
                    <a:pt x="12596" y="13526"/>
                  </a:cubicBezTo>
                  <a:cubicBezTo>
                    <a:pt x="13166" y="14393"/>
                    <a:pt x="13897" y="15146"/>
                    <a:pt x="14422" y="16013"/>
                  </a:cubicBezTo>
                  <a:cubicBezTo>
                    <a:pt x="15449" y="17725"/>
                    <a:pt x="15677" y="19802"/>
                    <a:pt x="15449" y="21765"/>
                  </a:cubicBezTo>
                  <a:cubicBezTo>
                    <a:pt x="15221" y="23637"/>
                    <a:pt x="14627" y="25417"/>
                    <a:pt x="14034" y="27198"/>
                  </a:cubicBezTo>
                  <a:cubicBezTo>
                    <a:pt x="12664" y="29343"/>
                    <a:pt x="11089" y="31398"/>
                    <a:pt x="9446" y="33338"/>
                  </a:cubicBezTo>
                  <a:cubicBezTo>
                    <a:pt x="8829" y="34068"/>
                    <a:pt x="8190" y="34776"/>
                    <a:pt x="7551" y="35461"/>
                  </a:cubicBezTo>
                  <a:cubicBezTo>
                    <a:pt x="8213" y="34091"/>
                    <a:pt x="8601" y="32607"/>
                    <a:pt x="8966" y="31147"/>
                  </a:cubicBezTo>
                  <a:cubicBezTo>
                    <a:pt x="9811" y="27746"/>
                    <a:pt x="10678" y="24322"/>
                    <a:pt x="10838" y="20807"/>
                  </a:cubicBezTo>
                  <a:cubicBezTo>
                    <a:pt x="10907" y="19437"/>
                    <a:pt x="10838" y="17954"/>
                    <a:pt x="9994" y="16881"/>
                  </a:cubicBezTo>
                  <a:cubicBezTo>
                    <a:pt x="9879" y="16744"/>
                    <a:pt x="9742" y="16607"/>
                    <a:pt x="9583" y="16561"/>
                  </a:cubicBezTo>
                  <a:cubicBezTo>
                    <a:pt x="9538" y="16550"/>
                    <a:pt x="9494" y="16545"/>
                    <a:pt x="9450" y="16545"/>
                  </a:cubicBezTo>
                  <a:cubicBezTo>
                    <a:pt x="9228" y="16545"/>
                    <a:pt x="9024" y="16679"/>
                    <a:pt x="8852" y="16812"/>
                  </a:cubicBezTo>
                  <a:cubicBezTo>
                    <a:pt x="8031" y="17520"/>
                    <a:pt x="7483" y="18501"/>
                    <a:pt x="7118" y="19506"/>
                  </a:cubicBezTo>
                  <a:cubicBezTo>
                    <a:pt x="6113" y="22176"/>
                    <a:pt x="6159" y="25098"/>
                    <a:pt x="6433" y="27928"/>
                  </a:cubicBezTo>
                  <a:cubicBezTo>
                    <a:pt x="6684" y="30667"/>
                    <a:pt x="7095" y="33384"/>
                    <a:pt x="6912" y="36100"/>
                  </a:cubicBezTo>
                  <a:cubicBezTo>
                    <a:pt x="4972" y="38086"/>
                    <a:pt x="2804" y="39866"/>
                    <a:pt x="338" y="41144"/>
                  </a:cubicBezTo>
                  <a:cubicBezTo>
                    <a:pt x="315" y="41138"/>
                    <a:pt x="293" y="41135"/>
                    <a:pt x="273" y="41135"/>
                  </a:cubicBezTo>
                  <a:cubicBezTo>
                    <a:pt x="1" y="41135"/>
                    <a:pt x="41" y="41677"/>
                    <a:pt x="338" y="41783"/>
                  </a:cubicBezTo>
                  <a:cubicBezTo>
                    <a:pt x="402" y="41806"/>
                    <a:pt x="467" y="41816"/>
                    <a:pt x="532" y="41816"/>
                  </a:cubicBezTo>
                  <a:cubicBezTo>
                    <a:pt x="792" y="41816"/>
                    <a:pt x="1055" y="41655"/>
                    <a:pt x="1274" y="41509"/>
                  </a:cubicBezTo>
                  <a:cubicBezTo>
                    <a:pt x="3488" y="40026"/>
                    <a:pt x="5543" y="38337"/>
                    <a:pt x="7460" y="36465"/>
                  </a:cubicBezTo>
                  <a:cubicBezTo>
                    <a:pt x="7648" y="36470"/>
                    <a:pt x="7836" y="36472"/>
                    <a:pt x="8024" y="36472"/>
                  </a:cubicBezTo>
                  <a:cubicBezTo>
                    <a:pt x="12339" y="36472"/>
                    <a:pt x="16707" y="35223"/>
                    <a:pt x="20425" y="32927"/>
                  </a:cubicBezTo>
                  <a:cubicBezTo>
                    <a:pt x="21771" y="32082"/>
                    <a:pt x="23141" y="31010"/>
                    <a:pt x="23552" y="29480"/>
                  </a:cubicBezTo>
                  <a:cubicBezTo>
                    <a:pt x="23643" y="29184"/>
                    <a:pt x="23689" y="28841"/>
                    <a:pt x="23575" y="28545"/>
                  </a:cubicBezTo>
                  <a:cubicBezTo>
                    <a:pt x="23415" y="28111"/>
                    <a:pt x="22913" y="27837"/>
                    <a:pt x="22456" y="27814"/>
                  </a:cubicBezTo>
                  <a:cubicBezTo>
                    <a:pt x="22429" y="27813"/>
                    <a:pt x="22402" y="27812"/>
                    <a:pt x="22374" y="27812"/>
                  </a:cubicBezTo>
                  <a:cubicBezTo>
                    <a:pt x="21925" y="27812"/>
                    <a:pt x="21496" y="27986"/>
                    <a:pt x="21087" y="28179"/>
                  </a:cubicBezTo>
                  <a:cubicBezTo>
                    <a:pt x="19420" y="28955"/>
                    <a:pt x="18028" y="30211"/>
                    <a:pt x="16522" y="31261"/>
                  </a:cubicBezTo>
                  <a:cubicBezTo>
                    <a:pt x="14102" y="32950"/>
                    <a:pt x="11386" y="34160"/>
                    <a:pt x="8647" y="35278"/>
                  </a:cubicBezTo>
                  <a:cubicBezTo>
                    <a:pt x="10770" y="33041"/>
                    <a:pt x="12687" y="30599"/>
                    <a:pt x="14330" y="27997"/>
                  </a:cubicBezTo>
                  <a:cubicBezTo>
                    <a:pt x="14516" y="28096"/>
                    <a:pt x="14742" y="28134"/>
                    <a:pt x="14979" y="28134"/>
                  </a:cubicBezTo>
                  <a:cubicBezTo>
                    <a:pt x="15179" y="28134"/>
                    <a:pt x="15387" y="28107"/>
                    <a:pt x="15586" y="28065"/>
                  </a:cubicBezTo>
                  <a:cubicBezTo>
                    <a:pt x="18553" y="27563"/>
                    <a:pt x="21178" y="25874"/>
                    <a:pt x="23392" y="23843"/>
                  </a:cubicBezTo>
                  <a:cubicBezTo>
                    <a:pt x="25218" y="22176"/>
                    <a:pt x="26861" y="20168"/>
                    <a:pt x="27455" y="17771"/>
                  </a:cubicBezTo>
                  <a:cubicBezTo>
                    <a:pt x="27592" y="17109"/>
                    <a:pt x="27660" y="16333"/>
                    <a:pt x="27227" y="15808"/>
                  </a:cubicBezTo>
                  <a:cubicBezTo>
                    <a:pt x="26936" y="15457"/>
                    <a:pt x="26498" y="15299"/>
                    <a:pt x="26042" y="15299"/>
                  </a:cubicBezTo>
                  <a:cubicBezTo>
                    <a:pt x="25638" y="15299"/>
                    <a:pt x="25219" y="15423"/>
                    <a:pt x="24876" y="15648"/>
                  </a:cubicBezTo>
                  <a:cubicBezTo>
                    <a:pt x="24168" y="16128"/>
                    <a:pt x="23734" y="16927"/>
                    <a:pt x="23323" y="17680"/>
                  </a:cubicBezTo>
                  <a:cubicBezTo>
                    <a:pt x="22022" y="20099"/>
                    <a:pt x="20607" y="22519"/>
                    <a:pt x="18599" y="24390"/>
                  </a:cubicBezTo>
                  <a:cubicBezTo>
                    <a:pt x="17480" y="25417"/>
                    <a:pt x="16202" y="26285"/>
                    <a:pt x="14878" y="27084"/>
                  </a:cubicBezTo>
                  <a:cubicBezTo>
                    <a:pt x="16864" y="23706"/>
                    <a:pt x="18393" y="20099"/>
                    <a:pt x="19375" y="16310"/>
                  </a:cubicBezTo>
                  <a:cubicBezTo>
                    <a:pt x="19420" y="16105"/>
                    <a:pt x="19489" y="15922"/>
                    <a:pt x="19534" y="15717"/>
                  </a:cubicBezTo>
                  <a:cubicBezTo>
                    <a:pt x="21292" y="13731"/>
                    <a:pt x="23232" y="11791"/>
                    <a:pt x="25286" y="10033"/>
                  </a:cubicBezTo>
                  <a:cubicBezTo>
                    <a:pt x="27592" y="8070"/>
                    <a:pt x="30125" y="6199"/>
                    <a:pt x="31563" y="3551"/>
                  </a:cubicBezTo>
                  <a:cubicBezTo>
                    <a:pt x="32088" y="2592"/>
                    <a:pt x="32408" y="1291"/>
                    <a:pt x="31655" y="515"/>
                  </a:cubicBezTo>
                  <a:cubicBezTo>
                    <a:pt x="31310" y="146"/>
                    <a:pt x="30822" y="1"/>
                    <a:pt x="30309" y="1"/>
                  </a:cubicBezTo>
                  <a:close/>
                </a:path>
              </a:pathLst>
            </a:cu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grpSp>
      <p:sp>
        <p:nvSpPr>
          <p:cNvPr id="11925" name="Google Shape;11925;p1600"/>
          <p:cNvSpPr/>
          <p:nvPr/>
        </p:nvSpPr>
        <p:spPr>
          <a:xfrm>
            <a:off x="9732899" y="713335"/>
            <a:ext cx="232853" cy="151221"/>
          </a:xfrm>
          <a:custGeom>
            <a:avLst/>
            <a:gdLst/>
            <a:ahLst/>
            <a:cxnLst/>
            <a:rect l="l" t="t" r="r" b="b"/>
            <a:pathLst>
              <a:path w="8720" h="5663" extrusionOk="0">
                <a:moveTo>
                  <a:pt x="5592" y="207"/>
                </a:moveTo>
                <a:cubicBezTo>
                  <a:pt x="5958" y="207"/>
                  <a:pt x="6323" y="230"/>
                  <a:pt x="6688" y="298"/>
                </a:cubicBezTo>
                <a:cubicBezTo>
                  <a:pt x="7053" y="344"/>
                  <a:pt x="7487" y="435"/>
                  <a:pt x="7829" y="686"/>
                </a:cubicBezTo>
                <a:cubicBezTo>
                  <a:pt x="8035" y="823"/>
                  <a:pt x="8217" y="1097"/>
                  <a:pt x="8263" y="1371"/>
                </a:cubicBezTo>
                <a:cubicBezTo>
                  <a:pt x="5707" y="1417"/>
                  <a:pt x="3150" y="1599"/>
                  <a:pt x="617" y="1965"/>
                </a:cubicBezTo>
                <a:cubicBezTo>
                  <a:pt x="845" y="1736"/>
                  <a:pt x="1096" y="1554"/>
                  <a:pt x="1256" y="1440"/>
                </a:cubicBezTo>
                <a:cubicBezTo>
                  <a:pt x="2534" y="641"/>
                  <a:pt x="4086" y="207"/>
                  <a:pt x="5592" y="207"/>
                </a:cubicBezTo>
                <a:close/>
                <a:moveTo>
                  <a:pt x="8263" y="1577"/>
                </a:moveTo>
                <a:cubicBezTo>
                  <a:pt x="8263" y="1622"/>
                  <a:pt x="8263" y="1645"/>
                  <a:pt x="8240" y="1668"/>
                </a:cubicBezTo>
                <a:cubicBezTo>
                  <a:pt x="8172" y="1942"/>
                  <a:pt x="7943" y="2170"/>
                  <a:pt x="7738" y="2353"/>
                </a:cubicBezTo>
                <a:cubicBezTo>
                  <a:pt x="7213" y="2764"/>
                  <a:pt x="6711" y="3129"/>
                  <a:pt x="6414" y="3243"/>
                </a:cubicBezTo>
                <a:cubicBezTo>
                  <a:pt x="5119" y="3770"/>
                  <a:pt x="3698" y="4043"/>
                  <a:pt x="2292" y="4043"/>
                </a:cubicBezTo>
                <a:cubicBezTo>
                  <a:pt x="2236" y="4043"/>
                  <a:pt x="2179" y="4043"/>
                  <a:pt x="2123" y="4042"/>
                </a:cubicBezTo>
                <a:cubicBezTo>
                  <a:pt x="1735" y="4019"/>
                  <a:pt x="1324" y="3996"/>
                  <a:pt x="959" y="3836"/>
                </a:cubicBezTo>
                <a:cubicBezTo>
                  <a:pt x="571" y="3654"/>
                  <a:pt x="297" y="3334"/>
                  <a:pt x="229" y="2992"/>
                </a:cubicBezTo>
                <a:cubicBezTo>
                  <a:pt x="183" y="2695"/>
                  <a:pt x="274" y="2444"/>
                  <a:pt x="434" y="2193"/>
                </a:cubicBezTo>
                <a:cubicBezTo>
                  <a:pt x="3013" y="1828"/>
                  <a:pt x="5661" y="1622"/>
                  <a:pt x="8263" y="1577"/>
                </a:cubicBezTo>
                <a:close/>
                <a:moveTo>
                  <a:pt x="8377" y="1942"/>
                </a:moveTo>
                <a:cubicBezTo>
                  <a:pt x="8423" y="2353"/>
                  <a:pt x="8468" y="2764"/>
                  <a:pt x="8491" y="3174"/>
                </a:cubicBezTo>
                <a:cubicBezTo>
                  <a:pt x="8514" y="3311"/>
                  <a:pt x="8514" y="3425"/>
                  <a:pt x="8468" y="3540"/>
                </a:cubicBezTo>
                <a:cubicBezTo>
                  <a:pt x="8446" y="3631"/>
                  <a:pt x="8354" y="3722"/>
                  <a:pt x="8240" y="3813"/>
                </a:cubicBezTo>
                <a:cubicBezTo>
                  <a:pt x="8035" y="3996"/>
                  <a:pt x="7784" y="4179"/>
                  <a:pt x="7441" y="4361"/>
                </a:cubicBezTo>
                <a:cubicBezTo>
                  <a:pt x="6193" y="5075"/>
                  <a:pt x="4756" y="5461"/>
                  <a:pt x="3323" y="5461"/>
                </a:cubicBezTo>
                <a:cubicBezTo>
                  <a:pt x="3105" y="5461"/>
                  <a:pt x="2888" y="5452"/>
                  <a:pt x="2671" y="5434"/>
                </a:cubicBezTo>
                <a:cubicBezTo>
                  <a:pt x="2169" y="5388"/>
                  <a:pt x="1758" y="5320"/>
                  <a:pt x="1393" y="5206"/>
                </a:cubicBezTo>
                <a:cubicBezTo>
                  <a:pt x="936" y="5046"/>
                  <a:pt x="639" y="4863"/>
                  <a:pt x="480" y="4612"/>
                </a:cubicBezTo>
                <a:cubicBezTo>
                  <a:pt x="274" y="4293"/>
                  <a:pt x="251" y="3928"/>
                  <a:pt x="251" y="3540"/>
                </a:cubicBezTo>
                <a:lnTo>
                  <a:pt x="251" y="3540"/>
                </a:lnTo>
                <a:cubicBezTo>
                  <a:pt x="388" y="3745"/>
                  <a:pt x="594" y="3905"/>
                  <a:pt x="868" y="4019"/>
                </a:cubicBezTo>
                <a:cubicBezTo>
                  <a:pt x="1256" y="4202"/>
                  <a:pt x="1735" y="4247"/>
                  <a:pt x="2123" y="4247"/>
                </a:cubicBezTo>
                <a:lnTo>
                  <a:pt x="2374" y="4247"/>
                </a:lnTo>
                <a:cubicBezTo>
                  <a:pt x="3789" y="4247"/>
                  <a:pt x="5204" y="3973"/>
                  <a:pt x="6505" y="3425"/>
                </a:cubicBezTo>
                <a:cubicBezTo>
                  <a:pt x="6871" y="3289"/>
                  <a:pt x="7441" y="2855"/>
                  <a:pt x="7852" y="2512"/>
                </a:cubicBezTo>
                <a:cubicBezTo>
                  <a:pt x="8058" y="2353"/>
                  <a:pt x="8240" y="2170"/>
                  <a:pt x="8377" y="1942"/>
                </a:cubicBezTo>
                <a:close/>
                <a:moveTo>
                  <a:pt x="5642" y="0"/>
                </a:moveTo>
                <a:cubicBezTo>
                  <a:pt x="4073" y="0"/>
                  <a:pt x="2479" y="440"/>
                  <a:pt x="1142" y="1257"/>
                </a:cubicBezTo>
                <a:cubicBezTo>
                  <a:pt x="708" y="1531"/>
                  <a:pt x="23" y="2079"/>
                  <a:pt x="0" y="2786"/>
                </a:cubicBezTo>
                <a:cubicBezTo>
                  <a:pt x="0" y="2809"/>
                  <a:pt x="0" y="2832"/>
                  <a:pt x="0" y="2832"/>
                </a:cubicBezTo>
                <a:cubicBezTo>
                  <a:pt x="23" y="3037"/>
                  <a:pt x="23" y="3243"/>
                  <a:pt x="23" y="3448"/>
                </a:cubicBezTo>
                <a:cubicBezTo>
                  <a:pt x="46" y="3882"/>
                  <a:pt x="46" y="4338"/>
                  <a:pt x="297" y="4726"/>
                </a:cubicBezTo>
                <a:cubicBezTo>
                  <a:pt x="502" y="5023"/>
                  <a:pt x="822" y="5229"/>
                  <a:pt x="1324" y="5388"/>
                </a:cubicBezTo>
                <a:cubicBezTo>
                  <a:pt x="1712" y="5525"/>
                  <a:pt x="2146" y="5594"/>
                  <a:pt x="2648" y="5640"/>
                </a:cubicBezTo>
                <a:cubicBezTo>
                  <a:pt x="2876" y="5662"/>
                  <a:pt x="3082" y="5662"/>
                  <a:pt x="3310" y="5662"/>
                </a:cubicBezTo>
                <a:cubicBezTo>
                  <a:pt x="4794" y="5662"/>
                  <a:pt x="6277" y="5274"/>
                  <a:pt x="7555" y="4544"/>
                </a:cubicBezTo>
                <a:cubicBezTo>
                  <a:pt x="7898" y="4361"/>
                  <a:pt x="8149" y="4179"/>
                  <a:pt x="8377" y="3973"/>
                </a:cubicBezTo>
                <a:cubicBezTo>
                  <a:pt x="8514" y="3882"/>
                  <a:pt x="8628" y="3768"/>
                  <a:pt x="8674" y="3608"/>
                </a:cubicBezTo>
                <a:cubicBezTo>
                  <a:pt x="8720" y="3448"/>
                  <a:pt x="8720" y="3289"/>
                  <a:pt x="8720" y="3174"/>
                </a:cubicBezTo>
                <a:cubicBezTo>
                  <a:pt x="8651" y="2490"/>
                  <a:pt x="8583" y="1828"/>
                  <a:pt x="8468" y="1143"/>
                </a:cubicBezTo>
                <a:cubicBezTo>
                  <a:pt x="8468" y="1120"/>
                  <a:pt x="8423" y="1074"/>
                  <a:pt x="8400" y="1074"/>
                </a:cubicBezTo>
                <a:cubicBezTo>
                  <a:pt x="8286" y="846"/>
                  <a:pt x="8126" y="641"/>
                  <a:pt x="7943" y="504"/>
                </a:cubicBezTo>
                <a:cubicBezTo>
                  <a:pt x="7578" y="230"/>
                  <a:pt x="7099" y="139"/>
                  <a:pt x="6711" y="70"/>
                </a:cubicBezTo>
                <a:cubicBezTo>
                  <a:pt x="6358" y="23"/>
                  <a:pt x="6001" y="0"/>
                  <a:pt x="5642" y="0"/>
                </a:cubicBezTo>
                <a:close/>
              </a:path>
            </a:pathLst>
          </a:custGeom>
          <a:solidFill>
            <a:schemeClr val="dk1"/>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11926" name="Google Shape;11926;p1600"/>
          <p:cNvSpPr/>
          <p:nvPr/>
        </p:nvSpPr>
        <p:spPr>
          <a:xfrm>
            <a:off x="4209513" y="486274"/>
            <a:ext cx="219448" cy="72873"/>
          </a:xfrm>
          <a:custGeom>
            <a:avLst/>
            <a:gdLst/>
            <a:ahLst/>
            <a:cxnLst/>
            <a:rect l="l" t="t" r="r" b="b"/>
            <a:pathLst>
              <a:path w="8218" h="2729" extrusionOk="0">
                <a:moveTo>
                  <a:pt x="3698" y="948"/>
                </a:moveTo>
                <a:cubicBezTo>
                  <a:pt x="3835" y="1017"/>
                  <a:pt x="3972" y="1131"/>
                  <a:pt x="4064" y="1245"/>
                </a:cubicBezTo>
                <a:cubicBezTo>
                  <a:pt x="4315" y="1496"/>
                  <a:pt x="4406" y="1839"/>
                  <a:pt x="4315" y="2113"/>
                </a:cubicBezTo>
                <a:cubicBezTo>
                  <a:pt x="4269" y="2272"/>
                  <a:pt x="4132" y="2409"/>
                  <a:pt x="3995" y="2478"/>
                </a:cubicBezTo>
                <a:cubicBezTo>
                  <a:pt x="3927" y="2501"/>
                  <a:pt x="3858" y="2512"/>
                  <a:pt x="3793" y="2512"/>
                </a:cubicBezTo>
                <a:cubicBezTo>
                  <a:pt x="3727" y="2512"/>
                  <a:pt x="3664" y="2501"/>
                  <a:pt x="3607" y="2478"/>
                </a:cubicBezTo>
                <a:cubicBezTo>
                  <a:pt x="3288" y="2341"/>
                  <a:pt x="3219" y="1861"/>
                  <a:pt x="3379" y="1473"/>
                </a:cubicBezTo>
                <a:cubicBezTo>
                  <a:pt x="3447" y="1291"/>
                  <a:pt x="3562" y="1108"/>
                  <a:pt x="3698" y="948"/>
                </a:cubicBezTo>
                <a:close/>
                <a:moveTo>
                  <a:pt x="5462" y="0"/>
                </a:moveTo>
                <a:cubicBezTo>
                  <a:pt x="5246" y="0"/>
                  <a:pt x="5022" y="24"/>
                  <a:pt x="4794" y="81"/>
                </a:cubicBezTo>
                <a:cubicBezTo>
                  <a:pt x="4360" y="172"/>
                  <a:pt x="3950" y="401"/>
                  <a:pt x="3653" y="697"/>
                </a:cubicBezTo>
                <a:cubicBezTo>
                  <a:pt x="3420" y="620"/>
                  <a:pt x="3177" y="574"/>
                  <a:pt x="2923" y="574"/>
                </a:cubicBezTo>
                <a:cubicBezTo>
                  <a:pt x="2804" y="574"/>
                  <a:pt x="2682" y="584"/>
                  <a:pt x="2557" y="606"/>
                </a:cubicBezTo>
                <a:cubicBezTo>
                  <a:pt x="1918" y="697"/>
                  <a:pt x="1347" y="1063"/>
                  <a:pt x="982" y="1336"/>
                </a:cubicBezTo>
                <a:cubicBezTo>
                  <a:pt x="617" y="1588"/>
                  <a:pt x="183" y="1976"/>
                  <a:pt x="1" y="2501"/>
                </a:cubicBezTo>
                <a:cubicBezTo>
                  <a:pt x="1" y="2546"/>
                  <a:pt x="24" y="2615"/>
                  <a:pt x="69" y="2615"/>
                </a:cubicBezTo>
                <a:cubicBezTo>
                  <a:pt x="86" y="2620"/>
                  <a:pt x="102" y="2623"/>
                  <a:pt x="116" y="2623"/>
                </a:cubicBezTo>
                <a:cubicBezTo>
                  <a:pt x="159" y="2623"/>
                  <a:pt x="189" y="2598"/>
                  <a:pt x="206" y="2546"/>
                </a:cubicBezTo>
                <a:cubicBezTo>
                  <a:pt x="366" y="2090"/>
                  <a:pt x="777" y="1747"/>
                  <a:pt x="1119" y="1496"/>
                </a:cubicBezTo>
                <a:cubicBezTo>
                  <a:pt x="1667" y="1108"/>
                  <a:pt x="2146" y="880"/>
                  <a:pt x="2603" y="811"/>
                </a:cubicBezTo>
                <a:cubicBezTo>
                  <a:pt x="2702" y="796"/>
                  <a:pt x="2803" y="789"/>
                  <a:pt x="2905" y="789"/>
                </a:cubicBezTo>
                <a:cubicBezTo>
                  <a:pt x="3108" y="789"/>
                  <a:pt x="3310" y="819"/>
                  <a:pt x="3493" y="880"/>
                </a:cubicBezTo>
                <a:cubicBezTo>
                  <a:pt x="3356" y="1040"/>
                  <a:pt x="3242" y="1222"/>
                  <a:pt x="3173" y="1405"/>
                </a:cubicBezTo>
                <a:cubicBezTo>
                  <a:pt x="2991" y="1861"/>
                  <a:pt x="3082" y="2478"/>
                  <a:pt x="3516" y="2683"/>
                </a:cubicBezTo>
                <a:cubicBezTo>
                  <a:pt x="3607" y="2706"/>
                  <a:pt x="3698" y="2729"/>
                  <a:pt x="3767" y="2729"/>
                </a:cubicBezTo>
                <a:cubicBezTo>
                  <a:pt x="3881" y="2729"/>
                  <a:pt x="3972" y="2706"/>
                  <a:pt x="4064" y="2660"/>
                </a:cubicBezTo>
                <a:cubicBezTo>
                  <a:pt x="4292" y="2569"/>
                  <a:pt x="4452" y="2386"/>
                  <a:pt x="4520" y="2181"/>
                </a:cubicBezTo>
                <a:cubicBezTo>
                  <a:pt x="4634" y="1839"/>
                  <a:pt x="4520" y="1405"/>
                  <a:pt x="4223" y="1085"/>
                </a:cubicBezTo>
                <a:cubicBezTo>
                  <a:pt x="4109" y="971"/>
                  <a:pt x="3995" y="880"/>
                  <a:pt x="3858" y="789"/>
                </a:cubicBezTo>
                <a:cubicBezTo>
                  <a:pt x="4109" y="560"/>
                  <a:pt x="4475" y="355"/>
                  <a:pt x="4840" y="286"/>
                </a:cubicBezTo>
                <a:cubicBezTo>
                  <a:pt x="5051" y="237"/>
                  <a:pt x="5259" y="216"/>
                  <a:pt x="5460" y="216"/>
                </a:cubicBezTo>
                <a:cubicBezTo>
                  <a:pt x="5995" y="216"/>
                  <a:pt x="6477" y="365"/>
                  <a:pt x="6826" y="515"/>
                </a:cubicBezTo>
                <a:cubicBezTo>
                  <a:pt x="7191" y="675"/>
                  <a:pt x="7875" y="1040"/>
                  <a:pt x="8012" y="1702"/>
                </a:cubicBezTo>
                <a:cubicBezTo>
                  <a:pt x="8012" y="1770"/>
                  <a:pt x="8081" y="1793"/>
                  <a:pt x="8127" y="1793"/>
                </a:cubicBezTo>
                <a:cubicBezTo>
                  <a:pt x="8195" y="1770"/>
                  <a:pt x="8218" y="1724"/>
                  <a:pt x="8218" y="1656"/>
                </a:cubicBezTo>
                <a:cubicBezTo>
                  <a:pt x="8058" y="903"/>
                  <a:pt x="7328" y="492"/>
                  <a:pt x="6894" y="309"/>
                </a:cubicBezTo>
                <a:cubicBezTo>
                  <a:pt x="6531" y="161"/>
                  <a:pt x="6025" y="0"/>
                  <a:pt x="5462" y="0"/>
                </a:cubicBezTo>
                <a:close/>
              </a:path>
            </a:pathLst>
          </a:custGeom>
          <a:solidFill>
            <a:schemeClr val="dk1"/>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11927" name="Google Shape;11927;p1600"/>
          <p:cNvSpPr/>
          <p:nvPr/>
        </p:nvSpPr>
        <p:spPr>
          <a:xfrm rot="2700000" flipH="1">
            <a:off x="864474" y="864552"/>
            <a:ext cx="163996" cy="256048"/>
          </a:xfrm>
          <a:custGeom>
            <a:avLst/>
            <a:gdLst/>
            <a:ahLst/>
            <a:cxnLst/>
            <a:rect l="l" t="t" r="r" b="b"/>
            <a:pathLst>
              <a:path w="6141" h="9588" extrusionOk="0">
                <a:moveTo>
                  <a:pt x="5935" y="366"/>
                </a:moveTo>
                <a:lnTo>
                  <a:pt x="5935" y="366"/>
                </a:lnTo>
                <a:cubicBezTo>
                  <a:pt x="5821" y="3356"/>
                  <a:pt x="5547" y="6369"/>
                  <a:pt x="5090" y="9336"/>
                </a:cubicBezTo>
                <a:cubicBezTo>
                  <a:pt x="3424" y="8811"/>
                  <a:pt x="1826" y="8081"/>
                  <a:pt x="274" y="7373"/>
                </a:cubicBezTo>
                <a:cubicBezTo>
                  <a:pt x="1895" y="4840"/>
                  <a:pt x="3789" y="2489"/>
                  <a:pt x="5935" y="366"/>
                </a:cubicBezTo>
                <a:close/>
                <a:moveTo>
                  <a:pt x="6095" y="1"/>
                </a:moveTo>
                <a:cubicBezTo>
                  <a:pt x="6049" y="1"/>
                  <a:pt x="6003" y="1"/>
                  <a:pt x="5958" y="24"/>
                </a:cubicBezTo>
                <a:cubicBezTo>
                  <a:pt x="3721" y="2238"/>
                  <a:pt x="1712" y="4703"/>
                  <a:pt x="23" y="7350"/>
                </a:cubicBezTo>
                <a:cubicBezTo>
                  <a:pt x="0" y="7396"/>
                  <a:pt x="0" y="7419"/>
                  <a:pt x="23" y="7442"/>
                </a:cubicBezTo>
                <a:cubicBezTo>
                  <a:pt x="23" y="7465"/>
                  <a:pt x="46" y="7510"/>
                  <a:pt x="69" y="7510"/>
                </a:cubicBezTo>
                <a:cubicBezTo>
                  <a:pt x="1689" y="8264"/>
                  <a:pt x="3378" y="9040"/>
                  <a:pt x="5159" y="9565"/>
                </a:cubicBezTo>
                <a:cubicBezTo>
                  <a:pt x="5159" y="9587"/>
                  <a:pt x="5182" y="9587"/>
                  <a:pt x="5182" y="9587"/>
                </a:cubicBezTo>
                <a:cubicBezTo>
                  <a:pt x="5204" y="9587"/>
                  <a:pt x="5227" y="9565"/>
                  <a:pt x="5250" y="9565"/>
                </a:cubicBezTo>
                <a:cubicBezTo>
                  <a:pt x="5273" y="9542"/>
                  <a:pt x="5296" y="9519"/>
                  <a:pt x="5296" y="9496"/>
                </a:cubicBezTo>
                <a:cubicBezTo>
                  <a:pt x="5752" y="6392"/>
                  <a:pt x="6049" y="3242"/>
                  <a:pt x="6140" y="115"/>
                </a:cubicBezTo>
                <a:cubicBezTo>
                  <a:pt x="6140" y="69"/>
                  <a:pt x="6117" y="24"/>
                  <a:pt x="6095" y="1"/>
                </a:cubicBezTo>
                <a:close/>
              </a:path>
            </a:pathLst>
          </a:custGeom>
          <a:solidFill>
            <a:schemeClr val="dk1"/>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11928" name="Google Shape;11928;p1600"/>
          <p:cNvSpPr/>
          <p:nvPr/>
        </p:nvSpPr>
        <p:spPr>
          <a:xfrm>
            <a:off x="7362613" y="6444408"/>
            <a:ext cx="219448" cy="72873"/>
          </a:xfrm>
          <a:custGeom>
            <a:avLst/>
            <a:gdLst/>
            <a:ahLst/>
            <a:cxnLst/>
            <a:rect l="l" t="t" r="r" b="b"/>
            <a:pathLst>
              <a:path w="8218" h="2729" extrusionOk="0">
                <a:moveTo>
                  <a:pt x="3698" y="948"/>
                </a:moveTo>
                <a:cubicBezTo>
                  <a:pt x="3835" y="1017"/>
                  <a:pt x="3972" y="1131"/>
                  <a:pt x="4064" y="1245"/>
                </a:cubicBezTo>
                <a:cubicBezTo>
                  <a:pt x="4315" y="1496"/>
                  <a:pt x="4406" y="1839"/>
                  <a:pt x="4315" y="2113"/>
                </a:cubicBezTo>
                <a:cubicBezTo>
                  <a:pt x="4269" y="2272"/>
                  <a:pt x="4132" y="2409"/>
                  <a:pt x="3995" y="2478"/>
                </a:cubicBezTo>
                <a:cubicBezTo>
                  <a:pt x="3927" y="2501"/>
                  <a:pt x="3858" y="2512"/>
                  <a:pt x="3793" y="2512"/>
                </a:cubicBezTo>
                <a:cubicBezTo>
                  <a:pt x="3727" y="2512"/>
                  <a:pt x="3664" y="2501"/>
                  <a:pt x="3607" y="2478"/>
                </a:cubicBezTo>
                <a:cubicBezTo>
                  <a:pt x="3288" y="2341"/>
                  <a:pt x="3219" y="1861"/>
                  <a:pt x="3379" y="1473"/>
                </a:cubicBezTo>
                <a:cubicBezTo>
                  <a:pt x="3447" y="1291"/>
                  <a:pt x="3562" y="1108"/>
                  <a:pt x="3698" y="948"/>
                </a:cubicBezTo>
                <a:close/>
                <a:moveTo>
                  <a:pt x="5462" y="0"/>
                </a:moveTo>
                <a:cubicBezTo>
                  <a:pt x="5246" y="0"/>
                  <a:pt x="5022" y="24"/>
                  <a:pt x="4794" y="81"/>
                </a:cubicBezTo>
                <a:cubicBezTo>
                  <a:pt x="4360" y="172"/>
                  <a:pt x="3950" y="401"/>
                  <a:pt x="3653" y="697"/>
                </a:cubicBezTo>
                <a:cubicBezTo>
                  <a:pt x="3420" y="620"/>
                  <a:pt x="3177" y="574"/>
                  <a:pt x="2923" y="574"/>
                </a:cubicBezTo>
                <a:cubicBezTo>
                  <a:pt x="2804" y="574"/>
                  <a:pt x="2682" y="584"/>
                  <a:pt x="2557" y="606"/>
                </a:cubicBezTo>
                <a:cubicBezTo>
                  <a:pt x="1918" y="697"/>
                  <a:pt x="1347" y="1063"/>
                  <a:pt x="982" y="1336"/>
                </a:cubicBezTo>
                <a:cubicBezTo>
                  <a:pt x="617" y="1588"/>
                  <a:pt x="183" y="1976"/>
                  <a:pt x="1" y="2501"/>
                </a:cubicBezTo>
                <a:cubicBezTo>
                  <a:pt x="1" y="2546"/>
                  <a:pt x="24" y="2615"/>
                  <a:pt x="69" y="2615"/>
                </a:cubicBezTo>
                <a:cubicBezTo>
                  <a:pt x="86" y="2620"/>
                  <a:pt x="102" y="2623"/>
                  <a:pt x="116" y="2623"/>
                </a:cubicBezTo>
                <a:cubicBezTo>
                  <a:pt x="159" y="2623"/>
                  <a:pt x="189" y="2598"/>
                  <a:pt x="206" y="2546"/>
                </a:cubicBezTo>
                <a:cubicBezTo>
                  <a:pt x="366" y="2090"/>
                  <a:pt x="777" y="1747"/>
                  <a:pt x="1119" y="1496"/>
                </a:cubicBezTo>
                <a:cubicBezTo>
                  <a:pt x="1667" y="1108"/>
                  <a:pt x="2146" y="880"/>
                  <a:pt x="2603" y="811"/>
                </a:cubicBezTo>
                <a:cubicBezTo>
                  <a:pt x="2702" y="796"/>
                  <a:pt x="2803" y="789"/>
                  <a:pt x="2905" y="789"/>
                </a:cubicBezTo>
                <a:cubicBezTo>
                  <a:pt x="3108" y="789"/>
                  <a:pt x="3310" y="819"/>
                  <a:pt x="3493" y="880"/>
                </a:cubicBezTo>
                <a:cubicBezTo>
                  <a:pt x="3356" y="1040"/>
                  <a:pt x="3242" y="1222"/>
                  <a:pt x="3173" y="1405"/>
                </a:cubicBezTo>
                <a:cubicBezTo>
                  <a:pt x="2991" y="1861"/>
                  <a:pt x="3082" y="2478"/>
                  <a:pt x="3516" y="2683"/>
                </a:cubicBezTo>
                <a:cubicBezTo>
                  <a:pt x="3607" y="2706"/>
                  <a:pt x="3698" y="2729"/>
                  <a:pt x="3767" y="2729"/>
                </a:cubicBezTo>
                <a:cubicBezTo>
                  <a:pt x="3881" y="2729"/>
                  <a:pt x="3972" y="2706"/>
                  <a:pt x="4064" y="2660"/>
                </a:cubicBezTo>
                <a:cubicBezTo>
                  <a:pt x="4292" y="2569"/>
                  <a:pt x="4452" y="2386"/>
                  <a:pt x="4520" y="2181"/>
                </a:cubicBezTo>
                <a:cubicBezTo>
                  <a:pt x="4634" y="1839"/>
                  <a:pt x="4520" y="1405"/>
                  <a:pt x="4223" y="1085"/>
                </a:cubicBezTo>
                <a:cubicBezTo>
                  <a:pt x="4109" y="971"/>
                  <a:pt x="3995" y="880"/>
                  <a:pt x="3858" y="789"/>
                </a:cubicBezTo>
                <a:cubicBezTo>
                  <a:pt x="4109" y="560"/>
                  <a:pt x="4475" y="355"/>
                  <a:pt x="4840" y="286"/>
                </a:cubicBezTo>
                <a:cubicBezTo>
                  <a:pt x="5051" y="237"/>
                  <a:pt x="5259" y="216"/>
                  <a:pt x="5460" y="216"/>
                </a:cubicBezTo>
                <a:cubicBezTo>
                  <a:pt x="5995" y="216"/>
                  <a:pt x="6477" y="365"/>
                  <a:pt x="6826" y="515"/>
                </a:cubicBezTo>
                <a:cubicBezTo>
                  <a:pt x="7191" y="675"/>
                  <a:pt x="7875" y="1040"/>
                  <a:pt x="8012" y="1702"/>
                </a:cubicBezTo>
                <a:cubicBezTo>
                  <a:pt x="8012" y="1770"/>
                  <a:pt x="8081" y="1793"/>
                  <a:pt x="8127" y="1793"/>
                </a:cubicBezTo>
                <a:cubicBezTo>
                  <a:pt x="8195" y="1770"/>
                  <a:pt x="8218" y="1724"/>
                  <a:pt x="8218" y="1656"/>
                </a:cubicBezTo>
                <a:cubicBezTo>
                  <a:pt x="8058" y="903"/>
                  <a:pt x="7328" y="492"/>
                  <a:pt x="6894" y="309"/>
                </a:cubicBezTo>
                <a:cubicBezTo>
                  <a:pt x="6531" y="161"/>
                  <a:pt x="6025" y="0"/>
                  <a:pt x="5462" y="0"/>
                </a:cubicBezTo>
                <a:close/>
              </a:path>
            </a:pathLst>
          </a:custGeom>
          <a:solidFill>
            <a:schemeClr val="dk1"/>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11929" name="Google Shape;11929;p1600"/>
          <p:cNvSpPr/>
          <p:nvPr/>
        </p:nvSpPr>
        <p:spPr>
          <a:xfrm flipH="1">
            <a:off x="4280249" y="6457603"/>
            <a:ext cx="124028" cy="151235"/>
          </a:xfrm>
          <a:custGeom>
            <a:avLst/>
            <a:gdLst/>
            <a:ahLst/>
            <a:cxnLst/>
            <a:rect l="l" t="t" r="r" b="b"/>
            <a:pathLst>
              <a:path w="6141" h="9588" extrusionOk="0">
                <a:moveTo>
                  <a:pt x="5935" y="366"/>
                </a:moveTo>
                <a:lnTo>
                  <a:pt x="5935" y="366"/>
                </a:lnTo>
                <a:cubicBezTo>
                  <a:pt x="5821" y="3356"/>
                  <a:pt x="5547" y="6369"/>
                  <a:pt x="5090" y="9336"/>
                </a:cubicBezTo>
                <a:cubicBezTo>
                  <a:pt x="3424" y="8811"/>
                  <a:pt x="1826" y="8081"/>
                  <a:pt x="274" y="7373"/>
                </a:cubicBezTo>
                <a:cubicBezTo>
                  <a:pt x="1895" y="4840"/>
                  <a:pt x="3789" y="2489"/>
                  <a:pt x="5935" y="366"/>
                </a:cubicBezTo>
                <a:close/>
                <a:moveTo>
                  <a:pt x="6095" y="1"/>
                </a:moveTo>
                <a:cubicBezTo>
                  <a:pt x="6049" y="1"/>
                  <a:pt x="6003" y="1"/>
                  <a:pt x="5958" y="24"/>
                </a:cubicBezTo>
                <a:cubicBezTo>
                  <a:pt x="3721" y="2238"/>
                  <a:pt x="1712" y="4703"/>
                  <a:pt x="23" y="7350"/>
                </a:cubicBezTo>
                <a:cubicBezTo>
                  <a:pt x="0" y="7396"/>
                  <a:pt x="0" y="7419"/>
                  <a:pt x="23" y="7442"/>
                </a:cubicBezTo>
                <a:cubicBezTo>
                  <a:pt x="23" y="7465"/>
                  <a:pt x="46" y="7510"/>
                  <a:pt x="69" y="7510"/>
                </a:cubicBezTo>
                <a:cubicBezTo>
                  <a:pt x="1689" y="8264"/>
                  <a:pt x="3378" y="9040"/>
                  <a:pt x="5159" y="9565"/>
                </a:cubicBezTo>
                <a:cubicBezTo>
                  <a:pt x="5159" y="9587"/>
                  <a:pt x="5182" y="9587"/>
                  <a:pt x="5182" y="9587"/>
                </a:cubicBezTo>
                <a:cubicBezTo>
                  <a:pt x="5204" y="9587"/>
                  <a:pt x="5227" y="9565"/>
                  <a:pt x="5250" y="9565"/>
                </a:cubicBezTo>
                <a:cubicBezTo>
                  <a:pt x="5273" y="9542"/>
                  <a:pt x="5296" y="9519"/>
                  <a:pt x="5296" y="9496"/>
                </a:cubicBezTo>
                <a:cubicBezTo>
                  <a:pt x="5752" y="6392"/>
                  <a:pt x="6049" y="3242"/>
                  <a:pt x="6140" y="115"/>
                </a:cubicBezTo>
                <a:cubicBezTo>
                  <a:pt x="6140" y="69"/>
                  <a:pt x="6117" y="24"/>
                  <a:pt x="6095" y="1"/>
                </a:cubicBezTo>
                <a:close/>
              </a:path>
            </a:pathLst>
          </a:custGeom>
          <a:solidFill>
            <a:schemeClr val="dk1"/>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grpSp>
        <p:nvGrpSpPr>
          <p:cNvPr id="11930" name="Google Shape;11930;p1600"/>
          <p:cNvGrpSpPr/>
          <p:nvPr/>
        </p:nvGrpSpPr>
        <p:grpSpPr>
          <a:xfrm>
            <a:off x="-291061" y="4128521"/>
            <a:ext cx="1732868" cy="3535935"/>
            <a:chOff x="-218296" y="3096390"/>
            <a:chExt cx="1299651" cy="2651951"/>
          </a:xfrm>
        </p:grpSpPr>
        <p:sp>
          <p:nvSpPr>
            <p:cNvPr id="11931" name="Google Shape;11931;p1600"/>
            <p:cNvSpPr/>
            <p:nvPr/>
          </p:nvSpPr>
          <p:spPr>
            <a:xfrm flipH="1">
              <a:off x="-218296" y="3096390"/>
              <a:ext cx="692948" cy="785102"/>
            </a:xfrm>
            <a:custGeom>
              <a:avLst/>
              <a:gdLst/>
              <a:ahLst/>
              <a:cxnLst/>
              <a:rect l="l" t="t" r="r" b="b"/>
              <a:pathLst>
                <a:path w="25679" h="29094" extrusionOk="0">
                  <a:moveTo>
                    <a:pt x="15362" y="0"/>
                  </a:moveTo>
                  <a:cubicBezTo>
                    <a:pt x="14997" y="0"/>
                    <a:pt x="14631" y="16"/>
                    <a:pt x="14266" y="43"/>
                  </a:cubicBezTo>
                  <a:cubicBezTo>
                    <a:pt x="13581" y="112"/>
                    <a:pt x="12897" y="203"/>
                    <a:pt x="12280" y="500"/>
                  </a:cubicBezTo>
                  <a:cubicBezTo>
                    <a:pt x="11504" y="888"/>
                    <a:pt x="10911" y="1550"/>
                    <a:pt x="10409" y="2234"/>
                  </a:cubicBezTo>
                  <a:cubicBezTo>
                    <a:pt x="8080" y="5498"/>
                    <a:pt x="7533" y="9653"/>
                    <a:pt x="6254" y="13464"/>
                  </a:cubicBezTo>
                  <a:cubicBezTo>
                    <a:pt x="6232" y="13533"/>
                    <a:pt x="6186" y="13624"/>
                    <a:pt x="6140" y="13693"/>
                  </a:cubicBezTo>
                  <a:cubicBezTo>
                    <a:pt x="6088" y="13737"/>
                    <a:pt x="6021" y="13758"/>
                    <a:pt x="5951" y="13758"/>
                  </a:cubicBezTo>
                  <a:cubicBezTo>
                    <a:pt x="5806" y="13758"/>
                    <a:pt x="5647" y="13671"/>
                    <a:pt x="5570" y="13533"/>
                  </a:cubicBezTo>
                  <a:cubicBezTo>
                    <a:pt x="5456" y="13350"/>
                    <a:pt x="5478" y="13099"/>
                    <a:pt x="5501" y="12871"/>
                  </a:cubicBezTo>
                  <a:cubicBezTo>
                    <a:pt x="5752" y="10383"/>
                    <a:pt x="6277" y="7941"/>
                    <a:pt x="7053" y="5544"/>
                  </a:cubicBezTo>
                  <a:cubicBezTo>
                    <a:pt x="7259" y="4928"/>
                    <a:pt x="7464" y="4289"/>
                    <a:pt x="7487" y="3627"/>
                  </a:cubicBezTo>
                  <a:cubicBezTo>
                    <a:pt x="7510" y="2965"/>
                    <a:pt x="7282" y="2257"/>
                    <a:pt x="6734" y="1869"/>
                  </a:cubicBezTo>
                  <a:cubicBezTo>
                    <a:pt x="6438" y="1663"/>
                    <a:pt x="6097" y="1577"/>
                    <a:pt x="5742" y="1577"/>
                  </a:cubicBezTo>
                  <a:cubicBezTo>
                    <a:pt x="5195" y="1577"/>
                    <a:pt x="4617" y="1784"/>
                    <a:pt x="4132" y="2075"/>
                  </a:cubicBezTo>
                  <a:cubicBezTo>
                    <a:pt x="3196" y="2622"/>
                    <a:pt x="2443" y="3467"/>
                    <a:pt x="1872" y="4403"/>
                  </a:cubicBezTo>
                  <a:cubicBezTo>
                    <a:pt x="0" y="7461"/>
                    <a:pt x="137" y="11296"/>
                    <a:pt x="662" y="14834"/>
                  </a:cubicBezTo>
                  <a:cubicBezTo>
                    <a:pt x="1233" y="18509"/>
                    <a:pt x="2169" y="22138"/>
                    <a:pt x="3470" y="25608"/>
                  </a:cubicBezTo>
                  <a:cubicBezTo>
                    <a:pt x="3903" y="26772"/>
                    <a:pt x="4588" y="28164"/>
                    <a:pt x="5958" y="28735"/>
                  </a:cubicBezTo>
                  <a:cubicBezTo>
                    <a:pt x="6548" y="28997"/>
                    <a:pt x="7176" y="29093"/>
                    <a:pt x="7811" y="29093"/>
                  </a:cubicBezTo>
                  <a:cubicBezTo>
                    <a:pt x="8281" y="29093"/>
                    <a:pt x="8756" y="29041"/>
                    <a:pt x="9222" y="28963"/>
                  </a:cubicBezTo>
                  <a:cubicBezTo>
                    <a:pt x="13673" y="28255"/>
                    <a:pt x="17485" y="25379"/>
                    <a:pt x="20657" y="22161"/>
                  </a:cubicBezTo>
                  <a:cubicBezTo>
                    <a:pt x="22050" y="20746"/>
                    <a:pt x="23351" y="19216"/>
                    <a:pt x="24264" y="17459"/>
                  </a:cubicBezTo>
                  <a:cubicBezTo>
                    <a:pt x="25177" y="15701"/>
                    <a:pt x="25679" y="13670"/>
                    <a:pt x="25382" y="11730"/>
                  </a:cubicBezTo>
                  <a:cubicBezTo>
                    <a:pt x="25291" y="11182"/>
                    <a:pt x="25108" y="10611"/>
                    <a:pt x="24652" y="10337"/>
                  </a:cubicBezTo>
                  <a:cubicBezTo>
                    <a:pt x="24472" y="10236"/>
                    <a:pt x="24273" y="10190"/>
                    <a:pt x="24071" y="10190"/>
                  </a:cubicBezTo>
                  <a:cubicBezTo>
                    <a:pt x="23686" y="10190"/>
                    <a:pt x="23293" y="10356"/>
                    <a:pt x="23008" y="10611"/>
                  </a:cubicBezTo>
                  <a:cubicBezTo>
                    <a:pt x="22552" y="10999"/>
                    <a:pt x="22278" y="11524"/>
                    <a:pt x="22004" y="12049"/>
                  </a:cubicBezTo>
                  <a:cubicBezTo>
                    <a:pt x="20885" y="14241"/>
                    <a:pt x="19516" y="16295"/>
                    <a:pt x="17918" y="18166"/>
                  </a:cubicBezTo>
                  <a:cubicBezTo>
                    <a:pt x="19288" y="15222"/>
                    <a:pt x="20657" y="12255"/>
                    <a:pt x="21639" y="9173"/>
                  </a:cubicBezTo>
                  <a:cubicBezTo>
                    <a:pt x="22232" y="7347"/>
                    <a:pt x="22643" y="5316"/>
                    <a:pt x="21913" y="3558"/>
                  </a:cubicBezTo>
                  <a:cubicBezTo>
                    <a:pt x="21342" y="2166"/>
                    <a:pt x="20087" y="1116"/>
                    <a:pt x="18694" y="568"/>
                  </a:cubicBezTo>
                  <a:cubicBezTo>
                    <a:pt x="17639" y="153"/>
                    <a:pt x="16505" y="0"/>
                    <a:pt x="15362" y="0"/>
                  </a:cubicBezTo>
                  <a:close/>
                </a:path>
              </a:pathLst>
            </a:cu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11932" name="Google Shape;11932;p1600"/>
            <p:cNvSpPr/>
            <p:nvPr/>
          </p:nvSpPr>
          <p:spPr>
            <a:xfrm flipH="1">
              <a:off x="-105580" y="3623515"/>
              <a:ext cx="1186935" cy="2124826"/>
            </a:xfrm>
            <a:custGeom>
              <a:avLst/>
              <a:gdLst/>
              <a:ahLst/>
              <a:cxnLst/>
              <a:rect l="l" t="t" r="r" b="b"/>
              <a:pathLst>
                <a:path w="43985" h="78741" extrusionOk="0">
                  <a:moveTo>
                    <a:pt x="15204" y="1"/>
                  </a:moveTo>
                  <a:cubicBezTo>
                    <a:pt x="14564" y="1"/>
                    <a:pt x="13931" y="314"/>
                    <a:pt x="13467" y="755"/>
                  </a:cubicBezTo>
                  <a:cubicBezTo>
                    <a:pt x="12303" y="1805"/>
                    <a:pt x="11938" y="3517"/>
                    <a:pt x="12098" y="5092"/>
                  </a:cubicBezTo>
                  <a:cubicBezTo>
                    <a:pt x="12280" y="6644"/>
                    <a:pt x="12874" y="8105"/>
                    <a:pt x="13376" y="9611"/>
                  </a:cubicBezTo>
                  <a:cubicBezTo>
                    <a:pt x="15727" y="16824"/>
                    <a:pt x="15248" y="24653"/>
                    <a:pt x="13833" y="32140"/>
                  </a:cubicBezTo>
                  <a:cubicBezTo>
                    <a:pt x="12098" y="36226"/>
                    <a:pt x="10957" y="40585"/>
                    <a:pt x="10432" y="44991"/>
                  </a:cubicBezTo>
                  <a:cubicBezTo>
                    <a:pt x="9929" y="41224"/>
                    <a:pt x="8811" y="37435"/>
                    <a:pt x="8583" y="33601"/>
                  </a:cubicBezTo>
                  <a:cubicBezTo>
                    <a:pt x="8332" y="29538"/>
                    <a:pt x="9062" y="25407"/>
                    <a:pt x="8103" y="21458"/>
                  </a:cubicBezTo>
                  <a:cubicBezTo>
                    <a:pt x="7838" y="20331"/>
                    <a:pt x="7124" y="19034"/>
                    <a:pt x="6003" y="19034"/>
                  </a:cubicBezTo>
                  <a:cubicBezTo>
                    <a:pt x="5966" y="19034"/>
                    <a:pt x="5928" y="19035"/>
                    <a:pt x="5889" y="19038"/>
                  </a:cubicBezTo>
                  <a:cubicBezTo>
                    <a:pt x="5364" y="19084"/>
                    <a:pt x="4908" y="19426"/>
                    <a:pt x="4565" y="19814"/>
                  </a:cubicBezTo>
                  <a:cubicBezTo>
                    <a:pt x="3516" y="21001"/>
                    <a:pt x="3264" y="22645"/>
                    <a:pt x="3173" y="24197"/>
                  </a:cubicBezTo>
                  <a:cubicBezTo>
                    <a:pt x="2945" y="28465"/>
                    <a:pt x="3607" y="32756"/>
                    <a:pt x="5136" y="36751"/>
                  </a:cubicBezTo>
                  <a:cubicBezTo>
                    <a:pt x="6711" y="40836"/>
                    <a:pt x="9199" y="44671"/>
                    <a:pt x="10135" y="48871"/>
                  </a:cubicBezTo>
                  <a:cubicBezTo>
                    <a:pt x="9929" y="55947"/>
                    <a:pt x="11482" y="63182"/>
                    <a:pt x="14905" y="69254"/>
                  </a:cubicBezTo>
                  <a:cubicBezTo>
                    <a:pt x="11938" y="66560"/>
                    <a:pt x="9678" y="63228"/>
                    <a:pt x="8240" y="59553"/>
                  </a:cubicBezTo>
                  <a:cubicBezTo>
                    <a:pt x="6985" y="56358"/>
                    <a:pt x="6346" y="52934"/>
                    <a:pt x="4976" y="49784"/>
                  </a:cubicBezTo>
                  <a:cubicBezTo>
                    <a:pt x="4680" y="49168"/>
                    <a:pt x="4337" y="48506"/>
                    <a:pt x="3698" y="48232"/>
                  </a:cubicBezTo>
                  <a:cubicBezTo>
                    <a:pt x="3521" y="48163"/>
                    <a:pt x="3337" y="48132"/>
                    <a:pt x="3153" y="48132"/>
                  </a:cubicBezTo>
                  <a:cubicBezTo>
                    <a:pt x="2600" y="48132"/>
                    <a:pt x="2043" y="48414"/>
                    <a:pt x="1667" y="48825"/>
                  </a:cubicBezTo>
                  <a:cubicBezTo>
                    <a:pt x="1164" y="49396"/>
                    <a:pt x="936" y="50149"/>
                    <a:pt x="799" y="50880"/>
                  </a:cubicBezTo>
                  <a:cubicBezTo>
                    <a:pt x="0" y="55148"/>
                    <a:pt x="1781" y="59599"/>
                    <a:pt x="4702" y="62794"/>
                  </a:cubicBezTo>
                  <a:cubicBezTo>
                    <a:pt x="7510" y="65899"/>
                    <a:pt x="11253" y="67998"/>
                    <a:pt x="15111" y="69619"/>
                  </a:cubicBezTo>
                  <a:cubicBezTo>
                    <a:pt x="17051" y="72952"/>
                    <a:pt x="19539" y="75919"/>
                    <a:pt x="22620" y="78293"/>
                  </a:cubicBezTo>
                  <a:cubicBezTo>
                    <a:pt x="22926" y="78526"/>
                    <a:pt x="23344" y="78740"/>
                    <a:pt x="23701" y="78740"/>
                  </a:cubicBezTo>
                  <a:cubicBezTo>
                    <a:pt x="23903" y="78740"/>
                    <a:pt x="24086" y="78671"/>
                    <a:pt x="24218" y="78498"/>
                  </a:cubicBezTo>
                  <a:cubicBezTo>
                    <a:pt x="19288" y="74960"/>
                    <a:pt x="15818" y="69665"/>
                    <a:pt x="13673" y="63981"/>
                  </a:cubicBezTo>
                  <a:cubicBezTo>
                    <a:pt x="13330" y="63045"/>
                    <a:pt x="13011" y="62087"/>
                    <a:pt x="12737" y="61128"/>
                  </a:cubicBezTo>
                  <a:cubicBezTo>
                    <a:pt x="12303" y="55148"/>
                    <a:pt x="13764" y="49122"/>
                    <a:pt x="17416" y="44534"/>
                  </a:cubicBezTo>
                  <a:cubicBezTo>
                    <a:pt x="19813" y="41476"/>
                    <a:pt x="23077" y="39170"/>
                    <a:pt x="25451" y="36089"/>
                  </a:cubicBezTo>
                  <a:cubicBezTo>
                    <a:pt x="26090" y="35244"/>
                    <a:pt x="26683" y="34103"/>
                    <a:pt x="26135" y="33190"/>
                  </a:cubicBezTo>
                  <a:cubicBezTo>
                    <a:pt x="25784" y="32575"/>
                    <a:pt x="25085" y="32364"/>
                    <a:pt x="24346" y="32364"/>
                  </a:cubicBezTo>
                  <a:cubicBezTo>
                    <a:pt x="23933" y="32364"/>
                    <a:pt x="23507" y="32430"/>
                    <a:pt x="23122" y="32528"/>
                  </a:cubicBezTo>
                  <a:cubicBezTo>
                    <a:pt x="19105" y="33624"/>
                    <a:pt x="15978" y="36910"/>
                    <a:pt x="13969" y="40563"/>
                  </a:cubicBezTo>
                  <a:cubicBezTo>
                    <a:pt x="12372" y="43507"/>
                    <a:pt x="11390" y="46771"/>
                    <a:pt x="11048" y="50081"/>
                  </a:cubicBezTo>
                  <a:cubicBezTo>
                    <a:pt x="10934" y="43986"/>
                    <a:pt x="12098" y="37846"/>
                    <a:pt x="14494" y="32231"/>
                  </a:cubicBezTo>
                  <a:cubicBezTo>
                    <a:pt x="17895" y="28077"/>
                    <a:pt x="22529" y="24904"/>
                    <a:pt x="27665" y="23147"/>
                  </a:cubicBezTo>
                  <a:cubicBezTo>
                    <a:pt x="32595" y="21481"/>
                    <a:pt x="38096" y="21047"/>
                    <a:pt x="42319" y="18011"/>
                  </a:cubicBezTo>
                  <a:cubicBezTo>
                    <a:pt x="42844" y="17623"/>
                    <a:pt x="43368" y="17189"/>
                    <a:pt x="43665" y="16596"/>
                  </a:cubicBezTo>
                  <a:cubicBezTo>
                    <a:pt x="43962" y="16003"/>
                    <a:pt x="43985" y="15226"/>
                    <a:pt x="43551" y="14724"/>
                  </a:cubicBezTo>
                  <a:cubicBezTo>
                    <a:pt x="43277" y="14428"/>
                    <a:pt x="42889" y="14245"/>
                    <a:pt x="42524" y="14108"/>
                  </a:cubicBezTo>
                  <a:cubicBezTo>
                    <a:pt x="41374" y="13717"/>
                    <a:pt x="40169" y="13560"/>
                    <a:pt x="38953" y="13560"/>
                  </a:cubicBezTo>
                  <a:cubicBezTo>
                    <a:pt x="37827" y="13560"/>
                    <a:pt x="36693" y="13694"/>
                    <a:pt x="35585" y="13903"/>
                  </a:cubicBezTo>
                  <a:cubicBezTo>
                    <a:pt x="30153" y="14884"/>
                    <a:pt x="25085" y="17623"/>
                    <a:pt x="21114" y="21458"/>
                  </a:cubicBezTo>
                  <a:cubicBezTo>
                    <a:pt x="21548" y="20864"/>
                    <a:pt x="22004" y="20294"/>
                    <a:pt x="22461" y="19723"/>
                  </a:cubicBezTo>
                  <a:cubicBezTo>
                    <a:pt x="24241" y="17463"/>
                    <a:pt x="25998" y="15204"/>
                    <a:pt x="27779" y="12967"/>
                  </a:cubicBezTo>
                  <a:cubicBezTo>
                    <a:pt x="28190" y="12419"/>
                    <a:pt x="28646" y="11848"/>
                    <a:pt x="29194" y="11437"/>
                  </a:cubicBezTo>
                  <a:cubicBezTo>
                    <a:pt x="30175" y="10730"/>
                    <a:pt x="31431" y="10502"/>
                    <a:pt x="32572" y="10114"/>
                  </a:cubicBezTo>
                  <a:cubicBezTo>
                    <a:pt x="33736" y="9748"/>
                    <a:pt x="34946" y="9086"/>
                    <a:pt x="35357" y="7945"/>
                  </a:cubicBezTo>
                  <a:cubicBezTo>
                    <a:pt x="34923" y="7788"/>
                    <a:pt x="34458" y="7710"/>
                    <a:pt x="33993" y="7710"/>
                  </a:cubicBezTo>
                  <a:cubicBezTo>
                    <a:pt x="33309" y="7710"/>
                    <a:pt x="32622" y="7879"/>
                    <a:pt x="32024" y="8219"/>
                  </a:cubicBezTo>
                  <a:cubicBezTo>
                    <a:pt x="32892" y="7215"/>
                    <a:pt x="33531" y="6051"/>
                    <a:pt x="33896" y="4772"/>
                  </a:cubicBezTo>
                  <a:cubicBezTo>
                    <a:pt x="33987" y="4499"/>
                    <a:pt x="34033" y="4179"/>
                    <a:pt x="33873" y="3951"/>
                  </a:cubicBezTo>
                  <a:cubicBezTo>
                    <a:pt x="33753" y="3779"/>
                    <a:pt x="33580" y="3710"/>
                    <a:pt x="33389" y="3710"/>
                  </a:cubicBezTo>
                  <a:cubicBezTo>
                    <a:pt x="33073" y="3710"/>
                    <a:pt x="32705" y="3897"/>
                    <a:pt x="32435" y="4111"/>
                  </a:cubicBezTo>
                  <a:cubicBezTo>
                    <a:pt x="31522" y="4864"/>
                    <a:pt x="30746" y="5777"/>
                    <a:pt x="30153" y="6827"/>
                  </a:cubicBezTo>
                  <a:cubicBezTo>
                    <a:pt x="30563" y="5343"/>
                    <a:pt x="30700" y="3768"/>
                    <a:pt x="30495" y="2239"/>
                  </a:cubicBezTo>
                  <a:cubicBezTo>
                    <a:pt x="30449" y="1897"/>
                    <a:pt x="30335" y="1508"/>
                    <a:pt x="30016" y="1417"/>
                  </a:cubicBezTo>
                  <a:cubicBezTo>
                    <a:pt x="29975" y="1406"/>
                    <a:pt x="29935" y="1401"/>
                    <a:pt x="29896" y="1401"/>
                  </a:cubicBezTo>
                  <a:cubicBezTo>
                    <a:pt x="29605" y="1401"/>
                    <a:pt x="29352" y="1683"/>
                    <a:pt x="29171" y="1965"/>
                  </a:cubicBezTo>
                  <a:cubicBezTo>
                    <a:pt x="28190" y="3517"/>
                    <a:pt x="27596" y="5343"/>
                    <a:pt x="27505" y="7215"/>
                  </a:cubicBezTo>
                  <a:cubicBezTo>
                    <a:pt x="27414" y="6165"/>
                    <a:pt x="27003" y="5161"/>
                    <a:pt x="26364" y="4339"/>
                  </a:cubicBezTo>
                  <a:cubicBezTo>
                    <a:pt x="26139" y="4045"/>
                    <a:pt x="25783" y="3764"/>
                    <a:pt x="25455" y="3764"/>
                  </a:cubicBezTo>
                  <a:cubicBezTo>
                    <a:pt x="25350" y="3764"/>
                    <a:pt x="25248" y="3793"/>
                    <a:pt x="25154" y="3859"/>
                  </a:cubicBezTo>
                  <a:cubicBezTo>
                    <a:pt x="24834" y="4065"/>
                    <a:pt x="24834" y="4499"/>
                    <a:pt x="24880" y="4864"/>
                  </a:cubicBezTo>
                  <a:cubicBezTo>
                    <a:pt x="25108" y="7192"/>
                    <a:pt x="25930" y="9474"/>
                    <a:pt x="27528" y="11346"/>
                  </a:cubicBezTo>
                  <a:cubicBezTo>
                    <a:pt x="24720" y="15820"/>
                    <a:pt x="21068" y="19700"/>
                    <a:pt x="18124" y="24105"/>
                  </a:cubicBezTo>
                  <a:cubicBezTo>
                    <a:pt x="17256" y="25429"/>
                    <a:pt x="16435" y="26776"/>
                    <a:pt x="15704" y="28191"/>
                  </a:cubicBezTo>
                  <a:cubicBezTo>
                    <a:pt x="16982" y="24562"/>
                    <a:pt x="17918" y="20819"/>
                    <a:pt x="18512" y="17030"/>
                  </a:cubicBezTo>
                  <a:cubicBezTo>
                    <a:pt x="19196" y="12602"/>
                    <a:pt x="19402" y="8059"/>
                    <a:pt x="18420" y="3723"/>
                  </a:cubicBezTo>
                  <a:cubicBezTo>
                    <a:pt x="18010" y="2011"/>
                    <a:pt x="17028" y="25"/>
                    <a:pt x="15271" y="2"/>
                  </a:cubicBezTo>
                  <a:cubicBezTo>
                    <a:pt x="15248" y="1"/>
                    <a:pt x="15226" y="1"/>
                    <a:pt x="15204" y="1"/>
                  </a:cubicBezTo>
                  <a:close/>
                </a:path>
              </a:pathLst>
            </a:cu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grpSp>
    </p:spTree>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1933"/>
        <p:cNvGrpSpPr/>
        <p:nvPr/>
      </p:nvGrpSpPr>
      <p:grpSpPr>
        <a:xfrm>
          <a:off x="0" y="0"/>
          <a:ext cx="0" cy="0"/>
          <a:chOff x="0" y="0"/>
          <a:chExt cx="0" cy="0"/>
        </a:xfrm>
      </p:grpSpPr>
      <p:grpSp>
        <p:nvGrpSpPr>
          <p:cNvPr id="11934" name="Google Shape;11934;p1601"/>
          <p:cNvGrpSpPr/>
          <p:nvPr/>
        </p:nvGrpSpPr>
        <p:grpSpPr>
          <a:xfrm>
            <a:off x="7191542" y="1"/>
            <a:ext cx="5000459" cy="1425992"/>
            <a:chOff x="7191542" y="1"/>
            <a:chExt cx="5000459" cy="1425992"/>
          </a:xfrm>
        </p:grpSpPr>
        <p:pic>
          <p:nvPicPr>
            <p:cNvPr id="11935" name="Google Shape;11935;p16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936" name="Google Shape;11936;p1601"/>
            <p:cNvGrpSpPr/>
            <p:nvPr/>
          </p:nvGrpSpPr>
          <p:grpSpPr>
            <a:xfrm>
              <a:off x="7191542" y="1"/>
              <a:ext cx="5000459" cy="1425992"/>
              <a:chOff x="7186272" y="0"/>
              <a:chExt cx="5005729" cy="1427495"/>
            </a:xfrm>
          </p:grpSpPr>
          <p:sp>
            <p:nvSpPr>
              <p:cNvPr id="11937" name="Google Shape;11937;p16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938" name="Google Shape;11938;p16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939" name="Google Shape;11939;p160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940" name="Google Shape;11940;p160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41" name="Google Shape;11941;p16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942" name="Google Shape;11942;p16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43" name="Google Shape;11943;p16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matchingName="24_Photo Slide">
  <p:cSld name="24_Photo Slide">
    <p:spTree>
      <p:nvGrpSpPr>
        <p:cNvPr id="1" name="Shape 11944"/>
        <p:cNvGrpSpPr/>
        <p:nvPr/>
      </p:nvGrpSpPr>
      <p:grpSpPr>
        <a:xfrm>
          <a:off x="0" y="0"/>
          <a:ext cx="0" cy="0"/>
          <a:chOff x="0" y="0"/>
          <a:chExt cx="0" cy="0"/>
        </a:xfrm>
      </p:grpSpPr>
      <p:sp>
        <p:nvSpPr>
          <p:cNvPr id="11945" name="Google Shape;11945;p160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55600" algn="l">
              <a:lnSpc>
                <a:spcPct val="100000"/>
              </a:lnSpc>
              <a:spcBef>
                <a:spcPts val="1000"/>
              </a:spcBef>
              <a:spcAft>
                <a:spcPts val="0"/>
              </a:spcAft>
              <a:buSzPts val="2000"/>
              <a:buChar char="•"/>
              <a:defRPr/>
            </a:lvl2pPr>
            <a:lvl3pPr marL="1371600" lvl="2" indent="-342900" algn="l">
              <a:lnSpc>
                <a:spcPct val="100000"/>
              </a:lnSpc>
              <a:spcBef>
                <a:spcPts val="1000"/>
              </a:spcBef>
              <a:spcAft>
                <a:spcPts val="0"/>
              </a:spcAft>
              <a:buSzPts val="1800"/>
              <a:buChar char="•"/>
              <a:defRPr/>
            </a:lvl3pPr>
            <a:lvl4pPr marL="1828800" lvl="3" indent="-330200" algn="l">
              <a:lnSpc>
                <a:spcPct val="100000"/>
              </a:lnSpc>
              <a:spcBef>
                <a:spcPts val="1000"/>
              </a:spcBef>
              <a:spcAft>
                <a:spcPts val="0"/>
              </a:spcAft>
              <a:buSzPts val="1600"/>
              <a:buChar char="•"/>
              <a:defRPr/>
            </a:lvl4pPr>
            <a:lvl5pPr marL="2286000" lvl="4" indent="-330200" algn="l">
              <a:lnSpc>
                <a:spcPct val="100000"/>
              </a:lnSpc>
              <a:spcBef>
                <a:spcPts val="1000"/>
              </a:spcBef>
              <a:spcAft>
                <a:spcPts val="0"/>
              </a:spcAft>
              <a:buSzPts val="1600"/>
              <a:buChar char="•"/>
              <a:defRPr/>
            </a:lvl5pPr>
            <a:lvl6pPr marL="2743200" lvl="5" indent="-342900" algn="l">
              <a:lnSpc>
                <a:spcPct val="90000"/>
              </a:lnSpc>
              <a:spcBef>
                <a:spcPts val="1000"/>
              </a:spcBef>
              <a:spcAft>
                <a:spcPts val="0"/>
              </a:spcAft>
              <a:buSzPts val="1800"/>
              <a:buChar char="•"/>
              <a:defRPr/>
            </a:lvl6pPr>
            <a:lvl7pPr marL="3200400" lvl="6" indent="-342900" algn="l">
              <a:lnSpc>
                <a:spcPct val="90000"/>
              </a:lnSpc>
              <a:spcBef>
                <a:spcPts val="500"/>
              </a:spcBef>
              <a:spcAft>
                <a:spcPts val="0"/>
              </a:spcAft>
              <a:buSzPts val="1800"/>
              <a:buChar char="•"/>
              <a:defRPr/>
            </a:lvl7pPr>
            <a:lvl8pPr marL="3657600" lvl="7" indent="-342900" algn="l">
              <a:lnSpc>
                <a:spcPct val="90000"/>
              </a:lnSpc>
              <a:spcBef>
                <a:spcPts val="500"/>
              </a:spcBef>
              <a:spcAft>
                <a:spcPts val="0"/>
              </a:spcAft>
              <a:buSzPts val="1800"/>
              <a:buChar char="•"/>
              <a:defRPr/>
            </a:lvl8pPr>
            <a:lvl9pPr marL="4114800" lvl="8" indent="-342900" algn="l">
              <a:lnSpc>
                <a:spcPct val="90000"/>
              </a:lnSpc>
              <a:spcBef>
                <a:spcPts val="500"/>
              </a:spcBef>
              <a:spcAft>
                <a:spcPts val="0"/>
              </a:spcAft>
              <a:buSzPts val="1800"/>
              <a:buChar char="•"/>
              <a:defRPr/>
            </a:lvl9pPr>
          </a:lstStyle>
          <a:p>
            <a:endParaRPr/>
          </a:p>
        </p:txBody>
      </p:sp>
      <p:cxnSp>
        <p:nvCxnSpPr>
          <p:cNvPr id="11946" name="Google Shape;11946;p1602"/>
          <p:cNvCxnSpPr/>
          <p:nvPr/>
        </p:nvCxnSpPr>
        <p:spPr>
          <a:xfrm>
            <a:off x="457200" y="947987"/>
            <a:ext cx="2350168" cy="0"/>
          </a:xfrm>
          <a:prstGeom prst="straightConnector1">
            <a:avLst/>
          </a:prstGeom>
          <a:noFill/>
          <a:ln w="31750" cap="flat" cmpd="sng">
            <a:solidFill>
              <a:schemeClr val="accent3"/>
            </a:solidFill>
            <a:prstDash val="solid"/>
            <a:round/>
            <a:headEnd type="none" w="sm" len="sm"/>
            <a:tailEnd type="none" w="sm" len="sm"/>
          </a:ln>
        </p:spPr>
      </p:cxnSp>
      <p:grpSp>
        <p:nvGrpSpPr>
          <p:cNvPr id="11947" name="Google Shape;11947;p1602"/>
          <p:cNvGrpSpPr/>
          <p:nvPr/>
        </p:nvGrpSpPr>
        <p:grpSpPr>
          <a:xfrm>
            <a:off x="0" y="5379426"/>
            <a:ext cx="2807368" cy="753891"/>
            <a:chOff x="0" y="5379426"/>
            <a:chExt cx="2807368" cy="753891"/>
          </a:xfrm>
        </p:grpSpPr>
        <p:sp>
          <p:nvSpPr>
            <p:cNvPr id="11948" name="Google Shape;11948;p160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1949" name="Google Shape;11949;p160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11950" name="Google Shape;11950;p1602"/>
          <p:cNvSpPr>
            <a:spLocks noGrp="1"/>
          </p:cNvSpPr>
          <p:nvPr>
            <p:ph type="pic" idx="2"/>
          </p:nvPr>
        </p:nvSpPr>
        <p:spPr>
          <a:xfrm>
            <a:off x="2807368" y="457202"/>
            <a:ext cx="8915400" cy="5943598"/>
          </a:xfrm>
          <a:prstGeom prst="rect">
            <a:avLst/>
          </a:prstGeom>
          <a:noFill/>
          <a:ln>
            <a:noFill/>
          </a:ln>
        </p:spPr>
      </p:sp>
      <p:pic>
        <p:nvPicPr>
          <p:cNvPr id="11951" name="Google Shape;11951;p160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1D58E748-F704-17F2-9AC8-E0477552924E}"/>
              </a:ext>
            </a:extLst>
          </p:cNvPr>
          <p:cNvSpPr/>
          <p:nvPr/>
        </p:nvSpPr>
        <p:spPr>
          <a:xfrm>
            <a:off x="902366" y="1294416"/>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CB58AD88-B456-6395-15E4-9557D2B921AB}"/>
              </a:ext>
            </a:extLst>
          </p:cNvPr>
          <p:cNvSpPr txBox="1">
            <a:spLocks noGrp="1"/>
          </p:cNvSpPr>
          <p:nvPr>
            <p:ph type="title"/>
          </p:nvPr>
        </p:nvSpPr>
        <p:spPr>
          <a:xfrm>
            <a:off x="1413314" y="1561328"/>
            <a:ext cx="5194432" cy="1826340"/>
          </a:xfrm>
        </p:spPr>
        <p:txBody>
          <a:bodyPr anchor="b"/>
          <a:lstStyle>
            <a:lvl1pPr>
              <a:defRPr sz="4000">
                <a:solidFill>
                  <a:srgbClr val="444C55"/>
                </a:solidFill>
              </a:defRPr>
            </a:lvl1pPr>
          </a:lstStyle>
          <a:p>
            <a:pPr lvl="0"/>
            <a:r>
              <a:rPr lang="en-US"/>
              <a:t>Click to edit Master title style</a:t>
            </a:r>
          </a:p>
        </p:txBody>
      </p:sp>
      <p:sp>
        <p:nvSpPr>
          <p:cNvPr id="4" name="Subtitle 2">
            <a:extLst>
              <a:ext uri="{FF2B5EF4-FFF2-40B4-BE49-F238E27FC236}">
                <a16:creationId xmlns:a16="http://schemas.microsoft.com/office/drawing/2014/main" id="{62328B7F-933B-AEF5-E638-C1260BEFE104}"/>
              </a:ext>
            </a:extLst>
          </p:cNvPr>
          <p:cNvSpPr txBox="1">
            <a:spLocks noGrp="1"/>
          </p:cNvSpPr>
          <p:nvPr>
            <p:ph type="subTitle" idx="4294967295"/>
          </p:nvPr>
        </p:nvSpPr>
        <p:spPr>
          <a:xfrm>
            <a:off x="1413314" y="3766861"/>
            <a:ext cx="5194432" cy="986564"/>
          </a:xfrm>
        </p:spPr>
        <p:txBody>
          <a:bodyPr/>
          <a:lstStyle>
            <a:lvl1pPr marL="0" indent="0">
              <a:buNone/>
              <a:defRPr/>
            </a:lvl1pPr>
          </a:lstStyle>
          <a:p>
            <a:pPr lvl="0"/>
            <a:r>
              <a:rPr lang="en-US"/>
              <a:t>Click to edit Master subtitle style</a:t>
            </a:r>
          </a:p>
        </p:txBody>
      </p:sp>
      <p:sp>
        <p:nvSpPr>
          <p:cNvPr id="5" name="Picture Placeholder 21">
            <a:extLst>
              <a:ext uri="{FF2B5EF4-FFF2-40B4-BE49-F238E27FC236}">
                <a16:creationId xmlns:a16="http://schemas.microsoft.com/office/drawing/2014/main" id="{9A65115E-73C3-8420-5102-C3FE6B489D3E}"/>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grpSp>
        <p:nvGrpSpPr>
          <p:cNvPr id="6" name="Group 26">
            <a:extLst>
              <a:ext uri="{FF2B5EF4-FFF2-40B4-BE49-F238E27FC236}">
                <a16:creationId xmlns:a16="http://schemas.microsoft.com/office/drawing/2014/main" id="{226D561C-EBC5-69F0-89C2-71A0899E8DBF}"/>
              </a:ext>
            </a:extLst>
          </p:cNvPr>
          <p:cNvGrpSpPr/>
          <p:nvPr/>
        </p:nvGrpSpPr>
        <p:grpSpPr>
          <a:xfrm>
            <a:off x="0" y="5020349"/>
            <a:ext cx="12191996" cy="1837651"/>
            <a:chOff x="0" y="5020348"/>
            <a:chExt cx="12191996" cy="1837651"/>
          </a:xfrm>
        </p:grpSpPr>
        <p:sp>
          <p:nvSpPr>
            <p:cNvPr id="7" name="Freeform 27">
              <a:extLst>
                <a:ext uri="{FF2B5EF4-FFF2-40B4-BE49-F238E27FC236}">
                  <a16:creationId xmlns:a16="http://schemas.microsoft.com/office/drawing/2014/main" id="{89C32DCC-6649-8365-69AD-D921217DDC32}"/>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8" name="Freeform 28">
              <a:extLst>
                <a:ext uri="{FF2B5EF4-FFF2-40B4-BE49-F238E27FC236}">
                  <a16:creationId xmlns:a16="http://schemas.microsoft.com/office/drawing/2014/main" id="{62ADD7E8-5B24-5947-AE24-5B7ECA6FF16F}"/>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9" name="Picture 29">
              <a:extLst>
                <a:ext uri="{FF2B5EF4-FFF2-40B4-BE49-F238E27FC236}">
                  <a16:creationId xmlns:a16="http://schemas.microsoft.com/office/drawing/2014/main" id="{0C485B14-0001-2E39-83F2-E7B8649832DE}"/>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15161564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Photo Slide">
  <p:cSld name="Photo Slide 2">
    <p:spTree>
      <p:nvGrpSpPr>
        <p:cNvPr id="1" name="Shape 9213"/>
        <p:cNvGrpSpPr/>
        <p:nvPr/>
      </p:nvGrpSpPr>
      <p:grpSpPr>
        <a:xfrm>
          <a:off x="0" y="0"/>
          <a:ext cx="0" cy="0"/>
          <a:chOff x="0" y="0"/>
          <a:chExt cx="0" cy="0"/>
        </a:xfrm>
      </p:grpSpPr>
      <p:sp>
        <p:nvSpPr>
          <p:cNvPr id="9214" name="Google Shape;9214;p133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215" name="Google Shape;9215;p133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216" name="Google Shape;9216;p1334"/>
          <p:cNvGrpSpPr/>
          <p:nvPr/>
        </p:nvGrpSpPr>
        <p:grpSpPr>
          <a:xfrm>
            <a:off x="0" y="5379426"/>
            <a:ext cx="2807368" cy="753891"/>
            <a:chOff x="0" y="5379426"/>
            <a:chExt cx="2807368" cy="753891"/>
          </a:xfrm>
        </p:grpSpPr>
        <p:sp>
          <p:nvSpPr>
            <p:cNvPr id="9217" name="Google Shape;9217;p133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218" name="Google Shape;9218;p133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19" name="Google Shape;9219;p1334"/>
          <p:cNvSpPr>
            <a:spLocks noGrp="1"/>
          </p:cNvSpPr>
          <p:nvPr>
            <p:ph type="pic" idx="2"/>
          </p:nvPr>
        </p:nvSpPr>
        <p:spPr>
          <a:xfrm>
            <a:off x="2807368" y="457202"/>
            <a:ext cx="8915400" cy="5943598"/>
          </a:xfrm>
          <a:prstGeom prst="rect">
            <a:avLst/>
          </a:prstGeom>
          <a:noFill/>
          <a:ln>
            <a:noFill/>
          </a:ln>
        </p:spPr>
      </p:sp>
      <p:pic>
        <p:nvPicPr>
          <p:cNvPr id="9220" name="Google Shape;9220;p133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31BE5F48-C896-519A-6BC8-9C4A48DF1F56}"/>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4F0B244A-2AB2-540E-7D75-53290A8E9084}"/>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339E2513-5087-B6E0-CE74-46E1AA8C145C}"/>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B5158117-D1E4-E285-D27D-B4FB802566DE}"/>
              </a:ext>
            </a:extLst>
          </p:cNvPr>
          <p:cNvSpPr txBox="1">
            <a:spLocks noGrp="1"/>
          </p:cNvSpPr>
          <p:nvPr>
            <p:ph type="sldNum" sz="quarter" idx="8"/>
          </p:nvPr>
        </p:nvSpPr>
        <p:spPr/>
        <p:txBody>
          <a:bodyPr/>
          <a:lstStyle>
            <a:lvl1pPr>
              <a:defRPr>
                <a:solidFill>
                  <a:srgbClr val="AFB3B9"/>
                </a:solidFill>
              </a:defRPr>
            </a:lvl1pPr>
          </a:lstStyle>
          <a:p>
            <a:pPr lvl="0"/>
            <a:fld id="{D41CE7E7-CCD7-4F3E-BF79-5E7A2F8D992A}" type="slidenum">
              <a:t>‹#›</a:t>
            </a:fld>
            <a:endParaRPr lang="en-US"/>
          </a:p>
        </p:txBody>
      </p:sp>
      <p:cxnSp>
        <p:nvCxnSpPr>
          <p:cNvPr id="6" name="Straight Connector 7">
            <a:extLst>
              <a:ext uri="{FF2B5EF4-FFF2-40B4-BE49-F238E27FC236}">
                <a16:creationId xmlns:a16="http://schemas.microsoft.com/office/drawing/2014/main" id="{AC4C95BA-9B3C-5758-F583-F970978C4FCF}"/>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DC973D28-7FDB-EAAD-DDAE-6E7D997A08BF}"/>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92C5B2B5-EB90-4A6E-2FF7-74671A11FA6D}"/>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B0EE08B3-A4EA-7642-5C0B-0A7E6BE91C9E}"/>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B7A3CB7F-09F8-AD03-4F90-DB13BE320407}"/>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1CAA5448-742D-3D83-D0F8-9693682D6E02}"/>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BBB188AC-AB13-E19B-C5D8-3693D79E75E6}"/>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ABDEA007-16A6-C747-4660-4623E65C7361}"/>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908685108"/>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grpSp>
        <p:nvGrpSpPr>
          <p:cNvPr id="2" name="Group 9">
            <a:extLst>
              <a:ext uri="{FF2B5EF4-FFF2-40B4-BE49-F238E27FC236}">
                <a16:creationId xmlns:a16="http://schemas.microsoft.com/office/drawing/2014/main" id="{AEE62181-ECC5-61C7-0107-E72DB6510FDD}"/>
              </a:ext>
            </a:extLst>
          </p:cNvPr>
          <p:cNvGrpSpPr/>
          <p:nvPr/>
        </p:nvGrpSpPr>
        <p:grpSpPr>
          <a:xfrm>
            <a:off x="0" y="5020349"/>
            <a:ext cx="12191996" cy="1837651"/>
            <a:chOff x="0" y="5020348"/>
            <a:chExt cx="12191996" cy="1837651"/>
          </a:xfrm>
        </p:grpSpPr>
        <p:sp>
          <p:nvSpPr>
            <p:cNvPr id="3" name="Freeform 25">
              <a:extLst>
                <a:ext uri="{FF2B5EF4-FFF2-40B4-BE49-F238E27FC236}">
                  <a16:creationId xmlns:a16="http://schemas.microsoft.com/office/drawing/2014/main" id="{E0DAF789-260C-A572-2132-90CFB97397EF}"/>
                </a:ext>
              </a:extLst>
            </p:cNvPr>
            <p:cNvSpPr/>
            <p:nvPr/>
          </p:nvSpPr>
          <p:spPr>
            <a:xfrm>
              <a:off x="0" y="5100267"/>
              <a:ext cx="7111371" cy="1757732"/>
            </a:xfrm>
            <a:custGeom>
              <a:avLst/>
              <a:gdLst>
                <a:gd name="f0" fmla="val 10800000"/>
                <a:gd name="f1" fmla="val 5400000"/>
                <a:gd name="f2" fmla="val 180"/>
                <a:gd name="f3" fmla="val w"/>
                <a:gd name="f4" fmla="val h"/>
                <a:gd name="f5" fmla="val 0"/>
                <a:gd name="f6" fmla="val 7111369"/>
                <a:gd name="f7" fmla="val 1757730"/>
                <a:gd name="f8" fmla="val 772954"/>
                <a:gd name="f9" fmla="val 2778"/>
                <a:gd name="f10" fmla="val 1769038"/>
                <a:gd name="f11" fmla="val 30799"/>
                <a:gd name="f12" fmla="val 2696750"/>
                <a:gd name="f13" fmla="val 267531"/>
                <a:gd name="f14" fmla="val 3590934"/>
                <a:gd name="f15" fmla="val 566046"/>
                <a:gd name="f16" fmla="val 4684008"/>
                <a:gd name="f17" fmla="val 930921"/>
                <a:gd name="f18" fmla="val 5690778"/>
                <a:gd name="f19" fmla="val 1324625"/>
                <a:gd name="f20" fmla="val 6700767"/>
                <a:gd name="f21" fmla="val 1636882"/>
                <a:gd name="f22" fmla="val 25690"/>
                <a:gd name="f23" fmla="val 2197"/>
                <a:gd name="f24" fmla="val 25414"/>
                <a:gd name="f25" fmla="val 114653"/>
                <a:gd name="f26" fmla="val 14905"/>
                <a:gd name="f27" fmla="val 227801"/>
                <a:gd name="f28" fmla="val 7857"/>
                <a:gd name="f29" fmla="val 341773"/>
                <a:gd name="f30" fmla="val 3976"/>
                <a:gd name="f31" fmla="val 486963"/>
                <a:gd name="f32" fmla="+- 0 0 968"/>
                <a:gd name="f33" fmla="val 630656"/>
                <a:gd name="f34" fmla="+- 0 0 1224"/>
                <a:gd name="f35" fmla="+- 0 0 -90"/>
                <a:gd name="f36" fmla="*/ f3 1 7111369"/>
                <a:gd name="f37" fmla="*/ f4 1 1757730"/>
                <a:gd name="f38" fmla="+- f7 0 f5"/>
                <a:gd name="f39" fmla="+- f6 0 f5"/>
                <a:gd name="f40" fmla="*/ f35 f0 1"/>
                <a:gd name="f41" fmla="*/ f39 1 7111369"/>
                <a:gd name="f42" fmla="*/ f38 1 1757730"/>
                <a:gd name="f43" fmla="*/ 772954 f39 1"/>
                <a:gd name="f44" fmla="*/ 2778 f38 1"/>
                <a:gd name="f45" fmla="*/ 3590934 f39 1"/>
                <a:gd name="f46" fmla="*/ 566046 f38 1"/>
                <a:gd name="f47" fmla="*/ 6700767 f39 1"/>
                <a:gd name="f48" fmla="*/ 1636882 f38 1"/>
                <a:gd name="f49" fmla="*/ 7111369 f39 1"/>
                <a:gd name="f50" fmla="*/ 1757730 f38 1"/>
                <a:gd name="f51" fmla="*/ 0 f39 1"/>
                <a:gd name="f52" fmla="*/ 25690 f38 1"/>
                <a:gd name="f53" fmla="*/ 2197 f39 1"/>
                <a:gd name="f54" fmla="*/ 25414 f38 1"/>
                <a:gd name="f55" fmla="*/ 341773 f39 1"/>
                <a:gd name="f56" fmla="*/ 3976 f38 1"/>
                <a:gd name="f57" fmla="*/ f40 1 f2"/>
                <a:gd name="f58" fmla="*/ f43 1 7111369"/>
                <a:gd name="f59" fmla="*/ f44 1 1757730"/>
                <a:gd name="f60" fmla="*/ f45 1 7111369"/>
                <a:gd name="f61" fmla="*/ f46 1 1757730"/>
                <a:gd name="f62" fmla="*/ f47 1 7111369"/>
                <a:gd name="f63" fmla="*/ f48 1 1757730"/>
                <a:gd name="f64" fmla="*/ f49 1 7111369"/>
                <a:gd name="f65" fmla="*/ f50 1 1757730"/>
                <a:gd name="f66" fmla="*/ f51 1 7111369"/>
                <a:gd name="f67" fmla="*/ f52 1 1757730"/>
                <a:gd name="f68" fmla="*/ f53 1 7111369"/>
                <a:gd name="f69" fmla="*/ f54 1 1757730"/>
                <a:gd name="f70" fmla="*/ f55 1 7111369"/>
                <a:gd name="f71" fmla="*/ f56 1 1757730"/>
                <a:gd name="f72" fmla="*/ f5 1 f41"/>
                <a:gd name="f73" fmla="*/ f6 1 f41"/>
                <a:gd name="f74" fmla="*/ f5 1 f42"/>
                <a:gd name="f75" fmla="*/ f7 1 f42"/>
                <a:gd name="f76" fmla="+- f57 0 f1"/>
                <a:gd name="f77" fmla="*/ f58 1 f41"/>
                <a:gd name="f78" fmla="*/ f59 1 f42"/>
                <a:gd name="f79" fmla="*/ f60 1 f41"/>
                <a:gd name="f80" fmla="*/ f61 1 f42"/>
                <a:gd name="f81" fmla="*/ f62 1 f41"/>
                <a:gd name="f82" fmla="*/ f63 1 f42"/>
                <a:gd name="f83" fmla="*/ f64 1 f41"/>
                <a:gd name="f84" fmla="*/ f65 1 f42"/>
                <a:gd name="f85" fmla="*/ f66 1 f41"/>
                <a:gd name="f86" fmla="*/ f67 1 f42"/>
                <a:gd name="f87" fmla="*/ f68 1 f41"/>
                <a:gd name="f88" fmla="*/ f69 1 f42"/>
                <a:gd name="f89" fmla="*/ f70 1 f41"/>
                <a:gd name="f90" fmla="*/ f71 1 f42"/>
                <a:gd name="f91" fmla="*/ f72 f36 1"/>
                <a:gd name="f92" fmla="*/ f73 f36 1"/>
                <a:gd name="f93" fmla="*/ f75 f37 1"/>
                <a:gd name="f94" fmla="*/ f74 f37 1"/>
                <a:gd name="f95" fmla="*/ f77 f36 1"/>
                <a:gd name="f96" fmla="*/ f78 f37 1"/>
                <a:gd name="f97" fmla="*/ f79 f36 1"/>
                <a:gd name="f98" fmla="*/ f80 f37 1"/>
                <a:gd name="f99" fmla="*/ f81 f36 1"/>
                <a:gd name="f100" fmla="*/ f82 f37 1"/>
                <a:gd name="f101" fmla="*/ f83 f36 1"/>
                <a:gd name="f102" fmla="*/ f84 f37 1"/>
                <a:gd name="f103" fmla="*/ f85 f36 1"/>
                <a:gd name="f104" fmla="*/ f86 f37 1"/>
                <a:gd name="f105" fmla="*/ f87 f36 1"/>
                <a:gd name="f106" fmla="*/ f88 f37 1"/>
                <a:gd name="f107" fmla="*/ f89 f36 1"/>
                <a:gd name="f108" fmla="*/ f90 f37 1"/>
              </a:gdLst>
              <a:ahLst/>
              <a:cxnLst>
                <a:cxn ang="3cd4">
                  <a:pos x="hc" y="t"/>
                </a:cxn>
                <a:cxn ang="0">
                  <a:pos x="r" y="vc"/>
                </a:cxn>
                <a:cxn ang="cd4">
                  <a:pos x="hc" y="b"/>
                </a:cxn>
                <a:cxn ang="cd2">
                  <a:pos x="l" y="vc"/>
                </a:cxn>
                <a:cxn ang="f76">
                  <a:pos x="f95" y="f96"/>
                </a:cxn>
                <a:cxn ang="f76">
                  <a:pos x="f97" y="f98"/>
                </a:cxn>
                <a:cxn ang="f76">
                  <a:pos x="f99" y="f100"/>
                </a:cxn>
                <a:cxn ang="f76">
                  <a:pos x="f101" y="f102"/>
                </a:cxn>
                <a:cxn ang="f76">
                  <a:pos x="f103" y="f102"/>
                </a:cxn>
                <a:cxn ang="f76">
                  <a:pos x="f103" y="f104"/>
                </a:cxn>
                <a:cxn ang="f76">
                  <a:pos x="f105" y="f106"/>
                </a:cxn>
                <a:cxn ang="f76">
                  <a:pos x="f107" y="f108"/>
                </a:cxn>
                <a:cxn ang="f76">
                  <a:pos x="f95" y="f96"/>
                </a:cxn>
              </a:cxnLst>
              <a:rect l="f91" t="f94" r="f92" b="f93"/>
              <a:pathLst>
                <a:path w="7111369" h="1757730">
                  <a:moveTo>
                    <a:pt x="f8" y="f9"/>
                  </a:moveTo>
                  <a:cubicBezTo>
                    <a:pt x="f10" y="f11"/>
                    <a:pt x="f12" y="f13"/>
                    <a:pt x="f14" y="f15"/>
                  </a:cubicBezTo>
                  <a:cubicBezTo>
                    <a:pt x="f16" y="f17"/>
                    <a:pt x="f18" y="f19"/>
                    <a:pt x="f20" y="f21"/>
                  </a:cubicBezTo>
                  <a:lnTo>
                    <a:pt x="f6" y="f7"/>
                  </a:lnTo>
                  <a:lnTo>
                    <a:pt x="f5" y="f7"/>
                  </a:lnTo>
                  <a:lnTo>
                    <a:pt x="f5" y="f22"/>
                  </a:lnTo>
                  <a:lnTo>
                    <a:pt x="f23" y="f24"/>
                  </a:lnTo>
                  <a:cubicBezTo>
                    <a:pt x="f25" y="f26"/>
                    <a:pt x="f27" y="f28"/>
                    <a:pt x="f29" y="f30"/>
                  </a:cubicBezTo>
                  <a:cubicBezTo>
                    <a:pt x="f31" y="f32"/>
                    <a:pt x="f33" y="f34"/>
                    <a:pt x="f8" y="f9"/>
                  </a:cubicBezTo>
                  <a:close/>
                </a:path>
              </a:pathLst>
            </a:cu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4" name="Freeform 19">
              <a:extLst>
                <a:ext uri="{FF2B5EF4-FFF2-40B4-BE49-F238E27FC236}">
                  <a16:creationId xmlns:a16="http://schemas.microsoft.com/office/drawing/2014/main" id="{F04A3FDB-49FF-6137-D8E0-2C874205A7A0}"/>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5" name="Freeform 14">
              <a:extLst>
                <a:ext uri="{FF2B5EF4-FFF2-40B4-BE49-F238E27FC236}">
                  <a16:creationId xmlns:a16="http://schemas.microsoft.com/office/drawing/2014/main" id="{5654BAA7-AA68-0728-CBCF-FFE75DCF9031}"/>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6" name="Picture 20">
              <a:extLst>
                <a:ext uri="{FF2B5EF4-FFF2-40B4-BE49-F238E27FC236}">
                  <a16:creationId xmlns:a16="http://schemas.microsoft.com/office/drawing/2014/main" id="{E1A305E4-7C3C-0CC0-0AFB-CFFF06379491}"/>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
        <p:nvSpPr>
          <p:cNvPr id="7" name="Title 10">
            <a:extLst>
              <a:ext uri="{FF2B5EF4-FFF2-40B4-BE49-F238E27FC236}">
                <a16:creationId xmlns:a16="http://schemas.microsoft.com/office/drawing/2014/main" id="{3D1346F5-17D4-43BF-A515-800839AB76A4}"/>
              </a:ext>
            </a:extLst>
          </p:cNvPr>
          <p:cNvSpPr txBox="1">
            <a:spLocks noGrp="1"/>
          </p:cNvSpPr>
          <p:nvPr>
            <p:ph type="title"/>
          </p:nvPr>
        </p:nvSpPr>
        <p:spPr>
          <a:xfrm>
            <a:off x="1413305" y="701748"/>
            <a:ext cx="9365376" cy="2014679"/>
          </a:xfrm>
        </p:spPr>
        <p:txBody>
          <a:bodyPr anchor="b"/>
          <a:lstStyle>
            <a:lvl1pPr>
              <a:defRPr/>
            </a:lvl1pPr>
          </a:lstStyle>
          <a:p>
            <a:pPr lvl="0"/>
            <a:r>
              <a:rPr lang="en-US"/>
              <a:t>Click to edit Master title style</a:t>
            </a:r>
          </a:p>
        </p:txBody>
      </p:sp>
      <p:sp>
        <p:nvSpPr>
          <p:cNvPr id="8" name="Subtitle 2">
            <a:extLst>
              <a:ext uri="{FF2B5EF4-FFF2-40B4-BE49-F238E27FC236}">
                <a16:creationId xmlns:a16="http://schemas.microsoft.com/office/drawing/2014/main" id="{034B4C36-E70D-1B01-4574-F9A1A81E8377}"/>
              </a:ext>
            </a:extLst>
          </p:cNvPr>
          <p:cNvSpPr txBox="1">
            <a:spLocks noGrp="1"/>
          </p:cNvSpPr>
          <p:nvPr>
            <p:ph type="subTitle" idx="4294967295"/>
          </p:nvPr>
        </p:nvSpPr>
        <p:spPr>
          <a:xfrm>
            <a:off x="1413305" y="3081637"/>
            <a:ext cx="9365376" cy="986564"/>
          </a:xfrm>
        </p:spPr>
        <p:txBody>
          <a:bodyPr/>
          <a:lstStyle>
            <a:lvl1pPr marL="0" indent="0">
              <a:buNone/>
              <a:defRPr/>
            </a:lvl1pPr>
          </a:lstStyle>
          <a:p>
            <a:pPr lvl="0"/>
            <a:r>
              <a:rPr lang="en-US"/>
              <a:t>Click to edit Master subtitle style</a:t>
            </a:r>
          </a:p>
        </p:txBody>
      </p:sp>
    </p:spTree>
    <p:extLst>
      <p:ext uri="{BB962C8B-B14F-4D97-AF65-F5344CB8AC3E}">
        <p14:creationId xmlns:p14="http://schemas.microsoft.com/office/powerpoint/2010/main" val="680439512"/>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646F6621-395E-AA3F-4C95-C3B3DD6BDD29}"/>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B86D1EBF-7749-7C90-AFAB-38F22038998C}"/>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B447A1B4-789F-F549-D80E-21F454798B7F}"/>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925805F7-D5C0-FAB0-3974-15AAC3D0C975}"/>
              </a:ext>
            </a:extLst>
          </p:cNvPr>
          <p:cNvSpPr txBox="1">
            <a:spLocks noGrp="1"/>
          </p:cNvSpPr>
          <p:nvPr>
            <p:ph type="sldNum" sz="quarter" idx="8"/>
          </p:nvPr>
        </p:nvSpPr>
        <p:spPr/>
        <p:txBody>
          <a:bodyPr/>
          <a:lstStyle>
            <a:lvl1pPr>
              <a:defRPr>
                <a:solidFill>
                  <a:srgbClr val="AFB3B9"/>
                </a:solidFill>
              </a:defRPr>
            </a:lvl1pPr>
          </a:lstStyle>
          <a:p>
            <a:pPr lvl="0"/>
            <a:fld id="{AFB71609-314F-4F7B-8BF6-0A492ABBD85C}" type="slidenum">
              <a:t>‹#›</a:t>
            </a:fld>
            <a:endParaRPr lang="en-US"/>
          </a:p>
        </p:txBody>
      </p:sp>
      <p:cxnSp>
        <p:nvCxnSpPr>
          <p:cNvPr id="6" name="Straight Connector 7">
            <a:extLst>
              <a:ext uri="{FF2B5EF4-FFF2-40B4-BE49-F238E27FC236}">
                <a16:creationId xmlns:a16="http://schemas.microsoft.com/office/drawing/2014/main" id="{A4F0A134-C12A-28A0-1024-B2059E889B7A}"/>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A99EA662-5636-B9F7-3FA4-5700F3F8C0AF}"/>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C5D6F4C4-0A0D-D489-632E-6474E6A553D2}"/>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336FF487-052B-E459-90C4-B9DE9DD716AB}"/>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BAC722C0-9211-70E9-8FC7-177E05B3D46A}"/>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81526EA7-2875-4517-CC70-0254FE007F4A}"/>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937B4EA3-00ED-4C4A-A216-DA452C55BF78}"/>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981E9981-F507-3FA4-C6B6-735E4B8D784B}"/>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1340369729"/>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2" name="Group 63">
            <a:extLst>
              <a:ext uri="{FF2B5EF4-FFF2-40B4-BE49-F238E27FC236}">
                <a16:creationId xmlns:a16="http://schemas.microsoft.com/office/drawing/2014/main" id="{2797D6D1-9657-07EB-A09D-C237DBE732B6}"/>
              </a:ext>
            </a:extLst>
          </p:cNvPr>
          <p:cNvGrpSpPr/>
          <p:nvPr/>
        </p:nvGrpSpPr>
        <p:grpSpPr>
          <a:xfrm>
            <a:off x="7191545" y="0"/>
            <a:ext cx="5000460" cy="1425988"/>
            <a:chOff x="7191545" y="0"/>
            <a:chExt cx="5000460" cy="1425988"/>
          </a:xfrm>
        </p:grpSpPr>
        <p:pic>
          <p:nvPicPr>
            <p:cNvPr id="3" name="Picture 64">
              <a:extLst>
                <a:ext uri="{FF2B5EF4-FFF2-40B4-BE49-F238E27FC236}">
                  <a16:creationId xmlns:a16="http://schemas.microsoft.com/office/drawing/2014/main" id="{3EB0E195-C751-E88D-561F-D808250C52E4}"/>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65">
              <a:extLst>
                <a:ext uri="{FF2B5EF4-FFF2-40B4-BE49-F238E27FC236}">
                  <a16:creationId xmlns:a16="http://schemas.microsoft.com/office/drawing/2014/main" id="{1CB1F43A-82CB-67AA-0213-FE0ABC31CF8D}"/>
                </a:ext>
              </a:extLst>
            </p:cNvPr>
            <p:cNvGrpSpPr/>
            <p:nvPr/>
          </p:nvGrpSpPr>
          <p:grpSpPr>
            <a:xfrm>
              <a:off x="7191545" y="0"/>
              <a:ext cx="5000460" cy="1425988"/>
              <a:chOff x="7191545" y="0"/>
              <a:chExt cx="5000460" cy="1425988"/>
            </a:xfrm>
          </p:grpSpPr>
          <p:sp>
            <p:nvSpPr>
              <p:cNvPr id="5" name="Freeform 66">
                <a:extLst>
                  <a:ext uri="{FF2B5EF4-FFF2-40B4-BE49-F238E27FC236}">
                    <a16:creationId xmlns:a16="http://schemas.microsoft.com/office/drawing/2014/main" id="{653963FD-300D-8958-E3F4-36DA58B0F8E2}"/>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67">
                <a:extLst>
                  <a:ext uri="{FF2B5EF4-FFF2-40B4-BE49-F238E27FC236}">
                    <a16:creationId xmlns:a16="http://schemas.microsoft.com/office/drawing/2014/main" id="{C4EA4C07-F151-6044-AB10-8DBF8A342F1D}"/>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8536EB81-509A-B2C9-4520-23482707538D}"/>
              </a:ext>
            </a:extLst>
          </p:cNvPr>
          <p:cNvSpPr txBox="1">
            <a:spLocks noGrp="1"/>
          </p:cNvSpPr>
          <p:nvPr>
            <p:ph type="title"/>
          </p:nvPr>
        </p:nvSpPr>
        <p:spPr/>
        <p:txBody>
          <a:bodyPr/>
          <a:lstStyle>
            <a:lvl1pPr>
              <a:defRPr/>
            </a:lvl1pPr>
          </a:lstStyle>
          <a:p>
            <a:pPr lvl="0"/>
            <a:r>
              <a:rPr lang="en-US"/>
              <a:t>Click to edit Master title style</a:t>
            </a:r>
          </a:p>
        </p:txBody>
      </p:sp>
      <p:sp>
        <p:nvSpPr>
          <p:cNvPr id="8" name="Content Placeholder 2">
            <a:extLst>
              <a:ext uri="{FF2B5EF4-FFF2-40B4-BE49-F238E27FC236}">
                <a16:creationId xmlns:a16="http://schemas.microsoft.com/office/drawing/2014/main" id="{06A8BE1E-4BD4-B305-8926-BE0A15254E85}"/>
              </a:ext>
            </a:extLst>
          </p:cNvPr>
          <p:cNvSpPr txBox="1">
            <a:spLocks noGrp="1"/>
          </p:cNvSpPr>
          <p:nvPr>
            <p:ph idx="1"/>
          </p:nvPr>
        </p:nvSpPr>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6">
            <a:extLst>
              <a:ext uri="{FF2B5EF4-FFF2-40B4-BE49-F238E27FC236}">
                <a16:creationId xmlns:a16="http://schemas.microsoft.com/office/drawing/2014/main" id="{CCF553C2-48AC-C614-4DF2-505DB87CC27B}"/>
              </a:ext>
            </a:extLst>
          </p:cNvPr>
          <p:cNvSpPr txBox="1">
            <a:spLocks noGrp="1"/>
          </p:cNvSpPr>
          <p:nvPr>
            <p:ph type="sldNum" sz="quarter" idx="8"/>
          </p:nvPr>
        </p:nvSpPr>
        <p:spPr/>
        <p:txBody>
          <a:bodyPr/>
          <a:lstStyle>
            <a:lvl1pPr>
              <a:defRPr>
                <a:solidFill>
                  <a:srgbClr val="AFB3B9"/>
                </a:solidFill>
              </a:defRPr>
            </a:lvl1pPr>
          </a:lstStyle>
          <a:p>
            <a:pPr lvl="0"/>
            <a:fld id="{99D1825B-3D7C-49D9-B649-7968541339D1}" type="slidenum">
              <a:t>‹#›</a:t>
            </a:fld>
            <a:endParaRPr lang="en-US"/>
          </a:p>
        </p:txBody>
      </p:sp>
      <p:cxnSp>
        <p:nvCxnSpPr>
          <p:cNvPr id="10" name="Straight Connector 7">
            <a:extLst>
              <a:ext uri="{FF2B5EF4-FFF2-40B4-BE49-F238E27FC236}">
                <a16:creationId xmlns:a16="http://schemas.microsoft.com/office/drawing/2014/main" id="{63D89353-A217-19F5-9085-52705A4063D9}"/>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1" name="Footer Placeholder 5">
            <a:extLst>
              <a:ext uri="{FF2B5EF4-FFF2-40B4-BE49-F238E27FC236}">
                <a16:creationId xmlns:a16="http://schemas.microsoft.com/office/drawing/2014/main" id="{D4BEEA04-75C6-75FA-16B5-56EF72984325}"/>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4054127393"/>
      </p:ext>
    </p:extLst>
  </p:cSld>
  <p:clrMapOvr>
    <a:masterClrMapping/>
  </p:clrMapOvr>
  <p:hf sldNum="0" hdr="0" ftr="0" dt="0"/>
</p:sldLayout>
</file>

<file path=ppt/slideLayouts/slideLayout3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5FB73-B069-7F82-9362-253EE2B0C8A1}"/>
              </a:ext>
            </a:extLst>
          </p:cNvPr>
          <p:cNvSpPr txBox="1">
            <a:spLocks noGrp="1"/>
          </p:cNvSpPr>
          <p:nvPr>
            <p:ph type="title"/>
          </p:nvPr>
        </p:nvSpPr>
        <p:spPr/>
        <p:txBody>
          <a:bodyPr/>
          <a:lstStyle>
            <a:lvl1pPr>
              <a:defRPr/>
            </a:lvl1pPr>
          </a:lstStyle>
          <a:p>
            <a:pPr lvl="0"/>
            <a:r>
              <a:rPr lang="en-US"/>
              <a:t>Click to edit Master title style</a:t>
            </a:r>
          </a:p>
        </p:txBody>
      </p:sp>
      <p:sp>
        <p:nvSpPr>
          <p:cNvPr id="3" name="Content Placeholder 2">
            <a:extLst>
              <a:ext uri="{FF2B5EF4-FFF2-40B4-BE49-F238E27FC236}">
                <a16:creationId xmlns:a16="http://schemas.microsoft.com/office/drawing/2014/main" id="{2C64E4F2-FA40-29E7-AC1C-FF9989C0BF10}"/>
              </a:ext>
            </a:extLst>
          </p:cNvPr>
          <p:cNvSpPr txBox="1">
            <a:spLocks noGrp="1"/>
          </p:cNvSpPr>
          <p:nvPr>
            <p:ph idx="1"/>
          </p:nvPr>
        </p:nvSpPr>
        <p:spPr>
          <a:xfrm>
            <a:off x="609604" y="1825627"/>
            <a:ext cx="5410203" cy="4351336"/>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43">
            <a:extLst>
              <a:ext uri="{FF2B5EF4-FFF2-40B4-BE49-F238E27FC236}">
                <a16:creationId xmlns:a16="http://schemas.microsoft.com/office/drawing/2014/main" id="{304F8B02-8CBE-EE96-6842-88CF9B2F727F}"/>
              </a:ext>
            </a:extLst>
          </p:cNvPr>
          <p:cNvGrpSpPr/>
          <p:nvPr/>
        </p:nvGrpSpPr>
        <p:grpSpPr>
          <a:xfrm>
            <a:off x="7191545" y="0"/>
            <a:ext cx="5000460" cy="1425988"/>
            <a:chOff x="7191545" y="0"/>
            <a:chExt cx="5000460" cy="1425988"/>
          </a:xfrm>
        </p:grpSpPr>
        <p:pic>
          <p:nvPicPr>
            <p:cNvPr id="5" name="Picture 19">
              <a:extLst>
                <a:ext uri="{FF2B5EF4-FFF2-40B4-BE49-F238E27FC236}">
                  <a16:creationId xmlns:a16="http://schemas.microsoft.com/office/drawing/2014/main" id="{F6DEE65F-2634-5AEE-6C9A-E1C838265B60}"/>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6" name="Group 42">
              <a:extLst>
                <a:ext uri="{FF2B5EF4-FFF2-40B4-BE49-F238E27FC236}">
                  <a16:creationId xmlns:a16="http://schemas.microsoft.com/office/drawing/2014/main" id="{3D3CE874-B4F9-1573-0915-48D379E6EA1C}"/>
                </a:ext>
              </a:extLst>
            </p:cNvPr>
            <p:cNvGrpSpPr/>
            <p:nvPr/>
          </p:nvGrpSpPr>
          <p:grpSpPr>
            <a:xfrm>
              <a:off x="7191545" y="0"/>
              <a:ext cx="5000460" cy="1425988"/>
              <a:chOff x="7191545" y="0"/>
              <a:chExt cx="5000460" cy="1425988"/>
            </a:xfrm>
          </p:grpSpPr>
          <p:sp>
            <p:nvSpPr>
              <p:cNvPr id="7" name="Freeform 41">
                <a:extLst>
                  <a:ext uri="{FF2B5EF4-FFF2-40B4-BE49-F238E27FC236}">
                    <a16:creationId xmlns:a16="http://schemas.microsoft.com/office/drawing/2014/main" id="{83F2DB88-8513-E3D8-CC80-46D3D4865EB6}"/>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8" name="Freeform 39">
                <a:extLst>
                  <a:ext uri="{FF2B5EF4-FFF2-40B4-BE49-F238E27FC236}">
                    <a16:creationId xmlns:a16="http://schemas.microsoft.com/office/drawing/2014/main" id="{8AF06923-DF75-50C4-C60E-366A5ED53D22}"/>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9" name="Content Placeholder 3">
            <a:extLst>
              <a:ext uri="{FF2B5EF4-FFF2-40B4-BE49-F238E27FC236}">
                <a16:creationId xmlns:a16="http://schemas.microsoft.com/office/drawing/2014/main" id="{F995824D-C7DB-1A0C-F5B2-EBDC3BE74CC0}"/>
              </a:ext>
            </a:extLst>
          </p:cNvPr>
          <p:cNvSpPr txBox="1">
            <a:spLocks noGrp="1"/>
          </p:cNvSpPr>
          <p:nvPr>
            <p:ph idx="2"/>
          </p:nvPr>
        </p:nvSpPr>
        <p:spPr>
          <a:xfrm>
            <a:off x="6172201" y="1825627"/>
            <a:ext cx="5410203" cy="4351336"/>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7">
            <a:extLst>
              <a:ext uri="{FF2B5EF4-FFF2-40B4-BE49-F238E27FC236}">
                <a16:creationId xmlns:a16="http://schemas.microsoft.com/office/drawing/2014/main" id="{027A6ADA-C472-A649-848D-0673AC752AA4}"/>
              </a:ext>
            </a:extLst>
          </p:cNvPr>
          <p:cNvSpPr txBox="1">
            <a:spLocks noGrp="1"/>
          </p:cNvSpPr>
          <p:nvPr>
            <p:ph type="sldNum" sz="quarter" idx="8"/>
          </p:nvPr>
        </p:nvSpPr>
        <p:spPr>
          <a:xfrm>
            <a:off x="8839193" y="6356352"/>
            <a:ext cx="2743200" cy="365129"/>
          </a:xfrm>
        </p:spPr>
        <p:txBody>
          <a:bodyPr/>
          <a:lstStyle>
            <a:lvl1pPr>
              <a:defRPr/>
            </a:lvl1pPr>
          </a:lstStyle>
          <a:p>
            <a:pPr lvl="0"/>
            <a:fld id="{A496878E-9DB7-4F31-87A9-9BFF80114D58}" type="slidenum">
              <a:t>‹#›</a:t>
            </a:fld>
            <a:endParaRPr lang="en-US"/>
          </a:p>
        </p:txBody>
      </p:sp>
      <p:cxnSp>
        <p:nvCxnSpPr>
          <p:cNvPr id="11" name="Straight Connector 6">
            <a:extLst>
              <a:ext uri="{FF2B5EF4-FFF2-40B4-BE49-F238E27FC236}">
                <a16:creationId xmlns:a16="http://schemas.microsoft.com/office/drawing/2014/main" id="{6A556799-97C6-8E73-0DB6-6564426A3DFC}"/>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2" name="Footer Placeholder 4">
            <a:extLst>
              <a:ext uri="{FF2B5EF4-FFF2-40B4-BE49-F238E27FC236}">
                <a16:creationId xmlns:a16="http://schemas.microsoft.com/office/drawing/2014/main" id="{13D5BC53-3AE1-C1EE-959E-70739DE23B40}"/>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3787325811"/>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Photo Slide">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E2B7B984-A09F-07E5-6FC3-23CAAB7CC115}"/>
              </a:ext>
            </a:extLst>
          </p:cNvPr>
          <p:cNvSpPr txBox="1">
            <a:spLocks noGrp="1"/>
          </p:cNvSpPr>
          <p:nvPr>
            <p:ph type="body" idx="4294967295"/>
          </p:nvPr>
        </p:nvSpPr>
        <p:spPr>
          <a:xfrm>
            <a:off x="457200" y="1146255"/>
            <a:ext cx="2350172" cy="2971800"/>
          </a:xfrm>
        </p:spPr>
        <p:txBody>
          <a:bodyPr/>
          <a:lstStyle>
            <a:lvl1pPr marL="0" indent="0">
              <a:buNone/>
              <a:defRPr/>
            </a:lvl1pPr>
          </a:lstStyle>
          <a:p>
            <a:pPr lvl="0"/>
            <a:r>
              <a:rPr lang="en-US"/>
              <a:t>Click to edit Master text styles</a:t>
            </a:r>
          </a:p>
        </p:txBody>
      </p:sp>
      <p:cxnSp>
        <p:nvCxnSpPr>
          <p:cNvPr id="3" name="Straight Connector 5">
            <a:extLst>
              <a:ext uri="{FF2B5EF4-FFF2-40B4-BE49-F238E27FC236}">
                <a16:creationId xmlns:a16="http://schemas.microsoft.com/office/drawing/2014/main" id="{8C27912E-E766-F92D-C809-A71FD5DC0A1C}"/>
              </a:ext>
            </a:extLst>
          </p:cNvPr>
          <p:cNvCxnSpPr/>
          <p:nvPr/>
        </p:nvCxnSpPr>
        <p:spPr>
          <a:xfrm>
            <a:off x="457201" y="947985"/>
            <a:ext cx="2350163" cy="0"/>
          </a:xfrm>
          <a:prstGeom prst="straightConnector1">
            <a:avLst/>
          </a:prstGeom>
          <a:noFill/>
          <a:ln w="31747" cap="flat">
            <a:solidFill>
              <a:srgbClr val="F58366"/>
            </a:solidFill>
            <a:prstDash val="solid"/>
            <a:miter/>
          </a:ln>
        </p:spPr>
      </p:cxnSp>
      <p:grpSp>
        <p:nvGrpSpPr>
          <p:cNvPr id="4" name="Group 2">
            <a:extLst>
              <a:ext uri="{FF2B5EF4-FFF2-40B4-BE49-F238E27FC236}">
                <a16:creationId xmlns:a16="http://schemas.microsoft.com/office/drawing/2014/main" id="{DD85EF44-9C62-CEBA-EEC0-67FFAB739A23}"/>
              </a:ext>
            </a:extLst>
          </p:cNvPr>
          <p:cNvGrpSpPr/>
          <p:nvPr/>
        </p:nvGrpSpPr>
        <p:grpSpPr>
          <a:xfrm>
            <a:off x="1" y="5379425"/>
            <a:ext cx="2807363" cy="753895"/>
            <a:chOff x="0" y="5379424"/>
            <a:chExt cx="2807363" cy="753895"/>
          </a:xfrm>
        </p:grpSpPr>
        <p:sp>
          <p:nvSpPr>
            <p:cNvPr id="5" name="Freeform 21">
              <a:extLst>
                <a:ext uri="{FF2B5EF4-FFF2-40B4-BE49-F238E27FC236}">
                  <a16:creationId xmlns:a16="http://schemas.microsoft.com/office/drawing/2014/main" id="{0A06A9AD-6721-66EB-0FE5-EE2CDE304DF2}"/>
                </a:ext>
              </a:extLst>
            </p:cNvPr>
            <p:cNvSpPr/>
            <p:nvPr/>
          </p:nvSpPr>
          <p:spPr>
            <a:xfrm>
              <a:off x="0" y="5532513"/>
              <a:ext cx="2807363" cy="600806"/>
            </a:xfrm>
            <a:custGeom>
              <a:avLst/>
              <a:gdLst>
                <a:gd name="f0" fmla="val 10800000"/>
                <a:gd name="f1" fmla="val 5400000"/>
                <a:gd name="f2" fmla="val 180"/>
                <a:gd name="f3" fmla="val w"/>
                <a:gd name="f4" fmla="val h"/>
                <a:gd name="f5" fmla="val 0"/>
                <a:gd name="f6" fmla="val 2807368"/>
                <a:gd name="f7" fmla="val 600807"/>
                <a:gd name="f8" fmla="val 429971"/>
                <a:gd name="f9" fmla="val 123998"/>
                <a:gd name="f10" fmla="val 1184765"/>
                <a:gd name="f11" fmla="val 325331"/>
                <a:gd name="f12" fmla="val 2014184"/>
                <a:gd name="f13" fmla="val 392492"/>
                <a:gd name="f14" fmla="val 2790212"/>
                <a:gd name="f15" fmla="val 235402"/>
                <a:gd name="f16" fmla="val 231522"/>
                <a:gd name="f17" fmla="val 566106"/>
                <a:gd name="f18" fmla="val 2593885"/>
                <a:gd name="f19" fmla="val 587498"/>
                <a:gd name="f20" fmla="val 1673646"/>
                <a:gd name="f21" fmla="val 651184"/>
                <a:gd name="f22" fmla="val 884869"/>
                <a:gd name="f23" fmla="val 479260"/>
                <a:gd name="f24" fmla="val 100844"/>
                <a:gd name="f25" fmla="val 222653"/>
                <a:gd name="f26" fmla="val 188389"/>
                <a:gd name="f27" fmla="+- 0 0 -90"/>
                <a:gd name="f28" fmla="*/ f3 1 2807368"/>
                <a:gd name="f29" fmla="*/ f4 1 600807"/>
                <a:gd name="f30" fmla="+- f7 0 f5"/>
                <a:gd name="f31" fmla="+- f6 0 f5"/>
                <a:gd name="f32" fmla="*/ f27 f0 1"/>
                <a:gd name="f33" fmla="*/ f31 1 2807368"/>
                <a:gd name="f34" fmla="*/ f30 1 600807"/>
                <a:gd name="f35" fmla="*/ 0 f31 1"/>
                <a:gd name="f36" fmla="*/ 0 f30 1"/>
                <a:gd name="f37" fmla="*/ 429971 f31 1"/>
                <a:gd name="f38" fmla="*/ 123998 f30 1"/>
                <a:gd name="f39" fmla="*/ 2790212 f31 1"/>
                <a:gd name="f40" fmla="*/ 235402 f30 1"/>
                <a:gd name="f41" fmla="*/ 2807368 f31 1"/>
                <a:gd name="f42" fmla="*/ 231522 f30 1"/>
                <a:gd name="f43" fmla="*/ 566106 f30 1"/>
                <a:gd name="f44" fmla="*/ 2593885 f31 1"/>
                <a:gd name="f45" fmla="*/ 587498 f30 1"/>
                <a:gd name="f46" fmla="*/ 100844 f31 1"/>
                <a:gd name="f47" fmla="*/ 222653 f30 1"/>
                <a:gd name="f48" fmla="*/ 188389 f30 1"/>
                <a:gd name="f49" fmla="*/ f32 1 f2"/>
                <a:gd name="f50" fmla="*/ f35 1 2807368"/>
                <a:gd name="f51" fmla="*/ f36 1 600807"/>
                <a:gd name="f52" fmla="*/ f37 1 2807368"/>
                <a:gd name="f53" fmla="*/ f38 1 600807"/>
                <a:gd name="f54" fmla="*/ f39 1 2807368"/>
                <a:gd name="f55" fmla="*/ f40 1 600807"/>
                <a:gd name="f56" fmla="*/ f41 1 2807368"/>
                <a:gd name="f57" fmla="*/ f42 1 600807"/>
                <a:gd name="f58" fmla="*/ f43 1 600807"/>
                <a:gd name="f59" fmla="*/ f44 1 2807368"/>
                <a:gd name="f60" fmla="*/ f45 1 600807"/>
                <a:gd name="f61" fmla="*/ f46 1 2807368"/>
                <a:gd name="f62" fmla="*/ f47 1 600807"/>
                <a:gd name="f63" fmla="*/ f48 1 600807"/>
                <a:gd name="f64" fmla="*/ f5 1 f33"/>
                <a:gd name="f65" fmla="*/ f6 1 f33"/>
                <a:gd name="f66" fmla="*/ f5 1 f34"/>
                <a:gd name="f67" fmla="*/ f7 1 f34"/>
                <a:gd name="f68" fmla="+- f49 0 f1"/>
                <a:gd name="f69" fmla="*/ f50 1 f33"/>
                <a:gd name="f70" fmla="*/ f51 1 f34"/>
                <a:gd name="f71" fmla="*/ f52 1 f33"/>
                <a:gd name="f72" fmla="*/ f53 1 f34"/>
                <a:gd name="f73" fmla="*/ f54 1 f33"/>
                <a:gd name="f74" fmla="*/ f55 1 f34"/>
                <a:gd name="f75" fmla="*/ f56 1 f33"/>
                <a:gd name="f76" fmla="*/ f57 1 f34"/>
                <a:gd name="f77" fmla="*/ f58 1 f34"/>
                <a:gd name="f78" fmla="*/ f59 1 f33"/>
                <a:gd name="f79" fmla="*/ f60 1 f34"/>
                <a:gd name="f80" fmla="*/ f61 1 f33"/>
                <a:gd name="f81" fmla="*/ f62 1 f34"/>
                <a:gd name="f82" fmla="*/ f63 1 f34"/>
                <a:gd name="f83" fmla="*/ f64 f28 1"/>
                <a:gd name="f84" fmla="*/ f65 f28 1"/>
                <a:gd name="f85" fmla="*/ f67 f29 1"/>
                <a:gd name="f86" fmla="*/ f66 f29 1"/>
                <a:gd name="f87" fmla="*/ f69 f28 1"/>
                <a:gd name="f88" fmla="*/ f70 f29 1"/>
                <a:gd name="f89" fmla="*/ f71 f28 1"/>
                <a:gd name="f90" fmla="*/ f72 f29 1"/>
                <a:gd name="f91" fmla="*/ f73 f28 1"/>
                <a:gd name="f92" fmla="*/ f74 f29 1"/>
                <a:gd name="f93" fmla="*/ f75 f28 1"/>
                <a:gd name="f94" fmla="*/ f76 f29 1"/>
                <a:gd name="f95" fmla="*/ f77 f29 1"/>
                <a:gd name="f96" fmla="*/ f78 f28 1"/>
                <a:gd name="f97" fmla="*/ f79 f29 1"/>
                <a:gd name="f98" fmla="*/ f80 f28 1"/>
                <a:gd name="f99" fmla="*/ f81 f29 1"/>
                <a:gd name="f100" fmla="*/ f82 f29 1"/>
              </a:gdLst>
              <a:ahLst/>
              <a:cxnLst>
                <a:cxn ang="3cd4">
                  <a:pos x="hc" y="t"/>
                </a:cxn>
                <a:cxn ang="0">
                  <a:pos x="r" y="vc"/>
                </a:cxn>
                <a:cxn ang="cd4">
                  <a:pos x="hc" y="b"/>
                </a:cxn>
                <a:cxn ang="cd2">
                  <a:pos x="l" y="vc"/>
                </a:cxn>
                <a:cxn ang="f68">
                  <a:pos x="f87" y="f88"/>
                </a:cxn>
                <a:cxn ang="f68">
                  <a:pos x="f89" y="f90"/>
                </a:cxn>
                <a:cxn ang="f68">
                  <a:pos x="f91" y="f92"/>
                </a:cxn>
                <a:cxn ang="f68">
                  <a:pos x="f93" y="f94"/>
                </a:cxn>
                <a:cxn ang="f68">
                  <a:pos x="f93" y="f95"/>
                </a:cxn>
                <a:cxn ang="f68">
                  <a:pos x="f96" y="f97"/>
                </a:cxn>
                <a:cxn ang="f68">
                  <a:pos x="f98" y="f99"/>
                </a:cxn>
                <a:cxn ang="f68">
                  <a:pos x="f87" y="f100"/>
                </a:cxn>
              </a:cxnLst>
              <a:rect l="f83" t="f86" r="f84" b="f85"/>
              <a:pathLst>
                <a:path w="2807368" h="600807">
                  <a:moveTo>
                    <a:pt x="f5" y="f5"/>
                  </a:moveTo>
                  <a:lnTo>
                    <a:pt x="f8" y="f9"/>
                  </a:lnTo>
                  <a:cubicBezTo>
                    <a:pt x="f10" y="f11"/>
                    <a:pt x="f12" y="f13"/>
                    <a:pt x="f14" y="f15"/>
                  </a:cubicBezTo>
                  <a:lnTo>
                    <a:pt x="f6" y="f16"/>
                  </a:lnTo>
                  <a:lnTo>
                    <a:pt x="f6" y="f17"/>
                  </a:lnTo>
                  <a:lnTo>
                    <a:pt x="f18" y="f19"/>
                  </a:lnTo>
                  <a:cubicBezTo>
                    <a:pt x="f20" y="f21"/>
                    <a:pt x="f22" y="f23"/>
                    <a:pt x="f24" y="f25"/>
                  </a:cubicBezTo>
                  <a:lnTo>
                    <a:pt x="f5" y="f26"/>
                  </a:ln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Freeform 19">
              <a:extLst>
                <a:ext uri="{FF2B5EF4-FFF2-40B4-BE49-F238E27FC236}">
                  <a16:creationId xmlns:a16="http://schemas.microsoft.com/office/drawing/2014/main" id="{F66364FC-8858-40E6-91C7-867E3D66F0F6}"/>
                </a:ext>
              </a:extLst>
            </p:cNvPr>
            <p:cNvSpPr/>
            <p:nvPr/>
          </p:nvSpPr>
          <p:spPr>
            <a:xfrm>
              <a:off x="0" y="5379424"/>
              <a:ext cx="2807363" cy="649800"/>
            </a:xfrm>
            <a:custGeom>
              <a:avLst/>
              <a:gdLst>
                <a:gd name="f0" fmla="val 10800000"/>
                <a:gd name="f1" fmla="val 5400000"/>
                <a:gd name="f2" fmla="val 180"/>
                <a:gd name="f3" fmla="val w"/>
                <a:gd name="f4" fmla="val h"/>
                <a:gd name="f5" fmla="val 0"/>
                <a:gd name="f6" fmla="val 2807368"/>
                <a:gd name="f7" fmla="val 649803"/>
                <a:gd name="f8" fmla="val 282676"/>
                <a:gd name="f9" fmla="val 70799"/>
                <a:gd name="f10" fmla="val 435964"/>
                <a:gd name="f11" fmla="val 106085"/>
                <a:gd name="f12" fmla="val 588770"/>
                <a:gd name="f13" fmla="val 137629"/>
                <a:gd name="f14" fmla="val 740881"/>
                <a:gd name="f15" fmla="val 163828"/>
                <a:gd name="f16" fmla="val 1362800"/>
                <a:gd name="f17" fmla="val 270912"/>
                <a:gd name="f18" fmla="val 2067879"/>
                <a:gd name="f19" fmla="val 253759"/>
                <a:gd name="f20" fmla="val 2706471"/>
                <a:gd name="f21" fmla="val 96397"/>
                <a:gd name="f22" fmla="val 67250"/>
                <a:gd name="f23" fmla="val 605551"/>
                <a:gd name="f24" fmla="val 2602685"/>
                <a:gd name="f25" fmla="val 629466"/>
                <a:gd name="f26" fmla="val 1684237"/>
                <a:gd name="f27" fmla="val 708219"/>
                <a:gd name="f28" fmla="val 893252"/>
                <a:gd name="f29" fmla="val 549395"/>
                <a:gd name="f30" fmla="val 105614"/>
                <a:gd name="f31" fmla="val 305882"/>
                <a:gd name="f32" fmla="val 271926"/>
                <a:gd name="f33" fmla="+- 0 0 -90"/>
                <a:gd name="f34" fmla="*/ f3 1 2807368"/>
                <a:gd name="f35" fmla="*/ f4 1 649803"/>
                <a:gd name="f36" fmla="+- f7 0 f5"/>
                <a:gd name="f37" fmla="+- f6 0 f5"/>
                <a:gd name="f38" fmla="*/ f33 f0 1"/>
                <a:gd name="f39" fmla="*/ f37 1 2807368"/>
                <a:gd name="f40" fmla="*/ f36 1 649803"/>
                <a:gd name="f41" fmla="*/ 0 f37 1"/>
                <a:gd name="f42" fmla="*/ 0 f36 1"/>
                <a:gd name="f43" fmla="*/ 282676 f37 1"/>
                <a:gd name="f44" fmla="*/ 70799 f36 1"/>
                <a:gd name="f45" fmla="*/ 740881 f37 1"/>
                <a:gd name="f46" fmla="*/ 163828 f36 1"/>
                <a:gd name="f47" fmla="*/ 2706471 f37 1"/>
                <a:gd name="f48" fmla="*/ 96397 f36 1"/>
                <a:gd name="f49" fmla="*/ 2807368 f37 1"/>
                <a:gd name="f50" fmla="*/ 67250 f36 1"/>
                <a:gd name="f51" fmla="*/ 605551 f36 1"/>
                <a:gd name="f52" fmla="*/ 2602685 f37 1"/>
                <a:gd name="f53" fmla="*/ 629466 f36 1"/>
                <a:gd name="f54" fmla="*/ 105614 f37 1"/>
                <a:gd name="f55" fmla="*/ 305882 f36 1"/>
                <a:gd name="f56" fmla="*/ 271926 f36 1"/>
                <a:gd name="f57" fmla="*/ f38 1 f2"/>
                <a:gd name="f58" fmla="*/ f41 1 2807368"/>
                <a:gd name="f59" fmla="*/ f42 1 649803"/>
                <a:gd name="f60" fmla="*/ f43 1 2807368"/>
                <a:gd name="f61" fmla="*/ f44 1 649803"/>
                <a:gd name="f62" fmla="*/ f45 1 2807368"/>
                <a:gd name="f63" fmla="*/ f46 1 649803"/>
                <a:gd name="f64" fmla="*/ f47 1 2807368"/>
                <a:gd name="f65" fmla="*/ f48 1 649803"/>
                <a:gd name="f66" fmla="*/ f49 1 2807368"/>
                <a:gd name="f67" fmla="*/ f50 1 649803"/>
                <a:gd name="f68" fmla="*/ f51 1 649803"/>
                <a:gd name="f69" fmla="*/ f52 1 2807368"/>
                <a:gd name="f70" fmla="*/ f53 1 649803"/>
                <a:gd name="f71" fmla="*/ f54 1 2807368"/>
                <a:gd name="f72" fmla="*/ f55 1 649803"/>
                <a:gd name="f73" fmla="*/ f56 1 649803"/>
                <a:gd name="f74" fmla="*/ f5 1 f39"/>
                <a:gd name="f75" fmla="*/ f6 1 f39"/>
                <a:gd name="f76" fmla="*/ f5 1 f40"/>
                <a:gd name="f77" fmla="*/ f7 1 f40"/>
                <a:gd name="f78" fmla="+- f57 0 f1"/>
                <a:gd name="f79" fmla="*/ f58 1 f39"/>
                <a:gd name="f80" fmla="*/ f59 1 f40"/>
                <a:gd name="f81" fmla="*/ f60 1 f39"/>
                <a:gd name="f82" fmla="*/ f61 1 f40"/>
                <a:gd name="f83" fmla="*/ f62 1 f39"/>
                <a:gd name="f84" fmla="*/ f63 1 f40"/>
                <a:gd name="f85" fmla="*/ f64 1 f39"/>
                <a:gd name="f86" fmla="*/ f65 1 f40"/>
                <a:gd name="f87" fmla="*/ f66 1 f39"/>
                <a:gd name="f88" fmla="*/ f67 1 f40"/>
                <a:gd name="f89" fmla="*/ f68 1 f40"/>
                <a:gd name="f90" fmla="*/ f69 1 f39"/>
                <a:gd name="f91" fmla="*/ f70 1 f40"/>
                <a:gd name="f92" fmla="*/ f71 1 f39"/>
                <a:gd name="f93" fmla="*/ f72 1 f40"/>
                <a:gd name="f94" fmla="*/ f73 1 f40"/>
                <a:gd name="f95" fmla="*/ f74 f34 1"/>
                <a:gd name="f96" fmla="*/ f75 f34 1"/>
                <a:gd name="f97" fmla="*/ f77 f35 1"/>
                <a:gd name="f98" fmla="*/ f76 f35 1"/>
                <a:gd name="f99" fmla="*/ f79 f34 1"/>
                <a:gd name="f100" fmla="*/ f80 f35 1"/>
                <a:gd name="f101" fmla="*/ f81 f34 1"/>
                <a:gd name="f102" fmla="*/ f82 f35 1"/>
                <a:gd name="f103" fmla="*/ f83 f34 1"/>
                <a:gd name="f104" fmla="*/ f84 f35 1"/>
                <a:gd name="f105" fmla="*/ f85 f34 1"/>
                <a:gd name="f106" fmla="*/ f86 f35 1"/>
                <a:gd name="f107" fmla="*/ f87 f34 1"/>
                <a:gd name="f108" fmla="*/ f88 f35 1"/>
                <a:gd name="f109" fmla="*/ f89 f35 1"/>
                <a:gd name="f110" fmla="*/ f90 f34 1"/>
                <a:gd name="f111" fmla="*/ f91 f35 1"/>
                <a:gd name="f112" fmla="*/ f92 f34 1"/>
                <a:gd name="f113" fmla="*/ f93 f35 1"/>
                <a:gd name="f114" fmla="*/ f94 f35 1"/>
              </a:gdLst>
              <a:ahLst/>
              <a:cxnLst>
                <a:cxn ang="3cd4">
                  <a:pos x="hc" y="t"/>
                </a:cxn>
                <a:cxn ang="0">
                  <a:pos x="r" y="vc"/>
                </a:cxn>
                <a:cxn ang="cd4">
                  <a:pos x="hc" y="b"/>
                </a:cxn>
                <a:cxn ang="cd2">
                  <a:pos x="l" y="vc"/>
                </a:cxn>
                <a:cxn ang="f78">
                  <a:pos x="f99" y="f100"/>
                </a:cxn>
                <a:cxn ang="f78">
                  <a:pos x="f101" y="f102"/>
                </a:cxn>
                <a:cxn ang="f78">
                  <a:pos x="f103" y="f104"/>
                </a:cxn>
                <a:cxn ang="f78">
                  <a:pos x="f105" y="f106"/>
                </a:cxn>
                <a:cxn ang="f78">
                  <a:pos x="f107" y="f108"/>
                </a:cxn>
                <a:cxn ang="f78">
                  <a:pos x="f107" y="f109"/>
                </a:cxn>
                <a:cxn ang="f78">
                  <a:pos x="f110" y="f111"/>
                </a:cxn>
                <a:cxn ang="f78">
                  <a:pos x="f112" y="f113"/>
                </a:cxn>
                <a:cxn ang="f78">
                  <a:pos x="f99" y="f114"/>
                </a:cxn>
              </a:cxnLst>
              <a:rect l="f95" t="f98" r="f96" b="f97"/>
              <a:pathLst>
                <a:path w="2807368" h="649803">
                  <a:moveTo>
                    <a:pt x="f5" y="f5"/>
                  </a:moveTo>
                  <a:lnTo>
                    <a:pt x="f8" y="f9"/>
                  </a:lnTo>
                  <a:cubicBezTo>
                    <a:pt x="f10" y="f11"/>
                    <a:pt x="f12" y="f13"/>
                    <a:pt x="f14" y="f15"/>
                  </a:cubicBezTo>
                  <a:cubicBezTo>
                    <a:pt x="f16" y="f17"/>
                    <a:pt x="f18" y="f19"/>
                    <a:pt x="f20" y="f21"/>
                  </a:cubicBezTo>
                  <a:lnTo>
                    <a:pt x="f6" y="f22"/>
                  </a:lnTo>
                  <a:lnTo>
                    <a:pt x="f6" y="f23"/>
                  </a:lnTo>
                  <a:lnTo>
                    <a:pt x="f24" y="f25"/>
                  </a:lnTo>
                  <a:cubicBezTo>
                    <a:pt x="f26" y="f27"/>
                    <a:pt x="f28" y="f29"/>
                    <a:pt x="f30" y="f31"/>
                  </a:cubicBezTo>
                  <a:lnTo>
                    <a:pt x="f5" y="f32"/>
                  </a:ln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grpSp>
      <p:sp>
        <p:nvSpPr>
          <p:cNvPr id="7" name="Picture Placeholder 6">
            <a:extLst>
              <a:ext uri="{FF2B5EF4-FFF2-40B4-BE49-F238E27FC236}">
                <a16:creationId xmlns:a16="http://schemas.microsoft.com/office/drawing/2014/main" id="{41E0BF3B-6D85-A95E-FDF8-FFAB336965DD}"/>
              </a:ext>
            </a:extLst>
          </p:cNvPr>
          <p:cNvSpPr txBox="1">
            <a:spLocks noGrp="1"/>
          </p:cNvSpPr>
          <p:nvPr>
            <p:ph type="pic" idx="4294967295"/>
          </p:nvPr>
        </p:nvSpPr>
        <p:spPr>
          <a:xfrm>
            <a:off x="2807363" y="457200"/>
            <a:ext cx="8915400" cy="5943600"/>
          </a:xfrm>
        </p:spPr>
        <p:txBody>
          <a:bodyPr/>
          <a:lstStyle>
            <a:lvl1pPr>
              <a:defRPr/>
            </a:lvl1pPr>
          </a:lstStyle>
          <a:p>
            <a:pPr lvl="0"/>
            <a:endParaRPr lang="en-US"/>
          </a:p>
        </p:txBody>
      </p:sp>
      <p:pic>
        <p:nvPicPr>
          <p:cNvPr id="8" name="Picture 14">
            <a:extLst>
              <a:ext uri="{FF2B5EF4-FFF2-40B4-BE49-F238E27FC236}">
                <a16:creationId xmlns:a16="http://schemas.microsoft.com/office/drawing/2014/main" id="{C7447885-D60D-235C-C05E-8856152684CA}"/>
              </a:ext>
            </a:extLst>
          </p:cNvPr>
          <p:cNvPicPr>
            <a:picLocks noChangeAspect="1"/>
          </p:cNvPicPr>
          <p:nvPr/>
        </p:nvPicPr>
        <p:blipFill>
          <a:blip r:embed="rId2"/>
          <a:srcRect/>
          <a:stretch>
            <a:fillRect/>
          </a:stretch>
        </p:blipFill>
        <p:spPr>
          <a:xfrm>
            <a:off x="513354" y="4385535"/>
            <a:ext cx="2025313" cy="911940"/>
          </a:xfrm>
          <a:prstGeom prst="rect">
            <a:avLst/>
          </a:prstGeom>
          <a:noFill/>
          <a:ln cap="flat">
            <a:noFill/>
          </a:ln>
        </p:spPr>
      </p:pic>
    </p:spTree>
    <p:extLst>
      <p:ext uri="{BB962C8B-B14F-4D97-AF65-F5344CB8AC3E}">
        <p14:creationId xmlns:p14="http://schemas.microsoft.com/office/powerpoint/2010/main" val="3584649550"/>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 name="Group 24">
            <a:extLst>
              <a:ext uri="{FF2B5EF4-FFF2-40B4-BE49-F238E27FC236}">
                <a16:creationId xmlns:a16="http://schemas.microsoft.com/office/drawing/2014/main" id="{F723DE74-AC63-1C79-09DF-DC224B3FEEAB}"/>
              </a:ext>
            </a:extLst>
          </p:cNvPr>
          <p:cNvGrpSpPr/>
          <p:nvPr/>
        </p:nvGrpSpPr>
        <p:grpSpPr>
          <a:xfrm>
            <a:off x="7191545" y="0"/>
            <a:ext cx="5000460" cy="1425988"/>
            <a:chOff x="7191545" y="0"/>
            <a:chExt cx="5000460" cy="1425988"/>
          </a:xfrm>
        </p:grpSpPr>
        <p:pic>
          <p:nvPicPr>
            <p:cNvPr id="3" name="Picture 25">
              <a:extLst>
                <a:ext uri="{FF2B5EF4-FFF2-40B4-BE49-F238E27FC236}">
                  <a16:creationId xmlns:a16="http://schemas.microsoft.com/office/drawing/2014/main" id="{8B5BE6BB-365F-F8EC-89DB-888DA2335FE4}"/>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26">
              <a:extLst>
                <a:ext uri="{FF2B5EF4-FFF2-40B4-BE49-F238E27FC236}">
                  <a16:creationId xmlns:a16="http://schemas.microsoft.com/office/drawing/2014/main" id="{31E6A34B-E359-01EA-38C4-CD0E35B16601}"/>
                </a:ext>
              </a:extLst>
            </p:cNvPr>
            <p:cNvGrpSpPr/>
            <p:nvPr/>
          </p:nvGrpSpPr>
          <p:grpSpPr>
            <a:xfrm>
              <a:off x="7191545" y="0"/>
              <a:ext cx="5000460" cy="1425988"/>
              <a:chOff x="7191545" y="0"/>
              <a:chExt cx="5000460" cy="1425988"/>
            </a:xfrm>
          </p:grpSpPr>
          <p:sp>
            <p:nvSpPr>
              <p:cNvPr id="5" name="Freeform 27">
                <a:extLst>
                  <a:ext uri="{FF2B5EF4-FFF2-40B4-BE49-F238E27FC236}">
                    <a16:creationId xmlns:a16="http://schemas.microsoft.com/office/drawing/2014/main" id="{797E4569-7C72-B137-5133-9502019F3A13}"/>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28">
                <a:extLst>
                  <a:ext uri="{FF2B5EF4-FFF2-40B4-BE49-F238E27FC236}">
                    <a16:creationId xmlns:a16="http://schemas.microsoft.com/office/drawing/2014/main" id="{13114D60-C75E-1FF7-04F0-57A6760D2E22}"/>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441DD67D-2638-3376-41AD-FCF233BF2B53}"/>
              </a:ext>
            </a:extLst>
          </p:cNvPr>
          <p:cNvSpPr txBox="1">
            <a:spLocks noGrp="1"/>
          </p:cNvSpPr>
          <p:nvPr>
            <p:ph type="title"/>
          </p:nvPr>
        </p:nvSpPr>
        <p:spPr/>
        <p:txBody>
          <a:bodyPr/>
          <a:lstStyle>
            <a:lvl1pPr>
              <a:defRPr/>
            </a:lvl1pPr>
          </a:lstStyle>
          <a:p>
            <a:pPr lvl="0"/>
            <a:r>
              <a:rPr lang="en-US"/>
              <a:t>Click to edit Master title style</a:t>
            </a:r>
          </a:p>
        </p:txBody>
      </p:sp>
      <p:sp>
        <p:nvSpPr>
          <p:cNvPr id="8" name="Text Placeholder 2">
            <a:extLst>
              <a:ext uri="{FF2B5EF4-FFF2-40B4-BE49-F238E27FC236}">
                <a16:creationId xmlns:a16="http://schemas.microsoft.com/office/drawing/2014/main" id="{99A408BD-A74D-B0E3-3517-1687CFF55B68}"/>
              </a:ext>
            </a:extLst>
          </p:cNvPr>
          <p:cNvSpPr txBox="1">
            <a:spLocks noGrp="1"/>
          </p:cNvSpPr>
          <p:nvPr>
            <p:ph type="body" idx="1"/>
          </p:nvPr>
        </p:nvSpPr>
        <p:spPr>
          <a:xfrm>
            <a:off x="609604" y="1681160"/>
            <a:ext cx="5387973" cy="823910"/>
          </a:xfrm>
          <a:solidFill>
            <a:srgbClr val="F3F6FB"/>
          </a:solidFill>
        </p:spPr>
        <p:txBody>
          <a:bodyPr lIns="182880" tIns="0" rIns="182880" bIns="0" anchor="ctr"/>
          <a:lstStyle>
            <a:lvl1pPr marL="0" indent="0">
              <a:buNone/>
              <a:defRPr u="sng">
                <a:uFill>
                  <a:solidFill>
                    <a:srgbClr val="F58366"/>
                  </a:solidFill>
                </a:uFill>
              </a:defRPr>
            </a:lvl1pPr>
          </a:lstStyle>
          <a:p>
            <a:pPr lvl="0"/>
            <a:r>
              <a:rPr lang="en-US"/>
              <a:t>Click to edit Master text styles</a:t>
            </a:r>
          </a:p>
        </p:txBody>
      </p:sp>
      <p:sp>
        <p:nvSpPr>
          <p:cNvPr id="9" name="Content Placeholder 3">
            <a:extLst>
              <a:ext uri="{FF2B5EF4-FFF2-40B4-BE49-F238E27FC236}">
                <a16:creationId xmlns:a16="http://schemas.microsoft.com/office/drawing/2014/main" id="{D039AD39-2500-AABE-324A-712E18531E20}"/>
              </a:ext>
            </a:extLst>
          </p:cNvPr>
          <p:cNvSpPr txBox="1">
            <a:spLocks noGrp="1"/>
          </p:cNvSpPr>
          <p:nvPr>
            <p:ph idx="2"/>
          </p:nvPr>
        </p:nvSpPr>
        <p:spPr>
          <a:xfrm>
            <a:off x="609604" y="2505072"/>
            <a:ext cx="5387973" cy="3684583"/>
          </a:xfrm>
          <a:solidFill>
            <a:srgbClr val="F3F6FB"/>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FB47C073-6B31-6E20-F7F5-AC76239F3E6B}"/>
              </a:ext>
            </a:extLst>
          </p:cNvPr>
          <p:cNvSpPr txBox="1">
            <a:spLocks noGrp="1"/>
          </p:cNvSpPr>
          <p:nvPr>
            <p:ph type="body" idx="3"/>
          </p:nvPr>
        </p:nvSpPr>
        <p:spPr>
          <a:xfrm>
            <a:off x="6172201" y="1681160"/>
            <a:ext cx="5410203" cy="823910"/>
          </a:xfrm>
          <a:solidFill>
            <a:srgbClr val="F3F6FB"/>
          </a:solidFill>
        </p:spPr>
        <p:txBody>
          <a:bodyPr lIns="182880" tIns="0" rIns="182880" bIns="0" anchor="ctr"/>
          <a:lstStyle>
            <a:lvl1pPr marL="0" indent="0">
              <a:buNone/>
              <a:defRPr u="sng">
                <a:uFill>
                  <a:solidFill>
                    <a:srgbClr val="F58366"/>
                  </a:solidFill>
                </a:uFill>
              </a:defRPr>
            </a:lvl1pPr>
          </a:lstStyle>
          <a:p>
            <a:pPr lvl="0"/>
            <a:r>
              <a:rPr lang="en-US"/>
              <a:t>Click to edit Master text styles</a:t>
            </a:r>
          </a:p>
        </p:txBody>
      </p:sp>
      <p:sp>
        <p:nvSpPr>
          <p:cNvPr id="11" name="Content Placeholder 5">
            <a:extLst>
              <a:ext uri="{FF2B5EF4-FFF2-40B4-BE49-F238E27FC236}">
                <a16:creationId xmlns:a16="http://schemas.microsoft.com/office/drawing/2014/main" id="{141F3D7C-30C5-642F-26FE-8996A2F04F1A}"/>
              </a:ext>
            </a:extLst>
          </p:cNvPr>
          <p:cNvSpPr txBox="1">
            <a:spLocks noGrp="1"/>
          </p:cNvSpPr>
          <p:nvPr>
            <p:ph idx="4"/>
          </p:nvPr>
        </p:nvSpPr>
        <p:spPr>
          <a:xfrm>
            <a:off x="6172201" y="2505072"/>
            <a:ext cx="5410203" cy="3684583"/>
          </a:xfrm>
          <a:solidFill>
            <a:srgbClr val="F3F6FB"/>
          </a:solidFill>
        </p:spPr>
        <p:txBody>
          <a:bodyPr lIns="182880" tIns="0" rIns="182880" bIns="0"/>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9">
            <a:extLst>
              <a:ext uri="{FF2B5EF4-FFF2-40B4-BE49-F238E27FC236}">
                <a16:creationId xmlns:a16="http://schemas.microsoft.com/office/drawing/2014/main" id="{0587C90C-828C-BAE1-1066-B3C3D8D003D8}"/>
              </a:ext>
            </a:extLst>
          </p:cNvPr>
          <p:cNvSpPr txBox="1">
            <a:spLocks noGrp="1"/>
          </p:cNvSpPr>
          <p:nvPr>
            <p:ph type="sldNum" sz="quarter" idx="8"/>
          </p:nvPr>
        </p:nvSpPr>
        <p:spPr/>
        <p:txBody>
          <a:bodyPr/>
          <a:lstStyle>
            <a:lvl1pPr>
              <a:defRPr/>
            </a:lvl1pPr>
          </a:lstStyle>
          <a:p>
            <a:pPr lvl="0"/>
            <a:fld id="{E6993DE1-8A11-41F6-8032-B4CC44677564}" type="slidenum">
              <a:t>‹#›</a:t>
            </a:fld>
            <a:endParaRPr lang="en-US"/>
          </a:p>
        </p:txBody>
      </p:sp>
      <p:cxnSp>
        <p:nvCxnSpPr>
          <p:cNvPr id="13" name="Straight Connector 8">
            <a:extLst>
              <a:ext uri="{FF2B5EF4-FFF2-40B4-BE49-F238E27FC236}">
                <a16:creationId xmlns:a16="http://schemas.microsoft.com/office/drawing/2014/main" id="{39DD2D6B-A0D8-E88A-9750-CB2ABD126A10}"/>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4" name="Footer Placeholder 7">
            <a:extLst>
              <a:ext uri="{FF2B5EF4-FFF2-40B4-BE49-F238E27FC236}">
                <a16:creationId xmlns:a16="http://schemas.microsoft.com/office/drawing/2014/main" id="{A925EDD0-8BF1-E738-6EDA-03AB28DD67D1}"/>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4127116345"/>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1_Cover">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6DE9F26E-CA2F-C744-E97F-F017CFD47D64}"/>
              </a:ext>
            </a:extLst>
          </p:cNvPr>
          <p:cNvSpPr/>
          <p:nvPr/>
        </p:nvSpPr>
        <p:spPr>
          <a:xfrm>
            <a:off x="902366" y="1294416"/>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19EC7D38-4777-9ABD-FCAC-64E3DCFE3509}"/>
              </a:ext>
            </a:extLst>
          </p:cNvPr>
          <p:cNvSpPr txBox="1">
            <a:spLocks noGrp="1"/>
          </p:cNvSpPr>
          <p:nvPr>
            <p:ph type="title"/>
          </p:nvPr>
        </p:nvSpPr>
        <p:spPr>
          <a:xfrm>
            <a:off x="1413314" y="1561328"/>
            <a:ext cx="5194432" cy="1826340"/>
          </a:xfrm>
        </p:spPr>
        <p:txBody>
          <a:bodyPr anchor="b"/>
          <a:lstStyle>
            <a:lvl1pPr>
              <a:defRPr sz="4000">
                <a:solidFill>
                  <a:srgbClr val="444C55"/>
                </a:solidFill>
              </a:defRPr>
            </a:lvl1pPr>
          </a:lstStyle>
          <a:p>
            <a:pPr lvl="0"/>
            <a:r>
              <a:rPr lang="en-US"/>
              <a:t>Click to edit Master title style</a:t>
            </a:r>
          </a:p>
        </p:txBody>
      </p:sp>
      <p:sp>
        <p:nvSpPr>
          <p:cNvPr id="4" name="Subtitle 2">
            <a:extLst>
              <a:ext uri="{FF2B5EF4-FFF2-40B4-BE49-F238E27FC236}">
                <a16:creationId xmlns:a16="http://schemas.microsoft.com/office/drawing/2014/main" id="{8FF3964B-6C84-0BDE-D81E-15D816E3464E}"/>
              </a:ext>
            </a:extLst>
          </p:cNvPr>
          <p:cNvSpPr txBox="1">
            <a:spLocks noGrp="1"/>
          </p:cNvSpPr>
          <p:nvPr>
            <p:ph type="subTitle" idx="4294967295"/>
          </p:nvPr>
        </p:nvSpPr>
        <p:spPr>
          <a:xfrm>
            <a:off x="1413314" y="3766861"/>
            <a:ext cx="5194432" cy="986564"/>
          </a:xfrm>
        </p:spPr>
        <p:txBody>
          <a:bodyPr/>
          <a:lstStyle>
            <a:lvl1pPr marL="0" indent="0">
              <a:buNone/>
              <a:defRPr/>
            </a:lvl1pPr>
          </a:lstStyle>
          <a:p>
            <a:pPr lvl="0"/>
            <a:r>
              <a:rPr lang="en-US"/>
              <a:t>Click to edit Master subtitle style</a:t>
            </a:r>
          </a:p>
        </p:txBody>
      </p:sp>
      <p:sp>
        <p:nvSpPr>
          <p:cNvPr id="5" name="Picture Placeholder 21">
            <a:extLst>
              <a:ext uri="{FF2B5EF4-FFF2-40B4-BE49-F238E27FC236}">
                <a16:creationId xmlns:a16="http://schemas.microsoft.com/office/drawing/2014/main" id="{EE287B10-08A6-C392-6293-54A1C180D0E6}"/>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grpSp>
        <p:nvGrpSpPr>
          <p:cNvPr id="6" name="Group 26">
            <a:extLst>
              <a:ext uri="{FF2B5EF4-FFF2-40B4-BE49-F238E27FC236}">
                <a16:creationId xmlns:a16="http://schemas.microsoft.com/office/drawing/2014/main" id="{9A18F1F5-39E9-ACDD-D1FF-63820151D996}"/>
              </a:ext>
            </a:extLst>
          </p:cNvPr>
          <p:cNvGrpSpPr/>
          <p:nvPr/>
        </p:nvGrpSpPr>
        <p:grpSpPr>
          <a:xfrm>
            <a:off x="0" y="5020349"/>
            <a:ext cx="12191996" cy="1837651"/>
            <a:chOff x="0" y="5020348"/>
            <a:chExt cx="12191996" cy="1837651"/>
          </a:xfrm>
        </p:grpSpPr>
        <p:sp>
          <p:nvSpPr>
            <p:cNvPr id="7" name="Freeform 27">
              <a:extLst>
                <a:ext uri="{FF2B5EF4-FFF2-40B4-BE49-F238E27FC236}">
                  <a16:creationId xmlns:a16="http://schemas.microsoft.com/office/drawing/2014/main" id="{5EFD3F3E-3C9D-7547-8359-D0D01B824B8B}"/>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8" name="Freeform 28">
              <a:extLst>
                <a:ext uri="{FF2B5EF4-FFF2-40B4-BE49-F238E27FC236}">
                  <a16:creationId xmlns:a16="http://schemas.microsoft.com/office/drawing/2014/main" id="{D4870467-8758-432E-33A2-A4DF47AA1EC6}"/>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9" name="Picture 29">
              <a:extLst>
                <a:ext uri="{FF2B5EF4-FFF2-40B4-BE49-F238E27FC236}">
                  <a16:creationId xmlns:a16="http://schemas.microsoft.com/office/drawing/2014/main" id="{6B63F3BF-2C0D-265A-021F-05EF18F6DC64}"/>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3480642496"/>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1_Divider">
    <p:spTree>
      <p:nvGrpSpPr>
        <p:cNvPr id="1" name=""/>
        <p:cNvGrpSpPr/>
        <p:nvPr/>
      </p:nvGrpSpPr>
      <p:grpSpPr>
        <a:xfrm>
          <a:off x="0" y="0"/>
          <a:ext cx="0" cy="0"/>
          <a:chOff x="0" y="0"/>
          <a:chExt cx="0" cy="0"/>
        </a:xfrm>
      </p:grpSpPr>
      <p:grpSp>
        <p:nvGrpSpPr>
          <p:cNvPr id="2" name="Group 9">
            <a:extLst>
              <a:ext uri="{FF2B5EF4-FFF2-40B4-BE49-F238E27FC236}">
                <a16:creationId xmlns:a16="http://schemas.microsoft.com/office/drawing/2014/main" id="{71864A41-DFC5-6C84-312A-ECB0FDA38FA3}"/>
              </a:ext>
            </a:extLst>
          </p:cNvPr>
          <p:cNvGrpSpPr/>
          <p:nvPr/>
        </p:nvGrpSpPr>
        <p:grpSpPr>
          <a:xfrm>
            <a:off x="0" y="5020349"/>
            <a:ext cx="12191996" cy="1837651"/>
            <a:chOff x="0" y="5020348"/>
            <a:chExt cx="12191996" cy="1837651"/>
          </a:xfrm>
        </p:grpSpPr>
        <p:sp>
          <p:nvSpPr>
            <p:cNvPr id="3" name="Freeform 25">
              <a:extLst>
                <a:ext uri="{FF2B5EF4-FFF2-40B4-BE49-F238E27FC236}">
                  <a16:creationId xmlns:a16="http://schemas.microsoft.com/office/drawing/2014/main" id="{1E14C90B-7C1E-BA2E-58D8-8818ACF8FB94}"/>
                </a:ext>
              </a:extLst>
            </p:cNvPr>
            <p:cNvSpPr/>
            <p:nvPr/>
          </p:nvSpPr>
          <p:spPr>
            <a:xfrm>
              <a:off x="0" y="5100267"/>
              <a:ext cx="7111371" cy="1757732"/>
            </a:xfrm>
            <a:custGeom>
              <a:avLst/>
              <a:gdLst>
                <a:gd name="f0" fmla="val 10800000"/>
                <a:gd name="f1" fmla="val 5400000"/>
                <a:gd name="f2" fmla="val 180"/>
                <a:gd name="f3" fmla="val w"/>
                <a:gd name="f4" fmla="val h"/>
                <a:gd name="f5" fmla="val 0"/>
                <a:gd name="f6" fmla="val 7111369"/>
                <a:gd name="f7" fmla="val 1757730"/>
                <a:gd name="f8" fmla="val 772954"/>
                <a:gd name="f9" fmla="val 2778"/>
                <a:gd name="f10" fmla="val 1769038"/>
                <a:gd name="f11" fmla="val 30799"/>
                <a:gd name="f12" fmla="val 2696750"/>
                <a:gd name="f13" fmla="val 267531"/>
                <a:gd name="f14" fmla="val 3590934"/>
                <a:gd name="f15" fmla="val 566046"/>
                <a:gd name="f16" fmla="val 4684008"/>
                <a:gd name="f17" fmla="val 930921"/>
                <a:gd name="f18" fmla="val 5690778"/>
                <a:gd name="f19" fmla="val 1324625"/>
                <a:gd name="f20" fmla="val 6700767"/>
                <a:gd name="f21" fmla="val 1636882"/>
                <a:gd name="f22" fmla="val 25690"/>
                <a:gd name="f23" fmla="val 2197"/>
                <a:gd name="f24" fmla="val 25414"/>
                <a:gd name="f25" fmla="val 114653"/>
                <a:gd name="f26" fmla="val 14905"/>
                <a:gd name="f27" fmla="val 227801"/>
                <a:gd name="f28" fmla="val 7857"/>
                <a:gd name="f29" fmla="val 341773"/>
                <a:gd name="f30" fmla="val 3976"/>
                <a:gd name="f31" fmla="val 486963"/>
                <a:gd name="f32" fmla="+- 0 0 968"/>
                <a:gd name="f33" fmla="val 630656"/>
                <a:gd name="f34" fmla="+- 0 0 1224"/>
                <a:gd name="f35" fmla="+- 0 0 -90"/>
                <a:gd name="f36" fmla="*/ f3 1 7111369"/>
                <a:gd name="f37" fmla="*/ f4 1 1757730"/>
                <a:gd name="f38" fmla="+- f7 0 f5"/>
                <a:gd name="f39" fmla="+- f6 0 f5"/>
                <a:gd name="f40" fmla="*/ f35 f0 1"/>
                <a:gd name="f41" fmla="*/ f39 1 7111369"/>
                <a:gd name="f42" fmla="*/ f38 1 1757730"/>
                <a:gd name="f43" fmla="*/ 772954 f39 1"/>
                <a:gd name="f44" fmla="*/ 2778 f38 1"/>
                <a:gd name="f45" fmla="*/ 3590934 f39 1"/>
                <a:gd name="f46" fmla="*/ 566046 f38 1"/>
                <a:gd name="f47" fmla="*/ 6700767 f39 1"/>
                <a:gd name="f48" fmla="*/ 1636882 f38 1"/>
                <a:gd name="f49" fmla="*/ 7111369 f39 1"/>
                <a:gd name="f50" fmla="*/ 1757730 f38 1"/>
                <a:gd name="f51" fmla="*/ 0 f39 1"/>
                <a:gd name="f52" fmla="*/ 25690 f38 1"/>
                <a:gd name="f53" fmla="*/ 2197 f39 1"/>
                <a:gd name="f54" fmla="*/ 25414 f38 1"/>
                <a:gd name="f55" fmla="*/ 341773 f39 1"/>
                <a:gd name="f56" fmla="*/ 3976 f38 1"/>
                <a:gd name="f57" fmla="*/ f40 1 f2"/>
                <a:gd name="f58" fmla="*/ f43 1 7111369"/>
                <a:gd name="f59" fmla="*/ f44 1 1757730"/>
                <a:gd name="f60" fmla="*/ f45 1 7111369"/>
                <a:gd name="f61" fmla="*/ f46 1 1757730"/>
                <a:gd name="f62" fmla="*/ f47 1 7111369"/>
                <a:gd name="f63" fmla="*/ f48 1 1757730"/>
                <a:gd name="f64" fmla="*/ f49 1 7111369"/>
                <a:gd name="f65" fmla="*/ f50 1 1757730"/>
                <a:gd name="f66" fmla="*/ f51 1 7111369"/>
                <a:gd name="f67" fmla="*/ f52 1 1757730"/>
                <a:gd name="f68" fmla="*/ f53 1 7111369"/>
                <a:gd name="f69" fmla="*/ f54 1 1757730"/>
                <a:gd name="f70" fmla="*/ f55 1 7111369"/>
                <a:gd name="f71" fmla="*/ f56 1 1757730"/>
                <a:gd name="f72" fmla="*/ f5 1 f41"/>
                <a:gd name="f73" fmla="*/ f6 1 f41"/>
                <a:gd name="f74" fmla="*/ f5 1 f42"/>
                <a:gd name="f75" fmla="*/ f7 1 f42"/>
                <a:gd name="f76" fmla="+- f57 0 f1"/>
                <a:gd name="f77" fmla="*/ f58 1 f41"/>
                <a:gd name="f78" fmla="*/ f59 1 f42"/>
                <a:gd name="f79" fmla="*/ f60 1 f41"/>
                <a:gd name="f80" fmla="*/ f61 1 f42"/>
                <a:gd name="f81" fmla="*/ f62 1 f41"/>
                <a:gd name="f82" fmla="*/ f63 1 f42"/>
                <a:gd name="f83" fmla="*/ f64 1 f41"/>
                <a:gd name="f84" fmla="*/ f65 1 f42"/>
                <a:gd name="f85" fmla="*/ f66 1 f41"/>
                <a:gd name="f86" fmla="*/ f67 1 f42"/>
                <a:gd name="f87" fmla="*/ f68 1 f41"/>
                <a:gd name="f88" fmla="*/ f69 1 f42"/>
                <a:gd name="f89" fmla="*/ f70 1 f41"/>
                <a:gd name="f90" fmla="*/ f71 1 f42"/>
                <a:gd name="f91" fmla="*/ f72 f36 1"/>
                <a:gd name="f92" fmla="*/ f73 f36 1"/>
                <a:gd name="f93" fmla="*/ f75 f37 1"/>
                <a:gd name="f94" fmla="*/ f74 f37 1"/>
                <a:gd name="f95" fmla="*/ f77 f36 1"/>
                <a:gd name="f96" fmla="*/ f78 f37 1"/>
                <a:gd name="f97" fmla="*/ f79 f36 1"/>
                <a:gd name="f98" fmla="*/ f80 f37 1"/>
                <a:gd name="f99" fmla="*/ f81 f36 1"/>
                <a:gd name="f100" fmla="*/ f82 f37 1"/>
                <a:gd name="f101" fmla="*/ f83 f36 1"/>
                <a:gd name="f102" fmla="*/ f84 f37 1"/>
                <a:gd name="f103" fmla="*/ f85 f36 1"/>
                <a:gd name="f104" fmla="*/ f86 f37 1"/>
                <a:gd name="f105" fmla="*/ f87 f36 1"/>
                <a:gd name="f106" fmla="*/ f88 f37 1"/>
                <a:gd name="f107" fmla="*/ f89 f36 1"/>
                <a:gd name="f108" fmla="*/ f90 f37 1"/>
              </a:gdLst>
              <a:ahLst/>
              <a:cxnLst>
                <a:cxn ang="3cd4">
                  <a:pos x="hc" y="t"/>
                </a:cxn>
                <a:cxn ang="0">
                  <a:pos x="r" y="vc"/>
                </a:cxn>
                <a:cxn ang="cd4">
                  <a:pos x="hc" y="b"/>
                </a:cxn>
                <a:cxn ang="cd2">
                  <a:pos x="l" y="vc"/>
                </a:cxn>
                <a:cxn ang="f76">
                  <a:pos x="f95" y="f96"/>
                </a:cxn>
                <a:cxn ang="f76">
                  <a:pos x="f97" y="f98"/>
                </a:cxn>
                <a:cxn ang="f76">
                  <a:pos x="f99" y="f100"/>
                </a:cxn>
                <a:cxn ang="f76">
                  <a:pos x="f101" y="f102"/>
                </a:cxn>
                <a:cxn ang="f76">
                  <a:pos x="f103" y="f102"/>
                </a:cxn>
                <a:cxn ang="f76">
                  <a:pos x="f103" y="f104"/>
                </a:cxn>
                <a:cxn ang="f76">
                  <a:pos x="f105" y="f106"/>
                </a:cxn>
                <a:cxn ang="f76">
                  <a:pos x="f107" y="f108"/>
                </a:cxn>
                <a:cxn ang="f76">
                  <a:pos x="f95" y="f96"/>
                </a:cxn>
              </a:cxnLst>
              <a:rect l="f91" t="f94" r="f92" b="f93"/>
              <a:pathLst>
                <a:path w="7111369" h="1757730">
                  <a:moveTo>
                    <a:pt x="f8" y="f9"/>
                  </a:moveTo>
                  <a:cubicBezTo>
                    <a:pt x="f10" y="f11"/>
                    <a:pt x="f12" y="f13"/>
                    <a:pt x="f14" y="f15"/>
                  </a:cubicBezTo>
                  <a:cubicBezTo>
                    <a:pt x="f16" y="f17"/>
                    <a:pt x="f18" y="f19"/>
                    <a:pt x="f20" y="f21"/>
                  </a:cubicBezTo>
                  <a:lnTo>
                    <a:pt x="f6" y="f7"/>
                  </a:lnTo>
                  <a:lnTo>
                    <a:pt x="f5" y="f7"/>
                  </a:lnTo>
                  <a:lnTo>
                    <a:pt x="f5" y="f22"/>
                  </a:lnTo>
                  <a:lnTo>
                    <a:pt x="f23" y="f24"/>
                  </a:lnTo>
                  <a:cubicBezTo>
                    <a:pt x="f25" y="f26"/>
                    <a:pt x="f27" y="f28"/>
                    <a:pt x="f29" y="f30"/>
                  </a:cubicBezTo>
                  <a:cubicBezTo>
                    <a:pt x="f31" y="f32"/>
                    <a:pt x="f33" y="f34"/>
                    <a:pt x="f8" y="f9"/>
                  </a:cubicBezTo>
                  <a:close/>
                </a:path>
              </a:pathLst>
            </a:cu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4" name="Freeform 19">
              <a:extLst>
                <a:ext uri="{FF2B5EF4-FFF2-40B4-BE49-F238E27FC236}">
                  <a16:creationId xmlns:a16="http://schemas.microsoft.com/office/drawing/2014/main" id="{A97C3E1E-D446-126C-4A65-914346D28CBA}"/>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5" name="Freeform 14">
              <a:extLst>
                <a:ext uri="{FF2B5EF4-FFF2-40B4-BE49-F238E27FC236}">
                  <a16:creationId xmlns:a16="http://schemas.microsoft.com/office/drawing/2014/main" id="{C08D1D83-A673-DB82-C33F-11E8EC279868}"/>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6" name="Picture 20">
              <a:extLst>
                <a:ext uri="{FF2B5EF4-FFF2-40B4-BE49-F238E27FC236}">
                  <a16:creationId xmlns:a16="http://schemas.microsoft.com/office/drawing/2014/main" id="{B18045E1-9BEA-5172-6F75-D3AC7E49434B}"/>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
        <p:nvSpPr>
          <p:cNvPr id="7" name="Title 10">
            <a:extLst>
              <a:ext uri="{FF2B5EF4-FFF2-40B4-BE49-F238E27FC236}">
                <a16:creationId xmlns:a16="http://schemas.microsoft.com/office/drawing/2014/main" id="{98283719-5DE7-79D9-1522-1EF48DDCC5DD}"/>
              </a:ext>
            </a:extLst>
          </p:cNvPr>
          <p:cNvSpPr txBox="1">
            <a:spLocks noGrp="1"/>
          </p:cNvSpPr>
          <p:nvPr>
            <p:ph type="title"/>
          </p:nvPr>
        </p:nvSpPr>
        <p:spPr>
          <a:xfrm>
            <a:off x="1413305" y="701748"/>
            <a:ext cx="9365376" cy="2014679"/>
          </a:xfrm>
        </p:spPr>
        <p:txBody>
          <a:bodyPr anchor="b"/>
          <a:lstStyle>
            <a:lvl1pPr>
              <a:defRPr/>
            </a:lvl1pPr>
          </a:lstStyle>
          <a:p>
            <a:pPr lvl="0"/>
            <a:r>
              <a:rPr lang="en-US"/>
              <a:t>Click to edit Master title style</a:t>
            </a:r>
          </a:p>
        </p:txBody>
      </p:sp>
      <p:sp>
        <p:nvSpPr>
          <p:cNvPr id="8" name="Subtitle 2">
            <a:extLst>
              <a:ext uri="{FF2B5EF4-FFF2-40B4-BE49-F238E27FC236}">
                <a16:creationId xmlns:a16="http://schemas.microsoft.com/office/drawing/2014/main" id="{0BE170D6-08A5-7952-3C86-95D26344145A}"/>
              </a:ext>
            </a:extLst>
          </p:cNvPr>
          <p:cNvSpPr txBox="1">
            <a:spLocks noGrp="1"/>
          </p:cNvSpPr>
          <p:nvPr>
            <p:ph type="subTitle" idx="4294967295"/>
          </p:nvPr>
        </p:nvSpPr>
        <p:spPr>
          <a:xfrm>
            <a:off x="1413305" y="3081637"/>
            <a:ext cx="9365376" cy="986564"/>
          </a:xfrm>
        </p:spPr>
        <p:txBody>
          <a:bodyPr/>
          <a:lstStyle>
            <a:lvl1pPr marL="0" indent="0">
              <a:buNone/>
              <a:defRPr/>
            </a:lvl1pPr>
          </a:lstStyle>
          <a:p>
            <a:pPr lvl="0"/>
            <a:r>
              <a:rPr lang="en-US"/>
              <a:t>Click to edit Master subtitle style</a:t>
            </a:r>
          </a:p>
        </p:txBody>
      </p:sp>
    </p:spTree>
    <p:extLst>
      <p:ext uri="{BB962C8B-B14F-4D97-AF65-F5344CB8AC3E}">
        <p14:creationId xmlns:p14="http://schemas.microsoft.com/office/powerpoint/2010/main" val="3477727789"/>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1_Photo Slide">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EBA9B29D-92FD-8E2B-EBEC-8209D69BAABF}"/>
              </a:ext>
            </a:extLst>
          </p:cNvPr>
          <p:cNvSpPr txBox="1">
            <a:spLocks noGrp="1"/>
          </p:cNvSpPr>
          <p:nvPr>
            <p:ph type="body" idx="4294967295"/>
          </p:nvPr>
        </p:nvSpPr>
        <p:spPr>
          <a:xfrm>
            <a:off x="457200" y="1146255"/>
            <a:ext cx="2350172" cy="2971800"/>
          </a:xfrm>
        </p:spPr>
        <p:txBody>
          <a:bodyPr/>
          <a:lstStyle>
            <a:lvl1pPr marL="0" indent="0">
              <a:buNone/>
              <a:defRPr/>
            </a:lvl1pPr>
          </a:lstStyle>
          <a:p>
            <a:pPr lvl="0"/>
            <a:r>
              <a:rPr lang="en-US"/>
              <a:t>Click to edit Master text styles</a:t>
            </a:r>
          </a:p>
        </p:txBody>
      </p:sp>
      <p:cxnSp>
        <p:nvCxnSpPr>
          <p:cNvPr id="3" name="Straight Connector 5">
            <a:extLst>
              <a:ext uri="{FF2B5EF4-FFF2-40B4-BE49-F238E27FC236}">
                <a16:creationId xmlns:a16="http://schemas.microsoft.com/office/drawing/2014/main" id="{AFDC99CB-219D-4DA8-6C75-DBF3876F352A}"/>
              </a:ext>
            </a:extLst>
          </p:cNvPr>
          <p:cNvCxnSpPr/>
          <p:nvPr/>
        </p:nvCxnSpPr>
        <p:spPr>
          <a:xfrm>
            <a:off x="457201" y="947985"/>
            <a:ext cx="2350163" cy="0"/>
          </a:xfrm>
          <a:prstGeom prst="straightConnector1">
            <a:avLst/>
          </a:prstGeom>
          <a:noFill/>
          <a:ln w="31747" cap="flat">
            <a:solidFill>
              <a:srgbClr val="F58366"/>
            </a:solidFill>
            <a:prstDash val="solid"/>
            <a:miter/>
          </a:ln>
        </p:spPr>
      </p:cxnSp>
      <p:grpSp>
        <p:nvGrpSpPr>
          <p:cNvPr id="4" name="Group 2">
            <a:extLst>
              <a:ext uri="{FF2B5EF4-FFF2-40B4-BE49-F238E27FC236}">
                <a16:creationId xmlns:a16="http://schemas.microsoft.com/office/drawing/2014/main" id="{AAB75D64-2167-744C-C34B-2A7A52BE8109}"/>
              </a:ext>
            </a:extLst>
          </p:cNvPr>
          <p:cNvGrpSpPr/>
          <p:nvPr/>
        </p:nvGrpSpPr>
        <p:grpSpPr>
          <a:xfrm>
            <a:off x="1" y="5379425"/>
            <a:ext cx="2807363" cy="753895"/>
            <a:chOff x="0" y="5379424"/>
            <a:chExt cx="2807363" cy="753895"/>
          </a:xfrm>
        </p:grpSpPr>
        <p:sp>
          <p:nvSpPr>
            <p:cNvPr id="5" name="Freeform 21">
              <a:extLst>
                <a:ext uri="{FF2B5EF4-FFF2-40B4-BE49-F238E27FC236}">
                  <a16:creationId xmlns:a16="http://schemas.microsoft.com/office/drawing/2014/main" id="{5374FB82-46D5-D765-378F-0AB3137B1E53}"/>
                </a:ext>
              </a:extLst>
            </p:cNvPr>
            <p:cNvSpPr/>
            <p:nvPr/>
          </p:nvSpPr>
          <p:spPr>
            <a:xfrm>
              <a:off x="0" y="5532513"/>
              <a:ext cx="2807363" cy="600806"/>
            </a:xfrm>
            <a:custGeom>
              <a:avLst/>
              <a:gdLst>
                <a:gd name="f0" fmla="val 10800000"/>
                <a:gd name="f1" fmla="val 5400000"/>
                <a:gd name="f2" fmla="val 180"/>
                <a:gd name="f3" fmla="val w"/>
                <a:gd name="f4" fmla="val h"/>
                <a:gd name="f5" fmla="val 0"/>
                <a:gd name="f6" fmla="val 2807368"/>
                <a:gd name="f7" fmla="val 600807"/>
                <a:gd name="f8" fmla="val 429971"/>
                <a:gd name="f9" fmla="val 123998"/>
                <a:gd name="f10" fmla="val 1184765"/>
                <a:gd name="f11" fmla="val 325331"/>
                <a:gd name="f12" fmla="val 2014184"/>
                <a:gd name="f13" fmla="val 392492"/>
                <a:gd name="f14" fmla="val 2790212"/>
                <a:gd name="f15" fmla="val 235402"/>
                <a:gd name="f16" fmla="val 231522"/>
                <a:gd name="f17" fmla="val 566106"/>
                <a:gd name="f18" fmla="val 2593885"/>
                <a:gd name="f19" fmla="val 587498"/>
                <a:gd name="f20" fmla="val 1673646"/>
                <a:gd name="f21" fmla="val 651184"/>
                <a:gd name="f22" fmla="val 884869"/>
                <a:gd name="f23" fmla="val 479260"/>
                <a:gd name="f24" fmla="val 100844"/>
                <a:gd name="f25" fmla="val 222653"/>
                <a:gd name="f26" fmla="val 188389"/>
                <a:gd name="f27" fmla="+- 0 0 -90"/>
                <a:gd name="f28" fmla="*/ f3 1 2807368"/>
                <a:gd name="f29" fmla="*/ f4 1 600807"/>
                <a:gd name="f30" fmla="+- f7 0 f5"/>
                <a:gd name="f31" fmla="+- f6 0 f5"/>
                <a:gd name="f32" fmla="*/ f27 f0 1"/>
                <a:gd name="f33" fmla="*/ f31 1 2807368"/>
                <a:gd name="f34" fmla="*/ f30 1 600807"/>
                <a:gd name="f35" fmla="*/ 0 f31 1"/>
                <a:gd name="f36" fmla="*/ 0 f30 1"/>
                <a:gd name="f37" fmla="*/ 429971 f31 1"/>
                <a:gd name="f38" fmla="*/ 123998 f30 1"/>
                <a:gd name="f39" fmla="*/ 2790212 f31 1"/>
                <a:gd name="f40" fmla="*/ 235402 f30 1"/>
                <a:gd name="f41" fmla="*/ 2807368 f31 1"/>
                <a:gd name="f42" fmla="*/ 231522 f30 1"/>
                <a:gd name="f43" fmla="*/ 566106 f30 1"/>
                <a:gd name="f44" fmla="*/ 2593885 f31 1"/>
                <a:gd name="f45" fmla="*/ 587498 f30 1"/>
                <a:gd name="f46" fmla="*/ 100844 f31 1"/>
                <a:gd name="f47" fmla="*/ 222653 f30 1"/>
                <a:gd name="f48" fmla="*/ 188389 f30 1"/>
                <a:gd name="f49" fmla="*/ f32 1 f2"/>
                <a:gd name="f50" fmla="*/ f35 1 2807368"/>
                <a:gd name="f51" fmla="*/ f36 1 600807"/>
                <a:gd name="f52" fmla="*/ f37 1 2807368"/>
                <a:gd name="f53" fmla="*/ f38 1 600807"/>
                <a:gd name="f54" fmla="*/ f39 1 2807368"/>
                <a:gd name="f55" fmla="*/ f40 1 600807"/>
                <a:gd name="f56" fmla="*/ f41 1 2807368"/>
                <a:gd name="f57" fmla="*/ f42 1 600807"/>
                <a:gd name="f58" fmla="*/ f43 1 600807"/>
                <a:gd name="f59" fmla="*/ f44 1 2807368"/>
                <a:gd name="f60" fmla="*/ f45 1 600807"/>
                <a:gd name="f61" fmla="*/ f46 1 2807368"/>
                <a:gd name="f62" fmla="*/ f47 1 600807"/>
                <a:gd name="f63" fmla="*/ f48 1 600807"/>
                <a:gd name="f64" fmla="*/ f5 1 f33"/>
                <a:gd name="f65" fmla="*/ f6 1 f33"/>
                <a:gd name="f66" fmla="*/ f5 1 f34"/>
                <a:gd name="f67" fmla="*/ f7 1 f34"/>
                <a:gd name="f68" fmla="+- f49 0 f1"/>
                <a:gd name="f69" fmla="*/ f50 1 f33"/>
                <a:gd name="f70" fmla="*/ f51 1 f34"/>
                <a:gd name="f71" fmla="*/ f52 1 f33"/>
                <a:gd name="f72" fmla="*/ f53 1 f34"/>
                <a:gd name="f73" fmla="*/ f54 1 f33"/>
                <a:gd name="f74" fmla="*/ f55 1 f34"/>
                <a:gd name="f75" fmla="*/ f56 1 f33"/>
                <a:gd name="f76" fmla="*/ f57 1 f34"/>
                <a:gd name="f77" fmla="*/ f58 1 f34"/>
                <a:gd name="f78" fmla="*/ f59 1 f33"/>
                <a:gd name="f79" fmla="*/ f60 1 f34"/>
                <a:gd name="f80" fmla="*/ f61 1 f33"/>
                <a:gd name="f81" fmla="*/ f62 1 f34"/>
                <a:gd name="f82" fmla="*/ f63 1 f34"/>
                <a:gd name="f83" fmla="*/ f64 f28 1"/>
                <a:gd name="f84" fmla="*/ f65 f28 1"/>
                <a:gd name="f85" fmla="*/ f67 f29 1"/>
                <a:gd name="f86" fmla="*/ f66 f29 1"/>
                <a:gd name="f87" fmla="*/ f69 f28 1"/>
                <a:gd name="f88" fmla="*/ f70 f29 1"/>
                <a:gd name="f89" fmla="*/ f71 f28 1"/>
                <a:gd name="f90" fmla="*/ f72 f29 1"/>
                <a:gd name="f91" fmla="*/ f73 f28 1"/>
                <a:gd name="f92" fmla="*/ f74 f29 1"/>
                <a:gd name="f93" fmla="*/ f75 f28 1"/>
                <a:gd name="f94" fmla="*/ f76 f29 1"/>
                <a:gd name="f95" fmla="*/ f77 f29 1"/>
                <a:gd name="f96" fmla="*/ f78 f28 1"/>
                <a:gd name="f97" fmla="*/ f79 f29 1"/>
                <a:gd name="f98" fmla="*/ f80 f28 1"/>
                <a:gd name="f99" fmla="*/ f81 f29 1"/>
                <a:gd name="f100" fmla="*/ f82 f29 1"/>
              </a:gdLst>
              <a:ahLst/>
              <a:cxnLst>
                <a:cxn ang="3cd4">
                  <a:pos x="hc" y="t"/>
                </a:cxn>
                <a:cxn ang="0">
                  <a:pos x="r" y="vc"/>
                </a:cxn>
                <a:cxn ang="cd4">
                  <a:pos x="hc" y="b"/>
                </a:cxn>
                <a:cxn ang="cd2">
                  <a:pos x="l" y="vc"/>
                </a:cxn>
                <a:cxn ang="f68">
                  <a:pos x="f87" y="f88"/>
                </a:cxn>
                <a:cxn ang="f68">
                  <a:pos x="f89" y="f90"/>
                </a:cxn>
                <a:cxn ang="f68">
                  <a:pos x="f91" y="f92"/>
                </a:cxn>
                <a:cxn ang="f68">
                  <a:pos x="f93" y="f94"/>
                </a:cxn>
                <a:cxn ang="f68">
                  <a:pos x="f93" y="f95"/>
                </a:cxn>
                <a:cxn ang="f68">
                  <a:pos x="f96" y="f97"/>
                </a:cxn>
                <a:cxn ang="f68">
                  <a:pos x="f98" y="f99"/>
                </a:cxn>
                <a:cxn ang="f68">
                  <a:pos x="f87" y="f100"/>
                </a:cxn>
              </a:cxnLst>
              <a:rect l="f83" t="f86" r="f84" b="f85"/>
              <a:pathLst>
                <a:path w="2807368" h="600807">
                  <a:moveTo>
                    <a:pt x="f5" y="f5"/>
                  </a:moveTo>
                  <a:lnTo>
                    <a:pt x="f8" y="f9"/>
                  </a:lnTo>
                  <a:cubicBezTo>
                    <a:pt x="f10" y="f11"/>
                    <a:pt x="f12" y="f13"/>
                    <a:pt x="f14" y="f15"/>
                  </a:cubicBezTo>
                  <a:lnTo>
                    <a:pt x="f6" y="f16"/>
                  </a:lnTo>
                  <a:lnTo>
                    <a:pt x="f6" y="f17"/>
                  </a:lnTo>
                  <a:lnTo>
                    <a:pt x="f18" y="f19"/>
                  </a:lnTo>
                  <a:cubicBezTo>
                    <a:pt x="f20" y="f21"/>
                    <a:pt x="f22" y="f23"/>
                    <a:pt x="f24" y="f25"/>
                  </a:cubicBezTo>
                  <a:lnTo>
                    <a:pt x="f5" y="f26"/>
                  </a:ln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Freeform 19">
              <a:extLst>
                <a:ext uri="{FF2B5EF4-FFF2-40B4-BE49-F238E27FC236}">
                  <a16:creationId xmlns:a16="http://schemas.microsoft.com/office/drawing/2014/main" id="{6780579B-3DB3-1F77-8599-AA913E476150}"/>
                </a:ext>
              </a:extLst>
            </p:cNvPr>
            <p:cNvSpPr/>
            <p:nvPr/>
          </p:nvSpPr>
          <p:spPr>
            <a:xfrm>
              <a:off x="0" y="5379424"/>
              <a:ext cx="2807363" cy="649800"/>
            </a:xfrm>
            <a:custGeom>
              <a:avLst/>
              <a:gdLst>
                <a:gd name="f0" fmla="val 10800000"/>
                <a:gd name="f1" fmla="val 5400000"/>
                <a:gd name="f2" fmla="val 180"/>
                <a:gd name="f3" fmla="val w"/>
                <a:gd name="f4" fmla="val h"/>
                <a:gd name="f5" fmla="val 0"/>
                <a:gd name="f6" fmla="val 2807368"/>
                <a:gd name="f7" fmla="val 649803"/>
                <a:gd name="f8" fmla="val 282676"/>
                <a:gd name="f9" fmla="val 70799"/>
                <a:gd name="f10" fmla="val 435964"/>
                <a:gd name="f11" fmla="val 106085"/>
                <a:gd name="f12" fmla="val 588770"/>
                <a:gd name="f13" fmla="val 137629"/>
                <a:gd name="f14" fmla="val 740881"/>
                <a:gd name="f15" fmla="val 163828"/>
                <a:gd name="f16" fmla="val 1362800"/>
                <a:gd name="f17" fmla="val 270912"/>
                <a:gd name="f18" fmla="val 2067879"/>
                <a:gd name="f19" fmla="val 253759"/>
                <a:gd name="f20" fmla="val 2706471"/>
                <a:gd name="f21" fmla="val 96397"/>
                <a:gd name="f22" fmla="val 67250"/>
                <a:gd name="f23" fmla="val 605551"/>
                <a:gd name="f24" fmla="val 2602685"/>
                <a:gd name="f25" fmla="val 629466"/>
                <a:gd name="f26" fmla="val 1684237"/>
                <a:gd name="f27" fmla="val 708219"/>
                <a:gd name="f28" fmla="val 893252"/>
                <a:gd name="f29" fmla="val 549395"/>
                <a:gd name="f30" fmla="val 105614"/>
                <a:gd name="f31" fmla="val 305882"/>
                <a:gd name="f32" fmla="val 271926"/>
                <a:gd name="f33" fmla="+- 0 0 -90"/>
                <a:gd name="f34" fmla="*/ f3 1 2807368"/>
                <a:gd name="f35" fmla="*/ f4 1 649803"/>
                <a:gd name="f36" fmla="+- f7 0 f5"/>
                <a:gd name="f37" fmla="+- f6 0 f5"/>
                <a:gd name="f38" fmla="*/ f33 f0 1"/>
                <a:gd name="f39" fmla="*/ f37 1 2807368"/>
                <a:gd name="f40" fmla="*/ f36 1 649803"/>
                <a:gd name="f41" fmla="*/ 0 f37 1"/>
                <a:gd name="f42" fmla="*/ 0 f36 1"/>
                <a:gd name="f43" fmla="*/ 282676 f37 1"/>
                <a:gd name="f44" fmla="*/ 70799 f36 1"/>
                <a:gd name="f45" fmla="*/ 740881 f37 1"/>
                <a:gd name="f46" fmla="*/ 163828 f36 1"/>
                <a:gd name="f47" fmla="*/ 2706471 f37 1"/>
                <a:gd name="f48" fmla="*/ 96397 f36 1"/>
                <a:gd name="f49" fmla="*/ 2807368 f37 1"/>
                <a:gd name="f50" fmla="*/ 67250 f36 1"/>
                <a:gd name="f51" fmla="*/ 605551 f36 1"/>
                <a:gd name="f52" fmla="*/ 2602685 f37 1"/>
                <a:gd name="f53" fmla="*/ 629466 f36 1"/>
                <a:gd name="f54" fmla="*/ 105614 f37 1"/>
                <a:gd name="f55" fmla="*/ 305882 f36 1"/>
                <a:gd name="f56" fmla="*/ 271926 f36 1"/>
                <a:gd name="f57" fmla="*/ f38 1 f2"/>
                <a:gd name="f58" fmla="*/ f41 1 2807368"/>
                <a:gd name="f59" fmla="*/ f42 1 649803"/>
                <a:gd name="f60" fmla="*/ f43 1 2807368"/>
                <a:gd name="f61" fmla="*/ f44 1 649803"/>
                <a:gd name="f62" fmla="*/ f45 1 2807368"/>
                <a:gd name="f63" fmla="*/ f46 1 649803"/>
                <a:gd name="f64" fmla="*/ f47 1 2807368"/>
                <a:gd name="f65" fmla="*/ f48 1 649803"/>
                <a:gd name="f66" fmla="*/ f49 1 2807368"/>
                <a:gd name="f67" fmla="*/ f50 1 649803"/>
                <a:gd name="f68" fmla="*/ f51 1 649803"/>
                <a:gd name="f69" fmla="*/ f52 1 2807368"/>
                <a:gd name="f70" fmla="*/ f53 1 649803"/>
                <a:gd name="f71" fmla="*/ f54 1 2807368"/>
                <a:gd name="f72" fmla="*/ f55 1 649803"/>
                <a:gd name="f73" fmla="*/ f56 1 649803"/>
                <a:gd name="f74" fmla="*/ f5 1 f39"/>
                <a:gd name="f75" fmla="*/ f6 1 f39"/>
                <a:gd name="f76" fmla="*/ f5 1 f40"/>
                <a:gd name="f77" fmla="*/ f7 1 f40"/>
                <a:gd name="f78" fmla="+- f57 0 f1"/>
                <a:gd name="f79" fmla="*/ f58 1 f39"/>
                <a:gd name="f80" fmla="*/ f59 1 f40"/>
                <a:gd name="f81" fmla="*/ f60 1 f39"/>
                <a:gd name="f82" fmla="*/ f61 1 f40"/>
                <a:gd name="f83" fmla="*/ f62 1 f39"/>
                <a:gd name="f84" fmla="*/ f63 1 f40"/>
                <a:gd name="f85" fmla="*/ f64 1 f39"/>
                <a:gd name="f86" fmla="*/ f65 1 f40"/>
                <a:gd name="f87" fmla="*/ f66 1 f39"/>
                <a:gd name="f88" fmla="*/ f67 1 f40"/>
                <a:gd name="f89" fmla="*/ f68 1 f40"/>
                <a:gd name="f90" fmla="*/ f69 1 f39"/>
                <a:gd name="f91" fmla="*/ f70 1 f40"/>
                <a:gd name="f92" fmla="*/ f71 1 f39"/>
                <a:gd name="f93" fmla="*/ f72 1 f40"/>
                <a:gd name="f94" fmla="*/ f73 1 f40"/>
                <a:gd name="f95" fmla="*/ f74 f34 1"/>
                <a:gd name="f96" fmla="*/ f75 f34 1"/>
                <a:gd name="f97" fmla="*/ f77 f35 1"/>
                <a:gd name="f98" fmla="*/ f76 f35 1"/>
                <a:gd name="f99" fmla="*/ f79 f34 1"/>
                <a:gd name="f100" fmla="*/ f80 f35 1"/>
                <a:gd name="f101" fmla="*/ f81 f34 1"/>
                <a:gd name="f102" fmla="*/ f82 f35 1"/>
                <a:gd name="f103" fmla="*/ f83 f34 1"/>
                <a:gd name="f104" fmla="*/ f84 f35 1"/>
                <a:gd name="f105" fmla="*/ f85 f34 1"/>
                <a:gd name="f106" fmla="*/ f86 f35 1"/>
                <a:gd name="f107" fmla="*/ f87 f34 1"/>
                <a:gd name="f108" fmla="*/ f88 f35 1"/>
                <a:gd name="f109" fmla="*/ f89 f35 1"/>
                <a:gd name="f110" fmla="*/ f90 f34 1"/>
                <a:gd name="f111" fmla="*/ f91 f35 1"/>
                <a:gd name="f112" fmla="*/ f92 f34 1"/>
                <a:gd name="f113" fmla="*/ f93 f35 1"/>
                <a:gd name="f114" fmla="*/ f94 f35 1"/>
              </a:gdLst>
              <a:ahLst/>
              <a:cxnLst>
                <a:cxn ang="3cd4">
                  <a:pos x="hc" y="t"/>
                </a:cxn>
                <a:cxn ang="0">
                  <a:pos x="r" y="vc"/>
                </a:cxn>
                <a:cxn ang="cd4">
                  <a:pos x="hc" y="b"/>
                </a:cxn>
                <a:cxn ang="cd2">
                  <a:pos x="l" y="vc"/>
                </a:cxn>
                <a:cxn ang="f78">
                  <a:pos x="f99" y="f100"/>
                </a:cxn>
                <a:cxn ang="f78">
                  <a:pos x="f101" y="f102"/>
                </a:cxn>
                <a:cxn ang="f78">
                  <a:pos x="f103" y="f104"/>
                </a:cxn>
                <a:cxn ang="f78">
                  <a:pos x="f105" y="f106"/>
                </a:cxn>
                <a:cxn ang="f78">
                  <a:pos x="f107" y="f108"/>
                </a:cxn>
                <a:cxn ang="f78">
                  <a:pos x="f107" y="f109"/>
                </a:cxn>
                <a:cxn ang="f78">
                  <a:pos x="f110" y="f111"/>
                </a:cxn>
                <a:cxn ang="f78">
                  <a:pos x="f112" y="f113"/>
                </a:cxn>
                <a:cxn ang="f78">
                  <a:pos x="f99" y="f114"/>
                </a:cxn>
              </a:cxnLst>
              <a:rect l="f95" t="f98" r="f96" b="f97"/>
              <a:pathLst>
                <a:path w="2807368" h="649803">
                  <a:moveTo>
                    <a:pt x="f5" y="f5"/>
                  </a:moveTo>
                  <a:lnTo>
                    <a:pt x="f8" y="f9"/>
                  </a:lnTo>
                  <a:cubicBezTo>
                    <a:pt x="f10" y="f11"/>
                    <a:pt x="f12" y="f13"/>
                    <a:pt x="f14" y="f15"/>
                  </a:cubicBezTo>
                  <a:cubicBezTo>
                    <a:pt x="f16" y="f17"/>
                    <a:pt x="f18" y="f19"/>
                    <a:pt x="f20" y="f21"/>
                  </a:cubicBezTo>
                  <a:lnTo>
                    <a:pt x="f6" y="f22"/>
                  </a:lnTo>
                  <a:lnTo>
                    <a:pt x="f6" y="f23"/>
                  </a:lnTo>
                  <a:lnTo>
                    <a:pt x="f24" y="f25"/>
                  </a:lnTo>
                  <a:cubicBezTo>
                    <a:pt x="f26" y="f27"/>
                    <a:pt x="f28" y="f29"/>
                    <a:pt x="f30" y="f31"/>
                  </a:cubicBezTo>
                  <a:lnTo>
                    <a:pt x="f5" y="f32"/>
                  </a:ln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grpSp>
      <p:sp>
        <p:nvSpPr>
          <p:cNvPr id="7" name="Picture Placeholder 6">
            <a:extLst>
              <a:ext uri="{FF2B5EF4-FFF2-40B4-BE49-F238E27FC236}">
                <a16:creationId xmlns:a16="http://schemas.microsoft.com/office/drawing/2014/main" id="{EB2991C6-2059-E989-E0D2-2E98E0417EA2}"/>
              </a:ext>
            </a:extLst>
          </p:cNvPr>
          <p:cNvSpPr txBox="1">
            <a:spLocks noGrp="1"/>
          </p:cNvSpPr>
          <p:nvPr>
            <p:ph type="pic" idx="4294967295"/>
          </p:nvPr>
        </p:nvSpPr>
        <p:spPr>
          <a:xfrm>
            <a:off x="2807363" y="457200"/>
            <a:ext cx="8915400" cy="5943600"/>
          </a:xfrm>
        </p:spPr>
        <p:txBody>
          <a:bodyPr/>
          <a:lstStyle>
            <a:lvl1pPr>
              <a:defRPr/>
            </a:lvl1pPr>
          </a:lstStyle>
          <a:p>
            <a:pPr lvl="0"/>
            <a:endParaRPr lang="en-US"/>
          </a:p>
        </p:txBody>
      </p:sp>
      <p:pic>
        <p:nvPicPr>
          <p:cNvPr id="8" name="Picture 14">
            <a:extLst>
              <a:ext uri="{FF2B5EF4-FFF2-40B4-BE49-F238E27FC236}">
                <a16:creationId xmlns:a16="http://schemas.microsoft.com/office/drawing/2014/main" id="{B23CB9D1-8677-F344-A57E-CBD534853485}"/>
              </a:ext>
            </a:extLst>
          </p:cNvPr>
          <p:cNvPicPr>
            <a:picLocks noChangeAspect="1"/>
          </p:cNvPicPr>
          <p:nvPr/>
        </p:nvPicPr>
        <p:blipFill>
          <a:blip r:embed="rId2"/>
          <a:srcRect/>
          <a:stretch>
            <a:fillRect/>
          </a:stretch>
        </p:blipFill>
        <p:spPr>
          <a:xfrm>
            <a:off x="513354" y="4385535"/>
            <a:ext cx="2025313" cy="911940"/>
          </a:xfrm>
          <a:prstGeom prst="rect">
            <a:avLst/>
          </a:prstGeom>
          <a:noFill/>
          <a:ln cap="flat">
            <a:noFill/>
          </a:ln>
        </p:spPr>
      </p:pic>
    </p:spTree>
    <p:extLst>
      <p:ext uri="{BB962C8B-B14F-4D97-AF65-F5344CB8AC3E}">
        <p14:creationId xmlns:p14="http://schemas.microsoft.com/office/powerpoint/2010/main" val="11537685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9221"/>
        <p:cNvGrpSpPr/>
        <p:nvPr/>
      </p:nvGrpSpPr>
      <p:grpSpPr>
        <a:xfrm>
          <a:off x="0" y="0"/>
          <a:ext cx="0" cy="0"/>
          <a:chOff x="0" y="0"/>
          <a:chExt cx="0" cy="0"/>
        </a:xfrm>
      </p:grpSpPr>
      <p:sp>
        <p:nvSpPr>
          <p:cNvPr id="9222" name="Google Shape;9222;p133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223" name="Google Shape;9223;p133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224" name="Google Shape;9224;p133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25" name="Google Shape;9225;p13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26" name="Google Shape;9226;p13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27" name="Google Shape;9227;p13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228" name="Google Shape;9228;p1335"/>
          <p:cNvGrpSpPr/>
          <p:nvPr/>
        </p:nvGrpSpPr>
        <p:grpSpPr>
          <a:xfrm>
            <a:off x="7191542" y="1"/>
            <a:ext cx="5000459" cy="1425992"/>
            <a:chOff x="7191542" y="1"/>
            <a:chExt cx="5000459" cy="1425992"/>
          </a:xfrm>
        </p:grpSpPr>
        <p:pic>
          <p:nvPicPr>
            <p:cNvPr id="9229" name="Google Shape;9229;p13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30" name="Google Shape;9230;p1335"/>
            <p:cNvGrpSpPr/>
            <p:nvPr/>
          </p:nvGrpSpPr>
          <p:grpSpPr>
            <a:xfrm>
              <a:off x="7191542" y="1"/>
              <a:ext cx="5000459" cy="1425992"/>
              <a:chOff x="7186272" y="0"/>
              <a:chExt cx="5005729" cy="1427495"/>
            </a:xfrm>
          </p:grpSpPr>
          <p:sp>
            <p:nvSpPr>
              <p:cNvPr id="9231" name="Google Shape;9231;p13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232" name="Google Shape;9232;p13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233" name="Google Shape;9233;p133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BA161ED9-813D-3C44-68BE-51F305F6BBC2}"/>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16204B57-503D-3DD4-B38A-7567728FAD15}"/>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7FD0D9A3-34CF-DCB1-61A5-141582FF52D6}"/>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A21A190D-7DC2-60B1-6783-258BC8777786}"/>
              </a:ext>
            </a:extLst>
          </p:cNvPr>
          <p:cNvSpPr txBox="1">
            <a:spLocks noGrp="1"/>
          </p:cNvSpPr>
          <p:nvPr>
            <p:ph type="sldNum" sz="quarter" idx="8"/>
          </p:nvPr>
        </p:nvSpPr>
        <p:spPr/>
        <p:txBody>
          <a:bodyPr/>
          <a:lstStyle>
            <a:lvl1pPr>
              <a:defRPr>
                <a:solidFill>
                  <a:srgbClr val="AFB3B9"/>
                </a:solidFill>
              </a:defRPr>
            </a:lvl1pPr>
          </a:lstStyle>
          <a:p>
            <a:pPr lvl="0"/>
            <a:fld id="{BD3EFB93-B1BE-4F73-9712-0D9216CDB168}" type="slidenum">
              <a:t>‹#›</a:t>
            </a:fld>
            <a:endParaRPr lang="en-US"/>
          </a:p>
        </p:txBody>
      </p:sp>
      <p:cxnSp>
        <p:nvCxnSpPr>
          <p:cNvPr id="6" name="Straight Connector 7">
            <a:extLst>
              <a:ext uri="{FF2B5EF4-FFF2-40B4-BE49-F238E27FC236}">
                <a16:creationId xmlns:a16="http://schemas.microsoft.com/office/drawing/2014/main" id="{F29B8BB7-415A-8191-7D87-5F4D70466BE4}"/>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B47D2C71-E565-DAC7-4256-7F8B5B7AE878}"/>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1F07C41B-A158-100F-6A9A-436C9AF24E16}"/>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7BB40DFF-13A4-4CF6-B13C-ACC3768260FD}"/>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1320D8E9-0F9A-6425-9004-C1F648419D99}"/>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C941F33A-11E1-6A94-BB18-D70DDB2D8C57}"/>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AF343705-CCA1-E7D5-83C4-96AACDB41987}"/>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123BB337-E8BC-EB3D-5DAB-CF8F2FE62871}"/>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1768264465"/>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2" name="Group 63">
            <a:extLst>
              <a:ext uri="{FF2B5EF4-FFF2-40B4-BE49-F238E27FC236}">
                <a16:creationId xmlns:a16="http://schemas.microsoft.com/office/drawing/2014/main" id="{1D426EB3-0165-D594-3B50-6334647EA4A2}"/>
              </a:ext>
            </a:extLst>
          </p:cNvPr>
          <p:cNvGrpSpPr/>
          <p:nvPr/>
        </p:nvGrpSpPr>
        <p:grpSpPr>
          <a:xfrm>
            <a:off x="7191545" y="0"/>
            <a:ext cx="5000460" cy="1425988"/>
            <a:chOff x="7191545" y="0"/>
            <a:chExt cx="5000460" cy="1425988"/>
          </a:xfrm>
        </p:grpSpPr>
        <p:pic>
          <p:nvPicPr>
            <p:cNvPr id="3" name="Picture 64">
              <a:extLst>
                <a:ext uri="{FF2B5EF4-FFF2-40B4-BE49-F238E27FC236}">
                  <a16:creationId xmlns:a16="http://schemas.microsoft.com/office/drawing/2014/main" id="{0F79578A-3382-8E1D-88D8-45FFBCDA8974}"/>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65">
              <a:extLst>
                <a:ext uri="{FF2B5EF4-FFF2-40B4-BE49-F238E27FC236}">
                  <a16:creationId xmlns:a16="http://schemas.microsoft.com/office/drawing/2014/main" id="{520922D4-AE4E-1ED5-D6C1-952876942DF0}"/>
                </a:ext>
              </a:extLst>
            </p:cNvPr>
            <p:cNvGrpSpPr/>
            <p:nvPr/>
          </p:nvGrpSpPr>
          <p:grpSpPr>
            <a:xfrm>
              <a:off x="7191545" y="0"/>
              <a:ext cx="5000460" cy="1425988"/>
              <a:chOff x="7191545" y="0"/>
              <a:chExt cx="5000460" cy="1425988"/>
            </a:xfrm>
          </p:grpSpPr>
          <p:sp>
            <p:nvSpPr>
              <p:cNvPr id="5" name="Freeform 66">
                <a:extLst>
                  <a:ext uri="{FF2B5EF4-FFF2-40B4-BE49-F238E27FC236}">
                    <a16:creationId xmlns:a16="http://schemas.microsoft.com/office/drawing/2014/main" id="{52870FF3-9CDB-E199-5813-5898F9C6CE9C}"/>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67">
                <a:extLst>
                  <a:ext uri="{FF2B5EF4-FFF2-40B4-BE49-F238E27FC236}">
                    <a16:creationId xmlns:a16="http://schemas.microsoft.com/office/drawing/2014/main" id="{D0A81FC3-B621-2766-8827-51F4743D0C34}"/>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E98B703C-B2D8-6C3C-7941-1DA1DC41F33B}"/>
              </a:ext>
            </a:extLst>
          </p:cNvPr>
          <p:cNvSpPr txBox="1">
            <a:spLocks noGrp="1"/>
          </p:cNvSpPr>
          <p:nvPr>
            <p:ph type="title"/>
          </p:nvPr>
        </p:nvSpPr>
        <p:spPr/>
        <p:txBody>
          <a:bodyPr/>
          <a:lstStyle>
            <a:lvl1pPr>
              <a:defRPr/>
            </a:lvl1pPr>
          </a:lstStyle>
          <a:p>
            <a:pPr lvl="0"/>
            <a:r>
              <a:rPr lang="en-US"/>
              <a:t>Click to edit Master title style</a:t>
            </a:r>
          </a:p>
        </p:txBody>
      </p:sp>
      <p:sp>
        <p:nvSpPr>
          <p:cNvPr id="8" name="Content Placeholder 2">
            <a:extLst>
              <a:ext uri="{FF2B5EF4-FFF2-40B4-BE49-F238E27FC236}">
                <a16:creationId xmlns:a16="http://schemas.microsoft.com/office/drawing/2014/main" id="{041607D5-5FE0-4ABF-3FF9-E844318B7FF4}"/>
              </a:ext>
            </a:extLst>
          </p:cNvPr>
          <p:cNvSpPr txBox="1">
            <a:spLocks noGrp="1"/>
          </p:cNvSpPr>
          <p:nvPr>
            <p:ph idx="1"/>
          </p:nvPr>
        </p:nvSpPr>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6">
            <a:extLst>
              <a:ext uri="{FF2B5EF4-FFF2-40B4-BE49-F238E27FC236}">
                <a16:creationId xmlns:a16="http://schemas.microsoft.com/office/drawing/2014/main" id="{2B23F65E-60CA-912C-BF35-5371DAE4525A}"/>
              </a:ext>
            </a:extLst>
          </p:cNvPr>
          <p:cNvSpPr txBox="1">
            <a:spLocks noGrp="1"/>
          </p:cNvSpPr>
          <p:nvPr>
            <p:ph type="sldNum" sz="quarter" idx="8"/>
          </p:nvPr>
        </p:nvSpPr>
        <p:spPr/>
        <p:txBody>
          <a:bodyPr/>
          <a:lstStyle>
            <a:lvl1pPr>
              <a:defRPr>
                <a:solidFill>
                  <a:srgbClr val="AFB3B9"/>
                </a:solidFill>
              </a:defRPr>
            </a:lvl1pPr>
          </a:lstStyle>
          <a:p>
            <a:pPr lvl="0"/>
            <a:fld id="{06A24ABD-FA30-47BC-A854-B0A4EFD70329}" type="slidenum">
              <a:t>‹#›</a:t>
            </a:fld>
            <a:endParaRPr lang="en-US"/>
          </a:p>
        </p:txBody>
      </p:sp>
      <p:cxnSp>
        <p:nvCxnSpPr>
          <p:cNvPr id="10" name="Straight Connector 7">
            <a:extLst>
              <a:ext uri="{FF2B5EF4-FFF2-40B4-BE49-F238E27FC236}">
                <a16:creationId xmlns:a16="http://schemas.microsoft.com/office/drawing/2014/main" id="{32C34B2B-DCB4-2148-007F-367BC7AB515A}"/>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1" name="Footer Placeholder 5">
            <a:extLst>
              <a:ext uri="{FF2B5EF4-FFF2-40B4-BE49-F238E27FC236}">
                <a16:creationId xmlns:a16="http://schemas.microsoft.com/office/drawing/2014/main" id="{8D9CD88F-AF78-4302-6C13-72609E132A1E}"/>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3463417119"/>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9CB8593B-89F3-0C8D-9798-5CDD78D307D5}"/>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E4298B9B-0670-C61D-D759-2BB82E08191D}"/>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BF974F67-446E-AF6D-6170-76DF0413274A}"/>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52039251-30C6-8377-77DA-36A35733E895}"/>
              </a:ext>
            </a:extLst>
          </p:cNvPr>
          <p:cNvSpPr txBox="1">
            <a:spLocks noGrp="1"/>
          </p:cNvSpPr>
          <p:nvPr>
            <p:ph type="sldNum" sz="quarter" idx="8"/>
          </p:nvPr>
        </p:nvSpPr>
        <p:spPr/>
        <p:txBody>
          <a:bodyPr/>
          <a:lstStyle>
            <a:lvl1pPr>
              <a:defRPr>
                <a:solidFill>
                  <a:srgbClr val="AFB3B9"/>
                </a:solidFill>
              </a:defRPr>
            </a:lvl1pPr>
          </a:lstStyle>
          <a:p>
            <a:pPr lvl="0"/>
            <a:fld id="{41F0F51F-502E-4583-BC4D-204779C9B03A}" type="slidenum">
              <a:t>‹#›</a:t>
            </a:fld>
            <a:endParaRPr lang="en-US"/>
          </a:p>
        </p:txBody>
      </p:sp>
      <p:cxnSp>
        <p:nvCxnSpPr>
          <p:cNvPr id="6" name="Straight Connector 7">
            <a:extLst>
              <a:ext uri="{FF2B5EF4-FFF2-40B4-BE49-F238E27FC236}">
                <a16:creationId xmlns:a16="http://schemas.microsoft.com/office/drawing/2014/main" id="{E451161B-61AC-FF1F-F35A-2A4393AB25D1}"/>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F96C0C6B-4C71-A9A9-B0A2-625BCAD9EE60}"/>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68C1162E-B93A-2CF3-B1DE-33763A461339}"/>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00AFFB04-2131-BFC5-4513-978FB4774397}"/>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3E2F63C4-AD1F-4242-88DE-BC36E6056EBB}"/>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61437670-7855-30B9-1EB7-2B01EF0F2205}"/>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5F650FAC-72D5-F589-7BDC-7FE2F3576E55}"/>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39790E97-1815-24DD-F0EA-8EE2F8C916E1}"/>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1448005867"/>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A057CB-64C6-5EF7-7D8F-C49CBCC6E7C5}"/>
              </a:ext>
            </a:extLst>
          </p:cNvPr>
          <p:cNvSpPr txBox="1">
            <a:spLocks noGrp="1"/>
          </p:cNvSpPr>
          <p:nvPr>
            <p:ph type="title"/>
          </p:nvPr>
        </p:nvSpPr>
        <p:spPr>
          <a:xfrm>
            <a:off x="513353" y="2633536"/>
            <a:ext cx="5194432" cy="2387598"/>
          </a:xfrm>
        </p:spPr>
        <p:txBody>
          <a:bodyPr anchor="b"/>
          <a:lstStyle>
            <a:lvl1pPr>
              <a:defRPr sz="4000">
                <a:solidFill>
                  <a:srgbClr val="444C55"/>
                </a:solidFill>
              </a:defRPr>
            </a:lvl1pPr>
          </a:lstStyle>
          <a:p>
            <a:pPr lvl="0"/>
            <a:r>
              <a:rPr lang="en-US"/>
              <a:t>Click to edit Master title style</a:t>
            </a:r>
          </a:p>
        </p:txBody>
      </p:sp>
      <p:sp>
        <p:nvSpPr>
          <p:cNvPr id="3" name="Subtitle 2">
            <a:extLst>
              <a:ext uri="{FF2B5EF4-FFF2-40B4-BE49-F238E27FC236}">
                <a16:creationId xmlns:a16="http://schemas.microsoft.com/office/drawing/2014/main" id="{D605C7C8-90A1-B87C-4597-01FAE5608307}"/>
              </a:ext>
            </a:extLst>
          </p:cNvPr>
          <p:cNvSpPr txBox="1">
            <a:spLocks noGrp="1"/>
          </p:cNvSpPr>
          <p:nvPr>
            <p:ph type="subTitle" idx="4294967295"/>
          </p:nvPr>
        </p:nvSpPr>
        <p:spPr>
          <a:xfrm>
            <a:off x="513353" y="5400327"/>
            <a:ext cx="5194432" cy="986564"/>
          </a:xfrm>
        </p:spPr>
        <p:txBody>
          <a:bodyPr/>
          <a:lstStyle>
            <a:lvl1pPr marL="0" indent="0">
              <a:buNone/>
              <a:defRPr/>
            </a:lvl1pPr>
          </a:lstStyle>
          <a:p>
            <a:pPr lvl="0"/>
            <a:r>
              <a:rPr lang="en-US"/>
              <a:t>Click to edit Master subtitle style</a:t>
            </a:r>
          </a:p>
        </p:txBody>
      </p:sp>
      <p:grpSp>
        <p:nvGrpSpPr>
          <p:cNvPr id="4" name="Group 27">
            <a:extLst>
              <a:ext uri="{FF2B5EF4-FFF2-40B4-BE49-F238E27FC236}">
                <a16:creationId xmlns:a16="http://schemas.microsoft.com/office/drawing/2014/main" id="{6888F53A-EC16-7549-E628-C7CF818FC48A}"/>
              </a:ext>
            </a:extLst>
          </p:cNvPr>
          <p:cNvGrpSpPr/>
          <p:nvPr/>
        </p:nvGrpSpPr>
        <p:grpSpPr>
          <a:xfrm>
            <a:off x="0" y="0"/>
            <a:ext cx="6418722" cy="1509820"/>
            <a:chOff x="0" y="0"/>
            <a:chExt cx="6418722" cy="1509820"/>
          </a:xfrm>
        </p:grpSpPr>
        <p:sp>
          <p:nvSpPr>
            <p:cNvPr id="5" name="Freeform 29">
              <a:extLst>
                <a:ext uri="{FF2B5EF4-FFF2-40B4-BE49-F238E27FC236}">
                  <a16:creationId xmlns:a16="http://schemas.microsoft.com/office/drawing/2014/main" id="{DBAB75BF-C623-F754-098A-2FA282C32FD7}"/>
                </a:ext>
              </a:extLst>
            </p:cNvPr>
            <p:cNvSpPr/>
            <p:nvPr/>
          </p:nvSpPr>
          <p:spPr>
            <a:xfrm flipH="1">
              <a:off x="0" y="0"/>
              <a:ext cx="6418722" cy="1509820"/>
            </a:xfrm>
            <a:custGeom>
              <a:avLst/>
              <a:gdLst>
                <a:gd name="f0" fmla="val 10800000"/>
                <a:gd name="f1" fmla="val 5400000"/>
                <a:gd name="f2" fmla="val 180"/>
                <a:gd name="f3" fmla="val w"/>
                <a:gd name="f4" fmla="val h"/>
                <a:gd name="f5" fmla="val 0"/>
                <a:gd name="f6" fmla="val 4669459"/>
                <a:gd name="f7" fmla="val 1098357"/>
                <a:gd name="f8" fmla="val 393099"/>
                <a:gd name="f9" fmla="val 485580"/>
                <a:gd name="f10" fmla="val 28411"/>
                <a:gd name="f11" fmla="val 1068094"/>
                <a:gd name="f12" fmla="val 214503"/>
                <a:gd name="f13" fmla="val 1643165"/>
                <a:gd name="f14" fmla="val 412971"/>
                <a:gd name="f15" fmla="val 2241464"/>
                <a:gd name="f16" fmla="val 572540"/>
                <a:gd name="f17" fmla="val 3009808"/>
                <a:gd name="f18" fmla="val 777487"/>
                <a:gd name="f19" fmla="val 3848273"/>
                <a:gd name="f20" fmla="val 856360"/>
                <a:gd name="f21" fmla="val 4645823"/>
                <a:gd name="f22" fmla="val 731027"/>
                <a:gd name="f23" fmla="val 726784"/>
                <a:gd name="f24" fmla="val 1079503"/>
                <a:gd name="f25" fmla="val 4627787"/>
                <a:gd name="f26" fmla="val 1083679"/>
                <a:gd name="f27" fmla="val 3105555"/>
                <a:gd name="f28" fmla="val 1189027"/>
                <a:gd name="f29" fmla="val 1909512"/>
                <a:gd name="f30" fmla="val 709765"/>
                <a:gd name="f31" fmla="val 568062"/>
                <a:gd name="f32" fmla="val 207626"/>
                <a:gd name="f33" fmla="+- 0 0 -90"/>
                <a:gd name="f34" fmla="*/ f3 1 4669459"/>
                <a:gd name="f35" fmla="*/ f4 1 1098357"/>
                <a:gd name="f36" fmla="+- f7 0 f5"/>
                <a:gd name="f37" fmla="+- f6 0 f5"/>
                <a:gd name="f38" fmla="*/ f33 f0 1"/>
                <a:gd name="f39" fmla="*/ f37 1 4669459"/>
                <a:gd name="f40" fmla="*/ f36 1 1098357"/>
                <a:gd name="f41" fmla="*/ 0 f37 1"/>
                <a:gd name="f42" fmla="*/ 0 f36 1"/>
                <a:gd name="f43" fmla="*/ 393099 f37 1"/>
                <a:gd name="f44" fmla="*/ 485580 f37 1"/>
                <a:gd name="f45" fmla="*/ 28411 f36 1"/>
                <a:gd name="f46" fmla="*/ 2241464 f37 1"/>
                <a:gd name="f47" fmla="*/ 572540 f36 1"/>
                <a:gd name="f48" fmla="*/ 4645823 f37 1"/>
                <a:gd name="f49" fmla="*/ 731027 f36 1"/>
                <a:gd name="f50" fmla="*/ 4669459 f37 1"/>
                <a:gd name="f51" fmla="*/ 726784 f36 1"/>
                <a:gd name="f52" fmla="*/ 1079503 f36 1"/>
                <a:gd name="f53" fmla="*/ 4627787 f37 1"/>
                <a:gd name="f54" fmla="*/ 1083679 f36 1"/>
                <a:gd name="f55" fmla="*/ 568062 f37 1"/>
                <a:gd name="f56" fmla="*/ 207626 f36 1"/>
                <a:gd name="f57" fmla="*/ f38 1 f2"/>
                <a:gd name="f58" fmla="*/ f41 1 4669459"/>
                <a:gd name="f59" fmla="*/ f42 1 1098357"/>
                <a:gd name="f60" fmla="*/ f43 1 4669459"/>
                <a:gd name="f61" fmla="*/ f44 1 4669459"/>
                <a:gd name="f62" fmla="*/ f45 1 1098357"/>
                <a:gd name="f63" fmla="*/ f46 1 4669459"/>
                <a:gd name="f64" fmla="*/ f47 1 1098357"/>
                <a:gd name="f65" fmla="*/ f48 1 4669459"/>
                <a:gd name="f66" fmla="*/ f49 1 1098357"/>
                <a:gd name="f67" fmla="*/ f50 1 4669459"/>
                <a:gd name="f68" fmla="*/ f51 1 1098357"/>
                <a:gd name="f69" fmla="*/ f52 1 1098357"/>
                <a:gd name="f70" fmla="*/ f53 1 4669459"/>
                <a:gd name="f71" fmla="*/ f54 1 1098357"/>
                <a:gd name="f72" fmla="*/ f55 1 4669459"/>
                <a:gd name="f73" fmla="*/ f56 1 1098357"/>
                <a:gd name="f74" fmla="*/ f5 1 f39"/>
                <a:gd name="f75" fmla="*/ f6 1 f39"/>
                <a:gd name="f76" fmla="*/ f5 1 f40"/>
                <a:gd name="f77" fmla="*/ f7 1 f40"/>
                <a:gd name="f78" fmla="+- f57 0 f1"/>
                <a:gd name="f79" fmla="*/ f58 1 f39"/>
                <a:gd name="f80" fmla="*/ f59 1 f40"/>
                <a:gd name="f81" fmla="*/ f60 1 f39"/>
                <a:gd name="f82" fmla="*/ f61 1 f39"/>
                <a:gd name="f83" fmla="*/ f62 1 f40"/>
                <a:gd name="f84" fmla="*/ f63 1 f39"/>
                <a:gd name="f85" fmla="*/ f64 1 f40"/>
                <a:gd name="f86" fmla="*/ f65 1 f39"/>
                <a:gd name="f87" fmla="*/ f66 1 f40"/>
                <a:gd name="f88" fmla="*/ f67 1 f39"/>
                <a:gd name="f89" fmla="*/ f68 1 f40"/>
                <a:gd name="f90" fmla="*/ f69 1 f40"/>
                <a:gd name="f91" fmla="*/ f70 1 f39"/>
                <a:gd name="f92" fmla="*/ f71 1 f40"/>
                <a:gd name="f93" fmla="*/ f72 1 f39"/>
                <a:gd name="f94" fmla="*/ f73 1 f40"/>
                <a:gd name="f95" fmla="*/ f74 f34 1"/>
                <a:gd name="f96" fmla="*/ f75 f34 1"/>
                <a:gd name="f97" fmla="*/ f77 f35 1"/>
                <a:gd name="f98" fmla="*/ f76 f35 1"/>
                <a:gd name="f99" fmla="*/ f79 f34 1"/>
                <a:gd name="f100" fmla="*/ f80 f35 1"/>
                <a:gd name="f101" fmla="*/ f81 f34 1"/>
                <a:gd name="f102" fmla="*/ f82 f34 1"/>
                <a:gd name="f103" fmla="*/ f83 f35 1"/>
                <a:gd name="f104" fmla="*/ f84 f34 1"/>
                <a:gd name="f105" fmla="*/ f85 f35 1"/>
                <a:gd name="f106" fmla="*/ f86 f34 1"/>
                <a:gd name="f107" fmla="*/ f87 f35 1"/>
                <a:gd name="f108" fmla="*/ f88 f34 1"/>
                <a:gd name="f109" fmla="*/ f89 f35 1"/>
                <a:gd name="f110" fmla="*/ f90 f35 1"/>
                <a:gd name="f111" fmla="*/ f91 f34 1"/>
                <a:gd name="f112" fmla="*/ f92 f35 1"/>
                <a:gd name="f113" fmla="*/ f93 f34 1"/>
                <a:gd name="f114" fmla="*/ f94 f35 1"/>
              </a:gdLst>
              <a:ahLst/>
              <a:cxnLst>
                <a:cxn ang="3cd4">
                  <a:pos x="hc" y="t"/>
                </a:cxn>
                <a:cxn ang="0">
                  <a:pos x="r" y="vc"/>
                </a:cxn>
                <a:cxn ang="cd4">
                  <a:pos x="hc" y="b"/>
                </a:cxn>
                <a:cxn ang="cd2">
                  <a:pos x="l" y="vc"/>
                </a:cxn>
                <a:cxn ang="f78">
                  <a:pos x="f99" y="f100"/>
                </a:cxn>
                <a:cxn ang="f78">
                  <a:pos x="f101" y="f100"/>
                </a:cxn>
                <a:cxn ang="f78">
                  <a:pos x="f102" y="f103"/>
                </a:cxn>
                <a:cxn ang="f78">
                  <a:pos x="f104" y="f105"/>
                </a:cxn>
                <a:cxn ang="f78">
                  <a:pos x="f106" y="f107"/>
                </a:cxn>
                <a:cxn ang="f78">
                  <a:pos x="f108" y="f109"/>
                </a:cxn>
                <a:cxn ang="f78">
                  <a:pos x="f108" y="f110"/>
                </a:cxn>
                <a:cxn ang="f78">
                  <a:pos x="f111" y="f112"/>
                </a:cxn>
                <a:cxn ang="f78">
                  <a:pos x="f113" y="f114"/>
                </a:cxn>
              </a:cxnLst>
              <a:rect l="f95" t="f98" r="f96" b="f97"/>
              <a:pathLst>
                <a:path w="4669459" h="1098357">
                  <a:moveTo>
                    <a:pt x="f5" y="f5"/>
                  </a:moveTo>
                  <a:lnTo>
                    <a:pt x="f8" y="f5"/>
                  </a:lnTo>
                  <a:lnTo>
                    <a:pt x="f9" y="f10"/>
                  </a:lnTo>
                  <a:cubicBezTo>
                    <a:pt x="f11" y="f12"/>
                    <a:pt x="f13" y="f14"/>
                    <a:pt x="f15" y="f16"/>
                  </a:cubicBezTo>
                  <a:cubicBezTo>
                    <a:pt x="f17" y="f18"/>
                    <a:pt x="f19" y="f20"/>
                    <a:pt x="f21" y="f22"/>
                  </a:cubicBezTo>
                  <a:lnTo>
                    <a:pt x="f6" y="f23"/>
                  </a:lnTo>
                  <a:lnTo>
                    <a:pt x="f6" y="f24"/>
                  </a:lnTo>
                  <a:lnTo>
                    <a:pt x="f25" y="f26"/>
                  </a:lnTo>
                  <a:cubicBezTo>
                    <a:pt x="f27" y="f28"/>
                    <a:pt x="f29" y="f30"/>
                    <a:pt x="f31" y="f32"/>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30">
              <a:extLst>
                <a:ext uri="{FF2B5EF4-FFF2-40B4-BE49-F238E27FC236}">
                  <a16:creationId xmlns:a16="http://schemas.microsoft.com/office/drawing/2014/main" id="{75D96059-F579-479B-2BF3-BF4203EE6F9D}"/>
                </a:ext>
              </a:extLst>
            </p:cNvPr>
            <p:cNvSpPr/>
            <p:nvPr/>
          </p:nvSpPr>
          <p:spPr>
            <a:xfrm flipH="1">
              <a:off x="0" y="0"/>
              <a:ext cx="6244227" cy="1352022"/>
            </a:xfrm>
            <a:custGeom>
              <a:avLst/>
              <a:gdLst>
                <a:gd name="f0" fmla="val 10800000"/>
                <a:gd name="f1" fmla="val 5400000"/>
                <a:gd name="f2" fmla="val 180"/>
                <a:gd name="f3" fmla="val w"/>
                <a:gd name="f4" fmla="val h"/>
                <a:gd name="f5" fmla="val 0"/>
                <a:gd name="f6" fmla="val 4542519"/>
                <a:gd name="f7" fmla="val 983565"/>
                <a:gd name="f8" fmla="val 957397"/>
                <a:gd name="f9" fmla="val 4542518"/>
                <a:gd name="f10" fmla="val 957403"/>
                <a:gd name="f11" fmla="val 4510552"/>
                <a:gd name="f12" fmla="val 961138"/>
                <a:gd name="f13" fmla="val 2991282"/>
                <a:gd name="f14" fmla="val 1091409"/>
                <a:gd name="f15" fmla="val 1788278"/>
                <a:gd name="f16" fmla="val 632191"/>
                <a:gd name="f17" fmla="val 439600"/>
                <a:gd name="f18" fmla="val 152515"/>
                <a:gd name="f19" fmla="+- 0 0 -90"/>
                <a:gd name="f20" fmla="*/ f3 1 4542519"/>
                <a:gd name="f21" fmla="*/ f4 1 983565"/>
                <a:gd name="f22" fmla="+- f7 0 f5"/>
                <a:gd name="f23" fmla="+- f6 0 f5"/>
                <a:gd name="f24" fmla="*/ f19 f0 1"/>
                <a:gd name="f25" fmla="*/ f23 1 4542519"/>
                <a:gd name="f26" fmla="*/ f22 1 983565"/>
                <a:gd name="f27" fmla="*/ 0 f23 1"/>
                <a:gd name="f28" fmla="*/ 0 f22 1"/>
                <a:gd name="f29" fmla="*/ 4542519 f23 1"/>
                <a:gd name="f30" fmla="*/ 957397 f22 1"/>
                <a:gd name="f31" fmla="*/ 4542518 f23 1"/>
                <a:gd name="f32" fmla="*/ 957403 f22 1"/>
                <a:gd name="f33" fmla="*/ 4510552 f23 1"/>
                <a:gd name="f34" fmla="*/ 961138 f22 1"/>
                <a:gd name="f35" fmla="*/ 439600 f23 1"/>
                <a:gd name="f36" fmla="*/ 152515 f22 1"/>
                <a:gd name="f37" fmla="*/ f24 1 f2"/>
                <a:gd name="f38" fmla="*/ f27 1 4542519"/>
                <a:gd name="f39" fmla="*/ f28 1 983565"/>
                <a:gd name="f40" fmla="*/ f29 1 4542519"/>
                <a:gd name="f41" fmla="*/ f30 1 983565"/>
                <a:gd name="f42" fmla="*/ f31 1 4542519"/>
                <a:gd name="f43" fmla="*/ f32 1 983565"/>
                <a:gd name="f44" fmla="*/ f33 1 4542519"/>
                <a:gd name="f45" fmla="*/ f34 1 983565"/>
                <a:gd name="f46" fmla="*/ f35 1 4542519"/>
                <a:gd name="f47" fmla="*/ f36 1 983565"/>
                <a:gd name="f48" fmla="*/ f5 1 f25"/>
                <a:gd name="f49" fmla="*/ f6 1 f25"/>
                <a:gd name="f50" fmla="*/ f5 1 f26"/>
                <a:gd name="f51" fmla="*/ f7 1 f26"/>
                <a:gd name="f52" fmla="+- f37 0 f1"/>
                <a:gd name="f53" fmla="*/ f38 1 f25"/>
                <a:gd name="f54" fmla="*/ f39 1 f26"/>
                <a:gd name="f55" fmla="*/ f40 1 f25"/>
                <a:gd name="f56" fmla="*/ f41 1 f26"/>
                <a:gd name="f57" fmla="*/ f42 1 f25"/>
                <a:gd name="f58" fmla="*/ f43 1 f26"/>
                <a:gd name="f59" fmla="*/ f44 1 f25"/>
                <a:gd name="f60" fmla="*/ f45 1 f26"/>
                <a:gd name="f61" fmla="*/ f46 1 f25"/>
                <a:gd name="f62" fmla="*/ f47 1 f26"/>
                <a:gd name="f63" fmla="*/ f48 f20 1"/>
                <a:gd name="f64" fmla="*/ f49 f20 1"/>
                <a:gd name="f65" fmla="*/ f51 f21 1"/>
                <a:gd name="f66" fmla="*/ f50 f21 1"/>
                <a:gd name="f67" fmla="*/ f53 f20 1"/>
                <a:gd name="f68" fmla="*/ f54 f21 1"/>
                <a:gd name="f69" fmla="*/ f55 f20 1"/>
                <a:gd name="f70" fmla="*/ f56 f21 1"/>
                <a:gd name="f71" fmla="*/ f57 f20 1"/>
                <a:gd name="f72" fmla="*/ f58 f21 1"/>
                <a:gd name="f73" fmla="*/ f59 f20 1"/>
                <a:gd name="f74" fmla="*/ f60 f21 1"/>
                <a:gd name="f75" fmla="*/ f61 f20 1"/>
                <a:gd name="f76" fmla="*/ f62 f21 1"/>
              </a:gdLst>
              <a:ahLst/>
              <a:cxnLst>
                <a:cxn ang="3cd4">
                  <a:pos x="hc" y="t"/>
                </a:cxn>
                <a:cxn ang="0">
                  <a:pos x="r" y="vc"/>
                </a:cxn>
                <a:cxn ang="cd4">
                  <a:pos x="hc" y="b"/>
                </a:cxn>
                <a:cxn ang="cd2">
                  <a:pos x="l" y="vc"/>
                </a:cxn>
                <a:cxn ang="f52">
                  <a:pos x="f67" y="f68"/>
                </a:cxn>
                <a:cxn ang="f52">
                  <a:pos x="f69" y="f68"/>
                </a:cxn>
                <a:cxn ang="f52">
                  <a:pos x="f69" y="f70"/>
                </a:cxn>
                <a:cxn ang="f52">
                  <a:pos x="f71" y="f72"/>
                </a:cxn>
                <a:cxn ang="f52">
                  <a:pos x="f73" y="f74"/>
                </a:cxn>
                <a:cxn ang="f52">
                  <a:pos x="f75" y="f76"/>
                </a:cxn>
              </a:cxnLst>
              <a:rect l="f63" t="f66" r="f64" b="f65"/>
              <a:pathLst>
                <a:path w="4542519" h="983565">
                  <a:moveTo>
                    <a:pt x="f5" y="f5"/>
                  </a:moveTo>
                  <a:lnTo>
                    <a:pt x="f6" y="f5"/>
                  </a:lnTo>
                  <a:lnTo>
                    <a:pt x="f6" y="f8"/>
                  </a:lnTo>
                  <a:lnTo>
                    <a:pt x="f9" y="f10"/>
                  </a:lnTo>
                  <a:lnTo>
                    <a:pt x="f11" y="f12"/>
                  </a:lnTo>
                  <a:cubicBezTo>
                    <a:pt x="f13" y="f14"/>
                    <a:pt x="f15" y="f16"/>
                    <a:pt x="f17" y="f18"/>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pic>
        <p:nvPicPr>
          <p:cNvPr id="7" name="Picture 28">
            <a:extLst>
              <a:ext uri="{FF2B5EF4-FFF2-40B4-BE49-F238E27FC236}">
                <a16:creationId xmlns:a16="http://schemas.microsoft.com/office/drawing/2014/main" id="{F78475E5-618C-46DB-2222-FAC4168D0B41}"/>
              </a:ext>
            </a:extLst>
          </p:cNvPr>
          <p:cNvPicPr>
            <a:picLocks noChangeAspect="1"/>
          </p:cNvPicPr>
          <p:nvPr/>
        </p:nvPicPr>
        <p:blipFill>
          <a:blip r:embed="rId2"/>
          <a:stretch>
            <a:fillRect/>
          </a:stretch>
        </p:blipFill>
        <p:spPr>
          <a:xfrm>
            <a:off x="513345" y="136529"/>
            <a:ext cx="1945203" cy="879972"/>
          </a:xfrm>
          <a:prstGeom prst="rect">
            <a:avLst/>
          </a:prstGeom>
          <a:noFill/>
          <a:ln cap="flat">
            <a:noFill/>
          </a:ln>
        </p:spPr>
      </p:pic>
    </p:spTree>
    <p:extLst>
      <p:ext uri="{BB962C8B-B14F-4D97-AF65-F5344CB8AC3E}">
        <p14:creationId xmlns:p14="http://schemas.microsoft.com/office/powerpoint/2010/main" val="1786542162"/>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2_Cover">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779C942E-9FB0-84C2-84A6-ECA1170EA8D0}"/>
              </a:ext>
            </a:extLst>
          </p:cNvPr>
          <p:cNvSpPr/>
          <p:nvPr/>
        </p:nvSpPr>
        <p:spPr>
          <a:xfrm>
            <a:off x="902366" y="1294416"/>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DD073763-A4D3-5168-EBEE-773D0EF1ED7F}"/>
              </a:ext>
            </a:extLst>
          </p:cNvPr>
          <p:cNvSpPr txBox="1">
            <a:spLocks noGrp="1"/>
          </p:cNvSpPr>
          <p:nvPr>
            <p:ph type="title"/>
          </p:nvPr>
        </p:nvSpPr>
        <p:spPr>
          <a:xfrm>
            <a:off x="1413314" y="1561328"/>
            <a:ext cx="5194432" cy="1826340"/>
          </a:xfrm>
        </p:spPr>
        <p:txBody>
          <a:bodyPr anchor="b"/>
          <a:lstStyle>
            <a:lvl1pPr>
              <a:defRPr sz="4000">
                <a:solidFill>
                  <a:srgbClr val="444C55"/>
                </a:solidFill>
              </a:defRPr>
            </a:lvl1pPr>
          </a:lstStyle>
          <a:p>
            <a:pPr lvl="0"/>
            <a:r>
              <a:rPr lang="en-US"/>
              <a:t>Click to edit Master title style</a:t>
            </a:r>
          </a:p>
        </p:txBody>
      </p:sp>
      <p:sp>
        <p:nvSpPr>
          <p:cNvPr id="4" name="Subtitle 2">
            <a:extLst>
              <a:ext uri="{FF2B5EF4-FFF2-40B4-BE49-F238E27FC236}">
                <a16:creationId xmlns:a16="http://schemas.microsoft.com/office/drawing/2014/main" id="{604C94F0-3B79-9687-39DD-34C742B82705}"/>
              </a:ext>
            </a:extLst>
          </p:cNvPr>
          <p:cNvSpPr txBox="1">
            <a:spLocks noGrp="1"/>
          </p:cNvSpPr>
          <p:nvPr>
            <p:ph type="subTitle" idx="4294967295"/>
          </p:nvPr>
        </p:nvSpPr>
        <p:spPr>
          <a:xfrm>
            <a:off x="1413314" y="3766861"/>
            <a:ext cx="5194432" cy="986564"/>
          </a:xfrm>
        </p:spPr>
        <p:txBody>
          <a:bodyPr/>
          <a:lstStyle>
            <a:lvl1pPr marL="0" indent="0">
              <a:buNone/>
              <a:defRPr/>
            </a:lvl1pPr>
          </a:lstStyle>
          <a:p>
            <a:pPr lvl="0"/>
            <a:r>
              <a:rPr lang="en-US"/>
              <a:t>Click to edit Master subtitle style</a:t>
            </a:r>
          </a:p>
        </p:txBody>
      </p:sp>
      <p:sp>
        <p:nvSpPr>
          <p:cNvPr id="5" name="Picture Placeholder 21">
            <a:extLst>
              <a:ext uri="{FF2B5EF4-FFF2-40B4-BE49-F238E27FC236}">
                <a16:creationId xmlns:a16="http://schemas.microsoft.com/office/drawing/2014/main" id="{9E889691-859B-390C-238E-E2747E1F0133}"/>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grpSp>
        <p:nvGrpSpPr>
          <p:cNvPr id="6" name="Group 26">
            <a:extLst>
              <a:ext uri="{FF2B5EF4-FFF2-40B4-BE49-F238E27FC236}">
                <a16:creationId xmlns:a16="http://schemas.microsoft.com/office/drawing/2014/main" id="{72691419-291F-C7BD-D9CE-EF8712B0BCBE}"/>
              </a:ext>
            </a:extLst>
          </p:cNvPr>
          <p:cNvGrpSpPr/>
          <p:nvPr/>
        </p:nvGrpSpPr>
        <p:grpSpPr>
          <a:xfrm>
            <a:off x="0" y="5020349"/>
            <a:ext cx="12191996" cy="1837651"/>
            <a:chOff x="0" y="5020348"/>
            <a:chExt cx="12191996" cy="1837651"/>
          </a:xfrm>
        </p:grpSpPr>
        <p:sp>
          <p:nvSpPr>
            <p:cNvPr id="7" name="Freeform 27">
              <a:extLst>
                <a:ext uri="{FF2B5EF4-FFF2-40B4-BE49-F238E27FC236}">
                  <a16:creationId xmlns:a16="http://schemas.microsoft.com/office/drawing/2014/main" id="{EA38F239-1B9E-CB8F-6744-ECA78F340BD1}"/>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8" name="Freeform 28">
              <a:extLst>
                <a:ext uri="{FF2B5EF4-FFF2-40B4-BE49-F238E27FC236}">
                  <a16:creationId xmlns:a16="http://schemas.microsoft.com/office/drawing/2014/main" id="{01DE21A2-8C61-8777-A331-609FB4988495}"/>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9" name="Picture 29">
              <a:extLst>
                <a:ext uri="{FF2B5EF4-FFF2-40B4-BE49-F238E27FC236}">
                  <a16:creationId xmlns:a16="http://schemas.microsoft.com/office/drawing/2014/main" id="{2DD1BFFB-7D33-2996-90EB-B544387FADCC}"/>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412452047"/>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2_Divider">
    <p:spTree>
      <p:nvGrpSpPr>
        <p:cNvPr id="1" name=""/>
        <p:cNvGrpSpPr/>
        <p:nvPr/>
      </p:nvGrpSpPr>
      <p:grpSpPr>
        <a:xfrm>
          <a:off x="0" y="0"/>
          <a:ext cx="0" cy="0"/>
          <a:chOff x="0" y="0"/>
          <a:chExt cx="0" cy="0"/>
        </a:xfrm>
      </p:grpSpPr>
      <p:grpSp>
        <p:nvGrpSpPr>
          <p:cNvPr id="2" name="Group 9">
            <a:extLst>
              <a:ext uri="{FF2B5EF4-FFF2-40B4-BE49-F238E27FC236}">
                <a16:creationId xmlns:a16="http://schemas.microsoft.com/office/drawing/2014/main" id="{442240E4-3B0A-F30E-D1CD-FDF97D22F29A}"/>
              </a:ext>
            </a:extLst>
          </p:cNvPr>
          <p:cNvGrpSpPr/>
          <p:nvPr/>
        </p:nvGrpSpPr>
        <p:grpSpPr>
          <a:xfrm>
            <a:off x="0" y="5020349"/>
            <a:ext cx="12191996" cy="1837651"/>
            <a:chOff x="0" y="5020348"/>
            <a:chExt cx="12191996" cy="1837651"/>
          </a:xfrm>
        </p:grpSpPr>
        <p:sp>
          <p:nvSpPr>
            <p:cNvPr id="3" name="Freeform 25">
              <a:extLst>
                <a:ext uri="{FF2B5EF4-FFF2-40B4-BE49-F238E27FC236}">
                  <a16:creationId xmlns:a16="http://schemas.microsoft.com/office/drawing/2014/main" id="{F2223534-B4C0-2CC7-292A-EAF4250312B4}"/>
                </a:ext>
              </a:extLst>
            </p:cNvPr>
            <p:cNvSpPr/>
            <p:nvPr/>
          </p:nvSpPr>
          <p:spPr>
            <a:xfrm>
              <a:off x="0" y="5100267"/>
              <a:ext cx="7111371" cy="1757732"/>
            </a:xfrm>
            <a:custGeom>
              <a:avLst/>
              <a:gdLst>
                <a:gd name="f0" fmla="val 10800000"/>
                <a:gd name="f1" fmla="val 5400000"/>
                <a:gd name="f2" fmla="val 180"/>
                <a:gd name="f3" fmla="val w"/>
                <a:gd name="f4" fmla="val h"/>
                <a:gd name="f5" fmla="val 0"/>
                <a:gd name="f6" fmla="val 7111369"/>
                <a:gd name="f7" fmla="val 1757730"/>
                <a:gd name="f8" fmla="val 772954"/>
                <a:gd name="f9" fmla="val 2778"/>
                <a:gd name="f10" fmla="val 1769038"/>
                <a:gd name="f11" fmla="val 30799"/>
                <a:gd name="f12" fmla="val 2696750"/>
                <a:gd name="f13" fmla="val 267531"/>
                <a:gd name="f14" fmla="val 3590934"/>
                <a:gd name="f15" fmla="val 566046"/>
                <a:gd name="f16" fmla="val 4684008"/>
                <a:gd name="f17" fmla="val 930921"/>
                <a:gd name="f18" fmla="val 5690778"/>
                <a:gd name="f19" fmla="val 1324625"/>
                <a:gd name="f20" fmla="val 6700767"/>
                <a:gd name="f21" fmla="val 1636882"/>
                <a:gd name="f22" fmla="val 25690"/>
                <a:gd name="f23" fmla="val 2197"/>
                <a:gd name="f24" fmla="val 25414"/>
                <a:gd name="f25" fmla="val 114653"/>
                <a:gd name="f26" fmla="val 14905"/>
                <a:gd name="f27" fmla="val 227801"/>
                <a:gd name="f28" fmla="val 7857"/>
                <a:gd name="f29" fmla="val 341773"/>
                <a:gd name="f30" fmla="val 3976"/>
                <a:gd name="f31" fmla="val 486963"/>
                <a:gd name="f32" fmla="+- 0 0 968"/>
                <a:gd name="f33" fmla="val 630656"/>
                <a:gd name="f34" fmla="+- 0 0 1224"/>
                <a:gd name="f35" fmla="+- 0 0 -90"/>
                <a:gd name="f36" fmla="*/ f3 1 7111369"/>
                <a:gd name="f37" fmla="*/ f4 1 1757730"/>
                <a:gd name="f38" fmla="+- f7 0 f5"/>
                <a:gd name="f39" fmla="+- f6 0 f5"/>
                <a:gd name="f40" fmla="*/ f35 f0 1"/>
                <a:gd name="f41" fmla="*/ f39 1 7111369"/>
                <a:gd name="f42" fmla="*/ f38 1 1757730"/>
                <a:gd name="f43" fmla="*/ 772954 f39 1"/>
                <a:gd name="f44" fmla="*/ 2778 f38 1"/>
                <a:gd name="f45" fmla="*/ 3590934 f39 1"/>
                <a:gd name="f46" fmla="*/ 566046 f38 1"/>
                <a:gd name="f47" fmla="*/ 6700767 f39 1"/>
                <a:gd name="f48" fmla="*/ 1636882 f38 1"/>
                <a:gd name="f49" fmla="*/ 7111369 f39 1"/>
                <a:gd name="f50" fmla="*/ 1757730 f38 1"/>
                <a:gd name="f51" fmla="*/ 0 f39 1"/>
                <a:gd name="f52" fmla="*/ 25690 f38 1"/>
                <a:gd name="f53" fmla="*/ 2197 f39 1"/>
                <a:gd name="f54" fmla="*/ 25414 f38 1"/>
                <a:gd name="f55" fmla="*/ 341773 f39 1"/>
                <a:gd name="f56" fmla="*/ 3976 f38 1"/>
                <a:gd name="f57" fmla="*/ f40 1 f2"/>
                <a:gd name="f58" fmla="*/ f43 1 7111369"/>
                <a:gd name="f59" fmla="*/ f44 1 1757730"/>
                <a:gd name="f60" fmla="*/ f45 1 7111369"/>
                <a:gd name="f61" fmla="*/ f46 1 1757730"/>
                <a:gd name="f62" fmla="*/ f47 1 7111369"/>
                <a:gd name="f63" fmla="*/ f48 1 1757730"/>
                <a:gd name="f64" fmla="*/ f49 1 7111369"/>
                <a:gd name="f65" fmla="*/ f50 1 1757730"/>
                <a:gd name="f66" fmla="*/ f51 1 7111369"/>
                <a:gd name="f67" fmla="*/ f52 1 1757730"/>
                <a:gd name="f68" fmla="*/ f53 1 7111369"/>
                <a:gd name="f69" fmla="*/ f54 1 1757730"/>
                <a:gd name="f70" fmla="*/ f55 1 7111369"/>
                <a:gd name="f71" fmla="*/ f56 1 1757730"/>
                <a:gd name="f72" fmla="*/ f5 1 f41"/>
                <a:gd name="f73" fmla="*/ f6 1 f41"/>
                <a:gd name="f74" fmla="*/ f5 1 f42"/>
                <a:gd name="f75" fmla="*/ f7 1 f42"/>
                <a:gd name="f76" fmla="+- f57 0 f1"/>
                <a:gd name="f77" fmla="*/ f58 1 f41"/>
                <a:gd name="f78" fmla="*/ f59 1 f42"/>
                <a:gd name="f79" fmla="*/ f60 1 f41"/>
                <a:gd name="f80" fmla="*/ f61 1 f42"/>
                <a:gd name="f81" fmla="*/ f62 1 f41"/>
                <a:gd name="f82" fmla="*/ f63 1 f42"/>
                <a:gd name="f83" fmla="*/ f64 1 f41"/>
                <a:gd name="f84" fmla="*/ f65 1 f42"/>
                <a:gd name="f85" fmla="*/ f66 1 f41"/>
                <a:gd name="f86" fmla="*/ f67 1 f42"/>
                <a:gd name="f87" fmla="*/ f68 1 f41"/>
                <a:gd name="f88" fmla="*/ f69 1 f42"/>
                <a:gd name="f89" fmla="*/ f70 1 f41"/>
                <a:gd name="f90" fmla="*/ f71 1 f42"/>
                <a:gd name="f91" fmla="*/ f72 f36 1"/>
                <a:gd name="f92" fmla="*/ f73 f36 1"/>
                <a:gd name="f93" fmla="*/ f75 f37 1"/>
                <a:gd name="f94" fmla="*/ f74 f37 1"/>
                <a:gd name="f95" fmla="*/ f77 f36 1"/>
                <a:gd name="f96" fmla="*/ f78 f37 1"/>
                <a:gd name="f97" fmla="*/ f79 f36 1"/>
                <a:gd name="f98" fmla="*/ f80 f37 1"/>
                <a:gd name="f99" fmla="*/ f81 f36 1"/>
                <a:gd name="f100" fmla="*/ f82 f37 1"/>
                <a:gd name="f101" fmla="*/ f83 f36 1"/>
                <a:gd name="f102" fmla="*/ f84 f37 1"/>
                <a:gd name="f103" fmla="*/ f85 f36 1"/>
                <a:gd name="f104" fmla="*/ f86 f37 1"/>
                <a:gd name="f105" fmla="*/ f87 f36 1"/>
                <a:gd name="f106" fmla="*/ f88 f37 1"/>
                <a:gd name="f107" fmla="*/ f89 f36 1"/>
                <a:gd name="f108" fmla="*/ f90 f37 1"/>
              </a:gdLst>
              <a:ahLst/>
              <a:cxnLst>
                <a:cxn ang="3cd4">
                  <a:pos x="hc" y="t"/>
                </a:cxn>
                <a:cxn ang="0">
                  <a:pos x="r" y="vc"/>
                </a:cxn>
                <a:cxn ang="cd4">
                  <a:pos x="hc" y="b"/>
                </a:cxn>
                <a:cxn ang="cd2">
                  <a:pos x="l" y="vc"/>
                </a:cxn>
                <a:cxn ang="f76">
                  <a:pos x="f95" y="f96"/>
                </a:cxn>
                <a:cxn ang="f76">
                  <a:pos x="f97" y="f98"/>
                </a:cxn>
                <a:cxn ang="f76">
                  <a:pos x="f99" y="f100"/>
                </a:cxn>
                <a:cxn ang="f76">
                  <a:pos x="f101" y="f102"/>
                </a:cxn>
                <a:cxn ang="f76">
                  <a:pos x="f103" y="f102"/>
                </a:cxn>
                <a:cxn ang="f76">
                  <a:pos x="f103" y="f104"/>
                </a:cxn>
                <a:cxn ang="f76">
                  <a:pos x="f105" y="f106"/>
                </a:cxn>
                <a:cxn ang="f76">
                  <a:pos x="f107" y="f108"/>
                </a:cxn>
                <a:cxn ang="f76">
                  <a:pos x="f95" y="f96"/>
                </a:cxn>
              </a:cxnLst>
              <a:rect l="f91" t="f94" r="f92" b="f93"/>
              <a:pathLst>
                <a:path w="7111369" h="1757730">
                  <a:moveTo>
                    <a:pt x="f8" y="f9"/>
                  </a:moveTo>
                  <a:cubicBezTo>
                    <a:pt x="f10" y="f11"/>
                    <a:pt x="f12" y="f13"/>
                    <a:pt x="f14" y="f15"/>
                  </a:cubicBezTo>
                  <a:cubicBezTo>
                    <a:pt x="f16" y="f17"/>
                    <a:pt x="f18" y="f19"/>
                    <a:pt x="f20" y="f21"/>
                  </a:cubicBezTo>
                  <a:lnTo>
                    <a:pt x="f6" y="f7"/>
                  </a:lnTo>
                  <a:lnTo>
                    <a:pt x="f5" y="f7"/>
                  </a:lnTo>
                  <a:lnTo>
                    <a:pt x="f5" y="f22"/>
                  </a:lnTo>
                  <a:lnTo>
                    <a:pt x="f23" y="f24"/>
                  </a:lnTo>
                  <a:cubicBezTo>
                    <a:pt x="f25" y="f26"/>
                    <a:pt x="f27" y="f28"/>
                    <a:pt x="f29" y="f30"/>
                  </a:cubicBezTo>
                  <a:cubicBezTo>
                    <a:pt x="f31" y="f32"/>
                    <a:pt x="f33" y="f34"/>
                    <a:pt x="f8" y="f9"/>
                  </a:cubicBezTo>
                  <a:close/>
                </a:path>
              </a:pathLst>
            </a:cu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4" name="Freeform 19">
              <a:extLst>
                <a:ext uri="{FF2B5EF4-FFF2-40B4-BE49-F238E27FC236}">
                  <a16:creationId xmlns:a16="http://schemas.microsoft.com/office/drawing/2014/main" id="{E560796A-686D-95DA-7A91-B2F246A95041}"/>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5" name="Freeform 14">
              <a:extLst>
                <a:ext uri="{FF2B5EF4-FFF2-40B4-BE49-F238E27FC236}">
                  <a16:creationId xmlns:a16="http://schemas.microsoft.com/office/drawing/2014/main" id="{9D98098D-57DE-3B00-652A-403185737129}"/>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6" name="Picture 20">
              <a:extLst>
                <a:ext uri="{FF2B5EF4-FFF2-40B4-BE49-F238E27FC236}">
                  <a16:creationId xmlns:a16="http://schemas.microsoft.com/office/drawing/2014/main" id="{31D9A969-5B3B-4386-B369-AFBD9530677C}"/>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
        <p:nvSpPr>
          <p:cNvPr id="7" name="Title 10">
            <a:extLst>
              <a:ext uri="{FF2B5EF4-FFF2-40B4-BE49-F238E27FC236}">
                <a16:creationId xmlns:a16="http://schemas.microsoft.com/office/drawing/2014/main" id="{C8E5D593-8029-1A9C-7C44-3BDD28325448}"/>
              </a:ext>
            </a:extLst>
          </p:cNvPr>
          <p:cNvSpPr txBox="1">
            <a:spLocks noGrp="1"/>
          </p:cNvSpPr>
          <p:nvPr>
            <p:ph type="title"/>
          </p:nvPr>
        </p:nvSpPr>
        <p:spPr>
          <a:xfrm>
            <a:off x="1413305" y="701748"/>
            <a:ext cx="9365376" cy="2014679"/>
          </a:xfrm>
        </p:spPr>
        <p:txBody>
          <a:bodyPr anchor="b"/>
          <a:lstStyle>
            <a:lvl1pPr>
              <a:defRPr/>
            </a:lvl1pPr>
          </a:lstStyle>
          <a:p>
            <a:pPr lvl="0"/>
            <a:r>
              <a:rPr lang="en-US"/>
              <a:t>Click to edit Master title style</a:t>
            </a:r>
          </a:p>
        </p:txBody>
      </p:sp>
      <p:sp>
        <p:nvSpPr>
          <p:cNvPr id="8" name="Subtitle 2">
            <a:extLst>
              <a:ext uri="{FF2B5EF4-FFF2-40B4-BE49-F238E27FC236}">
                <a16:creationId xmlns:a16="http://schemas.microsoft.com/office/drawing/2014/main" id="{1116D41F-210A-F7DC-8670-34ABA6FDA7C8}"/>
              </a:ext>
            </a:extLst>
          </p:cNvPr>
          <p:cNvSpPr txBox="1">
            <a:spLocks noGrp="1"/>
          </p:cNvSpPr>
          <p:nvPr>
            <p:ph type="subTitle" idx="4294967295"/>
          </p:nvPr>
        </p:nvSpPr>
        <p:spPr>
          <a:xfrm>
            <a:off x="1413305" y="3081637"/>
            <a:ext cx="9365376" cy="986564"/>
          </a:xfrm>
        </p:spPr>
        <p:txBody>
          <a:bodyPr/>
          <a:lstStyle>
            <a:lvl1pPr marL="0" indent="0">
              <a:buNone/>
              <a:defRPr/>
            </a:lvl1pPr>
          </a:lstStyle>
          <a:p>
            <a:pPr lvl="0"/>
            <a:r>
              <a:rPr lang="en-US"/>
              <a:t>Click to edit Master subtitle style</a:t>
            </a:r>
          </a:p>
        </p:txBody>
      </p:sp>
    </p:spTree>
    <p:extLst>
      <p:ext uri="{BB962C8B-B14F-4D97-AF65-F5344CB8AC3E}">
        <p14:creationId xmlns:p14="http://schemas.microsoft.com/office/powerpoint/2010/main" val="374171895"/>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2_Photo Slide">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582C5299-951A-8A78-379B-1E45874AD939}"/>
              </a:ext>
            </a:extLst>
          </p:cNvPr>
          <p:cNvSpPr txBox="1">
            <a:spLocks noGrp="1"/>
          </p:cNvSpPr>
          <p:nvPr>
            <p:ph type="body" idx="4294967295"/>
          </p:nvPr>
        </p:nvSpPr>
        <p:spPr>
          <a:xfrm>
            <a:off x="457200" y="1146255"/>
            <a:ext cx="2350172" cy="2971800"/>
          </a:xfrm>
        </p:spPr>
        <p:txBody>
          <a:bodyPr/>
          <a:lstStyle>
            <a:lvl1pPr marL="0" indent="0">
              <a:buNone/>
              <a:defRPr/>
            </a:lvl1pPr>
          </a:lstStyle>
          <a:p>
            <a:pPr lvl="0"/>
            <a:r>
              <a:rPr lang="en-US"/>
              <a:t>Click to edit Master text styles</a:t>
            </a:r>
          </a:p>
        </p:txBody>
      </p:sp>
      <p:cxnSp>
        <p:nvCxnSpPr>
          <p:cNvPr id="3" name="Straight Connector 5">
            <a:extLst>
              <a:ext uri="{FF2B5EF4-FFF2-40B4-BE49-F238E27FC236}">
                <a16:creationId xmlns:a16="http://schemas.microsoft.com/office/drawing/2014/main" id="{8C0A9E53-2D86-9A68-3E9D-B41F0A221DD4}"/>
              </a:ext>
            </a:extLst>
          </p:cNvPr>
          <p:cNvCxnSpPr/>
          <p:nvPr/>
        </p:nvCxnSpPr>
        <p:spPr>
          <a:xfrm>
            <a:off x="457201" y="947985"/>
            <a:ext cx="2350163" cy="0"/>
          </a:xfrm>
          <a:prstGeom prst="straightConnector1">
            <a:avLst/>
          </a:prstGeom>
          <a:noFill/>
          <a:ln w="31747" cap="flat">
            <a:solidFill>
              <a:srgbClr val="F58366"/>
            </a:solidFill>
            <a:prstDash val="solid"/>
            <a:miter/>
          </a:ln>
        </p:spPr>
      </p:cxnSp>
      <p:grpSp>
        <p:nvGrpSpPr>
          <p:cNvPr id="4" name="Group 2">
            <a:extLst>
              <a:ext uri="{FF2B5EF4-FFF2-40B4-BE49-F238E27FC236}">
                <a16:creationId xmlns:a16="http://schemas.microsoft.com/office/drawing/2014/main" id="{973819B4-5F1D-6E49-4204-DB85255BDE2A}"/>
              </a:ext>
            </a:extLst>
          </p:cNvPr>
          <p:cNvGrpSpPr/>
          <p:nvPr/>
        </p:nvGrpSpPr>
        <p:grpSpPr>
          <a:xfrm>
            <a:off x="1" y="5379425"/>
            <a:ext cx="2807363" cy="753895"/>
            <a:chOff x="0" y="5379424"/>
            <a:chExt cx="2807363" cy="753895"/>
          </a:xfrm>
        </p:grpSpPr>
        <p:sp>
          <p:nvSpPr>
            <p:cNvPr id="5" name="Freeform 21">
              <a:extLst>
                <a:ext uri="{FF2B5EF4-FFF2-40B4-BE49-F238E27FC236}">
                  <a16:creationId xmlns:a16="http://schemas.microsoft.com/office/drawing/2014/main" id="{6F27DEF6-9D09-C600-5B09-873F52580D19}"/>
                </a:ext>
              </a:extLst>
            </p:cNvPr>
            <p:cNvSpPr/>
            <p:nvPr/>
          </p:nvSpPr>
          <p:spPr>
            <a:xfrm>
              <a:off x="0" y="5532513"/>
              <a:ext cx="2807363" cy="600806"/>
            </a:xfrm>
            <a:custGeom>
              <a:avLst/>
              <a:gdLst>
                <a:gd name="f0" fmla="val 10800000"/>
                <a:gd name="f1" fmla="val 5400000"/>
                <a:gd name="f2" fmla="val 180"/>
                <a:gd name="f3" fmla="val w"/>
                <a:gd name="f4" fmla="val h"/>
                <a:gd name="f5" fmla="val 0"/>
                <a:gd name="f6" fmla="val 2807368"/>
                <a:gd name="f7" fmla="val 600807"/>
                <a:gd name="f8" fmla="val 429971"/>
                <a:gd name="f9" fmla="val 123998"/>
                <a:gd name="f10" fmla="val 1184765"/>
                <a:gd name="f11" fmla="val 325331"/>
                <a:gd name="f12" fmla="val 2014184"/>
                <a:gd name="f13" fmla="val 392492"/>
                <a:gd name="f14" fmla="val 2790212"/>
                <a:gd name="f15" fmla="val 235402"/>
                <a:gd name="f16" fmla="val 231522"/>
                <a:gd name="f17" fmla="val 566106"/>
                <a:gd name="f18" fmla="val 2593885"/>
                <a:gd name="f19" fmla="val 587498"/>
                <a:gd name="f20" fmla="val 1673646"/>
                <a:gd name="f21" fmla="val 651184"/>
                <a:gd name="f22" fmla="val 884869"/>
                <a:gd name="f23" fmla="val 479260"/>
                <a:gd name="f24" fmla="val 100844"/>
                <a:gd name="f25" fmla="val 222653"/>
                <a:gd name="f26" fmla="val 188389"/>
                <a:gd name="f27" fmla="+- 0 0 -90"/>
                <a:gd name="f28" fmla="*/ f3 1 2807368"/>
                <a:gd name="f29" fmla="*/ f4 1 600807"/>
                <a:gd name="f30" fmla="+- f7 0 f5"/>
                <a:gd name="f31" fmla="+- f6 0 f5"/>
                <a:gd name="f32" fmla="*/ f27 f0 1"/>
                <a:gd name="f33" fmla="*/ f31 1 2807368"/>
                <a:gd name="f34" fmla="*/ f30 1 600807"/>
                <a:gd name="f35" fmla="*/ 0 f31 1"/>
                <a:gd name="f36" fmla="*/ 0 f30 1"/>
                <a:gd name="f37" fmla="*/ 429971 f31 1"/>
                <a:gd name="f38" fmla="*/ 123998 f30 1"/>
                <a:gd name="f39" fmla="*/ 2790212 f31 1"/>
                <a:gd name="f40" fmla="*/ 235402 f30 1"/>
                <a:gd name="f41" fmla="*/ 2807368 f31 1"/>
                <a:gd name="f42" fmla="*/ 231522 f30 1"/>
                <a:gd name="f43" fmla="*/ 566106 f30 1"/>
                <a:gd name="f44" fmla="*/ 2593885 f31 1"/>
                <a:gd name="f45" fmla="*/ 587498 f30 1"/>
                <a:gd name="f46" fmla="*/ 100844 f31 1"/>
                <a:gd name="f47" fmla="*/ 222653 f30 1"/>
                <a:gd name="f48" fmla="*/ 188389 f30 1"/>
                <a:gd name="f49" fmla="*/ f32 1 f2"/>
                <a:gd name="f50" fmla="*/ f35 1 2807368"/>
                <a:gd name="f51" fmla="*/ f36 1 600807"/>
                <a:gd name="f52" fmla="*/ f37 1 2807368"/>
                <a:gd name="f53" fmla="*/ f38 1 600807"/>
                <a:gd name="f54" fmla="*/ f39 1 2807368"/>
                <a:gd name="f55" fmla="*/ f40 1 600807"/>
                <a:gd name="f56" fmla="*/ f41 1 2807368"/>
                <a:gd name="f57" fmla="*/ f42 1 600807"/>
                <a:gd name="f58" fmla="*/ f43 1 600807"/>
                <a:gd name="f59" fmla="*/ f44 1 2807368"/>
                <a:gd name="f60" fmla="*/ f45 1 600807"/>
                <a:gd name="f61" fmla="*/ f46 1 2807368"/>
                <a:gd name="f62" fmla="*/ f47 1 600807"/>
                <a:gd name="f63" fmla="*/ f48 1 600807"/>
                <a:gd name="f64" fmla="*/ f5 1 f33"/>
                <a:gd name="f65" fmla="*/ f6 1 f33"/>
                <a:gd name="f66" fmla="*/ f5 1 f34"/>
                <a:gd name="f67" fmla="*/ f7 1 f34"/>
                <a:gd name="f68" fmla="+- f49 0 f1"/>
                <a:gd name="f69" fmla="*/ f50 1 f33"/>
                <a:gd name="f70" fmla="*/ f51 1 f34"/>
                <a:gd name="f71" fmla="*/ f52 1 f33"/>
                <a:gd name="f72" fmla="*/ f53 1 f34"/>
                <a:gd name="f73" fmla="*/ f54 1 f33"/>
                <a:gd name="f74" fmla="*/ f55 1 f34"/>
                <a:gd name="f75" fmla="*/ f56 1 f33"/>
                <a:gd name="f76" fmla="*/ f57 1 f34"/>
                <a:gd name="f77" fmla="*/ f58 1 f34"/>
                <a:gd name="f78" fmla="*/ f59 1 f33"/>
                <a:gd name="f79" fmla="*/ f60 1 f34"/>
                <a:gd name="f80" fmla="*/ f61 1 f33"/>
                <a:gd name="f81" fmla="*/ f62 1 f34"/>
                <a:gd name="f82" fmla="*/ f63 1 f34"/>
                <a:gd name="f83" fmla="*/ f64 f28 1"/>
                <a:gd name="f84" fmla="*/ f65 f28 1"/>
                <a:gd name="f85" fmla="*/ f67 f29 1"/>
                <a:gd name="f86" fmla="*/ f66 f29 1"/>
                <a:gd name="f87" fmla="*/ f69 f28 1"/>
                <a:gd name="f88" fmla="*/ f70 f29 1"/>
                <a:gd name="f89" fmla="*/ f71 f28 1"/>
                <a:gd name="f90" fmla="*/ f72 f29 1"/>
                <a:gd name="f91" fmla="*/ f73 f28 1"/>
                <a:gd name="f92" fmla="*/ f74 f29 1"/>
                <a:gd name="f93" fmla="*/ f75 f28 1"/>
                <a:gd name="f94" fmla="*/ f76 f29 1"/>
                <a:gd name="f95" fmla="*/ f77 f29 1"/>
                <a:gd name="f96" fmla="*/ f78 f28 1"/>
                <a:gd name="f97" fmla="*/ f79 f29 1"/>
                <a:gd name="f98" fmla="*/ f80 f28 1"/>
                <a:gd name="f99" fmla="*/ f81 f29 1"/>
                <a:gd name="f100" fmla="*/ f82 f29 1"/>
              </a:gdLst>
              <a:ahLst/>
              <a:cxnLst>
                <a:cxn ang="3cd4">
                  <a:pos x="hc" y="t"/>
                </a:cxn>
                <a:cxn ang="0">
                  <a:pos x="r" y="vc"/>
                </a:cxn>
                <a:cxn ang="cd4">
                  <a:pos x="hc" y="b"/>
                </a:cxn>
                <a:cxn ang="cd2">
                  <a:pos x="l" y="vc"/>
                </a:cxn>
                <a:cxn ang="f68">
                  <a:pos x="f87" y="f88"/>
                </a:cxn>
                <a:cxn ang="f68">
                  <a:pos x="f89" y="f90"/>
                </a:cxn>
                <a:cxn ang="f68">
                  <a:pos x="f91" y="f92"/>
                </a:cxn>
                <a:cxn ang="f68">
                  <a:pos x="f93" y="f94"/>
                </a:cxn>
                <a:cxn ang="f68">
                  <a:pos x="f93" y="f95"/>
                </a:cxn>
                <a:cxn ang="f68">
                  <a:pos x="f96" y="f97"/>
                </a:cxn>
                <a:cxn ang="f68">
                  <a:pos x="f98" y="f99"/>
                </a:cxn>
                <a:cxn ang="f68">
                  <a:pos x="f87" y="f100"/>
                </a:cxn>
              </a:cxnLst>
              <a:rect l="f83" t="f86" r="f84" b="f85"/>
              <a:pathLst>
                <a:path w="2807368" h="600807">
                  <a:moveTo>
                    <a:pt x="f5" y="f5"/>
                  </a:moveTo>
                  <a:lnTo>
                    <a:pt x="f8" y="f9"/>
                  </a:lnTo>
                  <a:cubicBezTo>
                    <a:pt x="f10" y="f11"/>
                    <a:pt x="f12" y="f13"/>
                    <a:pt x="f14" y="f15"/>
                  </a:cubicBezTo>
                  <a:lnTo>
                    <a:pt x="f6" y="f16"/>
                  </a:lnTo>
                  <a:lnTo>
                    <a:pt x="f6" y="f17"/>
                  </a:lnTo>
                  <a:lnTo>
                    <a:pt x="f18" y="f19"/>
                  </a:lnTo>
                  <a:cubicBezTo>
                    <a:pt x="f20" y="f21"/>
                    <a:pt x="f22" y="f23"/>
                    <a:pt x="f24" y="f25"/>
                  </a:cubicBezTo>
                  <a:lnTo>
                    <a:pt x="f5" y="f26"/>
                  </a:ln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Freeform 19">
              <a:extLst>
                <a:ext uri="{FF2B5EF4-FFF2-40B4-BE49-F238E27FC236}">
                  <a16:creationId xmlns:a16="http://schemas.microsoft.com/office/drawing/2014/main" id="{8BF348AE-1E3E-18FE-B200-4B4048B0B885}"/>
                </a:ext>
              </a:extLst>
            </p:cNvPr>
            <p:cNvSpPr/>
            <p:nvPr/>
          </p:nvSpPr>
          <p:spPr>
            <a:xfrm>
              <a:off x="0" y="5379424"/>
              <a:ext cx="2807363" cy="649800"/>
            </a:xfrm>
            <a:custGeom>
              <a:avLst/>
              <a:gdLst>
                <a:gd name="f0" fmla="val 10800000"/>
                <a:gd name="f1" fmla="val 5400000"/>
                <a:gd name="f2" fmla="val 180"/>
                <a:gd name="f3" fmla="val w"/>
                <a:gd name="f4" fmla="val h"/>
                <a:gd name="f5" fmla="val 0"/>
                <a:gd name="f6" fmla="val 2807368"/>
                <a:gd name="f7" fmla="val 649803"/>
                <a:gd name="f8" fmla="val 282676"/>
                <a:gd name="f9" fmla="val 70799"/>
                <a:gd name="f10" fmla="val 435964"/>
                <a:gd name="f11" fmla="val 106085"/>
                <a:gd name="f12" fmla="val 588770"/>
                <a:gd name="f13" fmla="val 137629"/>
                <a:gd name="f14" fmla="val 740881"/>
                <a:gd name="f15" fmla="val 163828"/>
                <a:gd name="f16" fmla="val 1362800"/>
                <a:gd name="f17" fmla="val 270912"/>
                <a:gd name="f18" fmla="val 2067879"/>
                <a:gd name="f19" fmla="val 253759"/>
                <a:gd name="f20" fmla="val 2706471"/>
                <a:gd name="f21" fmla="val 96397"/>
                <a:gd name="f22" fmla="val 67250"/>
                <a:gd name="f23" fmla="val 605551"/>
                <a:gd name="f24" fmla="val 2602685"/>
                <a:gd name="f25" fmla="val 629466"/>
                <a:gd name="f26" fmla="val 1684237"/>
                <a:gd name="f27" fmla="val 708219"/>
                <a:gd name="f28" fmla="val 893252"/>
                <a:gd name="f29" fmla="val 549395"/>
                <a:gd name="f30" fmla="val 105614"/>
                <a:gd name="f31" fmla="val 305882"/>
                <a:gd name="f32" fmla="val 271926"/>
                <a:gd name="f33" fmla="+- 0 0 -90"/>
                <a:gd name="f34" fmla="*/ f3 1 2807368"/>
                <a:gd name="f35" fmla="*/ f4 1 649803"/>
                <a:gd name="f36" fmla="+- f7 0 f5"/>
                <a:gd name="f37" fmla="+- f6 0 f5"/>
                <a:gd name="f38" fmla="*/ f33 f0 1"/>
                <a:gd name="f39" fmla="*/ f37 1 2807368"/>
                <a:gd name="f40" fmla="*/ f36 1 649803"/>
                <a:gd name="f41" fmla="*/ 0 f37 1"/>
                <a:gd name="f42" fmla="*/ 0 f36 1"/>
                <a:gd name="f43" fmla="*/ 282676 f37 1"/>
                <a:gd name="f44" fmla="*/ 70799 f36 1"/>
                <a:gd name="f45" fmla="*/ 740881 f37 1"/>
                <a:gd name="f46" fmla="*/ 163828 f36 1"/>
                <a:gd name="f47" fmla="*/ 2706471 f37 1"/>
                <a:gd name="f48" fmla="*/ 96397 f36 1"/>
                <a:gd name="f49" fmla="*/ 2807368 f37 1"/>
                <a:gd name="f50" fmla="*/ 67250 f36 1"/>
                <a:gd name="f51" fmla="*/ 605551 f36 1"/>
                <a:gd name="f52" fmla="*/ 2602685 f37 1"/>
                <a:gd name="f53" fmla="*/ 629466 f36 1"/>
                <a:gd name="f54" fmla="*/ 105614 f37 1"/>
                <a:gd name="f55" fmla="*/ 305882 f36 1"/>
                <a:gd name="f56" fmla="*/ 271926 f36 1"/>
                <a:gd name="f57" fmla="*/ f38 1 f2"/>
                <a:gd name="f58" fmla="*/ f41 1 2807368"/>
                <a:gd name="f59" fmla="*/ f42 1 649803"/>
                <a:gd name="f60" fmla="*/ f43 1 2807368"/>
                <a:gd name="f61" fmla="*/ f44 1 649803"/>
                <a:gd name="f62" fmla="*/ f45 1 2807368"/>
                <a:gd name="f63" fmla="*/ f46 1 649803"/>
                <a:gd name="f64" fmla="*/ f47 1 2807368"/>
                <a:gd name="f65" fmla="*/ f48 1 649803"/>
                <a:gd name="f66" fmla="*/ f49 1 2807368"/>
                <a:gd name="f67" fmla="*/ f50 1 649803"/>
                <a:gd name="f68" fmla="*/ f51 1 649803"/>
                <a:gd name="f69" fmla="*/ f52 1 2807368"/>
                <a:gd name="f70" fmla="*/ f53 1 649803"/>
                <a:gd name="f71" fmla="*/ f54 1 2807368"/>
                <a:gd name="f72" fmla="*/ f55 1 649803"/>
                <a:gd name="f73" fmla="*/ f56 1 649803"/>
                <a:gd name="f74" fmla="*/ f5 1 f39"/>
                <a:gd name="f75" fmla="*/ f6 1 f39"/>
                <a:gd name="f76" fmla="*/ f5 1 f40"/>
                <a:gd name="f77" fmla="*/ f7 1 f40"/>
                <a:gd name="f78" fmla="+- f57 0 f1"/>
                <a:gd name="f79" fmla="*/ f58 1 f39"/>
                <a:gd name="f80" fmla="*/ f59 1 f40"/>
                <a:gd name="f81" fmla="*/ f60 1 f39"/>
                <a:gd name="f82" fmla="*/ f61 1 f40"/>
                <a:gd name="f83" fmla="*/ f62 1 f39"/>
                <a:gd name="f84" fmla="*/ f63 1 f40"/>
                <a:gd name="f85" fmla="*/ f64 1 f39"/>
                <a:gd name="f86" fmla="*/ f65 1 f40"/>
                <a:gd name="f87" fmla="*/ f66 1 f39"/>
                <a:gd name="f88" fmla="*/ f67 1 f40"/>
                <a:gd name="f89" fmla="*/ f68 1 f40"/>
                <a:gd name="f90" fmla="*/ f69 1 f39"/>
                <a:gd name="f91" fmla="*/ f70 1 f40"/>
                <a:gd name="f92" fmla="*/ f71 1 f39"/>
                <a:gd name="f93" fmla="*/ f72 1 f40"/>
                <a:gd name="f94" fmla="*/ f73 1 f40"/>
                <a:gd name="f95" fmla="*/ f74 f34 1"/>
                <a:gd name="f96" fmla="*/ f75 f34 1"/>
                <a:gd name="f97" fmla="*/ f77 f35 1"/>
                <a:gd name="f98" fmla="*/ f76 f35 1"/>
                <a:gd name="f99" fmla="*/ f79 f34 1"/>
                <a:gd name="f100" fmla="*/ f80 f35 1"/>
                <a:gd name="f101" fmla="*/ f81 f34 1"/>
                <a:gd name="f102" fmla="*/ f82 f35 1"/>
                <a:gd name="f103" fmla="*/ f83 f34 1"/>
                <a:gd name="f104" fmla="*/ f84 f35 1"/>
                <a:gd name="f105" fmla="*/ f85 f34 1"/>
                <a:gd name="f106" fmla="*/ f86 f35 1"/>
                <a:gd name="f107" fmla="*/ f87 f34 1"/>
                <a:gd name="f108" fmla="*/ f88 f35 1"/>
                <a:gd name="f109" fmla="*/ f89 f35 1"/>
                <a:gd name="f110" fmla="*/ f90 f34 1"/>
                <a:gd name="f111" fmla="*/ f91 f35 1"/>
                <a:gd name="f112" fmla="*/ f92 f34 1"/>
                <a:gd name="f113" fmla="*/ f93 f35 1"/>
                <a:gd name="f114" fmla="*/ f94 f35 1"/>
              </a:gdLst>
              <a:ahLst/>
              <a:cxnLst>
                <a:cxn ang="3cd4">
                  <a:pos x="hc" y="t"/>
                </a:cxn>
                <a:cxn ang="0">
                  <a:pos x="r" y="vc"/>
                </a:cxn>
                <a:cxn ang="cd4">
                  <a:pos x="hc" y="b"/>
                </a:cxn>
                <a:cxn ang="cd2">
                  <a:pos x="l" y="vc"/>
                </a:cxn>
                <a:cxn ang="f78">
                  <a:pos x="f99" y="f100"/>
                </a:cxn>
                <a:cxn ang="f78">
                  <a:pos x="f101" y="f102"/>
                </a:cxn>
                <a:cxn ang="f78">
                  <a:pos x="f103" y="f104"/>
                </a:cxn>
                <a:cxn ang="f78">
                  <a:pos x="f105" y="f106"/>
                </a:cxn>
                <a:cxn ang="f78">
                  <a:pos x="f107" y="f108"/>
                </a:cxn>
                <a:cxn ang="f78">
                  <a:pos x="f107" y="f109"/>
                </a:cxn>
                <a:cxn ang="f78">
                  <a:pos x="f110" y="f111"/>
                </a:cxn>
                <a:cxn ang="f78">
                  <a:pos x="f112" y="f113"/>
                </a:cxn>
                <a:cxn ang="f78">
                  <a:pos x="f99" y="f114"/>
                </a:cxn>
              </a:cxnLst>
              <a:rect l="f95" t="f98" r="f96" b="f97"/>
              <a:pathLst>
                <a:path w="2807368" h="649803">
                  <a:moveTo>
                    <a:pt x="f5" y="f5"/>
                  </a:moveTo>
                  <a:lnTo>
                    <a:pt x="f8" y="f9"/>
                  </a:lnTo>
                  <a:cubicBezTo>
                    <a:pt x="f10" y="f11"/>
                    <a:pt x="f12" y="f13"/>
                    <a:pt x="f14" y="f15"/>
                  </a:cubicBezTo>
                  <a:cubicBezTo>
                    <a:pt x="f16" y="f17"/>
                    <a:pt x="f18" y="f19"/>
                    <a:pt x="f20" y="f21"/>
                  </a:cubicBezTo>
                  <a:lnTo>
                    <a:pt x="f6" y="f22"/>
                  </a:lnTo>
                  <a:lnTo>
                    <a:pt x="f6" y="f23"/>
                  </a:lnTo>
                  <a:lnTo>
                    <a:pt x="f24" y="f25"/>
                  </a:lnTo>
                  <a:cubicBezTo>
                    <a:pt x="f26" y="f27"/>
                    <a:pt x="f28" y="f29"/>
                    <a:pt x="f30" y="f31"/>
                  </a:cubicBezTo>
                  <a:lnTo>
                    <a:pt x="f5" y="f32"/>
                  </a:ln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grpSp>
      <p:sp>
        <p:nvSpPr>
          <p:cNvPr id="7" name="Picture Placeholder 6">
            <a:extLst>
              <a:ext uri="{FF2B5EF4-FFF2-40B4-BE49-F238E27FC236}">
                <a16:creationId xmlns:a16="http://schemas.microsoft.com/office/drawing/2014/main" id="{6D0FCFA8-1EC8-1A2B-B10B-2A182C7DB76A}"/>
              </a:ext>
            </a:extLst>
          </p:cNvPr>
          <p:cNvSpPr txBox="1">
            <a:spLocks noGrp="1"/>
          </p:cNvSpPr>
          <p:nvPr>
            <p:ph type="pic" idx="4294967295"/>
          </p:nvPr>
        </p:nvSpPr>
        <p:spPr>
          <a:xfrm>
            <a:off x="2807363" y="457200"/>
            <a:ext cx="8915400" cy="5943600"/>
          </a:xfrm>
        </p:spPr>
        <p:txBody>
          <a:bodyPr/>
          <a:lstStyle>
            <a:lvl1pPr>
              <a:defRPr/>
            </a:lvl1pPr>
          </a:lstStyle>
          <a:p>
            <a:pPr lvl="0"/>
            <a:endParaRPr lang="en-US"/>
          </a:p>
        </p:txBody>
      </p:sp>
      <p:pic>
        <p:nvPicPr>
          <p:cNvPr id="8" name="Picture 14">
            <a:extLst>
              <a:ext uri="{FF2B5EF4-FFF2-40B4-BE49-F238E27FC236}">
                <a16:creationId xmlns:a16="http://schemas.microsoft.com/office/drawing/2014/main" id="{C6049972-D042-482A-C6FA-5FAD71F38190}"/>
              </a:ext>
            </a:extLst>
          </p:cNvPr>
          <p:cNvPicPr>
            <a:picLocks noChangeAspect="1"/>
          </p:cNvPicPr>
          <p:nvPr/>
        </p:nvPicPr>
        <p:blipFill>
          <a:blip r:embed="rId2"/>
          <a:srcRect/>
          <a:stretch>
            <a:fillRect/>
          </a:stretch>
        </p:blipFill>
        <p:spPr>
          <a:xfrm>
            <a:off x="513354" y="4385535"/>
            <a:ext cx="2025313" cy="911940"/>
          </a:xfrm>
          <a:prstGeom prst="rect">
            <a:avLst/>
          </a:prstGeom>
          <a:noFill/>
          <a:ln cap="flat">
            <a:noFill/>
          </a:ln>
        </p:spPr>
      </p:pic>
    </p:spTree>
    <p:extLst>
      <p:ext uri="{BB962C8B-B14F-4D97-AF65-F5344CB8AC3E}">
        <p14:creationId xmlns:p14="http://schemas.microsoft.com/office/powerpoint/2010/main" val="563499810"/>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0562402A-3370-9B12-E3C6-C2CA4262623B}"/>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77107EF5-0878-173D-E8F4-4D1E161F3831}"/>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94FB2D93-B9C6-1ABF-FF32-918769880077}"/>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E7E6E9B6-1B68-C299-F9FA-5B9EDFD44361}"/>
              </a:ext>
            </a:extLst>
          </p:cNvPr>
          <p:cNvSpPr txBox="1">
            <a:spLocks noGrp="1"/>
          </p:cNvSpPr>
          <p:nvPr>
            <p:ph type="sldNum" sz="quarter" idx="8"/>
          </p:nvPr>
        </p:nvSpPr>
        <p:spPr/>
        <p:txBody>
          <a:bodyPr/>
          <a:lstStyle>
            <a:lvl1pPr>
              <a:defRPr>
                <a:solidFill>
                  <a:srgbClr val="AFB3B9"/>
                </a:solidFill>
              </a:defRPr>
            </a:lvl1pPr>
          </a:lstStyle>
          <a:p>
            <a:pPr lvl="0"/>
            <a:fld id="{E202416B-8720-476B-82F0-ADAB0284B52F}" type="slidenum">
              <a:t>‹#›</a:t>
            </a:fld>
            <a:endParaRPr lang="en-US"/>
          </a:p>
        </p:txBody>
      </p:sp>
      <p:cxnSp>
        <p:nvCxnSpPr>
          <p:cNvPr id="6" name="Straight Connector 7">
            <a:extLst>
              <a:ext uri="{FF2B5EF4-FFF2-40B4-BE49-F238E27FC236}">
                <a16:creationId xmlns:a16="http://schemas.microsoft.com/office/drawing/2014/main" id="{57194A21-82DF-E52E-F26C-34E08DACA3FC}"/>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838059ED-72EA-9A69-9B38-846DB003817B}"/>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F70CCB56-719F-0CA6-9025-3FBBEB008086}"/>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8FCD0B61-EE92-0E43-F38F-402520B25204}"/>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EE4DBD42-3C11-121A-33B2-F06798433A3E}"/>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923813E4-1071-7C15-43AC-AD4EC329961B}"/>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FE7AC9C5-3FFF-5119-8995-94AF48B46E01}"/>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49653229-94E9-5D2F-29EF-01DE9DCE4B7D}"/>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2162708440"/>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D84005DE-3B1F-5983-FEA4-9875F663762C}"/>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DDDD2377-CBC9-478F-A97C-01367083DFB0}"/>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F3947AD0-AA78-3AEF-9D87-A96F7019E019}"/>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639A72BC-CE08-9D80-C153-FDF9F7EDC62E}"/>
              </a:ext>
            </a:extLst>
          </p:cNvPr>
          <p:cNvSpPr txBox="1">
            <a:spLocks noGrp="1"/>
          </p:cNvSpPr>
          <p:nvPr>
            <p:ph type="sldNum" sz="quarter" idx="8"/>
          </p:nvPr>
        </p:nvSpPr>
        <p:spPr/>
        <p:txBody>
          <a:bodyPr/>
          <a:lstStyle>
            <a:lvl1pPr>
              <a:defRPr>
                <a:solidFill>
                  <a:srgbClr val="AFB3B9"/>
                </a:solidFill>
              </a:defRPr>
            </a:lvl1pPr>
          </a:lstStyle>
          <a:p>
            <a:pPr lvl="0"/>
            <a:fld id="{40003EFA-C714-42DF-9AFC-744637762812}" type="slidenum">
              <a:t>‹#›</a:t>
            </a:fld>
            <a:endParaRPr lang="en-US"/>
          </a:p>
        </p:txBody>
      </p:sp>
      <p:cxnSp>
        <p:nvCxnSpPr>
          <p:cNvPr id="6" name="Straight Connector 7">
            <a:extLst>
              <a:ext uri="{FF2B5EF4-FFF2-40B4-BE49-F238E27FC236}">
                <a16:creationId xmlns:a16="http://schemas.microsoft.com/office/drawing/2014/main" id="{4920A03D-3977-4DDD-9A3E-C692CBFC8B91}"/>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1D7ED401-4A4A-542E-6B9B-9508D1F990AC}"/>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E9E32997-A29D-AB5C-3F91-BEDB7BBDEDB8}"/>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3AFC1024-DCE6-F07F-4050-1C82E605A31B}"/>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C1E6858F-B571-A00A-91EB-A520040303BF}"/>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D3DB4A9C-200B-6AFF-5F56-40EB8596366B}"/>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61802C1D-1145-B1E7-8999-66E88C5CC063}"/>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97B188F4-0FEF-B371-5BBE-65A037E911E6}"/>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4203135137"/>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2" name="Group 63">
            <a:extLst>
              <a:ext uri="{FF2B5EF4-FFF2-40B4-BE49-F238E27FC236}">
                <a16:creationId xmlns:a16="http://schemas.microsoft.com/office/drawing/2014/main" id="{7B8D9A44-0C6B-9969-AAA8-30C9CA9A7692}"/>
              </a:ext>
            </a:extLst>
          </p:cNvPr>
          <p:cNvGrpSpPr/>
          <p:nvPr/>
        </p:nvGrpSpPr>
        <p:grpSpPr>
          <a:xfrm>
            <a:off x="7191545" y="0"/>
            <a:ext cx="5000460" cy="1425988"/>
            <a:chOff x="7191545" y="0"/>
            <a:chExt cx="5000460" cy="1425988"/>
          </a:xfrm>
        </p:grpSpPr>
        <p:pic>
          <p:nvPicPr>
            <p:cNvPr id="3" name="Picture 64">
              <a:extLst>
                <a:ext uri="{FF2B5EF4-FFF2-40B4-BE49-F238E27FC236}">
                  <a16:creationId xmlns:a16="http://schemas.microsoft.com/office/drawing/2014/main" id="{03D8C431-5639-375C-8EE0-AE8BA1D0F006}"/>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65">
              <a:extLst>
                <a:ext uri="{FF2B5EF4-FFF2-40B4-BE49-F238E27FC236}">
                  <a16:creationId xmlns:a16="http://schemas.microsoft.com/office/drawing/2014/main" id="{711E308C-7F30-5275-0B43-DD6282F2C5D6}"/>
                </a:ext>
              </a:extLst>
            </p:cNvPr>
            <p:cNvGrpSpPr/>
            <p:nvPr/>
          </p:nvGrpSpPr>
          <p:grpSpPr>
            <a:xfrm>
              <a:off x="7191545" y="0"/>
              <a:ext cx="5000460" cy="1425988"/>
              <a:chOff x="7191545" y="0"/>
              <a:chExt cx="5000460" cy="1425988"/>
            </a:xfrm>
          </p:grpSpPr>
          <p:sp>
            <p:nvSpPr>
              <p:cNvPr id="5" name="Freeform 66">
                <a:extLst>
                  <a:ext uri="{FF2B5EF4-FFF2-40B4-BE49-F238E27FC236}">
                    <a16:creationId xmlns:a16="http://schemas.microsoft.com/office/drawing/2014/main" id="{F23DF920-9F0E-2522-3D03-20E7171D71DD}"/>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67">
                <a:extLst>
                  <a:ext uri="{FF2B5EF4-FFF2-40B4-BE49-F238E27FC236}">
                    <a16:creationId xmlns:a16="http://schemas.microsoft.com/office/drawing/2014/main" id="{2FC8ED38-3CFD-E2DC-9F1D-FD40B8531C86}"/>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F9721127-AEAB-3CE9-77F7-48EB82B78A67}"/>
              </a:ext>
            </a:extLst>
          </p:cNvPr>
          <p:cNvSpPr txBox="1">
            <a:spLocks noGrp="1"/>
          </p:cNvSpPr>
          <p:nvPr>
            <p:ph type="title"/>
          </p:nvPr>
        </p:nvSpPr>
        <p:spPr/>
        <p:txBody>
          <a:bodyPr/>
          <a:lstStyle>
            <a:lvl1pPr>
              <a:defRPr/>
            </a:lvl1pPr>
          </a:lstStyle>
          <a:p>
            <a:pPr lvl="0"/>
            <a:r>
              <a:rPr lang="en-US"/>
              <a:t>Click to edit Master title style</a:t>
            </a:r>
          </a:p>
        </p:txBody>
      </p:sp>
      <p:sp>
        <p:nvSpPr>
          <p:cNvPr id="8" name="Content Placeholder 2">
            <a:extLst>
              <a:ext uri="{FF2B5EF4-FFF2-40B4-BE49-F238E27FC236}">
                <a16:creationId xmlns:a16="http://schemas.microsoft.com/office/drawing/2014/main" id="{5FEDA474-DD01-9F47-BADB-0A1CF6DF2939}"/>
              </a:ext>
            </a:extLst>
          </p:cNvPr>
          <p:cNvSpPr txBox="1">
            <a:spLocks noGrp="1"/>
          </p:cNvSpPr>
          <p:nvPr>
            <p:ph idx="1"/>
          </p:nvPr>
        </p:nvSpPr>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6">
            <a:extLst>
              <a:ext uri="{FF2B5EF4-FFF2-40B4-BE49-F238E27FC236}">
                <a16:creationId xmlns:a16="http://schemas.microsoft.com/office/drawing/2014/main" id="{E78B7B20-42F8-2DF4-DEAE-CF8F89164EB3}"/>
              </a:ext>
            </a:extLst>
          </p:cNvPr>
          <p:cNvSpPr txBox="1">
            <a:spLocks noGrp="1"/>
          </p:cNvSpPr>
          <p:nvPr>
            <p:ph type="sldNum" sz="quarter" idx="8"/>
          </p:nvPr>
        </p:nvSpPr>
        <p:spPr/>
        <p:txBody>
          <a:bodyPr/>
          <a:lstStyle>
            <a:lvl1pPr>
              <a:defRPr>
                <a:solidFill>
                  <a:srgbClr val="AFB3B9"/>
                </a:solidFill>
              </a:defRPr>
            </a:lvl1pPr>
          </a:lstStyle>
          <a:p>
            <a:pPr lvl="0"/>
            <a:fld id="{ED1CB1E7-9D35-40B9-BCBB-2C69026862B9}" type="slidenum">
              <a:t>‹#›</a:t>
            </a:fld>
            <a:endParaRPr lang="en-US"/>
          </a:p>
        </p:txBody>
      </p:sp>
      <p:cxnSp>
        <p:nvCxnSpPr>
          <p:cNvPr id="10" name="Straight Connector 7">
            <a:extLst>
              <a:ext uri="{FF2B5EF4-FFF2-40B4-BE49-F238E27FC236}">
                <a16:creationId xmlns:a16="http://schemas.microsoft.com/office/drawing/2014/main" id="{83B2D6C2-5E09-8A3E-545C-60181F5D56BA}"/>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1" name="Footer Placeholder 5">
            <a:extLst>
              <a:ext uri="{FF2B5EF4-FFF2-40B4-BE49-F238E27FC236}">
                <a16:creationId xmlns:a16="http://schemas.microsoft.com/office/drawing/2014/main" id="{D2D5A772-1136-841D-EE32-0A0271B28BF2}"/>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107034690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itle and Content">
  <p:cSld name="Title and Content 8">
    <p:spTree>
      <p:nvGrpSpPr>
        <p:cNvPr id="1" name="Shape 9234"/>
        <p:cNvGrpSpPr/>
        <p:nvPr/>
      </p:nvGrpSpPr>
      <p:grpSpPr>
        <a:xfrm>
          <a:off x="0" y="0"/>
          <a:ext cx="0" cy="0"/>
          <a:chOff x="0" y="0"/>
          <a:chExt cx="0" cy="0"/>
        </a:xfrm>
      </p:grpSpPr>
      <p:grpSp>
        <p:nvGrpSpPr>
          <p:cNvPr id="9235" name="Google Shape;9235;p1336"/>
          <p:cNvGrpSpPr/>
          <p:nvPr/>
        </p:nvGrpSpPr>
        <p:grpSpPr>
          <a:xfrm>
            <a:off x="7191542" y="1"/>
            <a:ext cx="5000459" cy="1425992"/>
            <a:chOff x="7191542" y="1"/>
            <a:chExt cx="5000459" cy="1425992"/>
          </a:xfrm>
        </p:grpSpPr>
        <p:pic>
          <p:nvPicPr>
            <p:cNvPr id="9236" name="Google Shape;9236;p13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37" name="Google Shape;9237;p1336"/>
            <p:cNvGrpSpPr/>
            <p:nvPr/>
          </p:nvGrpSpPr>
          <p:grpSpPr>
            <a:xfrm>
              <a:off x="7191542" y="1"/>
              <a:ext cx="5000459" cy="1425992"/>
              <a:chOff x="7186272" y="0"/>
              <a:chExt cx="5005729" cy="1427495"/>
            </a:xfrm>
          </p:grpSpPr>
          <p:sp>
            <p:nvSpPr>
              <p:cNvPr id="9238" name="Google Shape;9238;p13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239" name="Google Shape;9239;p13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240" name="Google Shape;9240;p133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241" name="Google Shape;9241;p133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42" name="Google Shape;9242;p13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43" name="Google Shape;9243;p13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44" name="Google Shape;9244;p13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DE87F3-28F5-02E5-7164-C85158A82541}"/>
              </a:ext>
            </a:extLst>
          </p:cNvPr>
          <p:cNvSpPr txBox="1">
            <a:spLocks noGrp="1"/>
          </p:cNvSpPr>
          <p:nvPr>
            <p:ph type="title"/>
          </p:nvPr>
        </p:nvSpPr>
        <p:spPr/>
        <p:txBody>
          <a:bodyPr/>
          <a:lstStyle>
            <a:lvl1pPr>
              <a:defRPr/>
            </a:lvl1pPr>
          </a:lstStyle>
          <a:p>
            <a:pPr lvl="0"/>
            <a:r>
              <a:rPr lang="en-US"/>
              <a:t>Click to edit Master title style</a:t>
            </a:r>
          </a:p>
        </p:txBody>
      </p:sp>
      <p:sp>
        <p:nvSpPr>
          <p:cNvPr id="3" name="Content Placeholder 2">
            <a:extLst>
              <a:ext uri="{FF2B5EF4-FFF2-40B4-BE49-F238E27FC236}">
                <a16:creationId xmlns:a16="http://schemas.microsoft.com/office/drawing/2014/main" id="{AC5C7999-4C71-7195-CEDC-BE054273A4C8}"/>
              </a:ext>
            </a:extLst>
          </p:cNvPr>
          <p:cNvSpPr txBox="1">
            <a:spLocks noGrp="1"/>
          </p:cNvSpPr>
          <p:nvPr>
            <p:ph idx="1"/>
          </p:nvPr>
        </p:nvSpPr>
        <p:spPr>
          <a:xfrm>
            <a:off x="609604" y="1825627"/>
            <a:ext cx="5410203" cy="4351336"/>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43">
            <a:extLst>
              <a:ext uri="{FF2B5EF4-FFF2-40B4-BE49-F238E27FC236}">
                <a16:creationId xmlns:a16="http://schemas.microsoft.com/office/drawing/2014/main" id="{C5D3B05C-34AA-8736-4C96-C8B5A9EB609C}"/>
              </a:ext>
            </a:extLst>
          </p:cNvPr>
          <p:cNvGrpSpPr/>
          <p:nvPr/>
        </p:nvGrpSpPr>
        <p:grpSpPr>
          <a:xfrm>
            <a:off x="7191545" y="0"/>
            <a:ext cx="5000460" cy="1425988"/>
            <a:chOff x="7191545" y="0"/>
            <a:chExt cx="5000460" cy="1425988"/>
          </a:xfrm>
        </p:grpSpPr>
        <p:pic>
          <p:nvPicPr>
            <p:cNvPr id="5" name="Picture 19">
              <a:extLst>
                <a:ext uri="{FF2B5EF4-FFF2-40B4-BE49-F238E27FC236}">
                  <a16:creationId xmlns:a16="http://schemas.microsoft.com/office/drawing/2014/main" id="{4E2AC160-592C-F5C7-B9DA-6E5BA4E9E8A0}"/>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6" name="Group 42">
              <a:extLst>
                <a:ext uri="{FF2B5EF4-FFF2-40B4-BE49-F238E27FC236}">
                  <a16:creationId xmlns:a16="http://schemas.microsoft.com/office/drawing/2014/main" id="{467F3200-43A2-4956-B6DB-BC819B1E74D4}"/>
                </a:ext>
              </a:extLst>
            </p:cNvPr>
            <p:cNvGrpSpPr/>
            <p:nvPr/>
          </p:nvGrpSpPr>
          <p:grpSpPr>
            <a:xfrm>
              <a:off x="7191545" y="0"/>
              <a:ext cx="5000460" cy="1425988"/>
              <a:chOff x="7191545" y="0"/>
              <a:chExt cx="5000460" cy="1425988"/>
            </a:xfrm>
          </p:grpSpPr>
          <p:sp>
            <p:nvSpPr>
              <p:cNvPr id="7" name="Freeform 41">
                <a:extLst>
                  <a:ext uri="{FF2B5EF4-FFF2-40B4-BE49-F238E27FC236}">
                    <a16:creationId xmlns:a16="http://schemas.microsoft.com/office/drawing/2014/main" id="{195A1141-0EE4-B4C1-EFBB-196841DA7409}"/>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8" name="Freeform 39">
                <a:extLst>
                  <a:ext uri="{FF2B5EF4-FFF2-40B4-BE49-F238E27FC236}">
                    <a16:creationId xmlns:a16="http://schemas.microsoft.com/office/drawing/2014/main" id="{C72CC0D0-1531-FF65-0604-2175C91FD18F}"/>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9" name="Content Placeholder 3">
            <a:extLst>
              <a:ext uri="{FF2B5EF4-FFF2-40B4-BE49-F238E27FC236}">
                <a16:creationId xmlns:a16="http://schemas.microsoft.com/office/drawing/2014/main" id="{892CBF70-9820-7EE0-A197-3A2551480048}"/>
              </a:ext>
            </a:extLst>
          </p:cNvPr>
          <p:cNvSpPr txBox="1">
            <a:spLocks noGrp="1"/>
          </p:cNvSpPr>
          <p:nvPr>
            <p:ph idx="2"/>
          </p:nvPr>
        </p:nvSpPr>
        <p:spPr>
          <a:xfrm>
            <a:off x="6172201" y="1825627"/>
            <a:ext cx="5410203" cy="4351336"/>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7">
            <a:extLst>
              <a:ext uri="{FF2B5EF4-FFF2-40B4-BE49-F238E27FC236}">
                <a16:creationId xmlns:a16="http://schemas.microsoft.com/office/drawing/2014/main" id="{E85467DF-B088-78FF-15F2-1716A857BA50}"/>
              </a:ext>
            </a:extLst>
          </p:cNvPr>
          <p:cNvSpPr txBox="1">
            <a:spLocks noGrp="1"/>
          </p:cNvSpPr>
          <p:nvPr>
            <p:ph type="sldNum" sz="quarter" idx="8"/>
          </p:nvPr>
        </p:nvSpPr>
        <p:spPr>
          <a:xfrm>
            <a:off x="8839193" y="6356352"/>
            <a:ext cx="2743200" cy="365129"/>
          </a:xfrm>
        </p:spPr>
        <p:txBody>
          <a:bodyPr/>
          <a:lstStyle>
            <a:lvl1pPr>
              <a:defRPr/>
            </a:lvl1pPr>
          </a:lstStyle>
          <a:p>
            <a:pPr lvl="0"/>
            <a:fld id="{1427EF62-3B6B-4FF2-8842-ECF4A9515F41}" type="slidenum">
              <a:t>‹#›</a:t>
            </a:fld>
            <a:endParaRPr lang="en-US"/>
          </a:p>
        </p:txBody>
      </p:sp>
      <p:cxnSp>
        <p:nvCxnSpPr>
          <p:cNvPr id="11" name="Straight Connector 6">
            <a:extLst>
              <a:ext uri="{FF2B5EF4-FFF2-40B4-BE49-F238E27FC236}">
                <a16:creationId xmlns:a16="http://schemas.microsoft.com/office/drawing/2014/main" id="{F68259C1-0A39-3826-7742-4A31D78A5670}"/>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2" name="Footer Placeholder 4">
            <a:extLst>
              <a:ext uri="{FF2B5EF4-FFF2-40B4-BE49-F238E27FC236}">
                <a16:creationId xmlns:a16="http://schemas.microsoft.com/office/drawing/2014/main" id="{27CAFF1F-6FE0-DDB1-9117-92BA3B2F6E8F}"/>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2199797640"/>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 name="Group 24">
            <a:extLst>
              <a:ext uri="{FF2B5EF4-FFF2-40B4-BE49-F238E27FC236}">
                <a16:creationId xmlns:a16="http://schemas.microsoft.com/office/drawing/2014/main" id="{7D356428-196A-EC73-EB33-65DB775A295B}"/>
              </a:ext>
            </a:extLst>
          </p:cNvPr>
          <p:cNvGrpSpPr/>
          <p:nvPr/>
        </p:nvGrpSpPr>
        <p:grpSpPr>
          <a:xfrm>
            <a:off x="7191545" y="0"/>
            <a:ext cx="5000460" cy="1425988"/>
            <a:chOff x="7191545" y="0"/>
            <a:chExt cx="5000460" cy="1425988"/>
          </a:xfrm>
        </p:grpSpPr>
        <p:pic>
          <p:nvPicPr>
            <p:cNvPr id="3" name="Picture 25">
              <a:extLst>
                <a:ext uri="{FF2B5EF4-FFF2-40B4-BE49-F238E27FC236}">
                  <a16:creationId xmlns:a16="http://schemas.microsoft.com/office/drawing/2014/main" id="{632B4CEF-802D-74E3-802C-9016E9724AB7}"/>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26">
              <a:extLst>
                <a:ext uri="{FF2B5EF4-FFF2-40B4-BE49-F238E27FC236}">
                  <a16:creationId xmlns:a16="http://schemas.microsoft.com/office/drawing/2014/main" id="{9ACB30B4-1F37-96FA-8120-AB3B67862DDB}"/>
                </a:ext>
              </a:extLst>
            </p:cNvPr>
            <p:cNvGrpSpPr/>
            <p:nvPr/>
          </p:nvGrpSpPr>
          <p:grpSpPr>
            <a:xfrm>
              <a:off x="7191545" y="0"/>
              <a:ext cx="5000460" cy="1425988"/>
              <a:chOff x="7191545" y="0"/>
              <a:chExt cx="5000460" cy="1425988"/>
            </a:xfrm>
          </p:grpSpPr>
          <p:sp>
            <p:nvSpPr>
              <p:cNvPr id="5" name="Freeform 27">
                <a:extLst>
                  <a:ext uri="{FF2B5EF4-FFF2-40B4-BE49-F238E27FC236}">
                    <a16:creationId xmlns:a16="http://schemas.microsoft.com/office/drawing/2014/main" id="{E51E3E06-2EA1-A4D6-0CE5-681A1471E59C}"/>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28">
                <a:extLst>
                  <a:ext uri="{FF2B5EF4-FFF2-40B4-BE49-F238E27FC236}">
                    <a16:creationId xmlns:a16="http://schemas.microsoft.com/office/drawing/2014/main" id="{4024A5C4-797A-BDE9-301F-5330F951C7DB}"/>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76FA23DD-9BFD-0AB1-BBB5-20358A6AC192}"/>
              </a:ext>
            </a:extLst>
          </p:cNvPr>
          <p:cNvSpPr txBox="1">
            <a:spLocks noGrp="1"/>
          </p:cNvSpPr>
          <p:nvPr>
            <p:ph type="title"/>
          </p:nvPr>
        </p:nvSpPr>
        <p:spPr/>
        <p:txBody>
          <a:bodyPr/>
          <a:lstStyle>
            <a:lvl1pPr>
              <a:defRPr/>
            </a:lvl1pPr>
          </a:lstStyle>
          <a:p>
            <a:pPr lvl="0"/>
            <a:r>
              <a:rPr lang="en-US"/>
              <a:t>Click to edit Master title style</a:t>
            </a:r>
          </a:p>
        </p:txBody>
      </p:sp>
      <p:sp>
        <p:nvSpPr>
          <p:cNvPr id="8" name="Text Placeholder 2">
            <a:extLst>
              <a:ext uri="{FF2B5EF4-FFF2-40B4-BE49-F238E27FC236}">
                <a16:creationId xmlns:a16="http://schemas.microsoft.com/office/drawing/2014/main" id="{BA7230CA-AFA6-369C-0460-9DC5E8ECC4E4}"/>
              </a:ext>
            </a:extLst>
          </p:cNvPr>
          <p:cNvSpPr txBox="1">
            <a:spLocks noGrp="1"/>
          </p:cNvSpPr>
          <p:nvPr>
            <p:ph type="body" idx="1"/>
          </p:nvPr>
        </p:nvSpPr>
        <p:spPr>
          <a:xfrm>
            <a:off x="609604" y="1681160"/>
            <a:ext cx="5387973" cy="823910"/>
          </a:xfrm>
          <a:solidFill>
            <a:srgbClr val="F3F6FB"/>
          </a:solidFill>
        </p:spPr>
        <p:txBody>
          <a:bodyPr lIns="182880" tIns="0" rIns="182880" bIns="0" anchor="ctr"/>
          <a:lstStyle>
            <a:lvl1pPr marL="0" indent="0">
              <a:buNone/>
              <a:defRPr u="sng">
                <a:uFill>
                  <a:solidFill>
                    <a:srgbClr val="F58366"/>
                  </a:solidFill>
                </a:uFill>
              </a:defRPr>
            </a:lvl1pPr>
          </a:lstStyle>
          <a:p>
            <a:pPr lvl="0"/>
            <a:r>
              <a:rPr lang="en-US"/>
              <a:t>Click to edit Master text styles</a:t>
            </a:r>
          </a:p>
        </p:txBody>
      </p:sp>
      <p:sp>
        <p:nvSpPr>
          <p:cNvPr id="9" name="Content Placeholder 3">
            <a:extLst>
              <a:ext uri="{FF2B5EF4-FFF2-40B4-BE49-F238E27FC236}">
                <a16:creationId xmlns:a16="http://schemas.microsoft.com/office/drawing/2014/main" id="{23D799D9-B3CE-4345-8A56-0855B931738E}"/>
              </a:ext>
            </a:extLst>
          </p:cNvPr>
          <p:cNvSpPr txBox="1">
            <a:spLocks noGrp="1"/>
          </p:cNvSpPr>
          <p:nvPr>
            <p:ph idx="2"/>
          </p:nvPr>
        </p:nvSpPr>
        <p:spPr>
          <a:xfrm>
            <a:off x="609604" y="2505072"/>
            <a:ext cx="5387973" cy="3684583"/>
          </a:xfrm>
          <a:solidFill>
            <a:srgbClr val="F3F6FB"/>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5817EEC5-2E29-375D-9758-86589E7564AB}"/>
              </a:ext>
            </a:extLst>
          </p:cNvPr>
          <p:cNvSpPr txBox="1">
            <a:spLocks noGrp="1"/>
          </p:cNvSpPr>
          <p:nvPr>
            <p:ph type="body" idx="3"/>
          </p:nvPr>
        </p:nvSpPr>
        <p:spPr>
          <a:xfrm>
            <a:off x="6172201" y="1681160"/>
            <a:ext cx="5410203" cy="823910"/>
          </a:xfrm>
          <a:solidFill>
            <a:srgbClr val="F3F6FB"/>
          </a:solidFill>
        </p:spPr>
        <p:txBody>
          <a:bodyPr lIns="182880" tIns="0" rIns="182880" bIns="0" anchor="ctr"/>
          <a:lstStyle>
            <a:lvl1pPr marL="0" indent="0">
              <a:buNone/>
              <a:defRPr u="sng">
                <a:uFill>
                  <a:solidFill>
                    <a:srgbClr val="F58366"/>
                  </a:solidFill>
                </a:uFill>
              </a:defRPr>
            </a:lvl1pPr>
          </a:lstStyle>
          <a:p>
            <a:pPr lvl="0"/>
            <a:r>
              <a:rPr lang="en-US"/>
              <a:t>Click to edit Master text styles</a:t>
            </a:r>
          </a:p>
        </p:txBody>
      </p:sp>
      <p:sp>
        <p:nvSpPr>
          <p:cNvPr id="11" name="Content Placeholder 5">
            <a:extLst>
              <a:ext uri="{FF2B5EF4-FFF2-40B4-BE49-F238E27FC236}">
                <a16:creationId xmlns:a16="http://schemas.microsoft.com/office/drawing/2014/main" id="{1C5D2A48-28AA-1041-1091-FD5C1EDEF3E7}"/>
              </a:ext>
            </a:extLst>
          </p:cNvPr>
          <p:cNvSpPr txBox="1">
            <a:spLocks noGrp="1"/>
          </p:cNvSpPr>
          <p:nvPr>
            <p:ph idx="4"/>
          </p:nvPr>
        </p:nvSpPr>
        <p:spPr>
          <a:xfrm>
            <a:off x="6172201" y="2505072"/>
            <a:ext cx="5410203" cy="3684583"/>
          </a:xfrm>
          <a:solidFill>
            <a:srgbClr val="F3F6FB"/>
          </a:solidFill>
        </p:spPr>
        <p:txBody>
          <a:bodyPr lIns="182880" tIns="0" rIns="182880" bIns="0"/>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9">
            <a:extLst>
              <a:ext uri="{FF2B5EF4-FFF2-40B4-BE49-F238E27FC236}">
                <a16:creationId xmlns:a16="http://schemas.microsoft.com/office/drawing/2014/main" id="{1422072E-F06F-2531-7CEF-3C59DCC4B7DF}"/>
              </a:ext>
            </a:extLst>
          </p:cNvPr>
          <p:cNvSpPr txBox="1">
            <a:spLocks noGrp="1"/>
          </p:cNvSpPr>
          <p:nvPr>
            <p:ph type="sldNum" sz="quarter" idx="8"/>
          </p:nvPr>
        </p:nvSpPr>
        <p:spPr/>
        <p:txBody>
          <a:bodyPr/>
          <a:lstStyle>
            <a:lvl1pPr>
              <a:defRPr/>
            </a:lvl1pPr>
          </a:lstStyle>
          <a:p>
            <a:pPr lvl="0"/>
            <a:fld id="{B590E376-DA1B-4930-9205-6F242D610D46}" type="slidenum">
              <a:t>‹#›</a:t>
            </a:fld>
            <a:endParaRPr lang="en-US"/>
          </a:p>
        </p:txBody>
      </p:sp>
      <p:cxnSp>
        <p:nvCxnSpPr>
          <p:cNvPr id="13" name="Straight Connector 8">
            <a:extLst>
              <a:ext uri="{FF2B5EF4-FFF2-40B4-BE49-F238E27FC236}">
                <a16:creationId xmlns:a16="http://schemas.microsoft.com/office/drawing/2014/main" id="{5D91394B-B8F5-6B16-CF81-5852E02D6DD3}"/>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4" name="Footer Placeholder 7">
            <a:extLst>
              <a:ext uri="{FF2B5EF4-FFF2-40B4-BE49-F238E27FC236}">
                <a16:creationId xmlns:a16="http://schemas.microsoft.com/office/drawing/2014/main" id="{21C8E886-61BE-0E29-C6F7-52341B900496}"/>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2635171605"/>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 name="Group 21">
            <a:extLst>
              <a:ext uri="{FF2B5EF4-FFF2-40B4-BE49-F238E27FC236}">
                <a16:creationId xmlns:a16="http://schemas.microsoft.com/office/drawing/2014/main" id="{7344372C-6402-FB3D-3F4A-82702A670C81}"/>
              </a:ext>
            </a:extLst>
          </p:cNvPr>
          <p:cNvGrpSpPr/>
          <p:nvPr/>
        </p:nvGrpSpPr>
        <p:grpSpPr>
          <a:xfrm>
            <a:off x="7191545" y="0"/>
            <a:ext cx="5000460" cy="1425988"/>
            <a:chOff x="7191545" y="0"/>
            <a:chExt cx="5000460" cy="1425988"/>
          </a:xfrm>
        </p:grpSpPr>
        <p:pic>
          <p:nvPicPr>
            <p:cNvPr id="3" name="Picture 22">
              <a:extLst>
                <a:ext uri="{FF2B5EF4-FFF2-40B4-BE49-F238E27FC236}">
                  <a16:creationId xmlns:a16="http://schemas.microsoft.com/office/drawing/2014/main" id="{D9BFC607-5A79-CE59-071B-C8907A760DED}"/>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23">
              <a:extLst>
                <a:ext uri="{FF2B5EF4-FFF2-40B4-BE49-F238E27FC236}">
                  <a16:creationId xmlns:a16="http://schemas.microsoft.com/office/drawing/2014/main" id="{6F51FAF0-9B52-49BE-C8C5-F772401C890B}"/>
                </a:ext>
              </a:extLst>
            </p:cNvPr>
            <p:cNvGrpSpPr/>
            <p:nvPr/>
          </p:nvGrpSpPr>
          <p:grpSpPr>
            <a:xfrm>
              <a:off x="7191545" y="0"/>
              <a:ext cx="5000460" cy="1425988"/>
              <a:chOff x="7191545" y="0"/>
              <a:chExt cx="5000460" cy="1425988"/>
            </a:xfrm>
          </p:grpSpPr>
          <p:sp>
            <p:nvSpPr>
              <p:cNvPr id="5" name="Freeform 24">
                <a:extLst>
                  <a:ext uri="{FF2B5EF4-FFF2-40B4-BE49-F238E27FC236}">
                    <a16:creationId xmlns:a16="http://schemas.microsoft.com/office/drawing/2014/main" id="{4138BC9F-717B-22E1-2EDC-5C8FBB7D2BD0}"/>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25">
                <a:extLst>
                  <a:ext uri="{FF2B5EF4-FFF2-40B4-BE49-F238E27FC236}">
                    <a16:creationId xmlns:a16="http://schemas.microsoft.com/office/drawing/2014/main" id="{4301B676-DD36-7A26-39CF-CEF05CBCCEBE}"/>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A1347130-69BD-96B9-D3C0-172AC94BBC16}"/>
              </a:ext>
            </a:extLst>
          </p:cNvPr>
          <p:cNvSpPr txBox="1">
            <a:spLocks noGrp="1"/>
          </p:cNvSpPr>
          <p:nvPr>
            <p:ph type="title"/>
          </p:nvPr>
        </p:nvSpPr>
        <p:spPr/>
        <p:txBody>
          <a:bodyPr/>
          <a:lstStyle>
            <a:lvl1pPr>
              <a:defRPr/>
            </a:lvl1pPr>
          </a:lstStyle>
          <a:p>
            <a:pPr lvl="0"/>
            <a:r>
              <a:rPr lang="en-US"/>
              <a:t>Click to edit Master title style</a:t>
            </a:r>
          </a:p>
        </p:txBody>
      </p:sp>
      <p:sp>
        <p:nvSpPr>
          <p:cNvPr id="8" name="Slide Number Placeholder 5">
            <a:extLst>
              <a:ext uri="{FF2B5EF4-FFF2-40B4-BE49-F238E27FC236}">
                <a16:creationId xmlns:a16="http://schemas.microsoft.com/office/drawing/2014/main" id="{3ED72D94-D6D8-1B4D-F23C-D9E703E5BDB0}"/>
              </a:ext>
            </a:extLst>
          </p:cNvPr>
          <p:cNvSpPr txBox="1">
            <a:spLocks noGrp="1"/>
          </p:cNvSpPr>
          <p:nvPr>
            <p:ph type="sldNum" sz="quarter" idx="8"/>
          </p:nvPr>
        </p:nvSpPr>
        <p:spPr/>
        <p:txBody>
          <a:bodyPr/>
          <a:lstStyle>
            <a:lvl1pPr>
              <a:defRPr/>
            </a:lvl1pPr>
          </a:lstStyle>
          <a:p>
            <a:pPr lvl="0"/>
            <a:fld id="{C870CC98-92A8-4EE1-8885-69AC0437F8A1}" type="slidenum">
              <a:t>‹#›</a:t>
            </a:fld>
            <a:endParaRPr lang="en-US"/>
          </a:p>
        </p:txBody>
      </p:sp>
      <p:cxnSp>
        <p:nvCxnSpPr>
          <p:cNvPr id="9" name="Straight Connector 6">
            <a:extLst>
              <a:ext uri="{FF2B5EF4-FFF2-40B4-BE49-F238E27FC236}">
                <a16:creationId xmlns:a16="http://schemas.microsoft.com/office/drawing/2014/main" id="{A2EE402A-EE39-EA2B-40FD-A4CA80521EDB}"/>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0" name="Footer Placeholder 2">
            <a:extLst>
              <a:ext uri="{FF2B5EF4-FFF2-40B4-BE49-F238E27FC236}">
                <a16:creationId xmlns:a16="http://schemas.microsoft.com/office/drawing/2014/main" id="{D2257190-9413-936B-6956-84028DF5F642}"/>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1054185955"/>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End">
    <p:spTree>
      <p:nvGrpSpPr>
        <p:cNvPr id="1" name=""/>
        <p:cNvGrpSpPr/>
        <p:nvPr/>
      </p:nvGrpSpPr>
      <p:grpSpPr>
        <a:xfrm>
          <a:off x="0" y="0"/>
          <a:ext cx="0" cy="0"/>
          <a:chOff x="0" y="0"/>
          <a:chExt cx="0" cy="0"/>
        </a:xfrm>
      </p:grpSpPr>
      <p:grpSp>
        <p:nvGrpSpPr>
          <p:cNvPr id="2" name="Group 41">
            <a:extLst>
              <a:ext uri="{FF2B5EF4-FFF2-40B4-BE49-F238E27FC236}">
                <a16:creationId xmlns:a16="http://schemas.microsoft.com/office/drawing/2014/main" id="{95531675-17D2-BEB1-D350-C8C00824BB0F}"/>
              </a:ext>
            </a:extLst>
          </p:cNvPr>
          <p:cNvGrpSpPr/>
          <p:nvPr/>
        </p:nvGrpSpPr>
        <p:grpSpPr>
          <a:xfrm>
            <a:off x="0" y="0"/>
            <a:ext cx="12191996" cy="2148830"/>
            <a:chOff x="0" y="0"/>
            <a:chExt cx="12191996" cy="2148830"/>
          </a:xfrm>
        </p:grpSpPr>
        <p:sp>
          <p:nvSpPr>
            <p:cNvPr id="3" name="Freeform 40">
              <a:extLst>
                <a:ext uri="{FF2B5EF4-FFF2-40B4-BE49-F238E27FC236}">
                  <a16:creationId xmlns:a16="http://schemas.microsoft.com/office/drawing/2014/main" id="{FB2BC239-25DB-BF89-A87D-CD3907E4C129}"/>
                </a:ext>
              </a:extLst>
            </p:cNvPr>
            <p:cNvSpPr/>
            <p:nvPr/>
          </p:nvSpPr>
          <p:spPr>
            <a:xfrm flipH="1">
              <a:off x="0" y="0"/>
              <a:ext cx="12191996" cy="2148830"/>
            </a:xfrm>
            <a:custGeom>
              <a:avLst/>
              <a:gdLst>
                <a:gd name="f0" fmla="val 10800000"/>
                <a:gd name="f1" fmla="val 5400000"/>
                <a:gd name="f2" fmla="val 180"/>
                <a:gd name="f3" fmla="val w"/>
                <a:gd name="f4" fmla="val h"/>
                <a:gd name="f5" fmla="val 0"/>
                <a:gd name="f6" fmla="val 12192000"/>
                <a:gd name="f7" fmla="val 2148830"/>
                <a:gd name="f8" fmla="val 2318293"/>
                <a:gd name="f9" fmla="val 2110341"/>
                <a:gd name="f10" fmla="val 1952334"/>
                <a:gd name="f11" fmla="val 920"/>
                <a:gd name="f12" fmla="val 1343499"/>
                <a:gd name="f13" fmla="val 23864"/>
                <a:gd name="f14" fmla="val 752130"/>
                <a:gd name="f15" fmla="val 152982"/>
                <a:gd name="f16" fmla="val 184205"/>
                <a:gd name="f17" fmla="val 435928"/>
                <a:gd name="f18" fmla="val 536864"/>
                <a:gd name="f19" fmla="val 554713"/>
                <a:gd name="f20" fmla="val 201115"/>
                <a:gd name="f21" fmla="val 452796"/>
                <a:gd name="f22" fmla="val 776357"/>
                <a:gd name="f23" fmla="val 187336"/>
                <a:gd name="f24" fmla="val 1349828"/>
                <a:gd name="f25" fmla="val 76760"/>
                <a:gd name="f26" fmla="val 1947588"/>
                <a:gd name="f27" fmla="val 66249"/>
                <a:gd name="f28" fmla="val 2962940"/>
                <a:gd name="f29" fmla="val 48421"/>
                <a:gd name="f30" fmla="val 3890218"/>
                <a:gd name="f31" fmla="val 291317"/>
                <a:gd name="f32" fmla="val 4778140"/>
                <a:gd name="f33" fmla="val 604018"/>
                <a:gd name="f34" fmla="val 7231510"/>
                <a:gd name="f35" fmla="val 1468126"/>
                <a:gd name="f36" fmla="val 9178927"/>
                <a:gd name="f37" fmla="val 2492024"/>
                <a:gd name="f38" fmla="val 11996242"/>
                <a:gd name="f39" fmla="val 2036894"/>
                <a:gd name="f40" fmla="val 2002266"/>
                <a:gd name="f41" fmla="val 1415250"/>
                <a:gd name="f42" fmla="val 12022971"/>
                <a:gd name="f43" fmla="val 1470801"/>
                <a:gd name="f44" fmla="val 10719696"/>
                <a:gd name="f45" fmla="val 1863939"/>
                <a:gd name="f46" fmla="val 9271154"/>
                <a:gd name="f47" fmla="val 1783804"/>
                <a:gd name="f48" fmla="val 7970940"/>
                <a:gd name="f49" fmla="val 1436986"/>
                <a:gd name="f50" fmla="val 6890984"/>
                <a:gd name="f51" fmla="val 1148958"/>
                <a:gd name="f52" fmla="val 5866930"/>
                <a:gd name="f53" fmla="val 767309"/>
                <a:gd name="f54" fmla="val 4800356"/>
                <a:gd name="f55" fmla="val 456582"/>
                <a:gd name="f56" fmla="val 4068903"/>
                <a:gd name="f57" fmla="val 243471"/>
                <a:gd name="f58" fmla="val 3348204"/>
                <a:gd name="f59" fmla="val 74251"/>
                <a:gd name="f60" fmla="val 2646880"/>
                <a:gd name="f61" fmla="val 17560"/>
                <a:gd name="f62" fmla="+- 0 0 -90"/>
                <a:gd name="f63" fmla="*/ f3 1 12192000"/>
                <a:gd name="f64" fmla="*/ f4 1 2148830"/>
                <a:gd name="f65" fmla="+- f7 0 f5"/>
                <a:gd name="f66" fmla="+- f6 0 f5"/>
                <a:gd name="f67" fmla="*/ f62 f0 1"/>
                <a:gd name="f68" fmla="*/ f66 1 12192000"/>
                <a:gd name="f69" fmla="*/ f65 1 2148830"/>
                <a:gd name="f70" fmla="*/ 2318293 f66 1"/>
                <a:gd name="f71" fmla="*/ 0 f65 1"/>
                <a:gd name="f72" fmla="*/ 2110341 f66 1"/>
                <a:gd name="f73" fmla="*/ 1952334 f66 1"/>
                <a:gd name="f74" fmla="*/ 920 f65 1"/>
                <a:gd name="f75" fmla="*/ 184205 f66 1"/>
                <a:gd name="f76" fmla="*/ 435928 f65 1"/>
                <a:gd name="f77" fmla="*/ 0 f66 1"/>
                <a:gd name="f78" fmla="*/ 536864 f65 1"/>
                <a:gd name="f79" fmla="*/ 554713 f65 1"/>
                <a:gd name="f80" fmla="*/ 201115 f66 1"/>
                <a:gd name="f81" fmla="*/ 452796 f65 1"/>
                <a:gd name="f82" fmla="*/ 1947588 f66 1"/>
                <a:gd name="f83" fmla="*/ 66249 f65 1"/>
                <a:gd name="f84" fmla="*/ 4778140 f66 1"/>
                <a:gd name="f85" fmla="*/ 604018 f65 1"/>
                <a:gd name="f86" fmla="*/ 11996242 f66 1"/>
                <a:gd name="f87" fmla="*/ 2036894 f65 1"/>
                <a:gd name="f88" fmla="*/ 12192000 f66 1"/>
                <a:gd name="f89" fmla="*/ 2002266 f65 1"/>
                <a:gd name="f90" fmla="*/ 1415250 f65 1"/>
                <a:gd name="f91" fmla="*/ 12022971 f66 1"/>
                <a:gd name="f92" fmla="*/ 1470801 f65 1"/>
                <a:gd name="f93" fmla="*/ 7970940 f66 1"/>
                <a:gd name="f94" fmla="*/ 1436986 f65 1"/>
                <a:gd name="f95" fmla="*/ 4800356 f66 1"/>
                <a:gd name="f96" fmla="*/ 456582 f65 1"/>
                <a:gd name="f97" fmla="*/ 2646880 f66 1"/>
                <a:gd name="f98" fmla="*/ 17560 f65 1"/>
                <a:gd name="f99" fmla="*/ f67 1 f2"/>
                <a:gd name="f100" fmla="*/ f70 1 12192000"/>
                <a:gd name="f101" fmla="*/ f71 1 2148830"/>
                <a:gd name="f102" fmla="*/ f72 1 12192000"/>
                <a:gd name="f103" fmla="*/ f73 1 12192000"/>
                <a:gd name="f104" fmla="*/ f74 1 2148830"/>
                <a:gd name="f105" fmla="*/ f75 1 12192000"/>
                <a:gd name="f106" fmla="*/ f76 1 2148830"/>
                <a:gd name="f107" fmla="*/ f77 1 12192000"/>
                <a:gd name="f108" fmla="*/ f78 1 2148830"/>
                <a:gd name="f109" fmla="*/ f79 1 2148830"/>
                <a:gd name="f110" fmla="*/ f80 1 12192000"/>
                <a:gd name="f111" fmla="*/ f81 1 2148830"/>
                <a:gd name="f112" fmla="*/ f82 1 12192000"/>
                <a:gd name="f113" fmla="*/ f83 1 2148830"/>
                <a:gd name="f114" fmla="*/ f84 1 12192000"/>
                <a:gd name="f115" fmla="*/ f85 1 2148830"/>
                <a:gd name="f116" fmla="*/ f86 1 12192000"/>
                <a:gd name="f117" fmla="*/ f87 1 2148830"/>
                <a:gd name="f118" fmla="*/ f88 1 12192000"/>
                <a:gd name="f119" fmla="*/ f89 1 2148830"/>
                <a:gd name="f120" fmla="*/ f90 1 2148830"/>
                <a:gd name="f121" fmla="*/ f91 1 12192000"/>
                <a:gd name="f122" fmla="*/ f92 1 2148830"/>
                <a:gd name="f123" fmla="*/ f93 1 12192000"/>
                <a:gd name="f124" fmla="*/ f94 1 2148830"/>
                <a:gd name="f125" fmla="*/ f95 1 12192000"/>
                <a:gd name="f126" fmla="*/ f96 1 2148830"/>
                <a:gd name="f127" fmla="*/ f97 1 12192000"/>
                <a:gd name="f128" fmla="*/ f98 1 2148830"/>
                <a:gd name="f129" fmla="*/ f5 1 f68"/>
                <a:gd name="f130" fmla="*/ f6 1 f68"/>
                <a:gd name="f131" fmla="*/ f5 1 f69"/>
                <a:gd name="f132" fmla="*/ f7 1 f69"/>
                <a:gd name="f133" fmla="+- f99 0 f1"/>
                <a:gd name="f134" fmla="*/ f100 1 f68"/>
                <a:gd name="f135" fmla="*/ f101 1 f69"/>
                <a:gd name="f136" fmla="*/ f102 1 f68"/>
                <a:gd name="f137" fmla="*/ f103 1 f68"/>
                <a:gd name="f138" fmla="*/ f104 1 f69"/>
                <a:gd name="f139" fmla="*/ f105 1 f68"/>
                <a:gd name="f140" fmla="*/ f106 1 f69"/>
                <a:gd name="f141" fmla="*/ f107 1 f68"/>
                <a:gd name="f142" fmla="*/ f108 1 f69"/>
                <a:gd name="f143" fmla="*/ f109 1 f69"/>
                <a:gd name="f144" fmla="*/ f110 1 f68"/>
                <a:gd name="f145" fmla="*/ f111 1 f69"/>
                <a:gd name="f146" fmla="*/ f112 1 f68"/>
                <a:gd name="f147" fmla="*/ f113 1 f69"/>
                <a:gd name="f148" fmla="*/ f114 1 f68"/>
                <a:gd name="f149" fmla="*/ f115 1 f69"/>
                <a:gd name="f150" fmla="*/ f116 1 f68"/>
                <a:gd name="f151" fmla="*/ f117 1 f69"/>
                <a:gd name="f152" fmla="*/ f118 1 f68"/>
                <a:gd name="f153" fmla="*/ f119 1 f69"/>
                <a:gd name="f154" fmla="*/ f120 1 f69"/>
                <a:gd name="f155" fmla="*/ f121 1 f68"/>
                <a:gd name="f156" fmla="*/ f122 1 f69"/>
                <a:gd name="f157" fmla="*/ f123 1 f68"/>
                <a:gd name="f158" fmla="*/ f124 1 f69"/>
                <a:gd name="f159" fmla="*/ f125 1 f68"/>
                <a:gd name="f160" fmla="*/ f126 1 f69"/>
                <a:gd name="f161" fmla="*/ f127 1 f68"/>
                <a:gd name="f162" fmla="*/ f128 1 f69"/>
                <a:gd name="f163" fmla="*/ f129 f63 1"/>
                <a:gd name="f164" fmla="*/ f130 f63 1"/>
                <a:gd name="f165" fmla="*/ f132 f64 1"/>
                <a:gd name="f166" fmla="*/ f131 f64 1"/>
                <a:gd name="f167" fmla="*/ f134 f63 1"/>
                <a:gd name="f168" fmla="*/ f135 f64 1"/>
                <a:gd name="f169" fmla="*/ f136 f63 1"/>
                <a:gd name="f170" fmla="*/ f137 f63 1"/>
                <a:gd name="f171" fmla="*/ f138 f64 1"/>
                <a:gd name="f172" fmla="*/ f139 f63 1"/>
                <a:gd name="f173" fmla="*/ f140 f64 1"/>
                <a:gd name="f174" fmla="*/ f141 f63 1"/>
                <a:gd name="f175" fmla="*/ f142 f64 1"/>
                <a:gd name="f176" fmla="*/ f143 f64 1"/>
                <a:gd name="f177" fmla="*/ f144 f63 1"/>
                <a:gd name="f178" fmla="*/ f145 f64 1"/>
                <a:gd name="f179" fmla="*/ f146 f63 1"/>
                <a:gd name="f180" fmla="*/ f147 f64 1"/>
                <a:gd name="f181" fmla="*/ f148 f63 1"/>
                <a:gd name="f182" fmla="*/ f149 f64 1"/>
                <a:gd name="f183" fmla="*/ f150 f63 1"/>
                <a:gd name="f184" fmla="*/ f151 f64 1"/>
                <a:gd name="f185" fmla="*/ f152 f63 1"/>
                <a:gd name="f186" fmla="*/ f153 f64 1"/>
                <a:gd name="f187" fmla="*/ f154 f64 1"/>
                <a:gd name="f188" fmla="*/ f155 f63 1"/>
                <a:gd name="f189" fmla="*/ f156 f64 1"/>
                <a:gd name="f190" fmla="*/ f157 f63 1"/>
                <a:gd name="f191" fmla="*/ f158 f64 1"/>
                <a:gd name="f192" fmla="*/ f159 f63 1"/>
                <a:gd name="f193" fmla="*/ f160 f64 1"/>
                <a:gd name="f194" fmla="*/ f161 f63 1"/>
                <a:gd name="f195" fmla="*/ f162 f64 1"/>
              </a:gdLst>
              <a:ahLst/>
              <a:cxnLst>
                <a:cxn ang="3cd4">
                  <a:pos x="hc" y="t"/>
                </a:cxn>
                <a:cxn ang="0">
                  <a:pos x="r" y="vc"/>
                </a:cxn>
                <a:cxn ang="cd4">
                  <a:pos x="hc" y="b"/>
                </a:cxn>
                <a:cxn ang="cd2">
                  <a:pos x="l" y="vc"/>
                </a:cxn>
                <a:cxn ang="f133">
                  <a:pos x="f167" y="f168"/>
                </a:cxn>
                <a:cxn ang="f133">
                  <a:pos x="f169" y="f168"/>
                </a:cxn>
                <a:cxn ang="f133">
                  <a:pos x="f170" y="f171"/>
                </a:cxn>
                <a:cxn ang="f133">
                  <a:pos x="f172" y="f173"/>
                </a:cxn>
                <a:cxn ang="f133">
                  <a:pos x="f174" y="f175"/>
                </a:cxn>
                <a:cxn ang="f133">
                  <a:pos x="f174" y="f176"/>
                </a:cxn>
                <a:cxn ang="f133">
                  <a:pos x="f177" y="f178"/>
                </a:cxn>
                <a:cxn ang="f133">
                  <a:pos x="f179" y="f180"/>
                </a:cxn>
                <a:cxn ang="f133">
                  <a:pos x="f181" y="f182"/>
                </a:cxn>
                <a:cxn ang="f133">
                  <a:pos x="f183" y="f184"/>
                </a:cxn>
                <a:cxn ang="f133">
                  <a:pos x="f185" y="f186"/>
                </a:cxn>
                <a:cxn ang="f133">
                  <a:pos x="f185" y="f187"/>
                </a:cxn>
                <a:cxn ang="f133">
                  <a:pos x="f188" y="f189"/>
                </a:cxn>
                <a:cxn ang="f133">
                  <a:pos x="f190" y="f191"/>
                </a:cxn>
                <a:cxn ang="f133">
                  <a:pos x="f192" y="f193"/>
                </a:cxn>
                <a:cxn ang="f133">
                  <a:pos x="f194" y="f195"/>
                </a:cxn>
              </a:cxnLst>
              <a:rect l="f163" t="f166" r="f164" b="f165"/>
              <a:pathLst>
                <a:path w="12192000" h="2148830">
                  <a:moveTo>
                    <a:pt x="f8" y="f5"/>
                  </a:moveTo>
                  <a:lnTo>
                    <a:pt x="f9" y="f5"/>
                  </a:lnTo>
                  <a:lnTo>
                    <a:pt x="f10" y="f11"/>
                  </a:lnTo>
                  <a:cubicBezTo>
                    <a:pt x="f12" y="f13"/>
                    <a:pt x="f14" y="f15"/>
                    <a:pt x="f16" y="f17"/>
                  </a:cubicBezTo>
                  <a:lnTo>
                    <a:pt x="f5" y="f18"/>
                  </a:lnTo>
                  <a:lnTo>
                    <a:pt x="f5" y="f19"/>
                  </a:lnTo>
                  <a:lnTo>
                    <a:pt x="f20" y="f21"/>
                  </a:lnTo>
                  <a:cubicBezTo>
                    <a:pt x="f22" y="f23"/>
                    <a:pt x="f24" y="f25"/>
                    <a:pt x="f26" y="f27"/>
                  </a:cubicBezTo>
                  <a:cubicBezTo>
                    <a:pt x="f28" y="f29"/>
                    <a:pt x="f30" y="f31"/>
                    <a:pt x="f32" y="f33"/>
                  </a:cubicBezTo>
                  <a:cubicBezTo>
                    <a:pt x="f34" y="f35"/>
                    <a:pt x="f36" y="f37"/>
                    <a:pt x="f38" y="f39"/>
                  </a:cubicBezTo>
                  <a:lnTo>
                    <a:pt x="f6" y="f40"/>
                  </a:lnTo>
                  <a:lnTo>
                    <a:pt x="f6" y="f41"/>
                  </a:lnTo>
                  <a:lnTo>
                    <a:pt x="f42" y="f43"/>
                  </a:lnTo>
                  <a:cubicBezTo>
                    <a:pt x="f44" y="f45"/>
                    <a:pt x="f46" y="f47"/>
                    <a:pt x="f48" y="f49"/>
                  </a:cubicBezTo>
                  <a:cubicBezTo>
                    <a:pt x="f50" y="f51"/>
                    <a:pt x="f52" y="f53"/>
                    <a:pt x="f54" y="f55"/>
                  </a:cubicBezTo>
                  <a:cubicBezTo>
                    <a:pt x="f56" y="f57"/>
                    <a:pt x="f58" y="f59"/>
                    <a:pt x="f60" y="f61"/>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4" name="Freeform 38">
              <a:extLst>
                <a:ext uri="{FF2B5EF4-FFF2-40B4-BE49-F238E27FC236}">
                  <a16:creationId xmlns:a16="http://schemas.microsoft.com/office/drawing/2014/main" id="{531FFFA2-34EC-6D95-C3D5-CA3BF68C8C0C}"/>
                </a:ext>
              </a:extLst>
            </p:cNvPr>
            <p:cNvSpPr/>
            <p:nvPr/>
          </p:nvSpPr>
          <p:spPr>
            <a:xfrm flipH="1">
              <a:off x="0" y="0"/>
              <a:ext cx="12191996" cy="1992139"/>
            </a:xfrm>
            <a:custGeom>
              <a:avLst/>
              <a:gdLst>
                <a:gd name="f0" fmla="val 10800000"/>
                <a:gd name="f1" fmla="val 5400000"/>
                <a:gd name="f2" fmla="val 180"/>
                <a:gd name="f3" fmla="val w"/>
                <a:gd name="f4" fmla="val h"/>
                <a:gd name="f5" fmla="val 0"/>
                <a:gd name="f6" fmla="val 12192000"/>
                <a:gd name="f7" fmla="val 1992138"/>
                <a:gd name="f8" fmla="val 2724271"/>
                <a:gd name="f9" fmla="val 1788442"/>
                <a:gd name="f10" fmla="val 1635403"/>
                <a:gd name="f11" fmla="val 12925"/>
                <a:gd name="f12" fmla="val 1134241"/>
                <a:gd name="f13" fmla="val 70905"/>
                <a:gd name="f14" fmla="val 647221"/>
                <a:gd name="f15" fmla="val 207817"/>
                <a:gd name="f16" fmla="val 178220"/>
                <a:gd name="f17" fmla="val 451207"/>
                <a:gd name="f18" fmla="val 552718"/>
                <a:gd name="f19" fmla="val 570885"/>
                <a:gd name="f20" fmla="val 195368"/>
                <a:gd name="f21" fmla="val 467800"/>
                <a:gd name="f22" fmla="val 765758"/>
                <a:gd name="f23" fmla="val 193094"/>
                <a:gd name="f24" fmla="val 1336955"/>
                <a:gd name="f25" fmla="val 73179"/>
                <a:gd name="f26" fmla="val 1934073"/>
                <a:gd name="f27" fmla="val 52850"/>
                <a:gd name="f28" fmla="val 2948304"/>
                <a:gd name="f29" fmla="val 18310"/>
                <a:gd name="f30" fmla="val 3878878"/>
                <a:gd name="f31" fmla="val 245747"/>
                <a:gd name="f32" fmla="val 4771217"/>
                <a:gd name="f33" fmla="val 543645"/>
                <a:gd name="f34" fmla="val 7236913"/>
                <a:gd name="f35" fmla="val 1366709"/>
                <a:gd name="f36" fmla="val 9199689"/>
                <a:gd name="f37" fmla="val 2357774"/>
                <a:gd name="f38" fmla="val 12007222"/>
                <a:gd name="f39" fmla="val 1856729"/>
                <a:gd name="f40" fmla="val 1820900"/>
                <a:gd name="f41" fmla="val 897073"/>
                <a:gd name="f42" fmla="val 12062517"/>
                <a:gd name="f43" fmla="val 950128"/>
                <a:gd name="f44" fmla="val 10950292"/>
                <a:gd name="f45" fmla="val 1376478"/>
                <a:gd name="f46" fmla="val 9595706"/>
                <a:gd name="f47" fmla="val 1466451"/>
                <a:gd name="f48" fmla="val 8435105"/>
                <a:gd name="f49" fmla="val 1266613"/>
                <a:gd name="f50" fmla="val 6618389"/>
                <a:gd name="f51" fmla="val 953715"/>
                <a:gd name="f52" fmla="val 4735222"/>
                <a:gd name="f53" fmla="val 130088"/>
                <a:gd name="f54" fmla="val 2948502"/>
                <a:gd name="f55" fmla="val 20548"/>
                <a:gd name="f56" fmla="+- 0 0 -90"/>
                <a:gd name="f57" fmla="*/ f3 1 12192000"/>
                <a:gd name="f58" fmla="*/ f4 1 1992138"/>
                <a:gd name="f59" fmla="+- f7 0 f5"/>
                <a:gd name="f60" fmla="+- f6 0 f5"/>
                <a:gd name="f61" fmla="*/ f56 f0 1"/>
                <a:gd name="f62" fmla="*/ f60 1 12192000"/>
                <a:gd name="f63" fmla="*/ f59 1 1992138"/>
                <a:gd name="f64" fmla="*/ 2724271 f60 1"/>
                <a:gd name="f65" fmla="*/ 0 f59 1"/>
                <a:gd name="f66" fmla="*/ 1788442 f60 1"/>
                <a:gd name="f67" fmla="*/ 1635403 f60 1"/>
                <a:gd name="f68" fmla="*/ 12925 f59 1"/>
                <a:gd name="f69" fmla="*/ 178220 f60 1"/>
                <a:gd name="f70" fmla="*/ 451207 f59 1"/>
                <a:gd name="f71" fmla="*/ 0 f60 1"/>
                <a:gd name="f72" fmla="*/ 552718 f59 1"/>
                <a:gd name="f73" fmla="*/ 570885 f59 1"/>
                <a:gd name="f74" fmla="*/ 195368 f60 1"/>
                <a:gd name="f75" fmla="*/ 467800 f59 1"/>
                <a:gd name="f76" fmla="*/ 1934073 f60 1"/>
                <a:gd name="f77" fmla="*/ 52850 f59 1"/>
                <a:gd name="f78" fmla="*/ 4771217 f60 1"/>
                <a:gd name="f79" fmla="*/ 543645 f59 1"/>
                <a:gd name="f80" fmla="*/ 12007222 f60 1"/>
                <a:gd name="f81" fmla="*/ 1856729 f59 1"/>
                <a:gd name="f82" fmla="*/ 12192000 f60 1"/>
                <a:gd name="f83" fmla="*/ 1820900 f59 1"/>
                <a:gd name="f84" fmla="*/ 897073 f59 1"/>
                <a:gd name="f85" fmla="*/ 12062517 f60 1"/>
                <a:gd name="f86" fmla="*/ 950128 f59 1"/>
                <a:gd name="f87" fmla="*/ 8435105 f60 1"/>
                <a:gd name="f88" fmla="*/ 1266613 f59 1"/>
                <a:gd name="f89" fmla="*/ 2948502 f60 1"/>
                <a:gd name="f90" fmla="*/ 20548 f59 1"/>
                <a:gd name="f91" fmla="*/ f61 1 f2"/>
                <a:gd name="f92" fmla="*/ f64 1 12192000"/>
                <a:gd name="f93" fmla="*/ f65 1 1992138"/>
                <a:gd name="f94" fmla="*/ f66 1 12192000"/>
                <a:gd name="f95" fmla="*/ f67 1 12192000"/>
                <a:gd name="f96" fmla="*/ f68 1 1992138"/>
                <a:gd name="f97" fmla="*/ f69 1 12192000"/>
                <a:gd name="f98" fmla="*/ f70 1 1992138"/>
                <a:gd name="f99" fmla="*/ f71 1 12192000"/>
                <a:gd name="f100" fmla="*/ f72 1 1992138"/>
                <a:gd name="f101" fmla="*/ f73 1 1992138"/>
                <a:gd name="f102" fmla="*/ f74 1 12192000"/>
                <a:gd name="f103" fmla="*/ f75 1 1992138"/>
                <a:gd name="f104" fmla="*/ f76 1 12192000"/>
                <a:gd name="f105" fmla="*/ f77 1 1992138"/>
                <a:gd name="f106" fmla="*/ f78 1 12192000"/>
                <a:gd name="f107" fmla="*/ f79 1 1992138"/>
                <a:gd name="f108" fmla="*/ f80 1 12192000"/>
                <a:gd name="f109" fmla="*/ f81 1 1992138"/>
                <a:gd name="f110" fmla="*/ f82 1 12192000"/>
                <a:gd name="f111" fmla="*/ f83 1 1992138"/>
                <a:gd name="f112" fmla="*/ f84 1 1992138"/>
                <a:gd name="f113" fmla="*/ f85 1 12192000"/>
                <a:gd name="f114" fmla="*/ f86 1 1992138"/>
                <a:gd name="f115" fmla="*/ f87 1 12192000"/>
                <a:gd name="f116" fmla="*/ f88 1 1992138"/>
                <a:gd name="f117" fmla="*/ f89 1 12192000"/>
                <a:gd name="f118" fmla="*/ f90 1 1992138"/>
                <a:gd name="f119" fmla="*/ f5 1 f62"/>
                <a:gd name="f120" fmla="*/ f6 1 f62"/>
                <a:gd name="f121" fmla="*/ f5 1 f63"/>
                <a:gd name="f122" fmla="*/ f7 1 f63"/>
                <a:gd name="f123" fmla="+- f91 0 f1"/>
                <a:gd name="f124" fmla="*/ f92 1 f62"/>
                <a:gd name="f125" fmla="*/ f93 1 f63"/>
                <a:gd name="f126" fmla="*/ f94 1 f62"/>
                <a:gd name="f127" fmla="*/ f95 1 f62"/>
                <a:gd name="f128" fmla="*/ f96 1 f63"/>
                <a:gd name="f129" fmla="*/ f97 1 f62"/>
                <a:gd name="f130" fmla="*/ f98 1 f63"/>
                <a:gd name="f131" fmla="*/ f99 1 f62"/>
                <a:gd name="f132" fmla="*/ f100 1 f63"/>
                <a:gd name="f133" fmla="*/ f101 1 f63"/>
                <a:gd name="f134" fmla="*/ f102 1 f62"/>
                <a:gd name="f135" fmla="*/ f103 1 f63"/>
                <a:gd name="f136" fmla="*/ f104 1 f62"/>
                <a:gd name="f137" fmla="*/ f105 1 f63"/>
                <a:gd name="f138" fmla="*/ f106 1 f62"/>
                <a:gd name="f139" fmla="*/ f107 1 f63"/>
                <a:gd name="f140" fmla="*/ f108 1 f62"/>
                <a:gd name="f141" fmla="*/ f109 1 f63"/>
                <a:gd name="f142" fmla="*/ f110 1 f62"/>
                <a:gd name="f143" fmla="*/ f111 1 f63"/>
                <a:gd name="f144" fmla="*/ f112 1 f63"/>
                <a:gd name="f145" fmla="*/ f113 1 f62"/>
                <a:gd name="f146" fmla="*/ f114 1 f63"/>
                <a:gd name="f147" fmla="*/ f115 1 f62"/>
                <a:gd name="f148" fmla="*/ f116 1 f63"/>
                <a:gd name="f149" fmla="*/ f117 1 f62"/>
                <a:gd name="f150" fmla="*/ f118 1 f63"/>
                <a:gd name="f151" fmla="*/ f119 f57 1"/>
                <a:gd name="f152" fmla="*/ f120 f57 1"/>
                <a:gd name="f153" fmla="*/ f122 f58 1"/>
                <a:gd name="f154" fmla="*/ f121 f58 1"/>
                <a:gd name="f155" fmla="*/ f124 f57 1"/>
                <a:gd name="f156" fmla="*/ f125 f58 1"/>
                <a:gd name="f157" fmla="*/ f126 f57 1"/>
                <a:gd name="f158" fmla="*/ f127 f57 1"/>
                <a:gd name="f159" fmla="*/ f128 f58 1"/>
                <a:gd name="f160" fmla="*/ f129 f57 1"/>
                <a:gd name="f161" fmla="*/ f130 f58 1"/>
                <a:gd name="f162" fmla="*/ f131 f57 1"/>
                <a:gd name="f163" fmla="*/ f132 f58 1"/>
                <a:gd name="f164" fmla="*/ f133 f58 1"/>
                <a:gd name="f165" fmla="*/ f134 f57 1"/>
                <a:gd name="f166" fmla="*/ f135 f58 1"/>
                <a:gd name="f167" fmla="*/ f136 f57 1"/>
                <a:gd name="f168" fmla="*/ f137 f58 1"/>
                <a:gd name="f169" fmla="*/ f138 f57 1"/>
                <a:gd name="f170" fmla="*/ f139 f58 1"/>
                <a:gd name="f171" fmla="*/ f140 f57 1"/>
                <a:gd name="f172" fmla="*/ f141 f58 1"/>
                <a:gd name="f173" fmla="*/ f142 f57 1"/>
                <a:gd name="f174" fmla="*/ f143 f58 1"/>
                <a:gd name="f175" fmla="*/ f144 f58 1"/>
                <a:gd name="f176" fmla="*/ f145 f57 1"/>
                <a:gd name="f177" fmla="*/ f146 f58 1"/>
                <a:gd name="f178" fmla="*/ f147 f57 1"/>
                <a:gd name="f179" fmla="*/ f148 f58 1"/>
                <a:gd name="f180" fmla="*/ f149 f57 1"/>
                <a:gd name="f181" fmla="*/ f150 f58 1"/>
              </a:gdLst>
              <a:ahLst/>
              <a:cxnLst>
                <a:cxn ang="3cd4">
                  <a:pos x="hc" y="t"/>
                </a:cxn>
                <a:cxn ang="0">
                  <a:pos x="r" y="vc"/>
                </a:cxn>
                <a:cxn ang="cd4">
                  <a:pos x="hc" y="b"/>
                </a:cxn>
                <a:cxn ang="cd2">
                  <a:pos x="l" y="vc"/>
                </a:cxn>
                <a:cxn ang="f123">
                  <a:pos x="f155" y="f156"/>
                </a:cxn>
                <a:cxn ang="f123">
                  <a:pos x="f157" y="f156"/>
                </a:cxn>
                <a:cxn ang="f123">
                  <a:pos x="f158" y="f159"/>
                </a:cxn>
                <a:cxn ang="f123">
                  <a:pos x="f160" y="f161"/>
                </a:cxn>
                <a:cxn ang="f123">
                  <a:pos x="f162" y="f163"/>
                </a:cxn>
                <a:cxn ang="f123">
                  <a:pos x="f162" y="f164"/>
                </a:cxn>
                <a:cxn ang="f123">
                  <a:pos x="f165" y="f166"/>
                </a:cxn>
                <a:cxn ang="f123">
                  <a:pos x="f167" y="f168"/>
                </a:cxn>
                <a:cxn ang="f123">
                  <a:pos x="f169" y="f170"/>
                </a:cxn>
                <a:cxn ang="f123">
                  <a:pos x="f171" y="f172"/>
                </a:cxn>
                <a:cxn ang="f123">
                  <a:pos x="f173" y="f174"/>
                </a:cxn>
                <a:cxn ang="f123">
                  <a:pos x="f173" y="f175"/>
                </a:cxn>
                <a:cxn ang="f123">
                  <a:pos x="f176" y="f177"/>
                </a:cxn>
                <a:cxn ang="f123">
                  <a:pos x="f178" y="f179"/>
                </a:cxn>
                <a:cxn ang="f123">
                  <a:pos x="f180" y="f181"/>
                </a:cxn>
              </a:cxnLst>
              <a:rect l="f151" t="f154" r="f152" b="f153"/>
              <a:pathLst>
                <a:path w="12192000" h="1992138">
                  <a:moveTo>
                    <a:pt x="f8" y="f5"/>
                  </a:moveTo>
                  <a:lnTo>
                    <a:pt x="f9" y="f5"/>
                  </a:lnTo>
                  <a:lnTo>
                    <a:pt x="f10" y="f11"/>
                  </a:lnTo>
                  <a:cubicBezTo>
                    <a:pt x="f12" y="f13"/>
                    <a:pt x="f14" y="f15"/>
                    <a:pt x="f16" y="f17"/>
                  </a:cubicBezTo>
                  <a:lnTo>
                    <a:pt x="f5" y="f18"/>
                  </a:lnTo>
                  <a:lnTo>
                    <a:pt x="f5" y="f19"/>
                  </a:lnTo>
                  <a:lnTo>
                    <a:pt x="f20" y="f21"/>
                  </a:lnTo>
                  <a:cubicBezTo>
                    <a:pt x="f22" y="f23"/>
                    <a:pt x="f24" y="f25"/>
                    <a:pt x="f26" y="f27"/>
                  </a:cubicBezTo>
                  <a:cubicBezTo>
                    <a:pt x="f28" y="f29"/>
                    <a:pt x="f30" y="f31"/>
                    <a:pt x="f32" y="f33"/>
                  </a:cubicBezTo>
                  <a:cubicBezTo>
                    <a:pt x="f34" y="f35"/>
                    <a:pt x="f36" y="f37"/>
                    <a:pt x="f38" y="f39"/>
                  </a:cubicBezTo>
                  <a:lnTo>
                    <a:pt x="f6" y="f40"/>
                  </a:lnTo>
                  <a:lnTo>
                    <a:pt x="f6" y="f41"/>
                  </a:lnTo>
                  <a:lnTo>
                    <a:pt x="f42" y="f43"/>
                  </a:lnTo>
                  <a:cubicBezTo>
                    <a:pt x="f44" y="f45"/>
                    <a:pt x="f46" y="f47"/>
                    <a:pt x="f48" y="f49"/>
                  </a:cubicBezTo>
                  <a:cubicBezTo>
                    <a:pt x="f50" y="f51"/>
                    <a:pt x="f52" y="f53"/>
                    <a:pt x="f54" y="f55"/>
                  </a:cubicBezTo>
                  <a:close/>
                </a:path>
              </a:pathLst>
            </a:custGeom>
            <a:solidFill>
              <a:srgbClr val="00498F"/>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sp>
        <p:nvSpPr>
          <p:cNvPr id="5" name="Rectangle 3">
            <a:extLst>
              <a:ext uri="{FF2B5EF4-FFF2-40B4-BE49-F238E27FC236}">
                <a16:creationId xmlns:a16="http://schemas.microsoft.com/office/drawing/2014/main" id="{11412E5D-80D5-D07B-EB75-9471163E6074}"/>
              </a:ext>
            </a:extLst>
          </p:cNvPr>
          <p:cNvSpPr/>
          <p:nvPr/>
        </p:nvSpPr>
        <p:spPr>
          <a:xfrm>
            <a:off x="902366" y="1517694"/>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Content Placeholder 2">
            <a:extLst>
              <a:ext uri="{FF2B5EF4-FFF2-40B4-BE49-F238E27FC236}">
                <a16:creationId xmlns:a16="http://schemas.microsoft.com/office/drawing/2014/main" id="{6236F0D2-3E7C-9CC3-68D4-25D9543DA51E}"/>
              </a:ext>
            </a:extLst>
          </p:cNvPr>
          <p:cNvSpPr txBox="1">
            <a:spLocks noGrp="1"/>
          </p:cNvSpPr>
          <p:nvPr>
            <p:ph idx="4294967295"/>
          </p:nvPr>
        </p:nvSpPr>
        <p:spPr>
          <a:xfrm>
            <a:off x="1219197" y="3429001"/>
            <a:ext cx="5582649" cy="1413561"/>
          </a:xfrm>
        </p:spPr>
        <p:txBody>
          <a:bodyPr/>
          <a:lstStyle>
            <a:lvl1pPr marL="0" indent="0">
              <a:buNone/>
              <a:defRPr sz="2000"/>
            </a:lvl1pPr>
          </a:lstStyle>
          <a:p>
            <a:pPr lvl="0"/>
            <a:r>
              <a:rPr lang="en-US"/>
              <a:t>Click to edit Master text styles</a:t>
            </a:r>
          </a:p>
        </p:txBody>
      </p:sp>
      <p:sp>
        <p:nvSpPr>
          <p:cNvPr id="7" name="Title 11">
            <a:extLst>
              <a:ext uri="{FF2B5EF4-FFF2-40B4-BE49-F238E27FC236}">
                <a16:creationId xmlns:a16="http://schemas.microsoft.com/office/drawing/2014/main" id="{C8F73E20-0315-243C-AF7C-2C26DB5CC8D7}"/>
              </a:ext>
            </a:extLst>
          </p:cNvPr>
          <p:cNvSpPr txBox="1">
            <a:spLocks noGrp="1"/>
          </p:cNvSpPr>
          <p:nvPr>
            <p:ph type="title"/>
          </p:nvPr>
        </p:nvSpPr>
        <p:spPr>
          <a:xfrm>
            <a:off x="1219197" y="1887486"/>
            <a:ext cx="5582649" cy="1078260"/>
          </a:xfrm>
        </p:spPr>
        <p:txBody>
          <a:bodyPr/>
          <a:lstStyle>
            <a:lvl1pPr>
              <a:defRPr sz="6000"/>
            </a:lvl1pPr>
          </a:lstStyle>
          <a:p>
            <a:pPr lvl="0"/>
            <a:r>
              <a:rPr lang="en-US"/>
              <a:t>Thank you</a:t>
            </a:r>
          </a:p>
        </p:txBody>
      </p:sp>
      <p:pic>
        <p:nvPicPr>
          <p:cNvPr id="8" name="Picture 32">
            <a:extLst>
              <a:ext uri="{FF2B5EF4-FFF2-40B4-BE49-F238E27FC236}">
                <a16:creationId xmlns:a16="http://schemas.microsoft.com/office/drawing/2014/main" id="{CEBD102A-2382-D5F6-08B7-BDE875627C75}"/>
              </a:ext>
            </a:extLst>
          </p:cNvPr>
          <p:cNvPicPr>
            <a:picLocks noChangeAspect="1"/>
          </p:cNvPicPr>
          <p:nvPr/>
        </p:nvPicPr>
        <p:blipFill>
          <a:blip r:embed="rId2"/>
          <a:srcRect/>
          <a:stretch>
            <a:fillRect/>
          </a:stretch>
        </p:blipFill>
        <p:spPr>
          <a:xfrm>
            <a:off x="902366" y="228371"/>
            <a:ext cx="2025313" cy="911940"/>
          </a:xfrm>
          <a:prstGeom prst="rect">
            <a:avLst/>
          </a:prstGeom>
          <a:noFill/>
          <a:ln cap="flat">
            <a:noFill/>
          </a:ln>
        </p:spPr>
      </p:pic>
      <p:sp>
        <p:nvSpPr>
          <p:cNvPr id="9" name="Picture Placeholder 16">
            <a:extLst>
              <a:ext uri="{FF2B5EF4-FFF2-40B4-BE49-F238E27FC236}">
                <a16:creationId xmlns:a16="http://schemas.microsoft.com/office/drawing/2014/main" id="{09107872-AEFE-B72D-919E-8B3DFBBB003A}"/>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spTree>
    <p:extLst>
      <p:ext uri="{BB962C8B-B14F-4D97-AF65-F5344CB8AC3E}">
        <p14:creationId xmlns:p14="http://schemas.microsoft.com/office/powerpoint/2010/main" val="1795702998"/>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4">
            <a:extLst>
              <a:ext uri="{FF2B5EF4-FFF2-40B4-BE49-F238E27FC236}">
                <a16:creationId xmlns:a16="http://schemas.microsoft.com/office/drawing/2014/main" id="{B6729745-16C0-3C61-8D3B-73B778AEB1E3}"/>
              </a:ext>
            </a:extLst>
          </p:cNvPr>
          <p:cNvSpPr txBox="1">
            <a:spLocks noGrp="1"/>
          </p:cNvSpPr>
          <p:nvPr>
            <p:ph type="sldNum" sz="quarter" idx="8"/>
          </p:nvPr>
        </p:nvSpPr>
        <p:spPr/>
        <p:txBody>
          <a:bodyPr/>
          <a:lstStyle>
            <a:lvl1pPr>
              <a:defRPr/>
            </a:lvl1pPr>
          </a:lstStyle>
          <a:p>
            <a:pPr lvl="0"/>
            <a:fld id="{743BDFCF-406D-4233-B03B-6E4FDFAA8D64}" type="slidenum">
              <a:t>‹#›</a:t>
            </a:fld>
            <a:endParaRPr lang="en-US"/>
          </a:p>
        </p:txBody>
      </p:sp>
      <p:cxnSp>
        <p:nvCxnSpPr>
          <p:cNvPr id="3" name="Straight Connector 3">
            <a:extLst>
              <a:ext uri="{FF2B5EF4-FFF2-40B4-BE49-F238E27FC236}">
                <a16:creationId xmlns:a16="http://schemas.microsoft.com/office/drawing/2014/main" id="{55A31F2B-1537-32A7-85C1-624F20B0A3D4}"/>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4" name="Footer Placeholder 1">
            <a:extLst>
              <a:ext uri="{FF2B5EF4-FFF2-40B4-BE49-F238E27FC236}">
                <a16:creationId xmlns:a16="http://schemas.microsoft.com/office/drawing/2014/main" id="{5537C8DF-BCFA-7B4D-7A0C-79A00095BE6C}"/>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5" name="Group 5">
            <a:extLst>
              <a:ext uri="{FF2B5EF4-FFF2-40B4-BE49-F238E27FC236}">
                <a16:creationId xmlns:a16="http://schemas.microsoft.com/office/drawing/2014/main" id="{0F572238-8609-EEF3-79DD-9A0CBEE19177}"/>
              </a:ext>
            </a:extLst>
          </p:cNvPr>
          <p:cNvGrpSpPr/>
          <p:nvPr/>
        </p:nvGrpSpPr>
        <p:grpSpPr>
          <a:xfrm>
            <a:off x="7191545" y="0"/>
            <a:ext cx="5000460" cy="1425988"/>
            <a:chOff x="7191545" y="0"/>
            <a:chExt cx="5000460" cy="1425988"/>
          </a:xfrm>
        </p:grpSpPr>
        <p:pic>
          <p:nvPicPr>
            <p:cNvPr id="6" name="Picture 6">
              <a:extLst>
                <a:ext uri="{FF2B5EF4-FFF2-40B4-BE49-F238E27FC236}">
                  <a16:creationId xmlns:a16="http://schemas.microsoft.com/office/drawing/2014/main" id="{164040C0-B0A1-90C1-9D52-968ABBD42E11}"/>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7" name="Group 7">
              <a:extLst>
                <a:ext uri="{FF2B5EF4-FFF2-40B4-BE49-F238E27FC236}">
                  <a16:creationId xmlns:a16="http://schemas.microsoft.com/office/drawing/2014/main" id="{96FA1B00-EE40-56ED-E1C1-C1ADD2B6EC03}"/>
                </a:ext>
              </a:extLst>
            </p:cNvPr>
            <p:cNvGrpSpPr/>
            <p:nvPr/>
          </p:nvGrpSpPr>
          <p:grpSpPr>
            <a:xfrm>
              <a:off x="7191545" y="0"/>
              <a:ext cx="5000460" cy="1425988"/>
              <a:chOff x="7191545" y="0"/>
              <a:chExt cx="5000460" cy="1425988"/>
            </a:xfrm>
          </p:grpSpPr>
          <p:sp>
            <p:nvSpPr>
              <p:cNvPr id="8" name="Freeform 8">
                <a:extLst>
                  <a:ext uri="{FF2B5EF4-FFF2-40B4-BE49-F238E27FC236}">
                    <a16:creationId xmlns:a16="http://schemas.microsoft.com/office/drawing/2014/main" id="{59690B7B-8B09-3E4B-00DB-F710B49E42FF}"/>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9" name="Freeform 9">
                <a:extLst>
                  <a:ext uri="{FF2B5EF4-FFF2-40B4-BE49-F238E27FC236}">
                    <a16:creationId xmlns:a16="http://schemas.microsoft.com/office/drawing/2014/main" id="{5C39CEC7-9F1A-38D1-884C-60D93C7D9C16}"/>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Tree>
    <p:extLst>
      <p:ext uri="{BB962C8B-B14F-4D97-AF65-F5344CB8AC3E}">
        <p14:creationId xmlns:p14="http://schemas.microsoft.com/office/powerpoint/2010/main" val="3377466807"/>
      </p:ext>
    </p:extLst>
  </p:cSld>
  <p:clrMapOvr>
    <a:masterClrMapping/>
  </p:clrMapOvr>
  <p:hf sldNum="0" hdr="0" ftr="0" dt="0"/>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3_Cover">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A09122D5-7FD1-3C1E-8BBA-F0BADE6A3EAC}"/>
              </a:ext>
            </a:extLst>
          </p:cNvPr>
          <p:cNvSpPr/>
          <p:nvPr/>
        </p:nvSpPr>
        <p:spPr>
          <a:xfrm>
            <a:off x="902366" y="1294416"/>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7C64ECF5-BC85-9E08-692F-234EAEC0623E}"/>
              </a:ext>
            </a:extLst>
          </p:cNvPr>
          <p:cNvSpPr txBox="1">
            <a:spLocks noGrp="1"/>
          </p:cNvSpPr>
          <p:nvPr>
            <p:ph type="title"/>
          </p:nvPr>
        </p:nvSpPr>
        <p:spPr>
          <a:xfrm>
            <a:off x="1413314" y="1561328"/>
            <a:ext cx="5194432" cy="1826340"/>
          </a:xfrm>
        </p:spPr>
        <p:txBody>
          <a:bodyPr anchor="b"/>
          <a:lstStyle>
            <a:lvl1pPr>
              <a:defRPr sz="4000">
                <a:solidFill>
                  <a:srgbClr val="444C55"/>
                </a:solidFill>
              </a:defRPr>
            </a:lvl1pPr>
          </a:lstStyle>
          <a:p>
            <a:pPr lvl="0"/>
            <a:r>
              <a:rPr lang="en-US"/>
              <a:t>Click to edit Master title style</a:t>
            </a:r>
          </a:p>
        </p:txBody>
      </p:sp>
      <p:sp>
        <p:nvSpPr>
          <p:cNvPr id="4" name="Subtitle 2">
            <a:extLst>
              <a:ext uri="{FF2B5EF4-FFF2-40B4-BE49-F238E27FC236}">
                <a16:creationId xmlns:a16="http://schemas.microsoft.com/office/drawing/2014/main" id="{F00A57A3-3B6A-FCD3-50EC-1CB7D44E914D}"/>
              </a:ext>
            </a:extLst>
          </p:cNvPr>
          <p:cNvSpPr txBox="1">
            <a:spLocks noGrp="1"/>
          </p:cNvSpPr>
          <p:nvPr>
            <p:ph type="subTitle" idx="4294967295"/>
          </p:nvPr>
        </p:nvSpPr>
        <p:spPr>
          <a:xfrm>
            <a:off x="1413314" y="3766861"/>
            <a:ext cx="5194432" cy="986564"/>
          </a:xfrm>
        </p:spPr>
        <p:txBody>
          <a:bodyPr/>
          <a:lstStyle>
            <a:lvl1pPr marL="0" indent="0">
              <a:buNone/>
              <a:defRPr/>
            </a:lvl1pPr>
          </a:lstStyle>
          <a:p>
            <a:pPr lvl="0"/>
            <a:r>
              <a:rPr lang="en-US"/>
              <a:t>Click to edit Master subtitle style</a:t>
            </a:r>
          </a:p>
        </p:txBody>
      </p:sp>
      <p:sp>
        <p:nvSpPr>
          <p:cNvPr id="5" name="Picture Placeholder 21">
            <a:extLst>
              <a:ext uri="{FF2B5EF4-FFF2-40B4-BE49-F238E27FC236}">
                <a16:creationId xmlns:a16="http://schemas.microsoft.com/office/drawing/2014/main" id="{C2827095-F6AF-50A9-0527-C7C6A6173712}"/>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grpSp>
        <p:nvGrpSpPr>
          <p:cNvPr id="6" name="Group 26">
            <a:extLst>
              <a:ext uri="{FF2B5EF4-FFF2-40B4-BE49-F238E27FC236}">
                <a16:creationId xmlns:a16="http://schemas.microsoft.com/office/drawing/2014/main" id="{F3B89F38-4CED-D155-3D15-DE22E2FB1A6B}"/>
              </a:ext>
            </a:extLst>
          </p:cNvPr>
          <p:cNvGrpSpPr/>
          <p:nvPr/>
        </p:nvGrpSpPr>
        <p:grpSpPr>
          <a:xfrm>
            <a:off x="0" y="5020349"/>
            <a:ext cx="12191996" cy="1837651"/>
            <a:chOff x="0" y="5020348"/>
            <a:chExt cx="12191996" cy="1837651"/>
          </a:xfrm>
        </p:grpSpPr>
        <p:sp>
          <p:nvSpPr>
            <p:cNvPr id="7" name="Freeform 27">
              <a:extLst>
                <a:ext uri="{FF2B5EF4-FFF2-40B4-BE49-F238E27FC236}">
                  <a16:creationId xmlns:a16="http://schemas.microsoft.com/office/drawing/2014/main" id="{03512EA8-2AC3-EDD2-369D-F6774782ADBD}"/>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8" name="Freeform 28">
              <a:extLst>
                <a:ext uri="{FF2B5EF4-FFF2-40B4-BE49-F238E27FC236}">
                  <a16:creationId xmlns:a16="http://schemas.microsoft.com/office/drawing/2014/main" id="{53D059AA-89C1-C6ED-AA0F-9650CE843242}"/>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9" name="Picture 29">
              <a:extLst>
                <a:ext uri="{FF2B5EF4-FFF2-40B4-BE49-F238E27FC236}">
                  <a16:creationId xmlns:a16="http://schemas.microsoft.com/office/drawing/2014/main" id="{D73E53BD-9196-8A76-C2D6-A22976B9223E}"/>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3867347799"/>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3_Divider">
    <p:spTree>
      <p:nvGrpSpPr>
        <p:cNvPr id="1" name=""/>
        <p:cNvGrpSpPr/>
        <p:nvPr/>
      </p:nvGrpSpPr>
      <p:grpSpPr>
        <a:xfrm>
          <a:off x="0" y="0"/>
          <a:ext cx="0" cy="0"/>
          <a:chOff x="0" y="0"/>
          <a:chExt cx="0" cy="0"/>
        </a:xfrm>
      </p:grpSpPr>
      <p:grpSp>
        <p:nvGrpSpPr>
          <p:cNvPr id="2" name="Group 9">
            <a:extLst>
              <a:ext uri="{FF2B5EF4-FFF2-40B4-BE49-F238E27FC236}">
                <a16:creationId xmlns:a16="http://schemas.microsoft.com/office/drawing/2014/main" id="{0A05884C-F893-41EE-3519-B9D962D1EC44}"/>
              </a:ext>
            </a:extLst>
          </p:cNvPr>
          <p:cNvGrpSpPr/>
          <p:nvPr/>
        </p:nvGrpSpPr>
        <p:grpSpPr>
          <a:xfrm>
            <a:off x="0" y="5020349"/>
            <a:ext cx="12191996" cy="1837651"/>
            <a:chOff x="0" y="5020348"/>
            <a:chExt cx="12191996" cy="1837651"/>
          </a:xfrm>
        </p:grpSpPr>
        <p:sp>
          <p:nvSpPr>
            <p:cNvPr id="3" name="Freeform 25">
              <a:extLst>
                <a:ext uri="{FF2B5EF4-FFF2-40B4-BE49-F238E27FC236}">
                  <a16:creationId xmlns:a16="http://schemas.microsoft.com/office/drawing/2014/main" id="{40C42F45-9C72-D582-CC1A-5D6DA993D88D}"/>
                </a:ext>
              </a:extLst>
            </p:cNvPr>
            <p:cNvSpPr/>
            <p:nvPr/>
          </p:nvSpPr>
          <p:spPr>
            <a:xfrm>
              <a:off x="0" y="5100267"/>
              <a:ext cx="7111371" cy="1757732"/>
            </a:xfrm>
            <a:custGeom>
              <a:avLst/>
              <a:gdLst>
                <a:gd name="f0" fmla="val 10800000"/>
                <a:gd name="f1" fmla="val 5400000"/>
                <a:gd name="f2" fmla="val 180"/>
                <a:gd name="f3" fmla="val w"/>
                <a:gd name="f4" fmla="val h"/>
                <a:gd name="f5" fmla="val 0"/>
                <a:gd name="f6" fmla="val 7111369"/>
                <a:gd name="f7" fmla="val 1757730"/>
                <a:gd name="f8" fmla="val 772954"/>
                <a:gd name="f9" fmla="val 2778"/>
                <a:gd name="f10" fmla="val 1769038"/>
                <a:gd name="f11" fmla="val 30799"/>
                <a:gd name="f12" fmla="val 2696750"/>
                <a:gd name="f13" fmla="val 267531"/>
                <a:gd name="f14" fmla="val 3590934"/>
                <a:gd name="f15" fmla="val 566046"/>
                <a:gd name="f16" fmla="val 4684008"/>
                <a:gd name="f17" fmla="val 930921"/>
                <a:gd name="f18" fmla="val 5690778"/>
                <a:gd name="f19" fmla="val 1324625"/>
                <a:gd name="f20" fmla="val 6700767"/>
                <a:gd name="f21" fmla="val 1636882"/>
                <a:gd name="f22" fmla="val 25690"/>
                <a:gd name="f23" fmla="val 2197"/>
                <a:gd name="f24" fmla="val 25414"/>
                <a:gd name="f25" fmla="val 114653"/>
                <a:gd name="f26" fmla="val 14905"/>
                <a:gd name="f27" fmla="val 227801"/>
                <a:gd name="f28" fmla="val 7857"/>
                <a:gd name="f29" fmla="val 341773"/>
                <a:gd name="f30" fmla="val 3976"/>
                <a:gd name="f31" fmla="val 486963"/>
                <a:gd name="f32" fmla="+- 0 0 968"/>
                <a:gd name="f33" fmla="val 630656"/>
                <a:gd name="f34" fmla="+- 0 0 1224"/>
                <a:gd name="f35" fmla="+- 0 0 -90"/>
                <a:gd name="f36" fmla="*/ f3 1 7111369"/>
                <a:gd name="f37" fmla="*/ f4 1 1757730"/>
                <a:gd name="f38" fmla="+- f7 0 f5"/>
                <a:gd name="f39" fmla="+- f6 0 f5"/>
                <a:gd name="f40" fmla="*/ f35 f0 1"/>
                <a:gd name="f41" fmla="*/ f39 1 7111369"/>
                <a:gd name="f42" fmla="*/ f38 1 1757730"/>
                <a:gd name="f43" fmla="*/ 772954 f39 1"/>
                <a:gd name="f44" fmla="*/ 2778 f38 1"/>
                <a:gd name="f45" fmla="*/ 3590934 f39 1"/>
                <a:gd name="f46" fmla="*/ 566046 f38 1"/>
                <a:gd name="f47" fmla="*/ 6700767 f39 1"/>
                <a:gd name="f48" fmla="*/ 1636882 f38 1"/>
                <a:gd name="f49" fmla="*/ 7111369 f39 1"/>
                <a:gd name="f50" fmla="*/ 1757730 f38 1"/>
                <a:gd name="f51" fmla="*/ 0 f39 1"/>
                <a:gd name="f52" fmla="*/ 25690 f38 1"/>
                <a:gd name="f53" fmla="*/ 2197 f39 1"/>
                <a:gd name="f54" fmla="*/ 25414 f38 1"/>
                <a:gd name="f55" fmla="*/ 341773 f39 1"/>
                <a:gd name="f56" fmla="*/ 3976 f38 1"/>
                <a:gd name="f57" fmla="*/ f40 1 f2"/>
                <a:gd name="f58" fmla="*/ f43 1 7111369"/>
                <a:gd name="f59" fmla="*/ f44 1 1757730"/>
                <a:gd name="f60" fmla="*/ f45 1 7111369"/>
                <a:gd name="f61" fmla="*/ f46 1 1757730"/>
                <a:gd name="f62" fmla="*/ f47 1 7111369"/>
                <a:gd name="f63" fmla="*/ f48 1 1757730"/>
                <a:gd name="f64" fmla="*/ f49 1 7111369"/>
                <a:gd name="f65" fmla="*/ f50 1 1757730"/>
                <a:gd name="f66" fmla="*/ f51 1 7111369"/>
                <a:gd name="f67" fmla="*/ f52 1 1757730"/>
                <a:gd name="f68" fmla="*/ f53 1 7111369"/>
                <a:gd name="f69" fmla="*/ f54 1 1757730"/>
                <a:gd name="f70" fmla="*/ f55 1 7111369"/>
                <a:gd name="f71" fmla="*/ f56 1 1757730"/>
                <a:gd name="f72" fmla="*/ f5 1 f41"/>
                <a:gd name="f73" fmla="*/ f6 1 f41"/>
                <a:gd name="f74" fmla="*/ f5 1 f42"/>
                <a:gd name="f75" fmla="*/ f7 1 f42"/>
                <a:gd name="f76" fmla="+- f57 0 f1"/>
                <a:gd name="f77" fmla="*/ f58 1 f41"/>
                <a:gd name="f78" fmla="*/ f59 1 f42"/>
                <a:gd name="f79" fmla="*/ f60 1 f41"/>
                <a:gd name="f80" fmla="*/ f61 1 f42"/>
                <a:gd name="f81" fmla="*/ f62 1 f41"/>
                <a:gd name="f82" fmla="*/ f63 1 f42"/>
                <a:gd name="f83" fmla="*/ f64 1 f41"/>
                <a:gd name="f84" fmla="*/ f65 1 f42"/>
                <a:gd name="f85" fmla="*/ f66 1 f41"/>
                <a:gd name="f86" fmla="*/ f67 1 f42"/>
                <a:gd name="f87" fmla="*/ f68 1 f41"/>
                <a:gd name="f88" fmla="*/ f69 1 f42"/>
                <a:gd name="f89" fmla="*/ f70 1 f41"/>
                <a:gd name="f90" fmla="*/ f71 1 f42"/>
                <a:gd name="f91" fmla="*/ f72 f36 1"/>
                <a:gd name="f92" fmla="*/ f73 f36 1"/>
                <a:gd name="f93" fmla="*/ f75 f37 1"/>
                <a:gd name="f94" fmla="*/ f74 f37 1"/>
                <a:gd name="f95" fmla="*/ f77 f36 1"/>
                <a:gd name="f96" fmla="*/ f78 f37 1"/>
                <a:gd name="f97" fmla="*/ f79 f36 1"/>
                <a:gd name="f98" fmla="*/ f80 f37 1"/>
                <a:gd name="f99" fmla="*/ f81 f36 1"/>
                <a:gd name="f100" fmla="*/ f82 f37 1"/>
                <a:gd name="f101" fmla="*/ f83 f36 1"/>
                <a:gd name="f102" fmla="*/ f84 f37 1"/>
                <a:gd name="f103" fmla="*/ f85 f36 1"/>
                <a:gd name="f104" fmla="*/ f86 f37 1"/>
                <a:gd name="f105" fmla="*/ f87 f36 1"/>
                <a:gd name="f106" fmla="*/ f88 f37 1"/>
                <a:gd name="f107" fmla="*/ f89 f36 1"/>
                <a:gd name="f108" fmla="*/ f90 f37 1"/>
              </a:gdLst>
              <a:ahLst/>
              <a:cxnLst>
                <a:cxn ang="3cd4">
                  <a:pos x="hc" y="t"/>
                </a:cxn>
                <a:cxn ang="0">
                  <a:pos x="r" y="vc"/>
                </a:cxn>
                <a:cxn ang="cd4">
                  <a:pos x="hc" y="b"/>
                </a:cxn>
                <a:cxn ang="cd2">
                  <a:pos x="l" y="vc"/>
                </a:cxn>
                <a:cxn ang="f76">
                  <a:pos x="f95" y="f96"/>
                </a:cxn>
                <a:cxn ang="f76">
                  <a:pos x="f97" y="f98"/>
                </a:cxn>
                <a:cxn ang="f76">
                  <a:pos x="f99" y="f100"/>
                </a:cxn>
                <a:cxn ang="f76">
                  <a:pos x="f101" y="f102"/>
                </a:cxn>
                <a:cxn ang="f76">
                  <a:pos x="f103" y="f102"/>
                </a:cxn>
                <a:cxn ang="f76">
                  <a:pos x="f103" y="f104"/>
                </a:cxn>
                <a:cxn ang="f76">
                  <a:pos x="f105" y="f106"/>
                </a:cxn>
                <a:cxn ang="f76">
                  <a:pos x="f107" y="f108"/>
                </a:cxn>
                <a:cxn ang="f76">
                  <a:pos x="f95" y="f96"/>
                </a:cxn>
              </a:cxnLst>
              <a:rect l="f91" t="f94" r="f92" b="f93"/>
              <a:pathLst>
                <a:path w="7111369" h="1757730">
                  <a:moveTo>
                    <a:pt x="f8" y="f9"/>
                  </a:moveTo>
                  <a:cubicBezTo>
                    <a:pt x="f10" y="f11"/>
                    <a:pt x="f12" y="f13"/>
                    <a:pt x="f14" y="f15"/>
                  </a:cubicBezTo>
                  <a:cubicBezTo>
                    <a:pt x="f16" y="f17"/>
                    <a:pt x="f18" y="f19"/>
                    <a:pt x="f20" y="f21"/>
                  </a:cubicBezTo>
                  <a:lnTo>
                    <a:pt x="f6" y="f7"/>
                  </a:lnTo>
                  <a:lnTo>
                    <a:pt x="f5" y="f7"/>
                  </a:lnTo>
                  <a:lnTo>
                    <a:pt x="f5" y="f22"/>
                  </a:lnTo>
                  <a:lnTo>
                    <a:pt x="f23" y="f24"/>
                  </a:lnTo>
                  <a:cubicBezTo>
                    <a:pt x="f25" y="f26"/>
                    <a:pt x="f27" y="f28"/>
                    <a:pt x="f29" y="f30"/>
                  </a:cubicBezTo>
                  <a:cubicBezTo>
                    <a:pt x="f31" y="f32"/>
                    <a:pt x="f33" y="f34"/>
                    <a:pt x="f8" y="f9"/>
                  </a:cubicBezTo>
                  <a:close/>
                </a:path>
              </a:pathLst>
            </a:cu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4" name="Freeform 19">
              <a:extLst>
                <a:ext uri="{FF2B5EF4-FFF2-40B4-BE49-F238E27FC236}">
                  <a16:creationId xmlns:a16="http://schemas.microsoft.com/office/drawing/2014/main" id="{02C4880B-D9EB-3157-6310-4E2C6D2BC971}"/>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5" name="Freeform 14">
              <a:extLst>
                <a:ext uri="{FF2B5EF4-FFF2-40B4-BE49-F238E27FC236}">
                  <a16:creationId xmlns:a16="http://schemas.microsoft.com/office/drawing/2014/main" id="{68F52C69-2A16-606C-7E1A-AABE6206111B}"/>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6" name="Picture 20">
              <a:extLst>
                <a:ext uri="{FF2B5EF4-FFF2-40B4-BE49-F238E27FC236}">
                  <a16:creationId xmlns:a16="http://schemas.microsoft.com/office/drawing/2014/main" id="{0CFA172F-EA18-7CAE-39A4-3B4A4DD30218}"/>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
        <p:nvSpPr>
          <p:cNvPr id="7" name="Title 10">
            <a:extLst>
              <a:ext uri="{FF2B5EF4-FFF2-40B4-BE49-F238E27FC236}">
                <a16:creationId xmlns:a16="http://schemas.microsoft.com/office/drawing/2014/main" id="{BD6B7811-447B-7462-6202-BE2B54971EBA}"/>
              </a:ext>
            </a:extLst>
          </p:cNvPr>
          <p:cNvSpPr txBox="1">
            <a:spLocks noGrp="1"/>
          </p:cNvSpPr>
          <p:nvPr>
            <p:ph type="title"/>
          </p:nvPr>
        </p:nvSpPr>
        <p:spPr>
          <a:xfrm>
            <a:off x="1413305" y="701748"/>
            <a:ext cx="9365376" cy="2014679"/>
          </a:xfrm>
        </p:spPr>
        <p:txBody>
          <a:bodyPr anchor="b"/>
          <a:lstStyle>
            <a:lvl1pPr>
              <a:defRPr/>
            </a:lvl1pPr>
          </a:lstStyle>
          <a:p>
            <a:pPr lvl="0"/>
            <a:r>
              <a:rPr lang="en-US"/>
              <a:t>Click to edit Master title style</a:t>
            </a:r>
          </a:p>
        </p:txBody>
      </p:sp>
      <p:sp>
        <p:nvSpPr>
          <p:cNvPr id="8" name="Subtitle 2">
            <a:extLst>
              <a:ext uri="{FF2B5EF4-FFF2-40B4-BE49-F238E27FC236}">
                <a16:creationId xmlns:a16="http://schemas.microsoft.com/office/drawing/2014/main" id="{BFFBD249-1D38-A2B8-3E21-1F809C07256F}"/>
              </a:ext>
            </a:extLst>
          </p:cNvPr>
          <p:cNvSpPr txBox="1">
            <a:spLocks noGrp="1"/>
          </p:cNvSpPr>
          <p:nvPr>
            <p:ph type="subTitle" idx="4294967295"/>
          </p:nvPr>
        </p:nvSpPr>
        <p:spPr>
          <a:xfrm>
            <a:off x="1413305" y="3081637"/>
            <a:ext cx="9365376" cy="986564"/>
          </a:xfrm>
        </p:spPr>
        <p:txBody>
          <a:bodyPr/>
          <a:lstStyle>
            <a:lvl1pPr marL="0" indent="0">
              <a:buNone/>
              <a:defRPr/>
            </a:lvl1pPr>
          </a:lstStyle>
          <a:p>
            <a:pPr lvl="0"/>
            <a:r>
              <a:rPr lang="en-US"/>
              <a:t>Click to edit Master subtitle style</a:t>
            </a:r>
          </a:p>
        </p:txBody>
      </p:sp>
    </p:spTree>
    <p:extLst>
      <p:ext uri="{BB962C8B-B14F-4D97-AF65-F5344CB8AC3E}">
        <p14:creationId xmlns:p14="http://schemas.microsoft.com/office/powerpoint/2010/main" val="2595423612"/>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3_Photo Slide">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46B893D3-03A2-E99F-5D75-582A24256C58}"/>
              </a:ext>
            </a:extLst>
          </p:cNvPr>
          <p:cNvSpPr txBox="1">
            <a:spLocks noGrp="1"/>
          </p:cNvSpPr>
          <p:nvPr>
            <p:ph type="body" idx="4294967295"/>
          </p:nvPr>
        </p:nvSpPr>
        <p:spPr>
          <a:xfrm>
            <a:off x="457200" y="1146255"/>
            <a:ext cx="2350172" cy="2971800"/>
          </a:xfrm>
        </p:spPr>
        <p:txBody>
          <a:bodyPr/>
          <a:lstStyle>
            <a:lvl1pPr marL="0" indent="0">
              <a:buNone/>
              <a:defRPr/>
            </a:lvl1pPr>
          </a:lstStyle>
          <a:p>
            <a:pPr lvl="0"/>
            <a:r>
              <a:rPr lang="en-US"/>
              <a:t>Click to edit Master text styles</a:t>
            </a:r>
          </a:p>
        </p:txBody>
      </p:sp>
      <p:cxnSp>
        <p:nvCxnSpPr>
          <p:cNvPr id="3" name="Straight Connector 5">
            <a:extLst>
              <a:ext uri="{FF2B5EF4-FFF2-40B4-BE49-F238E27FC236}">
                <a16:creationId xmlns:a16="http://schemas.microsoft.com/office/drawing/2014/main" id="{D68D7D90-27CD-5AD2-EDD7-3DEFE2E365AF}"/>
              </a:ext>
            </a:extLst>
          </p:cNvPr>
          <p:cNvCxnSpPr/>
          <p:nvPr/>
        </p:nvCxnSpPr>
        <p:spPr>
          <a:xfrm>
            <a:off x="457201" y="947985"/>
            <a:ext cx="2350163" cy="0"/>
          </a:xfrm>
          <a:prstGeom prst="straightConnector1">
            <a:avLst/>
          </a:prstGeom>
          <a:noFill/>
          <a:ln w="31747" cap="flat">
            <a:solidFill>
              <a:srgbClr val="F58366"/>
            </a:solidFill>
            <a:prstDash val="solid"/>
            <a:miter/>
          </a:ln>
        </p:spPr>
      </p:cxnSp>
      <p:grpSp>
        <p:nvGrpSpPr>
          <p:cNvPr id="4" name="Group 2">
            <a:extLst>
              <a:ext uri="{FF2B5EF4-FFF2-40B4-BE49-F238E27FC236}">
                <a16:creationId xmlns:a16="http://schemas.microsoft.com/office/drawing/2014/main" id="{E1C14C7C-DA06-3692-D3B3-683F0DAC47DC}"/>
              </a:ext>
            </a:extLst>
          </p:cNvPr>
          <p:cNvGrpSpPr/>
          <p:nvPr/>
        </p:nvGrpSpPr>
        <p:grpSpPr>
          <a:xfrm>
            <a:off x="1" y="5379425"/>
            <a:ext cx="2807363" cy="753895"/>
            <a:chOff x="0" y="5379424"/>
            <a:chExt cx="2807363" cy="753895"/>
          </a:xfrm>
        </p:grpSpPr>
        <p:sp>
          <p:nvSpPr>
            <p:cNvPr id="5" name="Freeform 21">
              <a:extLst>
                <a:ext uri="{FF2B5EF4-FFF2-40B4-BE49-F238E27FC236}">
                  <a16:creationId xmlns:a16="http://schemas.microsoft.com/office/drawing/2014/main" id="{94A2BCF9-869F-FB7A-E1E5-C444683B428E}"/>
                </a:ext>
              </a:extLst>
            </p:cNvPr>
            <p:cNvSpPr/>
            <p:nvPr/>
          </p:nvSpPr>
          <p:spPr>
            <a:xfrm>
              <a:off x="0" y="5532513"/>
              <a:ext cx="2807363" cy="600806"/>
            </a:xfrm>
            <a:custGeom>
              <a:avLst/>
              <a:gdLst>
                <a:gd name="f0" fmla="val 10800000"/>
                <a:gd name="f1" fmla="val 5400000"/>
                <a:gd name="f2" fmla="val 180"/>
                <a:gd name="f3" fmla="val w"/>
                <a:gd name="f4" fmla="val h"/>
                <a:gd name="f5" fmla="val 0"/>
                <a:gd name="f6" fmla="val 2807368"/>
                <a:gd name="f7" fmla="val 600807"/>
                <a:gd name="f8" fmla="val 429971"/>
                <a:gd name="f9" fmla="val 123998"/>
                <a:gd name="f10" fmla="val 1184765"/>
                <a:gd name="f11" fmla="val 325331"/>
                <a:gd name="f12" fmla="val 2014184"/>
                <a:gd name="f13" fmla="val 392492"/>
                <a:gd name="f14" fmla="val 2790212"/>
                <a:gd name="f15" fmla="val 235402"/>
                <a:gd name="f16" fmla="val 231522"/>
                <a:gd name="f17" fmla="val 566106"/>
                <a:gd name="f18" fmla="val 2593885"/>
                <a:gd name="f19" fmla="val 587498"/>
                <a:gd name="f20" fmla="val 1673646"/>
                <a:gd name="f21" fmla="val 651184"/>
                <a:gd name="f22" fmla="val 884869"/>
                <a:gd name="f23" fmla="val 479260"/>
                <a:gd name="f24" fmla="val 100844"/>
                <a:gd name="f25" fmla="val 222653"/>
                <a:gd name="f26" fmla="val 188389"/>
                <a:gd name="f27" fmla="+- 0 0 -90"/>
                <a:gd name="f28" fmla="*/ f3 1 2807368"/>
                <a:gd name="f29" fmla="*/ f4 1 600807"/>
                <a:gd name="f30" fmla="+- f7 0 f5"/>
                <a:gd name="f31" fmla="+- f6 0 f5"/>
                <a:gd name="f32" fmla="*/ f27 f0 1"/>
                <a:gd name="f33" fmla="*/ f31 1 2807368"/>
                <a:gd name="f34" fmla="*/ f30 1 600807"/>
                <a:gd name="f35" fmla="*/ 0 f31 1"/>
                <a:gd name="f36" fmla="*/ 0 f30 1"/>
                <a:gd name="f37" fmla="*/ 429971 f31 1"/>
                <a:gd name="f38" fmla="*/ 123998 f30 1"/>
                <a:gd name="f39" fmla="*/ 2790212 f31 1"/>
                <a:gd name="f40" fmla="*/ 235402 f30 1"/>
                <a:gd name="f41" fmla="*/ 2807368 f31 1"/>
                <a:gd name="f42" fmla="*/ 231522 f30 1"/>
                <a:gd name="f43" fmla="*/ 566106 f30 1"/>
                <a:gd name="f44" fmla="*/ 2593885 f31 1"/>
                <a:gd name="f45" fmla="*/ 587498 f30 1"/>
                <a:gd name="f46" fmla="*/ 100844 f31 1"/>
                <a:gd name="f47" fmla="*/ 222653 f30 1"/>
                <a:gd name="f48" fmla="*/ 188389 f30 1"/>
                <a:gd name="f49" fmla="*/ f32 1 f2"/>
                <a:gd name="f50" fmla="*/ f35 1 2807368"/>
                <a:gd name="f51" fmla="*/ f36 1 600807"/>
                <a:gd name="f52" fmla="*/ f37 1 2807368"/>
                <a:gd name="f53" fmla="*/ f38 1 600807"/>
                <a:gd name="f54" fmla="*/ f39 1 2807368"/>
                <a:gd name="f55" fmla="*/ f40 1 600807"/>
                <a:gd name="f56" fmla="*/ f41 1 2807368"/>
                <a:gd name="f57" fmla="*/ f42 1 600807"/>
                <a:gd name="f58" fmla="*/ f43 1 600807"/>
                <a:gd name="f59" fmla="*/ f44 1 2807368"/>
                <a:gd name="f60" fmla="*/ f45 1 600807"/>
                <a:gd name="f61" fmla="*/ f46 1 2807368"/>
                <a:gd name="f62" fmla="*/ f47 1 600807"/>
                <a:gd name="f63" fmla="*/ f48 1 600807"/>
                <a:gd name="f64" fmla="*/ f5 1 f33"/>
                <a:gd name="f65" fmla="*/ f6 1 f33"/>
                <a:gd name="f66" fmla="*/ f5 1 f34"/>
                <a:gd name="f67" fmla="*/ f7 1 f34"/>
                <a:gd name="f68" fmla="+- f49 0 f1"/>
                <a:gd name="f69" fmla="*/ f50 1 f33"/>
                <a:gd name="f70" fmla="*/ f51 1 f34"/>
                <a:gd name="f71" fmla="*/ f52 1 f33"/>
                <a:gd name="f72" fmla="*/ f53 1 f34"/>
                <a:gd name="f73" fmla="*/ f54 1 f33"/>
                <a:gd name="f74" fmla="*/ f55 1 f34"/>
                <a:gd name="f75" fmla="*/ f56 1 f33"/>
                <a:gd name="f76" fmla="*/ f57 1 f34"/>
                <a:gd name="f77" fmla="*/ f58 1 f34"/>
                <a:gd name="f78" fmla="*/ f59 1 f33"/>
                <a:gd name="f79" fmla="*/ f60 1 f34"/>
                <a:gd name="f80" fmla="*/ f61 1 f33"/>
                <a:gd name="f81" fmla="*/ f62 1 f34"/>
                <a:gd name="f82" fmla="*/ f63 1 f34"/>
                <a:gd name="f83" fmla="*/ f64 f28 1"/>
                <a:gd name="f84" fmla="*/ f65 f28 1"/>
                <a:gd name="f85" fmla="*/ f67 f29 1"/>
                <a:gd name="f86" fmla="*/ f66 f29 1"/>
                <a:gd name="f87" fmla="*/ f69 f28 1"/>
                <a:gd name="f88" fmla="*/ f70 f29 1"/>
                <a:gd name="f89" fmla="*/ f71 f28 1"/>
                <a:gd name="f90" fmla="*/ f72 f29 1"/>
                <a:gd name="f91" fmla="*/ f73 f28 1"/>
                <a:gd name="f92" fmla="*/ f74 f29 1"/>
                <a:gd name="f93" fmla="*/ f75 f28 1"/>
                <a:gd name="f94" fmla="*/ f76 f29 1"/>
                <a:gd name="f95" fmla="*/ f77 f29 1"/>
                <a:gd name="f96" fmla="*/ f78 f28 1"/>
                <a:gd name="f97" fmla="*/ f79 f29 1"/>
                <a:gd name="f98" fmla="*/ f80 f28 1"/>
                <a:gd name="f99" fmla="*/ f81 f29 1"/>
                <a:gd name="f100" fmla="*/ f82 f29 1"/>
              </a:gdLst>
              <a:ahLst/>
              <a:cxnLst>
                <a:cxn ang="3cd4">
                  <a:pos x="hc" y="t"/>
                </a:cxn>
                <a:cxn ang="0">
                  <a:pos x="r" y="vc"/>
                </a:cxn>
                <a:cxn ang="cd4">
                  <a:pos x="hc" y="b"/>
                </a:cxn>
                <a:cxn ang="cd2">
                  <a:pos x="l" y="vc"/>
                </a:cxn>
                <a:cxn ang="f68">
                  <a:pos x="f87" y="f88"/>
                </a:cxn>
                <a:cxn ang="f68">
                  <a:pos x="f89" y="f90"/>
                </a:cxn>
                <a:cxn ang="f68">
                  <a:pos x="f91" y="f92"/>
                </a:cxn>
                <a:cxn ang="f68">
                  <a:pos x="f93" y="f94"/>
                </a:cxn>
                <a:cxn ang="f68">
                  <a:pos x="f93" y="f95"/>
                </a:cxn>
                <a:cxn ang="f68">
                  <a:pos x="f96" y="f97"/>
                </a:cxn>
                <a:cxn ang="f68">
                  <a:pos x="f98" y="f99"/>
                </a:cxn>
                <a:cxn ang="f68">
                  <a:pos x="f87" y="f100"/>
                </a:cxn>
              </a:cxnLst>
              <a:rect l="f83" t="f86" r="f84" b="f85"/>
              <a:pathLst>
                <a:path w="2807368" h="600807">
                  <a:moveTo>
                    <a:pt x="f5" y="f5"/>
                  </a:moveTo>
                  <a:lnTo>
                    <a:pt x="f8" y="f9"/>
                  </a:lnTo>
                  <a:cubicBezTo>
                    <a:pt x="f10" y="f11"/>
                    <a:pt x="f12" y="f13"/>
                    <a:pt x="f14" y="f15"/>
                  </a:cubicBezTo>
                  <a:lnTo>
                    <a:pt x="f6" y="f16"/>
                  </a:lnTo>
                  <a:lnTo>
                    <a:pt x="f6" y="f17"/>
                  </a:lnTo>
                  <a:lnTo>
                    <a:pt x="f18" y="f19"/>
                  </a:lnTo>
                  <a:cubicBezTo>
                    <a:pt x="f20" y="f21"/>
                    <a:pt x="f22" y="f23"/>
                    <a:pt x="f24" y="f25"/>
                  </a:cubicBezTo>
                  <a:lnTo>
                    <a:pt x="f5" y="f26"/>
                  </a:ln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Freeform 19">
              <a:extLst>
                <a:ext uri="{FF2B5EF4-FFF2-40B4-BE49-F238E27FC236}">
                  <a16:creationId xmlns:a16="http://schemas.microsoft.com/office/drawing/2014/main" id="{3538C39D-6FF2-7E43-DED8-A2FBF8E90211}"/>
                </a:ext>
              </a:extLst>
            </p:cNvPr>
            <p:cNvSpPr/>
            <p:nvPr/>
          </p:nvSpPr>
          <p:spPr>
            <a:xfrm>
              <a:off x="0" y="5379424"/>
              <a:ext cx="2807363" cy="649800"/>
            </a:xfrm>
            <a:custGeom>
              <a:avLst/>
              <a:gdLst>
                <a:gd name="f0" fmla="val 10800000"/>
                <a:gd name="f1" fmla="val 5400000"/>
                <a:gd name="f2" fmla="val 180"/>
                <a:gd name="f3" fmla="val w"/>
                <a:gd name="f4" fmla="val h"/>
                <a:gd name="f5" fmla="val 0"/>
                <a:gd name="f6" fmla="val 2807368"/>
                <a:gd name="f7" fmla="val 649803"/>
                <a:gd name="f8" fmla="val 282676"/>
                <a:gd name="f9" fmla="val 70799"/>
                <a:gd name="f10" fmla="val 435964"/>
                <a:gd name="f11" fmla="val 106085"/>
                <a:gd name="f12" fmla="val 588770"/>
                <a:gd name="f13" fmla="val 137629"/>
                <a:gd name="f14" fmla="val 740881"/>
                <a:gd name="f15" fmla="val 163828"/>
                <a:gd name="f16" fmla="val 1362800"/>
                <a:gd name="f17" fmla="val 270912"/>
                <a:gd name="f18" fmla="val 2067879"/>
                <a:gd name="f19" fmla="val 253759"/>
                <a:gd name="f20" fmla="val 2706471"/>
                <a:gd name="f21" fmla="val 96397"/>
                <a:gd name="f22" fmla="val 67250"/>
                <a:gd name="f23" fmla="val 605551"/>
                <a:gd name="f24" fmla="val 2602685"/>
                <a:gd name="f25" fmla="val 629466"/>
                <a:gd name="f26" fmla="val 1684237"/>
                <a:gd name="f27" fmla="val 708219"/>
                <a:gd name="f28" fmla="val 893252"/>
                <a:gd name="f29" fmla="val 549395"/>
                <a:gd name="f30" fmla="val 105614"/>
                <a:gd name="f31" fmla="val 305882"/>
                <a:gd name="f32" fmla="val 271926"/>
                <a:gd name="f33" fmla="+- 0 0 -90"/>
                <a:gd name="f34" fmla="*/ f3 1 2807368"/>
                <a:gd name="f35" fmla="*/ f4 1 649803"/>
                <a:gd name="f36" fmla="+- f7 0 f5"/>
                <a:gd name="f37" fmla="+- f6 0 f5"/>
                <a:gd name="f38" fmla="*/ f33 f0 1"/>
                <a:gd name="f39" fmla="*/ f37 1 2807368"/>
                <a:gd name="f40" fmla="*/ f36 1 649803"/>
                <a:gd name="f41" fmla="*/ 0 f37 1"/>
                <a:gd name="f42" fmla="*/ 0 f36 1"/>
                <a:gd name="f43" fmla="*/ 282676 f37 1"/>
                <a:gd name="f44" fmla="*/ 70799 f36 1"/>
                <a:gd name="f45" fmla="*/ 740881 f37 1"/>
                <a:gd name="f46" fmla="*/ 163828 f36 1"/>
                <a:gd name="f47" fmla="*/ 2706471 f37 1"/>
                <a:gd name="f48" fmla="*/ 96397 f36 1"/>
                <a:gd name="f49" fmla="*/ 2807368 f37 1"/>
                <a:gd name="f50" fmla="*/ 67250 f36 1"/>
                <a:gd name="f51" fmla="*/ 605551 f36 1"/>
                <a:gd name="f52" fmla="*/ 2602685 f37 1"/>
                <a:gd name="f53" fmla="*/ 629466 f36 1"/>
                <a:gd name="f54" fmla="*/ 105614 f37 1"/>
                <a:gd name="f55" fmla="*/ 305882 f36 1"/>
                <a:gd name="f56" fmla="*/ 271926 f36 1"/>
                <a:gd name="f57" fmla="*/ f38 1 f2"/>
                <a:gd name="f58" fmla="*/ f41 1 2807368"/>
                <a:gd name="f59" fmla="*/ f42 1 649803"/>
                <a:gd name="f60" fmla="*/ f43 1 2807368"/>
                <a:gd name="f61" fmla="*/ f44 1 649803"/>
                <a:gd name="f62" fmla="*/ f45 1 2807368"/>
                <a:gd name="f63" fmla="*/ f46 1 649803"/>
                <a:gd name="f64" fmla="*/ f47 1 2807368"/>
                <a:gd name="f65" fmla="*/ f48 1 649803"/>
                <a:gd name="f66" fmla="*/ f49 1 2807368"/>
                <a:gd name="f67" fmla="*/ f50 1 649803"/>
                <a:gd name="f68" fmla="*/ f51 1 649803"/>
                <a:gd name="f69" fmla="*/ f52 1 2807368"/>
                <a:gd name="f70" fmla="*/ f53 1 649803"/>
                <a:gd name="f71" fmla="*/ f54 1 2807368"/>
                <a:gd name="f72" fmla="*/ f55 1 649803"/>
                <a:gd name="f73" fmla="*/ f56 1 649803"/>
                <a:gd name="f74" fmla="*/ f5 1 f39"/>
                <a:gd name="f75" fmla="*/ f6 1 f39"/>
                <a:gd name="f76" fmla="*/ f5 1 f40"/>
                <a:gd name="f77" fmla="*/ f7 1 f40"/>
                <a:gd name="f78" fmla="+- f57 0 f1"/>
                <a:gd name="f79" fmla="*/ f58 1 f39"/>
                <a:gd name="f80" fmla="*/ f59 1 f40"/>
                <a:gd name="f81" fmla="*/ f60 1 f39"/>
                <a:gd name="f82" fmla="*/ f61 1 f40"/>
                <a:gd name="f83" fmla="*/ f62 1 f39"/>
                <a:gd name="f84" fmla="*/ f63 1 f40"/>
                <a:gd name="f85" fmla="*/ f64 1 f39"/>
                <a:gd name="f86" fmla="*/ f65 1 f40"/>
                <a:gd name="f87" fmla="*/ f66 1 f39"/>
                <a:gd name="f88" fmla="*/ f67 1 f40"/>
                <a:gd name="f89" fmla="*/ f68 1 f40"/>
                <a:gd name="f90" fmla="*/ f69 1 f39"/>
                <a:gd name="f91" fmla="*/ f70 1 f40"/>
                <a:gd name="f92" fmla="*/ f71 1 f39"/>
                <a:gd name="f93" fmla="*/ f72 1 f40"/>
                <a:gd name="f94" fmla="*/ f73 1 f40"/>
                <a:gd name="f95" fmla="*/ f74 f34 1"/>
                <a:gd name="f96" fmla="*/ f75 f34 1"/>
                <a:gd name="f97" fmla="*/ f77 f35 1"/>
                <a:gd name="f98" fmla="*/ f76 f35 1"/>
                <a:gd name="f99" fmla="*/ f79 f34 1"/>
                <a:gd name="f100" fmla="*/ f80 f35 1"/>
                <a:gd name="f101" fmla="*/ f81 f34 1"/>
                <a:gd name="f102" fmla="*/ f82 f35 1"/>
                <a:gd name="f103" fmla="*/ f83 f34 1"/>
                <a:gd name="f104" fmla="*/ f84 f35 1"/>
                <a:gd name="f105" fmla="*/ f85 f34 1"/>
                <a:gd name="f106" fmla="*/ f86 f35 1"/>
                <a:gd name="f107" fmla="*/ f87 f34 1"/>
                <a:gd name="f108" fmla="*/ f88 f35 1"/>
                <a:gd name="f109" fmla="*/ f89 f35 1"/>
                <a:gd name="f110" fmla="*/ f90 f34 1"/>
                <a:gd name="f111" fmla="*/ f91 f35 1"/>
                <a:gd name="f112" fmla="*/ f92 f34 1"/>
                <a:gd name="f113" fmla="*/ f93 f35 1"/>
                <a:gd name="f114" fmla="*/ f94 f35 1"/>
              </a:gdLst>
              <a:ahLst/>
              <a:cxnLst>
                <a:cxn ang="3cd4">
                  <a:pos x="hc" y="t"/>
                </a:cxn>
                <a:cxn ang="0">
                  <a:pos x="r" y="vc"/>
                </a:cxn>
                <a:cxn ang="cd4">
                  <a:pos x="hc" y="b"/>
                </a:cxn>
                <a:cxn ang="cd2">
                  <a:pos x="l" y="vc"/>
                </a:cxn>
                <a:cxn ang="f78">
                  <a:pos x="f99" y="f100"/>
                </a:cxn>
                <a:cxn ang="f78">
                  <a:pos x="f101" y="f102"/>
                </a:cxn>
                <a:cxn ang="f78">
                  <a:pos x="f103" y="f104"/>
                </a:cxn>
                <a:cxn ang="f78">
                  <a:pos x="f105" y="f106"/>
                </a:cxn>
                <a:cxn ang="f78">
                  <a:pos x="f107" y="f108"/>
                </a:cxn>
                <a:cxn ang="f78">
                  <a:pos x="f107" y="f109"/>
                </a:cxn>
                <a:cxn ang="f78">
                  <a:pos x="f110" y="f111"/>
                </a:cxn>
                <a:cxn ang="f78">
                  <a:pos x="f112" y="f113"/>
                </a:cxn>
                <a:cxn ang="f78">
                  <a:pos x="f99" y="f114"/>
                </a:cxn>
              </a:cxnLst>
              <a:rect l="f95" t="f98" r="f96" b="f97"/>
              <a:pathLst>
                <a:path w="2807368" h="649803">
                  <a:moveTo>
                    <a:pt x="f5" y="f5"/>
                  </a:moveTo>
                  <a:lnTo>
                    <a:pt x="f8" y="f9"/>
                  </a:lnTo>
                  <a:cubicBezTo>
                    <a:pt x="f10" y="f11"/>
                    <a:pt x="f12" y="f13"/>
                    <a:pt x="f14" y="f15"/>
                  </a:cubicBezTo>
                  <a:cubicBezTo>
                    <a:pt x="f16" y="f17"/>
                    <a:pt x="f18" y="f19"/>
                    <a:pt x="f20" y="f21"/>
                  </a:cubicBezTo>
                  <a:lnTo>
                    <a:pt x="f6" y="f22"/>
                  </a:lnTo>
                  <a:lnTo>
                    <a:pt x="f6" y="f23"/>
                  </a:lnTo>
                  <a:lnTo>
                    <a:pt x="f24" y="f25"/>
                  </a:lnTo>
                  <a:cubicBezTo>
                    <a:pt x="f26" y="f27"/>
                    <a:pt x="f28" y="f29"/>
                    <a:pt x="f30" y="f31"/>
                  </a:cubicBezTo>
                  <a:lnTo>
                    <a:pt x="f5" y="f32"/>
                  </a:ln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grpSp>
      <p:sp>
        <p:nvSpPr>
          <p:cNvPr id="7" name="Picture Placeholder 6">
            <a:extLst>
              <a:ext uri="{FF2B5EF4-FFF2-40B4-BE49-F238E27FC236}">
                <a16:creationId xmlns:a16="http://schemas.microsoft.com/office/drawing/2014/main" id="{C65EB9EE-4336-76C7-B7F5-5D888559B6D5}"/>
              </a:ext>
            </a:extLst>
          </p:cNvPr>
          <p:cNvSpPr txBox="1">
            <a:spLocks noGrp="1"/>
          </p:cNvSpPr>
          <p:nvPr>
            <p:ph type="pic" idx="4294967295"/>
          </p:nvPr>
        </p:nvSpPr>
        <p:spPr>
          <a:xfrm>
            <a:off x="2807363" y="457200"/>
            <a:ext cx="8915400" cy="5943600"/>
          </a:xfrm>
        </p:spPr>
        <p:txBody>
          <a:bodyPr/>
          <a:lstStyle>
            <a:lvl1pPr>
              <a:defRPr/>
            </a:lvl1pPr>
          </a:lstStyle>
          <a:p>
            <a:pPr lvl="0"/>
            <a:endParaRPr lang="en-US"/>
          </a:p>
        </p:txBody>
      </p:sp>
      <p:pic>
        <p:nvPicPr>
          <p:cNvPr id="8" name="Picture 14">
            <a:extLst>
              <a:ext uri="{FF2B5EF4-FFF2-40B4-BE49-F238E27FC236}">
                <a16:creationId xmlns:a16="http://schemas.microsoft.com/office/drawing/2014/main" id="{CFA4B63E-9D7B-3CD5-B040-FE49C1DE541F}"/>
              </a:ext>
            </a:extLst>
          </p:cNvPr>
          <p:cNvPicPr>
            <a:picLocks noChangeAspect="1"/>
          </p:cNvPicPr>
          <p:nvPr/>
        </p:nvPicPr>
        <p:blipFill>
          <a:blip r:embed="rId2"/>
          <a:srcRect/>
          <a:stretch>
            <a:fillRect/>
          </a:stretch>
        </p:blipFill>
        <p:spPr>
          <a:xfrm>
            <a:off x="513354" y="4385535"/>
            <a:ext cx="2025313" cy="911940"/>
          </a:xfrm>
          <a:prstGeom prst="rect">
            <a:avLst/>
          </a:prstGeom>
          <a:noFill/>
          <a:ln cap="flat">
            <a:noFill/>
          </a:ln>
        </p:spPr>
      </p:pic>
    </p:spTree>
    <p:extLst>
      <p:ext uri="{BB962C8B-B14F-4D97-AF65-F5344CB8AC3E}">
        <p14:creationId xmlns:p14="http://schemas.microsoft.com/office/powerpoint/2010/main" val="380799483"/>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7BB20D50-8EA7-25BF-FAEF-D163811904E8}"/>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679EF56D-4C4A-F97A-26F2-52F125A3BFF2}"/>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3C156175-2175-243E-62E7-8F01B5BC8ACB}"/>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6FA74ED9-5F5B-5998-FC27-7BA1C2E84778}"/>
              </a:ext>
            </a:extLst>
          </p:cNvPr>
          <p:cNvSpPr txBox="1">
            <a:spLocks noGrp="1"/>
          </p:cNvSpPr>
          <p:nvPr>
            <p:ph type="sldNum" sz="quarter" idx="8"/>
          </p:nvPr>
        </p:nvSpPr>
        <p:spPr/>
        <p:txBody>
          <a:bodyPr/>
          <a:lstStyle>
            <a:lvl1pPr>
              <a:defRPr>
                <a:solidFill>
                  <a:srgbClr val="AFB3B9"/>
                </a:solidFill>
              </a:defRPr>
            </a:lvl1pPr>
          </a:lstStyle>
          <a:p>
            <a:pPr lvl="0"/>
            <a:fld id="{268DE061-B72F-4CAA-98FD-584ED73B505B}" type="slidenum">
              <a:t>‹#›</a:t>
            </a:fld>
            <a:endParaRPr lang="en-US"/>
          </a:p>
        </p:txBody>
      </p:sp>
      <p:cxnSp>
        <p:nvCxnSpPr>
          <p:cNvPr id="6" name="Straight Connector 7">
            <a:extLst>
              <a:ext uri="{FF2B5EF4-FFF2-40B4-BE49-F238E27FC236}">
                <a16:creationId xmlns:a16="http://schemas.microsoft.com/office/drawing/2014/main" id="{20FFE142-951A-3E5E-6D8A-4155BAC2495D}"/>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388D0264-B520-09AE-CA60-1CDB2FE1A183}"/>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D500F608-4565-8576-6820-B1EEEDE30C34}"/>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7C4FD1CC-FD69-FC3C-55C0-021003BCA0A4}"/>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0B3B3408-02B4-40B4-4A1D-CB13D3889368}"/>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22250260-4EB8-31E0-FB29-CF39147C28FB}"/>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1ED69892-F9BE-EEC9-C53C-F031D1C1513B}"/>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FF9DB267-DEFA-C569-E3BF-79BA7EB6711A}"/>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3931282296"/>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2" name="Group 63">
            <a:extLst>
              <a:ext uri="{FF2B5EF4-FFF2-40B4-BE49-F238E27FC236}">
                <a16:creationId xmlns:a16="http://schemas.microsoft.com/office/drawing/2014/main" id="{3960200B-8842-8B32-D340-CC71AACF9DEA}"/>
              </a:ext>
            </a:extLst>
          </p:cNvPr>
          <p:cNvGrpSpPr/>
          <p:nvPr/>
        </p:nvGrpSpPr>
        <p:grpSpPr>
          <a:xfrm>
            <a:off x="7191545" y="0"/>
            <a:ext cx="5000460" cy="1425988"/>
            <a:chOff x="7191545" y="0"/>
            <a:chExt cx="5000460" cy="1425988"/>
          </a:xfrm>
        </p:grpSpPr>
        <p:pic>
          <p:nvPicPr>
            <p:cNvPr id="3" name="Picture 64">
              <a:extLst>
                <a:ext uri="{FF2B5EF4-FFF2-40B4-BE49-F238E27FC236}">
                  <a16:creationId xmlns:a16="http://schemas.microsoft.com/office/drawing/2014/main" id="{834821A0-9BB4-DB67-6AD6-A1DE7B7FF801}"/>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65">
              <a:extLst>
                <a:ext uri="{FF2B5EF4-FFF2-40B4-BE49-F238E27FC236}">
                  <a16:creationId xmlns:a16="http://schemas.microsoft.com/office/drawing/2014/main" id="{264A66D5-20DF-CC05-1716-DC7DEFEFC252}"/>
                </a:ext>
              </a:extLst>
            </p:cNvPr>
            <p:cNvGrpSpPr/>
            <p:nvPr/>
          </p:nvGrpSpPr>
          <p:grpSpPr>
            <a:xfrm>
              <a:off x="7191545" y="0"/>
              <a:ext cx="5000460" cy="1425988"/>
              <a:chOff x="7191545" y="0"/>
              <a:chExt cx="5000460" cy="1425988"/>
            </a:xfrm>
          </p:grpSpPr>
          <p:sp>
            <p:nvSpPr>
              <p:cNvPr id="5" name="Freeform 66">
                <a:extLst>
                  <a:ext uri="{FF2B5EF4-FFF2-40B4-BE49-F238E27FC236}">
                    <a16:creationId xmlns:a16="http://schemas.microsoft.com/office/drawing/2014/main" id="{A0C3C232-2E85-C0A5-3825-E9C813477085}"/>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67">
                <a:extLst>
                  <a:ext uri="{FF2B5EF4-FFF2-40B4-BE49-F238E27FC236}">
                    <a16:creationId xmlns:a16="http://schemas.microsoft.com/office/drawing/2014/main" id="{8D8D4AE8-6F2E-53F3-3301-28D65879D390}"/>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560165F9-B0B6-4E9B-89B5-56751EDC3244}"/>
              </a:ext>
            </a:extLst>
          </p:cNvPr>
          <p:cNvSpPr txBox="1">
            <a:spLocks noGrp="1"/>
          </p:cNvSpPr>
          <p:nvPr>
            <p:ph type="title"/>
          </p:nvPr>
        </p:nvSpPr>
        <p:spPr/>
        <p:txBody>
          <a:bodyPr/>
          <a:lstStyle>
            <a:lvl1pPr>
              <a:defRPr/>
            </a:lvl1pPr>
          </a:lstStyle>
          <a:p>
            <a:pPr lvl="0"/>
            <a:r>
              <a:rPr lang="en-US"/>
              <a:t>Click to edit Master title style</a:t>
            </a:r>
          </a:p>
        </p:txBody>
      </p:sp>
      <p:sp>
        <p:nvSpPr>
          <p:cNvPr id="8" name="Content Placeholder 2">
            <a:extLst>
              <a:ext uri="{FF2B5EF4-FFF2-40B4-BE49-F238E27FC236}">
                <a16:creationId xmlns:a16="http://schemas.microsoft.com/office/drawing/2014/main" id="{937BA9A6-C20C-A58C-2F60-C8CE5C349BB4}"/>
              </a:ext>
            </a:extLst>
          </p:cNvPr>
          <p:cNvSpPr txBox="1">
            <a:spLocks noGrp="1"/>
          </p:cNvSpPr>
          <p:nvPr>
            <p:ph idx="1"/>
          </p:nvPr>
        </p:nvSpPr>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6">
            <a:extLst>
              <a:ext uri="{FF2B5EF4-FFF2-40B4-BE49-F238E27FC236}">
                <a16:creationId xmlns:a16="http://schemas.microsoft.com/office/drawing/2014/main" id="{F64B169F-B36A-AA81-8D44-48E52D21605F}"/>
              </a:ext>
            </a:extLst>
          </p:cNvPr>
          <p:cNvSpPr txBox="1">
            <a:spLocks noGrp="1"/>
          </p:cNvSpPr>
          <p:nvPr>
            <p:ph type="sldNum" sz="quarter" idx="8"/>
          </p:nvPr>
        </p:nvSpPr>
        <p:spPr/>
        <p:txBody>
          <a:bodyPr/>
          <a:lstStyle>
            <a:lvl1pPr>
              <a:defRPr>
                <a:solidFill>
                  <a:srgbClr val="AFB3B9"/>
                </a:solidFill>
              </a:defRPr>
            </a:lvl1pPr>
          </a:lstStyle>
          <a:p>
            <a:pPr lvl="0"/>
            <a:fld id="{29018914-F821-4016-A399-E9641618C5E9}" type="slidenum">
              <a:t>‹#›</a:t>
            </a:fld>
            <a:endParaRPr lang="en-US"/>
          </a:p>
        </p:txBody>
      </p:sp>
      <p:cxnSp>
        <p:nvCxnSpPr>
          <p:cNvPr id="10" name="Straight Connector 7">
            <a:extLst>
              <a:ext uri="{FF2B5EF4-FFF2-40B4-BE49-F238E27FC236}">
                <a16:creationId xmlns:a16="http://schemas.microsoft.com/office/drawing/2014/main" id="{498C03F9-59C0-1CCB-298C-3772A6BB02C5}"/>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1" name="Footer Placeholder 5">
            <a:extLst>
              <a:ext uri="{FF2B5EF4-FFF2-40B4-BE49-F238E27FC236}">
                <a16:creationId xmlns:a16="http://schemas.microsoft.com/office/drawing/2014/main" id="{20369F1D-A11F-B9D5-AC10-99693B478C37}"/>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90616190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Two Content">
  <p:cSld name="Two Content 2">
    <p:spTree>
      <p:nvGrpSpPr>
        <p:cNvPr id="1" name="Shape 9245"/>
        <p:cNvGrpSpPr/>
        <p:nvPr/>
      </p:nvGrpSpPr>
      <p:grpSpPr>
        <a:xfrm>
          <a:off x="0" y="0"/>
          <a:ext cx="0" cy="0"/>
          <a:chOff x="0" y="0"/>
          <a:chExt cx="0" cy="0"/>
        </a:xfrm>
      </p:grpSpPr>
      <p:sp>
        <p:nvSpPr>
          <p:cNvPr id="9246" name="Google Shape;9246;p133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247" name="Google Shape;9247;p133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248" name="Google Shape;9248;p1337"/>
          <p:cNvGrpSpPr/>
          <p:nvPr/>
        </p:nvGrpSpPr>
        <p:grpSpPr>
          <a:xfrm>
            <a:off x="7191542" y="1"/>
            <a:ext cx="5000459" cy="1425992"/>
            <a:chOff x="7191542" y="1"/>
            <a:chExt cx="5000459" cy="1425992"/>
          </a:xfrm>
        </p:grpSpPr>
        <p:pic>
          <p:nvPicPr>
            <p:cNvPr id="9249" name="Google Shape;9249;p13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50" name="Google Shape;9250;p1337"/>
            <p:cNvGrpSpPr/>
            <p:nvPr/>
          </p:nvGrpSpPr>
          <p:grpSpPr>
            <a:xfrm>
              <a:off x="7191542" y="1"/>
              <a:ext cx="5000459" cy="1425992"/>
              <a:chOff x="7186272" y="0"/>
              <a:chExt cx="5005729" cy="1427495"/>
            </a:xfrm>
          </p:grpSpPr>
          <p:sp>
            <p:nvSpPr>
              <p:cNvPr id="9251" name="Google Shape;9251;p13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252" name="Google Shape;9252;p13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253" name="Google Shape;9253;p133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54" name="Google Shape;9254;p133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55" name="Google Shape;9255;p13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56" name="Google Shape;9256;p13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CEBD94-C47A-4E71-A92B-FB8225CEEE64}"/>
              </a:ext>
            </a:extLst>
          </p:cNvPr>
          <p:cNvSpPr txBox="1">
            <a:spLocks noGrp="1"/>
          </p:cNvSpPr>
          <p:nvPr>
            <p:ph type="title"/>
          </p:nvPr>
        </p:nvSpPr>
        <p:spPr/>
        <p:txBody>
          <a:bodyPr/>
          <a:lstStyle>
            <a:lvl1pPr>
              <a:defRPr/>
            </a:lvl1pPr>
          </a:lstStyle>
          <a:p>
            <a:pPr lvl="0"/>
            <a:r>
              <a:rPr lang="en-US"/>
              <a:t>Click to edit Master title style</a:t>
            </a:r>
          </a:p>
        </p:txBody>
      </p:sp>
      <p:sp>
        <p:nvSpPr>
          <p:cNvPr id="3" name="Content Placeholder 2">
            <a:extLst>
              <a:ext uri="{FF2B5EF4-FFF2-40B4-BE49-F238E27FC236}">
                <a16:creationId xmlns:a16="http://schemas.microsoft.com/office/drawing/2014/main" id="{3628E901-AF0F-928A-6645-EDC8A0BCD947}"/>
              </a:ext>
            </a:extLst>
          </p:cNvPr>
          <p:cNvSpPr txBox="1">
            <a:spLocks noGrp="1"/>
          </p:cNvSpPr>
          <p:nvPr>
            <p:ph idx="1"/>
          </p:nvPr>
        </p:nvSpPr>
        <p:spPr>
          <a:xfrm>
            <a:off x="609604" y="1825627"/>
            <a:ext cx="5410203" cy="4351336"/>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43">
            <a:extLst>
              <a:ext uri="{FF2B5EF4-FFF2-40B4-BE49-F238E27FC236}">
                <a16:creationId xmlns:a16="http://schemas.microsoft.com/office/drawing/2014/main" id="{5F95FF1C-A526-020F-E5A2-0D05EDF9B4AB}"/>
              </a:ext>
            </a:extLst>
          </p:cNvPr>
          <p:cNvGrpSpPr/>
          <p:nvPr/>
        </p:nvGrpSpPr>
        <p:grpSpPr>
          <a:xfrm>
            <a:off x="7191545" y="0"/>
            <a:ext cx="5000460" cy="1425988"/>
            <a:chOff x="7191545" y="0"/>
            <a:chExt cx="5000460" cy="1425988"/>
          </a:xfrm>
        </p:grpSpPr>
        <p:pic>
          <p:nvPicPr>
            <p:cNvPr id="5" name="Picture 19">
              <a:extLst>
                <a:ext uri="{FF2B5EF4-FFF2-40B4-BE49-F238E27FC236}">
                  <a16:creationId xmlns:a16="http://schemas.microsoft.com/office/drawing/2014/main" id="{19599567-3D10-47A7-EB64-AE902D111320}"/>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6" name="Group 42">
              <a:extLst>
                <a:ext uri="{FF2B5EF4-FFF2-40B4-BE49-F238E27FC236}">
                  <a16:creationId xmlns:a16="http://schemas.microsoft.com/office/drawing/2014/main" id="{0C1BE2AF-7940-FD8E-46E0-73EC1FB5B56C}"/>
                </a:ext>
              </a:extLst>
            </p:cNvPr>
            <p:cNvGrpSpPr/>
            <p:nvPr/>
          </p:nvGrpSpPr>
          <p:grpSpPr>
            <a:xfrm>
              <a:off x="7191545" y="0"/>
              <a:ext cx="5000460" cy="1425988"/>
              <a:chOff x="7191545" y="0"/>
              <a:chExt cx="5000460" cy="1425988"/>
            </a:xfrm>
          </p:grpSpPr>
          <p:sp>
            <p:nvSpPr>
              <p:cNvPr id="7" name="Freeform 41">
                <a:extLst>
                  <a:ext uri="{FF2B5EF4-FFF2-40B4-BE49-F238E27FC236}">
                    <a16:creationId xmlns:a16="http://schemas.microsoft.com/office/drawing/2014/main" id="{E23F1CB5-FA0A-829E-AC13-20D0EAB43451}"/>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8" name="Freeform 39">
                <a:extLst>
                  <a:ext uri="{FF2B5EF4-FFF2-40B4-BE49-F238E27FC236}">
                    <a16:creationId xmlns:a16="http://schemas.microsoft.com/office/drawing/2014/main" id="{8D11ECBC-420B-AB25-C983-9806F291BC1E}"/>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9" name="Content Placeholder 3">
            <a:extLst>
              <a:ext uri="{FF2B5EF4-FFF2-40B4-BE49-F238E27FC236}">
                <a16:creationId xmlns:a16="http://schemas.microsoft.com/office/drawing/2014/main" id="{0FE34356-2C02-100F-8A44-57765F477504}"/>
              </a:ext>
            </a:extLst>
          </p:cNvPr>
          <p:cNvSpPr txBox="1">
            <a:spLocks noGrp="1"/>
          </p:cNvSpPr>
          <p:nvPr>
            <p:ph idx="2"/>
          </p:nvPr>
        </p:nvSpPr>
        <p:spPr>
          <a:xfrm>
            <a:off x="6172201" y="1825627"/>
            <a:ext cx="5410203" cy="4351336"/>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7">
            <a:extLst>
              <a:ext uri="{FF2B5EF4-FFF2-40B4-BE49-F238E27FC236}">
                <a16:creationId xmlns:a16="http://schemas.microsoft.com/office/drawing/2014/main" id="{F1626E56-91BE-87B9-655D-9DB2982E96DB}"/>
              </a:ext>
            </a:extLst>
          </p:cNvPr>
          <p:cNvSpPr txBox="1">
            <a:spLocks noGrp="1"/>
          </p:cNvSpPr>
          <p:nvPr>
            <p:ph type="sldNum" sz="quarter" idx="8"/>
          </p:nvPr>
        </p:nvSpPr>
        <p:spPr>
          <a:xfrm>
            <a:off x="8839193" y="6356352"/>
            <a:ext cx="2743200" cy="365129"/>
          </a:xfrm>
        </p:spPr>
        <p:txBody>
          <a:bodyPr/>
          <a:lstStyle>
            <a:lvl1pPr>
              <a:defRPr/>
            </a:lvl1pPr>
          </a:lstStyle>
          <a:p>
            <a:pPr lvl="0"/>
            <a:fld id="{DA62421C-13F2-47AD-9E9F-3F57A98AE7FD}" type="slidenum">
              <a:t>‹#›</a:t>
            </a:fld>
            <a:endParaRPr lang="en-US"/>
          </a:p>
        </p:txBody>
      </p:sp>
      <p:cxnSp>
        <p:nvCxnSpPr>
          <p:cNvPr id="11" name="Straight Connector 6">
            <a:extLst>
              <a:ext uri="{FF2B5EF4-FFF2-40B4-BE49-F238E27FC236}">
                <a16:creationId xmlns:a16="http://schemas.microsoft.com/office/drawing/2014/main" id="{937A90DB-368E-D921-B719-D3C077666044}"/>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2" name="Footer Placeholder 4">
            <a:extLst>
              <a:ext uri="{FF2B5EF4-FFF2-40B4-BE49-F238E27FC236}">
                <a16:creationId xmlns:a16="http://schemas.microsoft.com/office/drawing/2014/main" id="{6EBE9F80-7835-2454-A7EE-EA3EDF77409F}"/>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1054376729"/>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 name="Group 24">
            <a:extLst>
              <a:ext uri="{FF2B5EF4-FFF2-40B4-BE49-F238E27FC236}">
                <a16:creationId xmlns:a16="http://schemas.microsoft.com/office/drawing/2014/main" id="{87592A20-2CE0-75BC-0C26-22306463D28D}"/>
              </a:ext>
            </a:extLst>
          </p:cNvPr>
          <p:cNvGrpSpPr/>
          <p:nvPr/>
        </p:nvGrpSpPr>
        <p:grpSpPr>
          <a:xfrm>
            <a:off x="7191545" y="0"/>
            <a:ext cx="5000460" cy="1425988"/>
            <a:chOff x="7191545" y="0"/>
            <a:chExt cx="5000460" cy="1425988"/>
          </a:xfrm>
        </p:grpSpPr>
        <p:pic>
          <p:nvPicPr>
            <p:cNvPr id="3" name="Picture 25">
              <a:extLst>
                <a:ext uri="{FF2B5EF4-FFF2-40B4-BE49-F238E27FC236}">
                  <a16:creationId xmlns:a16="http://schemas.microsoft.com/office/drawing/2014/main" id="{75A02B0A-7220-4533-C7DE-C1BA6DA59D0A}"/>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26">
              <a:extLst>
                <a:ext uri="{FF2B5EF4-FFF2-40B4-BE49-F238E27FC236}">
                  <a16:creationId xmlns:a16="http://schemas.microsoft.com/office/drawing/2014/main" id="{423ACF44-7ED4-4829-5AEB-322165DD3383}"/>
                </a:ext>
              </a:extLst>
            </p:cNvPr>
            <p:cNvGrpSpPr/>
            <p:nvPr/>
          </p:nvGrpSpPr>
          <p:grpSpPr>
            <a:xfrm>
              <a:off x="7191545" y="0"/>
              <a:ext cx="5000460" cy="1425988"/>
              <a:chOff x="7191545" y="0"/>
              <a:chExt cx="5000460" cy="1425988"/>
            </a:xfrm>
          </p:grpSpPr>
          <p:sp>
            <p:nvSpPr>
              <p:cNvPr id="5" name="Freeform 27">
                <a:extLst>
                  <a:ext uri="{FF2B5EF4-FFF2-40B4-BE49-F238E27FC236}">
                    <a16:creationId xmlns:a16="http://schemas.microsoft.com/office/drawing/2014/main" id="{763EC34A-5321-A668-1457-C686B7A8A7A4}"/>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28">
                <a:extLst>
                  <a:ext uri="{FF2B5EF4-FFF2-40B4-BE49-F238E27FC236}">
                    <a16:creationId xmlns:a16="http://schemas.microsoft.com/office/drawing/2014/main" id="{B02ACAFC-D43D-D1C9-551F-728C601850FF}"/>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A626C81B-9A89-4E61-C03F-F19D29CD3870}"/>
              </a:ext>
            </a:extLst>
          </p:cNvPr>
          <p:cNvSpPr txBox="1">
            <a:spLocks noGrp="1"/>
          </p:cNvSpPr>
          <p:nvPr>
            <p:ph type="title"/>
          </p:nvPr>
        </p:nvSpPr>
        <p:spPr/>
        <p:txBody>
          <a:bodyPr/>
          <a:lstStyle>
            <a:lvl1pPr>
              <a:defRPr/>
            </a:lvl1pPr>
          </a:lstStyle>
          <a:p>
            <a:pPr lvl="0"/>
            <a:r>
              <a:rPr lang="en-US"/>
              <a:t>Click to edit Master title style</a:t>
            </a:r>
          </a:p>
        </p:txBody>
      </p:sp>
      <p:sp>
        <p:nvSpPr>
          <p:cNvPr id="8" name="Text Placeholder 2">
            <a:extLst>
              <a:ext uri="{FF2B5EF4-FFF2-40B4-BE49-F238E27FC236}">
                <a16:creationId xmlns:a16="http://schemas.microsoft.com/office/drawing/2014/main" id="{2A3A6B08-0DD5-53AB-27E8-EDB4D4E10B38}"/>
              </a:ext>
            </a:extLst>
          </p:cNvPr>
          <p:cNvSpPr txBox="1">
            <a:spLocks noGrp="1"/>
          </p:cNvSpPr>
          <p:nvPr>
            <p:ph type="body" idx="1"/>
          </p:nvPr>
        </p:nvSpPr>
        <p:spPr>
          <a:xfrm>
            <a:off x="609604" y="1681160"/>
            <a:ext cx="5387973" cy="823910"/>
          </a:xfrm>
          <a:solidFill>
            <a:srgbClr val="F3F6FB"/>
          </a:solidFill>
        </p:spPr>
        <p:txBody>
          <a:bodyPr lIns="182880" tIns="0" rIns="182880" bIns="0" anchor="ctr"/>
          <a:lstStyle>
            <a:lvl1pPr marL="0" indent="0">
              <a:buNone/>
              <a:defRPr u="sng">
                <a:uFill>
                  <a:solidFill>
                    <a:srgbClr val="F58366"/>
                  </a:solidFill>
                </a:uFill>
              </a:defRPr>
            </a:lvl1pPr>
          </a:lstStyle>
          <a:p>
            <a:pPr lvl="0"/>
            <a:r>
              <a:rPr lang="en-US"/>
              <a:t>Click to edit Master text styles</a:t>
            </a:r>
          </a:p>
        </p:txBody>
      </p:sp>
      <p:sp>
        <p:nvSpPr>
          <p:cNvPr id="9" name="Content Placeholder 3">
            <a:extLst>
              <a:ext uri="{FF2B5EF4-FFF2-40B4-BE49-F238E27FC236}">
                <a16:creationId xmlns:a16="http://schemas.microsoft.com/office/drawing/2014/main" id="{DDE281C8-238C-ED4A-63D1-EBBC7B4B478B}"/>
              </a:ext>
            </a:extLst>
          </p:cNvPr>
          <p:cNvSpPr txBox="1">
            <a:spLocks noGrp="1"/>
          </p:cNvSpPr>
          <p:nvPr>
            <p:ph idx="2"/>
          </p:nvPr>
        </p:nvSpPr>
        <p:spPr>
          <a:xfrm>
            <a:off x="609604" y="2505072"/>
            <a:ext cx="5387973" cy="3684583"/>
          </a:xfrm>
          <a:solidFill>
            <a:srgbClr val="F3F6FB"/>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8856DBFF-8425-238C-5953-F743FFD41649}"/>
              </a:ext>
            </a:extLst>
          </p:cNvPr>
          <p:cNvSpPr txBox="1">
            <a:spLocks noGrp="1"/>
          </p:cNvSpPr>
          <p:nvPr>
            <p:ph type="body" idx="3"/>
          </p:nvPr>
        </p:nvSpPr>
        <p:spPr>
          <a:xfrm>
            <a:off x="6172201" y="1681160"/>
            <a:ext cx="5410203" cy="823910"/>
          </a:xfrm>
          <a:solidFill>
            <a:srgbClr val="F3F6FB"/>
          </a:solidFill>
        </p:spPr>
        <p:txBody>
          <a:bodyPr lIns="182880" tIns="0" rIns="182880" bIns="0" anchor="ctr"/>
          <a:lstStyle>
            <a:lvl1pPr marL="0" indent="0">
              <a:buNone/>
              <a:defRPr u="sng">
                <a:uFill>
                  <a:solidFill>
                    <a:srgbClr val="F58366"/>
                  </a:solidFill>
                </a:uFill>
              </a:defRPr>
            </a:lvl1pPr>
          </a:lstStyle>
          <a:p>
            <a:pPr lvl="0"/>
            <a:r>
              <a:rPr lang="en-US"/>
              <a:t>Click to edit Master text styles</a:t>
            </a:r>
          </a:p>
        </p:txBody>
      </p:sp>
      <p:sp>
        <p:nvSpPr>
          <p:cNvPr id="11" name="Content Placeholder 5">
            <a:extLst>
              <a:ext uri="{FF2B5EF4-FFF2-40B4-BE49-F238E27FC236}">
                <a16:creationId xmlns:a16="http://schemas.microsoft.com/office/drawing/2014/main" id="{C348AA87-A555-46B6-D8D4-93EC03574A25}"/>
              </a:ext>
            </a:extLst>
          </p:cNvPr>
          <p:cNvSpPr txBox="1">
            <a:spLocks noGrp="1"/>
          </p:cNvSpPr>
          <p:nvPr>
            <p:ph idx="4"/>
          </p:nvPr>
        </p:nvSpPr>
        <p:spPr>
          <a:xfrm>
            <a:off x="6172201" y="2505072"/>
            <a:ext cx="5410203" cy="3684583"/>
          </a:xfrm>
          <a:solidFill>
            <a:srgbClr val="F3F6FB"/>
          </a:solidFill>
        </p:spPr>
        <p:txBody>
          <a:bodyPr lIns="182880" tIns="0" rIns="182880" bIns="0"/>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9">
            <a:extLst>
              <a:ext uri="{FF2B5EF4-FFF2-40B4-BE49-F238E27FC236}">
                <a16:creationId xmlns:a16="http://schemas.microsoft.com/office/drawing/2014/main" id="{E0AD907F-FD42-4AF0-8E72-CCBCB9EC845C}"/>
              </a:ext>
            </a:extLst>
          </p:cNvPr>
          <p:cNvSpPr txBox="1">
            <a:spLocks noGrp="1"/>
          </p:cNvSpPr>
          <p:nvPr>
            <p:ph type="sldNum" sz="quarter" idx="8"/>
          </p:nvPr>
        </p:nvSpPr>
        <p:spPr/>
        <p:txBody>
          <a:bodyPr/>
          <a:lstStyle>
            <a:lvl1pPr>
              <a:defRPr/>
            </a:lvl1pPr>
          </a:lstStyle>
          <a:p>
            <a:pPr lvl="0"/>
            <a:fld id="{9A3C2757-30B6-4A0F-BF3C-62849609B7AA}" type="slidenum">
              <a:t>‹#›</a:t>
            </a:fld>
            <a:endParaRPr lang="en-US"/>
          </a:p>
        </p:txBody>
      </p:sp>
      <p:cxnSp>
        <p:nvCxnSpPr>
          <p:cNvPr id="13" name="Straight Connector 8">
            <a:extLst>
              <a:ext uri="{FF2B5EF4-FFF2-40B4-BE49-F238E27FC236}">
                <a16:creationId xmlns:a16="http://schemas.microsoft.com/office/drawing/2014/main" id="{6E366662-233F-4445-5927-86A137915D7F}"/>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4" name="Footer Placeholder 7">
            <a:extLst>
              <a:ext uri="{FF2B5EF4-FFF2-40B4-BE49-F238E27FC236}">
                <a16:creationId xmlns:a16="http://schemas.microsoft.com/office/drawing/2014/main" id="{2A46A6EB-2176-EE3A-11ED-86276BBC2A7D}"/>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3533823627"/>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 name="Group 21">
            <a:extLst>
              <a:ext uri="{FF2B5EF4-FFF2-40B4-BE49-F238E27FC236}">
                <a16:creationId xmlns:a16="http://schemas.microsoft.com/office/drawing/2014/main" id="{2ED1C078-7343-2EB0-378F-A9012ECC0E18}"/>
              </a:ext>
            </a:extLst>
          </p:cNvPr>
          <p:cNvGrpSpPr/>
          <p:nvPr/>
        </p:nvGrpSpPr>
        <p:grpSpPr>
          <a:xfrm>
            <a:off x="7191545" y="0"/>
            <a:ext cx="5000460" cy="1425988"/>
            <a:chOff x="7191545" y="0"/>
            <a:chExt cx="5000460" cy="1425988"/>
          </a:xfrm>
        </p:grpSpPr>
        <p:pic>
          <p:nvPicPr>
            <p:cNvPr id="3" name="Picture 22">
              <a:extLst>
                <a:ext uri="{FF2B5EF4-FFF2-40B4-BE49-F238E27FC236}">
                  <a16:creationId xmlns:a16="http://schemas.microsoft.com/office/drawing/2014/main" id="{0C5F6990-D4F0-55B6-8ABD-52B33E1D5327}"/>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23">
              <a:extLst>
                <a:ext uri="{FF2B5EF4-FFF2-40B4-BE49-F238E27FC236}">
                  <a16:creationId xmlns:a16="http://schemas.microsoft.com/office/drawing/2014/main" id="{78F88E32-3791-C419-9940-869DAC54432F}"/>
                </a:ext>
              </a:extLst>
            </p:cNvPr>
            <p:cNvGrpSpPr/>
            <p:nvPr/>
          </p:nvGrpSpPr>
          <p:grpSpPr>
            <a:xfrm>
              <a:off x="7191545" y="0"/>
              <a:ext cx="5000460" cy="1425988"/>
              <a:chOff x="7191545" y="0"/>
              <a:chExt cx="5000460" cy="1425988"/>
            </a:xfrm>
          </p:grpSpPr>
          <p:sp>
            <p:nvSpPr>
              <p:cNvPr id="5" name="Freeform 24">
                <a:extLst>
                  <a:ext uri="{FF2B5EF4-FFF2-40B4-BE49-F238E27FC236}">
                    <a16:creationId xmlns:a16="http://schemas.microsoft.com/office/drawing/2014/main" id="{0203715B-DA5F-6C94-F12A-7F17BF7CB846}"/>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25">
                <a:extLst>
                  <a:ext uri="{FF2B5EF4-FFF2-40B4-BE49-F238E27FC236}">
                    <a16:creationId xmlns:a16="http://schemas.microsoft.com/office/drawing/2014/main" id="{5976DD3C-95FF-38E8-6F55-5F5907F37F2A}"/>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FEF82FA2-831F-C720-5F30-C1E798663AB9}"/>
              </a:ext>
            </a:extLst>
          </p:cNvPr>
          <p:cNvSpPr txBox="1">
            <a:spLocks noGrp="1"/>
          </p:cNvSpPr>
          <p:nvPr>
            <p:ph type="title"/>
          </p:nvPr>
        </p:nvSpPr>
        <p:spPr/>
        <p:txBody>
          <a:bodyPr/>
          <a:lstStyle>
            <a:lvl1pPr>
              <a:defRPr/>
            </a:lvl1pPr>
          </a:lstStyle>
          <a:p>
            <a:pPr lvl="0"/>
            <a:r>
              <a:rPr lang="en-US"/>
              <a:t>Click to edit Master title style</a:t>
            </a:r>
          </a:p>
        </p:txBody>
      </p:sp>
      <p:sp>
        <p:nvSpPr>
          <p:cNvPr id="8" name="Slide Number Placeholder 5">
            <a:extLst>
              <a:ext uri="{FF2B5EF4-FFF2-40B4-BE49-F238E27FC236}">
                <a16:creationId xmlns:a16="http://schemas.microsoft.com/office/drawing/2014/main" id="{52157189-830B-6673-9770-AC9E9D0CAF49}"/>
              </a:ext>
            </a:extLst>
          </p:cNvPr>
          <p:cNvSpPr txBox="1">
            <a:spLocks noGrp="1"/>
          </p:cNvSpPr>
          <p:nvPr>
            <p:ph type="sldNum" sz="quarter" idx="8"/>
          </p:nvPr>
        </p:nvSpPr>
        <p:spPr/>
        <p:txBody>
          <a:bodyPr/>
          <a:lstStyle>
            <a:lvl1pPr>
              <a:defRPr/>
            </a:lvl1pPr>
          </a:lstStyle>
          <a:p>
            <a:pPr lvl="0"/>
            <a:fld id="{8D571F51-E102-4A01-BF0B-E57118BC8F6A}" type="slidenum">
              <a:t>‹#›</a:t>
            </a:fld>
            <a:endParaRPr lang="en-US"/>
          </a:p>
        </p:txBody>
      </p:sp>
      <p:cxnSp>
        <p:nvCxnSpPr>
          <p:cNvPr id="9" name="Straight Connector 6">
            <a:extLst>
              <a:ext uri="{FF2B5EF4-FFF2-40B4-BE49-F238E27FC236}">
                <a16:creationId xmlns:a16="http://schemas.microsoft.com/office/drawing/2014/main" id="{0B3DD1E8-E8AD-546A-0F61-977EDE56A1FA}"/>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0" name="Footer Placeholder 2">
            <a:extLst>
              <a:ext uri="{FF2B5EF4-FFF2-40B4-BE49-F238E27FC236}">
                <a16:creationId xmlns:a16="http://schemas.microsoft.com/office/drawing/2014/main" id="{DA8DFBE1-4C12-3081-31E8-B77050BA6975}"/>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3545533481"/>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1_End">
    <p:spTree>
      <p:nvGrpSpPr>
        <p:cNvPr id="1" name=""/>
        <p:cNvGrpSpPr/>
        <p:nvPr/>
      </p:nvGrpSpPr>
      <p:grpSpPr>
        <a:xfrm>
          <a:off x="0" y="0"/>
          <a:ext cx="0" cy="0"/>
          <a:chOff x="0" y="0"/>
          <a:chExt cx="0" cy="0"/>
        </a:xfrm>
      </p:grpSpPr>
      <p:grpSp>
        <p:nvGrpSpPr>
          <p:cNvPr id="2" name="Group 41">
            <a:extLst>
              <a:ext uri="{FF2B5EF4-FFF2-40B4-BE49-F238E27FC236}">
                <a16:creationId xmlns:a16="http://schemas.microsoft.com/office/drawing/2014/main" id="{6DDF3671-DA9A-890C-088C-00D9B57F50B9}"/>
              </a:ext>
            </a:extLst>
          </p:cNvPr>
          <p:cNvGrpSpPr/>
          <p:nvPr/>
        </p:nvGrpSpPr>
        <p:grpSpPr>
          <a:xfrm>
            <a:off x="0" y="0"/>
            <a:ext cx="12191996" cy="2148830"/>
            <a:chOff x="0" y="0"/>
            <a:chExt cx="12191996" cy="2148830"/>
          </a:xfrm>
        </p:grpSpPr>
        <p:sp>
          <p:nvSpPr>
            <p:cNvPr id="3" name="Freeform 40">
              <a:extLst>
                <a:ext uri="{FF2B5EF4-FFF2-40B4-BE49-F238E27FC236}">
                  <a16:creationId xmlns:a16="http://schemas.microsoft.com/office/drawing/2014/main" id="{754D5657-D290-1821-BD2B-19E20056303C}"/>
                </a:ext>
              </a:extLst>
            </p:cNvPr>
            <p:cNvSpPr/>
            <p:nvPr/>
          </p:nvSpPr>
          <p:spPr>
            <a:xfrm flipH="1">
              <a:off x="0" y="0"/>
              <a:ext cx="12191996" cy="2148830"/>
            </a:xfrm>
            <a:custGeom>
              <a:avLst/>
              <a:gdLst>
                <a:gd name="f0" fmla="val 10800000"/>
                <a:gd name="f1" fmla="val 5400000"/>
                <a:gd name="f2" fmla="val 180"/>
                <a:gd name="f3" fmla="val w"/>
                <a:gd name="f4" fmla="val h"/>
                <a:gd name="f5" fmla="val 0"/>
                <a:gd name="f6" fmla="val 12192000"/>
                <a:gd name="f7" fmla="val 2148830"/>
                <a:gd name="f8" fmla="val 2318293"/>
                <a:gd name="f9" fmla="val 2110341"/>
                <a:gd name="f10" fmla="val 1952334"/>
                <a:gd name="f11" fmla="val 920"/>
                <a:gd name="f12" fmla="val 1343499"/>
                <a:gd name="f13" fmla="val 23864"/>
                <a:gd name="f14" fmla="val 752130"/>
                <a:gd name="f15" fmla="val 152982"/>
                <a:gd name="f16" fmla="val 184205"/>
                <a:gd name="f17" fmla="val 435928"/>
                <a:gd name="f18" fmla="val 536864"/>
                <a:gd name="f19" fmla="val 554713"/>
                <a:gd name="f20" fmla="val 201115"/>
                <a:gd name="f21" fmla="val 452796"/>
                <a:gd name="f22" fmla="val 776357"/>
                <a:gd name="f23" fmla="val 187336"/>
                <a:gd name="f24" fmla="val 1349828"/>
                <a:gd name="f25" fmla="val 76760"/>
                <a:gd name="f26" fmla="val 1947588"/>
                <a:gd name="f27" fmla="val 66249"/>
                <a:gd name="f28" fmla="val 2962940"/>
                <a:gd name="f29" fmla="val 48421"/>
                <a:gd name="f30" fmla="val 3890218"/>
                <a:gd name="f31" fmla="val 291317"/>
                <a:gd name="f32" fmla="val 4778140"/>
                <a:gd name="f33" fmla="val 604018"/>
                <a:gd name="f34" fmla="val 7231510"/>
                <a:gd name="f35" fmla="val 1468126"/>
                <a:gd name="f36" fmla="val 9178927"/>
                <a:gd name="f37" fmla="val 2492024"/>
                <a:gd name="f38" fmla="val 11996242"/>
                <a:gd name="f39" fmla="val 2036894"/>
                <a:gd name="f40" fmla="val 2002266"/>
                <a:gd name="f41" fmla="val 1415250"/>
                <a:gd name="f42" fmla="val 12022971"/>
                <a:gd name="f43" fmla="val 1470801"/>
                <a:gd name="f44" fmla="val 10719696"/>
                <a:gd name="f45" fmla="val 1863939"/>
                <a:gd name="f46" fmla="val 9271154"/>
                <a:gd name="f47" fmla="val 1783804"/>
                <a:gd name="f48" fmla="val 7970940"/>
                <a:gd name="f49" fmla="val 1436986"/>
                <a:gd name="f50" fmla="val 6890984"/>
                <a:gd name="f51" fmla="val 1148958"/>
                <a:gd name="f52" fmla="val 5866930"/>
                <a:gd name="f53" fmla="val 767309"/>
                <a:gd name="f54" fmla="val 4800356"/>
                <a:gd name="f55" fmla="val 456582"/>
                <a:gd name="f56" fmla="val 4068903"/>
                <a:gd name="f57" fmla="val 243471"/>
                <a:gd name="f58" fmla="val 3348204"/>
                <a:gd name="f59" fmla="val 74251"/>
                <a:gd name="f60" fmla="val 2646880"/>
                <a:gd name="f61" fmla="val 17560"/>
                <a:gd name="f62" fmla="+- 0 0 -90"/>
                <a:gd name="f63" fmla="*/ f3 1 12192000"/>
                <a:gd name="f64" fmla="*/ f4 1 2148830"/>
                <a:gd name="f65" fmla="+- f7 0 f5"/>
                <a:gd name="f66" fmla="+- f6 0 f5"/>
                <a:gd name="f67" fmla="*/ f62 f0 1"/>
                <a:gd name="f68" fmla="*/ f66 1 12192000"/>
                <a:gd name="f69" fmla="*/ f65 1 2148830"/>
                <a:gd name="f70" fmla="*/ 2318293 f66 1"/>
                <a:gd name="f71" fmla="*/ 0 f65 1"/>
                <a:gd name="f72" fmla="*/ 2110341 f66 1"/>
                <a:gd name="f73" fmla="*/ 1952334 f66 1"/>
                <a:gd name="f74" fmla="*/ 920 f65 1"/>
                <a:gd name="f75" fmla="*/ 184205 f66 1"/>
                <a:gd name="f76" fmla="*/ 435928 f65 1"/>
                <a:gd name="f77" fmla="*/ 0 f66 1"/>
                <a:gd name="f78" fmla="*/ 536864 f65 1"/>
                <a:gd name="f79" fmla="*/ 554713 f65 1"/>
                <a:gd name="f80" fmla="*/ 201115 f66 1"/>
                <a:gd name="f81" fmla="*/ 452796 f65 1"/>
                <a:gd name="f82" fmla="*/ 1947588 f66 1"/>
                <a:gd name="f83" fmla="*/ 66249 f65 1"/>
                <a:gd name="f84" fmla="*/ 4778140 f66 1"/>
                <a:gd name="f85" fmla="*/ 604018 f65 1"/>
                <a:gd name="f86" fmla="*/ 11996242 f66 1"/>
                <a:gd name="f87" fmla="*/ 2036894 f65 1"/>
                <a:gd name="f88" fmla="*/ 12192000 f66 1"/>
                <a:gd name="f89" fmla="*/ 2002266 f65 1"/>
                <a:gd name="f90" fmla="*/ 1415250 f65 1"/>
                <a:gd name="f91" fmla="*/ 12022971 f66 1"/>
                <a:gd name="f92" fmla="*/ 1470801 f65 1"/>
                <a:gd name="f93" fmla="*/ 7970940 f66 1"/>
                <a:gd name="f94" fmla="*/ 1436986 f65 1"/>
                <a:gd name="f95" fmla="*/ 4800356 f66 1"/>
                <a:gd name="f96" fmla="*/ 456582 f65 1"/>
                <a:gd name="f97" fmla="*/ 2646880 f66 1"/>
                <a:gd name="f98" fmla="*/ 17560 f65 1"/>
                <a:gd name="f99" fmla="*/ f67 1 f2"/>
                <a:gd name="f100" fmla="*/ f70 1 12192000"/>
                <a:gd name="f101" fmla="*/ f71 1 2148830"/>
                <a:gd name="f102" fmla="*/ f72 1 12192000"/>
                <a:gd name="f103" fmla="*/ f73 1 12192000"/>
                <a:gd name="f104" fmla="*/ f74 1 2148830"/>
                <a:gd name="f105" fmla="*/ f75 1 12192000"/>
                <a:gd name="f106" fmla="*/ f76 1 2148830"/>
                <a:gd name="f107" fmla="*/ f77 1 12192000"/>
                <a:gd name="f108" fmla="*/ f78 1 2148830"/>
                <a:gd name="f109" fmla="*/ f79 1 2148830"/>
                <a:gd name="f110" fmla="*/ f80 1 12192000"/>
                <a:gd name="f111" fmla="*/ f81 1 2148830"/>
                <a:gd name="f112" fmla="*/ f82 1 12192000"/>
                <a:gd name="f113" fmla="*/ f83 1 2148830"/>
                <a:gd name="f114" fmla="*/ f84 1 12192000"/>
                <a:gd name="f115" fmla="*/ f85 1 2148830"/>
                <a:gd name="f116" fmla="*/ f86 1 12192000"/>
                <a:gd name="f117" fmla="*/ f87 1 2148830"/>
                <a:gd name="f118" fmla="*/ f88 1 12192000"/>
                <a:gd name="f119" fmla="*/ f89 1 2148830"/>
                <a:gd name="f120" fmla="*/ f90 1 2148830"/>
                <a:gd name="f121" fmla="*/ f91 1 12192000"/>
                <a:gd name="f122" fmla="*/ f92 1 2148830"/>
                <a:gd name="f123" fmla="*/ f93 1 12192000"/>
                <a:gd name="f124" fmla="*/ f94 1 2148830"/>
                <a:gd name="f125" fmla="*/ f95 1 12192000"/>
                <a:gd name="f126" fmla="*/ f96 1 2148830"/>
                <a:gd name="f127" fmla="*/ f97 1 12192000"/>
                <a:gd name="f128" fmla="*/ f98 1 2148830"/>
                <a:gd name="f129" fmla="*/ f5 1 f68"/>
                <a:gd name="f130" fmla="*/ f6 1 f68"/>
                <a:gd name="f131" fmla="*/ f5 1 f69"/>
                <a:gd name="f132" fmla="*/ f7 1 f69"/>
                <a:gd name="f133" fmla="+- f99 0 f1"/>
                <a:gd name="f134" fmla="*/ f100 1 f68"/>
                <a:gd name="f135" fmla="*/ f101 1 f69"/>
                <a:gd name="f136" fmla="*/ f102 1 f68"/>
                <a:gd name="f137" fmla="*/ f103 1 f68"/>
                <a:gd name="f138" fmla="*/ f104 1 f69"/>
                <a:gd name="f139" fmla="*/ f105 1 f68"/>
                <a:gd name="f140" fmla="*/ f106 1 f69"/>
                <a:gd name="f141" fmla="*/ f107 1 f68"/>
                <a:gd name="f142" fmla="*/ f108 1 f69"/>
                <a:gd name="f143" fmla="*/ f109 1 f69"/>
                <a:gd name="f144" fmla="*/ f110 1 f68"/>
                <a:gd name="f145" fmla="*/ f111 1 f69"/>
                <a:gd name="f146" fmla="*/ f112 1 f68"/>
                <a:gd name="f147" fmla="*/ f113 1 f69"/>
                <a:gd name="f148" fmla="*/ f114 1 f68"/>
                <a:gd name="f149" fmla="*/ f115 1 f69"/>
                <a:gd name="f150" fmla="*/ f116 1 f68"/>
                <a:gd name="f151" fmla="*/ f117 1 f69"/>
                <a:gd name="f152" fmla="*/ f118 1 f68"/>
                <a:gd name="f153" fmla="*/ f119 1 f69"/>
                <a:gd name="f154" fmla="*/ f120 1 f69"/>
                <a:gd name="f155" fmla="*/ f121 1 f68"/>
                <a:gd name="f156" fmla="*/ f122 1 f69"/>
                <a:gd name="f157" fmla="*/ f123 1 f68"/>
                <a:gd name="f158" fmla="*/ f124 1 f69"/>
                <a:gd name="f159" fmla="*/ f125 1 f68"/>
                <a:gd name="f160" fmla="*/ f126 1 f69"/>
                <a:gd name="f161" fmla="*/ f127 1 f68"/>
                <a:gd name="f162" fmla="*/ f128 1 f69"/>
                <a:gd name="f163" fmla="*/ f129 f63 1"/>
                <a:gd name="f164" fmla="*/ f130 f63 1"/>
                <a:gd name="f165" fmla="*/ f132 f64 1"/>
                <a:gd name="f166" fmla="*/ f131 f64 1"/>
                <a:gd name="f167" fmla="*/ f134 f63 1"/>
                <a:gd name="f168" fmla="*/ f135 f64 1"/>
                <a:gd name="f169" fmla="*/ f136 f63 1"/>
                <a:gd name="f170" fmla="*/ f137 f63 1"/>
                <a:gd name="f171" fmla="*/ f138 f64 1"/>
                <a:gd name="f172" fmla="*/ f139 f63 1"/>
                <a:gd name="f173" fmla="*/ f140 f64 1"/>
                <a:gd name="f174" fmla="*/ f141 f63 1"/>
                <a:gd name="f175" fmla="*/ f142 f64 1"/>
                <a:gd name="f176" fmla="*/ f143 f64 1"/>
                <a:gd name="f177" fmla="*/ f144 f63 1"/>
                <a:gd name="f178" fmla="*/ f145 f64 1"/>
                <a:gd name="f179" fmla="*/ f146 f63 1"/>
                <a:gd name="f180" fmla="*/ f147 f64 1"/>
                <a:gd name="f181" fmla="*/ f148 f63 1"/>
                <a:gd name="f182" fmla="*/ f149 f64 1"/>
                <a:gd name="f183" fmla="*/ f150 f63 1"/>
                <a:gd name="f184" fmla="*/ f151 f64 1"/>
                <a:gd name="f185" fmla="*/ f152 f63 1"/>
                <a:gd name="f186" fmla="*/ f153 f64 1"/>
                <a:gd name="f187" fmla="*/ f154 f64 1"/>
                <a:gd name="f188" fmla="*/ f155 f63 1"/>
                <a:gd name="f189" fmla="*/ f156 f64 1"/>
                <a:gd name="f190" fmla="*/ f157 f63 1"/>
                <a:gd name="f191" fmla="*/ f158 f64 1"/>
                <a:gd name="f192" fmla="*/ f159 f63 1"/>
                <a:gd name="f193" fmla="*/ f160 f64 1"/>
                <a:gd name="f194" fmla="*/ f161 f63 1"/>
                <a:gd name="f195" fmla="*/ f162 f64 1"/>
              </a:gdLst>
              <a:ahLst/>
              <a:cxnLst>
                <a:cxn ang="3cd4">
                  <a:pos x="hc" y="t"/>
                </a:cxn>
                <a:cxn ang="0">
                  <a:pos x="r" y="vc"/>
                </a:cxn>
                <a:cxn ang="cd4">
                  <a:pos x="hc" y="b"/>
                </a:cxn>
                <a:cxn ang="cd2">
                  <a:pos x="l" y="vc"/>
                </a:cxn>
                <a:cxn ang="f133">
                  <a:pos x="f167" y="f168"/>
                </a:cxn>
                <a:cxn ang="f133">
                  <a:pos x="f169" y="f168"/>
                </a:cxn>
                <a:cxn ang="f133">
                  <a:pos x="f170" y="f171"/>
                </a:cxn>
                <a:cxn ang="f133">
                  <a:pos x="f172" y="f173"/>
                </a:cxn>
                <a:cxn ang="f133">
                  <a:pos x="f174" y="f175"/>
                </a:cxn>
                <a:cxn ang="f133">
                  <a:pos x="f174" y="f176"/>
                </a:cxn>
                <a:cxn ang="f133">
                  <a:pos x="f177" y="f178"/>
                </a:cxn>
                <a:cxn ang="f133">
                  <a:pos x="f179" y="f180"/>
                </a:cxn>
                <a:cxn ang="f133">
                  <a:pos x="f181" y="f182"/>
                </a:cxn>
                <a:cxn ang="f133">
                  <a:pos x="f183" y="f184"/>
                </a:cxn>
                <a:cxn ang="f133">
                  <a:pos x="f185" y="f186"/>
                </a:cxn>
                <a:cxn ang="f133">
                  <a:pos x="f185" y="f187"/>
                </a:cxn>
                <a:cxn ang="f133">
                  <a:pos x="f188" y="f189"/>
                </a:cxn>
                <a:cxn ang="f133">
                  <a:pos x="f190" y="f191"/>
                </a:cxn>
                <a:cxn ang="f133">
                  <a:pos x="f192" y="f193"/>
                </a:cxn>
                <a:cxn ang="f133">
                  <a:pos x="f194" y="f195"/>
                </a:cxn>
              </a:cxnLst>
              <a:rect l="f163" t="f166" r="f164" b="f165"/>
              <a:pathLst>
                <a:path w="12192000" h="2148830">
                  <a:moveTo>
                    <a:pt x="f8" y="f5"/>
                  </a:moveTo>
                  <a:lnTo>
                    <a:pt x="f9" y="f5"/>
                  </a:lnTo>
                  <a:lnTo>
                    <a:pt x="f10" y="f11"/>
                  </a:lnTo>
                  <a:cubicBezTo>
                    <a:pt x="f12" y="f13"/>
                    <a:pt x="f14" y="f15"/>
                    <a:pt x="f16" y="f17"/>
                  </a:cubicBezTo>
                  <a:lnTo>
                    <a:pt x="f5" y="f18"/>
                  </a:lnTo>
                  <a:lnTo>
                    <a:pt x="f5" y="f19"/>
                  </a:lnTo>
                  <a:lnTo>
                    <a:pt x="f20" y="f21"/>
                  </a:lnTo>
                  <a:cubicBezTo>
                    <a:pt x="f22" y="f23"/>
                    <a:pt x="f24" y="f25"/>
                    <a:pt x="f26" y="f27"/>
                  </a:cubicBezTo>
                  <a:cubicBezTo>
                    <a:pt x="f28" y="f29"/>
                    <a:pt x="f30" y="f31"/>
                    <a:pt x="f32" y="f33"/>
                  </a:cubicBezTo>
                  <a:cubicBezTo>
                    <a:pt x="f34" y="f35"/>
                    <a:pt x="f36" y="f37"/>
                    <a:pt x="f38" y="f39"/>
                  </a:cubicBezTo>
                  <a:lnTo>
                    <a:pt x="f6" y="f40"/>
                  </a:lnTo>
                  <a:lnTo>
                    <a:pt x="f6" y="f41"/>
                  </a:lnTo>
                  <a:lnTo>
                    <a:pt x="f42" y="f43"/>
                  </a:lnTo>
                  <a:cubicBezTo>
                    <a:pt x="f44" y="f45"/>
                    <a:pt x="f46" y="f47"/>
                    <a:pt x="f48" y="f49"/>
                  </a:cubicBezTo>
                  <a:cubicBezTo>
                    <a:pt x="f50" y="f51"/>
                    <a:pt x="f52" y="f53"/>
                    <a:pt x="f54" y="f55"/>
                  </a:cubicBezTo>
                  <a:cubicBezTo>
                    <a:pt x="f56" y="f57"/>
                    <a:pt x="f58" y="f59"/>
                    <a:pt x="f60" y="f61"/>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4" name="Freeform 38">
              <a:extLst>
                <a:ext uri="{FF2B5EF4-FFF2-40B4-BE49-F238E27FC236}">
                  <a16:creationId xmlns:a16="http://schemas.microsoft.com/office/drawing/2014/main" id="{04AF7EF4-CEDF-0B09-1B2B-4F82F2061BB6}"/>
                </a:ext>
              </a:extLst>
            </p:cNvPr>
            <p:cNvSpPr/>
            <p:nvPr/>
          </p:nvSpPr>
          <p:spPr>
            <a:xfrm flipH="1">
              <a:off x="0" y="0"/>
              <a:ext cx="12191996" cy="1992139"/>
            </a:xfrm>
            <a:custGeom>
              <a:avLst/>
              <a:gdLst>
                <a:gd name="f0" fmla="val 10800000"/>
                <a:gd name="f1" fmla="val 5400000"/>
                <a:gd name="f2" fmla="val 180"/>
                <a:gd name="f3" fmla="val w"/>
                <a:gd name="f4" fmla="val h"/>
                <a:gd name="f5" fmla="val 0"/>
                <a:gd name="f6" fmla="val 12192000"/>
                <a:gd name="f7" fmla="val 1992138"/>
                <a:gd name="f8" fmla="val 2724271"/>
                <a:gd name="f9" fmla="val 1788442"/>
                <a:gd name="f10" fmla="val 1635403"/>
                <a:gd name="f11" fmla="val 12925"/>
                <a:gd name="f12" fmla="val 1134241"/>
                <a:gd name="f13" fmla="val 70905"/>
                <a:gd name="f14" fmla="val 647221"/>
                <a:gd name="f15" fmla="val 207817"/>
                <a:gd name="f16" fmla="val 178220"/>
                <a:gd name="f17" fmla="val 451207"/>
                <a:gd name="f18" fmla="val 552718"/>
                <a:gd name="f19" fmla="val 570885"/>
                <a:gd name="f20" fmla="val 195368"/>
                <a:gd name="f21" fmla="val 467800"/>
                <a:gd name="f22" fmla="val 765758"/>
                <a:gd name="f23" fmla="val 193094"/>
                <a:gd name="f24" fmla="val 1336955"/>
                <a:gd name="f25" fmla="val 73179"/>
                <a:gd name="f26" fmla="val 1934073"/>
                <a:gd name="f27" fmla="val 52850"/>
                <a:gd name="f28" fmla="val 2948304"/>
                <a:gd name="f29" fmla="val 18310"/>
                <a:gd name="f30" fmla="val 3878878"/>
                <a:gd name="f31" fmla="val 245747"/>
                <a:gd name="f32" fmla="val 4771217"/>
                <a:gd name="f33" fmla="val 543645"/>
                <a:gd name="f34" fmla="val 7236913"/>
                <a:gd name="f35" fmla="val 1366709"/>
                <a:gd name="f36" fmla="val 9199689"/>
                <a:gd name="f37" fmla="val 2357774"/>
                <a:gd name="f38" fmla="val 12007222"/>
                <a:gd name="f39" fmla="val 1856729"/>
                <a:gd name="f40" fmla="val 1820900"/>
                <a:gd name="f41" fmla="val 897073"/>
                <a:gd name="f42" fmla="val 12062517"/>
                <a:gd name="f43" fmla="val 950128"/>
                <a:gd name="f44" fmla="val 10950292"/>
                <a:gd name="f45" fmla="val 1376478"/>
                <a:gd name="f46" fmla="val 9595706"/>
                <a:gd name="f47" fmla="val 1466451"/>
                <a:gd name="f48" fmla="val 8435105"/>
                <a:gd name="f49" fmla="val 1266613"/>
                <a:gd name="f50" fmla="val 6618389"/>
                <a:gd name="f51" fmla="val 953715"/>
                <a:gd name="f52" fmla="val 4735222"/>
                <a:gd name="f53" fmla="val 130088"/>
                <a:gd name="f54" fmla="val 2948502"/>
                <a:gd name="f55" fmla="val 20548"/>
                <a:gd name="f56" fmla="+- 0 0 -90"/>
                <a:gd name="f57" fmla="*/ f3 1 12192000"/>
                <a:gd name="f58" fmla="*/ f4 1 1992138"/>
                <a:gd name="f59" fmla="+- f7 0 f5"/>
                <a:gd name="f60" fmla="+- f6 0 f5"/>
                <a:gd name="f61" fmla="*/ f56 f0 1"/>
                <a:gd name="f62" fmla="*/ f60 1 12192000"/>
                <a:gd name="f63" fmla="*/ f59 1 1992138"/>
                <a:gd name="f64" fmla="*/ 2724271 f60 1"/>
                <a:gd name="f65" fmla="*/ 0 f59 1"/>
                <a:gd name="f66" fmla="*/ 1788442 f60 1"/>
                <a:gd name="f67" fmla="*/ 1635403 f60 1"/>
                <a:gd name="f68" fmla="*/ 12925 f59 1"/>
                <a:gd name="f69" fmla="*/ 178220 f60 1"/>
                <a:gd name="f70" fmla="*/ 451207 f59 1"/>
                <a:gd name="f71" fmla="*/ 0 f60 1"/>
                <a:gd name="f72" fmla="*/ 552718 f59 1"/>
                <a:gd name="f73" fmla="*/ 570885 f59 1"/>
                <a:gd name="f74" fmla="*/ 195368 f60 1"/>
                <a:gd name="f75" fmla="*/ 467800 f59 1"/>
                <a:gd name="f76" fmla="*/ 1934073 f60 1"/>
                <a:gd name="f77" fmla="*/ 52850 f59 1"/>
                <a:gd name="f78" fmla="*/ 4771217 f60 1"/>
                <a:gd name="f79" fmla="*/ 543645 f59 1"/>
                <a:gd name="f80" fmla="*/ 12007222 f60 1"/>
                <a:gd name="f81" fmla="*/ 1856729 f59 1"/>
                <a:gd name="f82" fmla="*/ 12192000 f60 1"/>
                <a:gd name="f83" fmla="*/ 1820900 f59 1"/>
                <a:gd name="f84" fmla="*/ 897073 f59 1"/>
                <a:gd name="f85" fmla="*/ 12062517 f60 1"/>
                <a:gd name="f86" fmla="*/ 950128 f59 1"/>
                <a:gd name="f87" fmla="*/ 8435105 f60 1"/>
                <a:gd name="f88" fmla="*/ 1266613 f59 1"/>
                <a:gd name="f89" fmla="*/ 2948502 f60 1"/>
                <a:gd name="f90" fmla="*/ 20548 f59 1"/>
                <a:gd name="f91" fmla="*/ f61 1 f2"/>
                <a:gd name="f92" fmla="*/ f64 1 12192000"/>
                <a:gd name="f93" fmla="*/ f65 1 1992138"/>
                <a:gd name="f94" fmla="*/ f66 1 12192000"/>
                <a:gd name="f95" fmla="*/ f67 1 12192000"/>
                <a:gd name="f96" fmla="*/ f68 1 1992138"/>
                <a:gd name="f97" fmla="*/ f69 1 12192000"/>
                <a:gd name="f98" fmla="*/ f70 1 1992138"/>
                <a:gd name="f99" fmla="*/ f71 1 12192000"/>
                <a:gd name="f100" fmla="*/ f72 1 1992138"/>
                <a:gd name="f101" fmla="*/ f73 1 1992138"/>
                <a:gd name="f102" fmla="*/ f74 1 12192000"/>
                <a:gd name="f103" fmla="*/ f75 1 1992138"/>
                <a:gd name="f104" fmla="*/ f76 1 12192000"/>
                <a:gd name="f105" fmla="*/ f77 1 1992138"/>
                <a:gd name="f106" fmla="*/ f78 1 12192000"/>
                <a:gd name="f107" fmla="*/ f79 1 1992138"/>
                <a:gd name="f108" fmla="*/ f80 1 12192000"/>
                <a:gd name="f109" fmla="*/ f81 1 1992138"/>
                <a:gd name="f110" fmla="*/ f82 1 12192000"/>
                <a:gd name="f111" fmla="*/ f83 1 1992138"/>
                <a:gd name="f112" fmla="*/ f84 1 1992138"/>
                <a:gd name="f113" fmla="*/ f85 1 12192000"/>
                <a:gd name="f114" fmla="*/ f86 1 1992138"/>
                <a:gd name="f115" fmla="*/ f87 1 12192000"/>
                <a:gd name="f116" fmla="*/ f88 1 1992138"/>
                <a:gd name="f117" fmla="*/ f89 1 12192000"/>
                <a:gd name="f118" fmla="*/ f90 1 1992138"/>
                <a:gd name="f119" fmla="*/ f5 1 f62"/>
                <a:gd name="f120" fmla="*/ f6 1 f62"/>
                <a:gd name="f121" fmla="*/ f5 1 f63"/>
                <a:gd name="f122" fmla="*/ f7 1 f63"/>
                <a:gd name="f123" fmla="+- f91 0 f1"/>
                <a:gd name="f124" fmla="*/ f92 1 f62"/>
                <a:gd name="f125" fmla="*/ f93 1 f63"/>
                <a:gd name="f126" fmla="*/ f94 1 f62"/>
                <a:gd name="f127" fmla="*/ f95 1 f62"/>
                <a:gd name="f128" fmla="*/ f96 1 f63"/>
                <a:gd name="f129" fmla="*/ f97 1 f62"/>
                <a:gd name="f130" fmla="*/ f98 1 f63"/>
                <a:gd name="f131" fmla="*/ f99 1 f62"/>
                <a:gd name="f132" fmla="*/ f100 1 f63"/>
                <a:gd name="f133" fmla="*/ f101 1 f63"/>
                <a:gd name="f134" fmla="*/ f102 1 f62"/>
                <a:gd name="f135" fmla="*/ f103 1 f63"/>
                <a:gd name="f136" fmla="*/ f104 1 f62"/>
                <a:gd name="f137" fmla="*/ f105 1 f63"/>
                <a:gd name="f138" fmla="*/ f106 1 f62"/>
                <a:gd name="f139" fmla="*/ f107 1 f63"/>
                <a:gd name="f140" fmla="*/ f108 1 f62"/>
                <a:gd name="f141" fmla="*/ f109 1 f63"/>
                <a:gd name="f142" fmla="*/ f110 1 f62"/>
                <a:gd name="f143" fmla="*/ f111 1 f63"/>
                <a:gd name="f144" fmla="*/ f112 1 f63"/>
                <a:gd name="f145" fmla="*/ f113 1 f62"/>
                <a:gd name="f146" fmla="*/ f114 1 f63"/>
                <a:gd name="f147" fmla="*/ f115 1 f62"/>
                <a:gd name="f148" fmla="*/ f116 1 f63"/>
                <a:gd name="f149" fmla="*/ f117 1 f62"/>
                <a:gd name="f150" fmla="*/ f118 1 f63"/>
                <a:gd name="f151" fmla="*/ f119 f57 1"/>
                <a:gd name="f152" fmla="*/ f120 f57 1"/>
                <a:gd name="f153" fmla="*/ f122 f58 1"/>
                <a:gd name="f154" fmla="*/ f121 f58 1"/>
                <a:gd name="f155" fmla="*/ f124 f57 1"/>
                <a:gd name="f156" fmla="*/ f125 f58 1"/>
                <a:gd name="f157" fmla="*/ f126 f57 1"/>
                <a:gd name="f158" fmla="*/ f127 f57 1"/>
                <a:gd name="f159" fmla="*/ f128 f58 1"/>
                <a:gd name="f160" fmla="*/ f129 f57 1"/>
                <a:gd name="f161" fmla="*/ f130 f58 1"/>
                <a:gd name="f162" fmla="*/ f131 f57 1"/>
                <a:gd name="f163" fmla="*/ f132 f58 1"/>
                <a:gd name="f164" fmla="*/ f133 f58 1"/>
                <a:gd name="f165" fmla="*/ f134 f57 1"/>
                <a:gd name="f166" fmla="*/ f135 f58 1"/>
                <a:gd name="f167" fmla="*/ f136 f57 1"/>
                <a:gd name="f168" fmla="*/ f137 f58 1"/>
                <a:gd name="f169" fmla="*/ f138 f57 1"/>
                <a:gd name="f170" fmla="*/ f139 f58 1"/>
                <a:gd name="f171" fmla="*/ f140 f57 1"/>
                <a:gd name="f172" fmla="*/ f141 f58 1"/>
                <a:gd name="f173" fmla="*/ f142 f57 1"/>
                <a:gd name="f174" fmla="*/ f143 f58 1"/>
                <a:gd name="f175" fmla="*/ f144 f58 1"/>
                <a:gd name="f176" fmla="*/ f145 f57 1"/>
                <a:gd name="f177" fmla="*/ f146 f58 1"/>
                <a:gd name="f178" fmla="*/ f147 f57 1"/>
                <a:gd name="f179" fmla="*/ f148 f58 1"/>
                <a:gd name="f180" fmla="*/ f149 f57 1"/>
                <a:gd name="f181" fmla="*/ f150 f58 1"/>
              </a:gdLst>
              <a:ahLst/>
              <a:cxnLst>
                <a:cxn ang="3cd4">
                  <a:pos x="hc" y="t"/>
                </a:cxn>
                <a:cxn ang="0">
                  <a:pos x="r" y="vc"/>
                </a:cxn>
                <a:cxn ang="cd4">
                  <a:pos x="hc" y="b"/>
                </a:cxn>
                <a:cxn ang="cd2">
                  <a:pos x="l" y="vc"/>
                </a:cxn>
                <a:cxn ang="f123">
                  <a:pos x="f155" y="f156"/>
                </a:cxn>
                <a:cxn ang="f123">
                  <a:pos x="f157" y="f156"/>
                </a:cxn>
                <a:cxn ang="f123">
                  <a:pos x="f158" y="f159"/>
                </a:cxn>
                <a:cxn ang="f123">
                  <a:pos x="f160" y="f161"/>
                </a:cxn>
                <a:cxn ang="f123">
                  <a:pos x="f162" y="f163"/>
                </a:cxn>
                <a:cxn ang="f123">
                  <a:pos x="f162" y="f164"/>
                </a:cxn>
                <a:cxn ang="f123">
                  <a:pos x="f165" y="f166"/>
                </a:cxn>
                <a:cxn ang="f123">
                  <a:pos x="f167" y="f168"/>
                </a:cxn>
                <a:cxn ang="f123">
                  <a:pos x="f169" y="f170"/>
                </a:cxn>
                <a:cxn ang="f123">
                  <a:pos x="f171" y="f172"/>
                </a:cxn>
                <a:cxn ang="f123">
                  <a:pos x="f173" y="f174"/>
                </a:cxn>
                <a:cxn ang="f123">
                  <a:pos x="f173" y="f175"/>
                </a:cxn>
                <a:cxn ang="f123">
                  <a:pos x="f176" y="f177"/>
                </a:cxn>
                <a:cxn ang="f123">
                  <a:pos x="f178" y="f179"/>
                </a:cxn>
                <a:cxn ang="f123">
                  <a:pos x="f180" y="f181"/>
                </a:cxn>
              </a:cxnLst>
              <a:rect l="f151" t="f154" r="f152" b="f153"/>
              <a:pathLst>
                <a:path w="12192000" h="1992138">
                  <a:moveTo>
                    <a:pt x="f8" y="f5"/>
                  </a:moveTo>
                  <a:lnTo>
                    <a:pt x="f9" y="f5"/>
                  </a:lnTo>
                  <a:lnTo>
                    <a:pt x="f10" y="f11"/>
                  </a:lnTo>
                  <a:cubicBezTo>
                    <a:pt x="f12" y="f13"/>
                    <a:pt x="f14" y="f15"/>
                    <a:pt x="f16" y="f17"/>
                  </a:cubicBezTo>
                  <a:lnTo>
                    <a:pt x="f5" y="f18"/>
                  </a:lnTo>
                  <a:lnTo>
                    <a:pt x="f5" y="f19"/>
                  </a:lnTo>
                  <a:lnTo>
                    <a:pt x="f20" y="f21"/>
                  </a:lnTo>
                  <a:cubicBezTo>
                    <a:pt x="f22" y="f23"/>
                    <a:pt x="f24" y="f25"/>
                    <a:pt x="f26" y="f27"/>
                  </a:cubicBezTo>
                  <a:cubicBezTo>
                    <a:pt x="f28" y="f29"/>
                    <a:pt x="f30" y="f31"/>
                    <a:pt x="f32" y="f33"/>
                  </a:cubicBezTo>
                  <a:cubicBezTo>
                    <a:pt x="f34" y="f35"/>
                    <a:pt x="f36" y="f37"/>
                    <a:pt x="f38" y="f39"/>
                  </a:cubicBezTo>
                  <a:lnTo>
                    <a:pt x="f6" y="f40"/>
                  </a:lnTo>
                  <a:lnTo>
                    <a:pt x="f6" y="f41"/>
                  </a:lnTo>
                  <a:lnTo>
                    <a:pt x="f42" y="f43"/>
                  </a:lnTo>
                  <a:cubicBezTo>
                    <a:pt x="f44" y="f45"/>
                    <a:pt x="f46" y="f47"/>
                    <a:pt x="f48" y="f49"/>
                  </a:cubicBezTo>
                  <a:cubicBezTo>
                    <a:pt x="f50" y="f51"/>
                    <a:pt x="f52" y="f53"/>
                    <a:pt x="f54" y="f55"/>
                  </a:cubicBezTo>
                  <a:close/>
                </a:path>
              </a:pathLst>
            </a:custGeom>
            <a:solidFill>
              <a:srgbClr val="00498F"/>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sp>
        <p:nvSpPr>
          <p:cNvPr id="5" name="Rectangle 3">
            <a:extLst>
              <a:ext uri="{FF2B5EF4-FFF2-40B4-BE49-F238E27FC236}">
                <a16:creationId xmlns:a16="http://schemas.microsoft.com/office/drawing/2014/main" id="{9EC23C39-9A10-8F5E-24A7-ECCF9B0E687E}"/>
              </a:ext>
            </a:extLst>
          </p:cNvPr>
          <p:cNvSpPr/>
          <p:nvPr/>
        </p:nvSpPr>
        <p:spPr>
          <a:xfrm>
            <a:off x="902366" y="1517694"/>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Content Placeholder 2">
            <a:extLst>
              <a:ext uri="{FF2B5EF4-FFF2-40B4-BE49-F238E27FC236}">
                <a16:creationId xmlns:a16="http://schemas.microsoft.com/office/drawing/2014/main" id="{8114C9A1-B6AB-F7DB-F0AB-720A6F6336E2}"/>
              </a:ext>
            </a:extLst>
          </p:cNvPr>
          <p:cNvSpPr txBox="1">
            <a:spLocks noGrp="1"/>
          </p:cNvSpPr>
          <p:nvPr>
            <p:ph idx="4294967295"/>
          </p:nvPr>
        </p:nvSpPr>
        <p:spPr>
          <a:xfrm>
            <a:off x="1219197" y="3429001"/>
            <a:ext cx="5582649" cy="1413561"/>
          </a:xfrm>
        </p:spPr>
        <p:txBody>
          <a:bodyPr/>
          <a:lstStyle>
            <a:lvl1pPr marL="0" indent="0">
              <a:buNone/>
              <a:defRPr sz="2000"/>
            </a:lvl1pPr>
          </a:lstStyle>
          <a:p>
            <a:pPr lvl="0"/>
            <a:r>
              <a:rPr lang="en-US"/>
              <a:t>Click to edit Master text styles</a:t>
            </a:r>
          </a:p>
        </p:txBody>
      </p:sp>
      <p:sp>
        <p:nvSpPr>
          <p:cNvPr id="7" name="Title 11">
            <a:extLst>
              <a:ext uri="{FF2B5EF4-FFF2-40B4-BE49-F238E27FC236}">
                <a16:creationId xmlns:a16="http://schemas.microsoft.com/office/drawing/2014/main" id="{5887FAC1-E9C1-2348-F164-2702D07F7D9E}"/>
              </a:ext>
            </a:extLst>
          </p:cNvPr>
          <p:cNvSpPr txBox="1">
            <a:spLocks noGrp="1"/>
          </p:cNvSpPr>
          <p:nvPr>
            <p:ph type="title"/>
          </p:nvPr>
        </p:nvSpPr>
        <p:spPr>
          <a:xfrm>
            <a:off x="1219197" y="1887486"/>
            <a:ext cx="5582649" cy="1078260"/>
          </a:xfrm>
        </p:spPr>
        <p:txBody>
          <a:bodyPr/>
          <a:lstStyle>
            <a:lvl1pPr>
              <a:defRPr sz="6000"/>
            </a:lvl1pPr>
          </a:lstStyle>
          <a:p>
            <a:pPr lvl="0"/>
            <a:r>
              <a:rPr lang="en-US"/>
              <a:t>Thank you</a:t>
            </a:r>
          </a:p>
        </p:txBody>
      </p:sp>
      <p:pic>
        <p:nvPicPr>
          <p:cNvPr id="8" name="Picture 32">
            <a:extLst>
              <a:ext uri="{FF2B5EF4-FFF2-40B4-BE49-F238E27FC236}">
                <a16:creationId xmlns:a16="http://schemas.microsoft.com/office/drawing/2014/main" id="{7623937C-39B8-3437-0CB0-3D59CDEDBCEF}"/>
              </a:ext>
            </a:extLst>
          </p:cNvPr>
          <p:cNvPicPr>
            <a:picLocks noChangeAspect="1"/>
          </p:cNvPicPr>
          <p:nvPr/>
        </p:nvPicPr>
        <p:blipFill>
          <a:blip r:embed="rId2"/>
          <a:srcRect/>
          <a:stretch>
            <a:fillRect/>
          </a:stretch>
        </p:blipFill>
        <p:spPr>
          <a:xfrm>
            <a:off x="902366" y="228371"/>
            <a:ext cx="2025313" cy="911940"/>
          </a:xfrm>
          <a:prstGeom prst="rect">
            <a:avLst/>
          </a:prstGeom>
          <a:noFill/>
          <a:ln cap="flat">
            <a:noFill/>
          </a:ln>
        </p:spPr>
      </p:pic>
      <p:sp>
        <p:nvSpPr>
          <p:cNvPr id="9" name="Picture Placeholder 16">
            <a:extLst>
              <a:ext uri="{FF2B5EF4-FFF2-40B4-BE49-F238E27FC236}">
                <a16:creationId xmlns:a16="http://schemas.microsoft.com/office/drawing/2014/main" id="{D499491D-588A-D6F7-F9B1-AEE729FE95A9}"/>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spTree>
    <p:extLst>
      <p:ext uri="{BB962C8B-B14F-4D97-AF65-F5344CB8AC3E}">
        <p14:creationId xmlns:p14="http://schemas.microsoft.com/office/powerpoint/2010/main" val="1593585762"/>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Slide Number Placeholder 4">
            <a:extLst>
              <a:ext uri="{FF2B5EF4-FFF2-40B4-BE49-F238E27FC236}">
                <a16:creationId xmlns:a16="http://schemas.microsoft.com/office/drawing/2014/main" id="{2BD6E157-D69E-2C68-A34F-7677F81A8F68}"/>
              </a:ext>
            </a:extLst>
          </p:cNvPr>
          <p:cNvSpPr txBox="1">
            <a:spLocks noGrp="1"/>
          </p:cNvSpPr>
          <p:nvPr>
            <p:ph type="sldNum" sz="quarter" idx="8"/>
          </p:nvPr>
        </p:nvSpPr>
        <p:spPr/>
        <p:txBody>
          <a:bodyPr/>
          <a:lstStyle>
            <a:lvl1pPr>
              <a:defRPr/>
            </a:lvl1pPr>
          </a:lstStyle>
          <a:p>
            <a:pPr lvl="0"/>
            <a:fld id="{6B9990B6-293C-4C2F-8811-1496B7500CE0}" type="slidenum">
              <a:t>‹#›</a:t>
            </a:fld>
            <a:endParaRPr lang="en-US"/>
          </a:p>
        </p:txBody>
      </p:sp>
      <p:cxnSp>
        <p:nvCxnSpPr>
          <p:cNvPr id="3" name="Straight Connector 3">
            <a:extLst>
              <a:ext uri="{FF2B5EF4-FFF2-40B4-BE49-F238E27FC236}">
                <a16:creationId xmlns:a16="http://schemas.microsoft.com/office/drawing/2014/main" id="{21E61F2E-7E1D-1C78-4FEB-471E09CC38D2}"/>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4" name="Footer Placeholder 1">
            <a:extLst>
              <a:ext uri="{FF2B5EF4-FFF2-40B4-BE49-F238E27FC236}">
                <a16:creationId xmlns:a16="http://schemas.microsoft.com/office/drawing/2014/main" id="{ADB56699-5BBA-870D-2AF6-422B928D67C7}"/>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5" name="Group 5">
            <a:extLst>
              <a:ext uri="{FF2B5EF4-FFF2-40B4-BE49-F238E27FC236}">
                <a16:creationId xmlns:a16="http://schemas.microsoft.com/office/drawing/2014/main" id="{A8D847FB-D565-D0A5-72B7-8F63C618A685}"/>
              </a:ext>
            </a:extLst>
          </p:cNvPr>
          <p:cNvGrpSpPr/>
          <p:nvPr/>
        </p:nvGrpSpPr>
        <p:grpSpPr>
          <a:xfrm>
            <a:off x="7191545" y="0"/>
            <a:ext cx="5000460" cy="1425988"/>
            <a:chOff x="7191545" y="0"/>
            <a:chExt cx="5000460" cy="1425988"/>
          </a:xfrm>
        </p:grpSpPr>
        <p:pic>
          <p:nvPicPr>
            <p:cNvPr id="6" name="Picture 6">
              <a:extLst>
                <a:ext uri="{FF2B5EF4-FFF2-40B4-BE49-F238E27FC236}">
                  <a16:creationId xmlns:a16="http://schemas.microsoft.com/office/drawing/2014/main" id="{B2DDF8B7-6382-5D08-C927-1D6FAB10944E}"/>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7" name="Group 7">
              <a:extLst>
                <a:ext uri="{FF2B5EF4-FFF2-40B4-BE49-F238E27FC236}">
                  <a16:creationId xmlns:a16="http://schemas.microsoft.com/office/drawing/2014/main" id="{D2E39DBC-2427-FC1C-4FC3-50F259574FF8}"/>
                </a:ext>
              </a:extLst>
            </p:cNvPr>
            <p:cNvGrpSpPr/>
            <p:nvPr/>
          </p:nvGrpSpPr>
          <p:grpSpPr>
            <a:xfrm>
              <a:off x="7191545" y="0"/>
              <a:ext cx="5000460" cy="1425988"/>
              <a:chOff x="7191545" y="0"/>
              <a:chExt cx="5000460" cy="1425988"/>
            </a:xfrm>
          </p:grpSpPr>
          <p:sp>
            <p:nvSpPr>
              <p:cNvPr id="8" name="Freeform 8">
                <a:extLst>
                  <a:ext uri="{FF2B5EF4-FFF2-40B4-BE49-F238E27FC236}">
                    <a16:creationId xmlns:a16="http://schemas.microsoft.com/office/drawing/2014/main" id="{965BBF8F-99CD-E948-6FD0-51DACA83762C}"/>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9" name="Freeform 9">
                <a:extLst>
                  <a:ext uri="{FF2B5EF4-FFF2-40B4-BE49-F238E27FC236}">
                    <a16:creationId xmlns:a16="http://schemas.microsoft.com/office/drawing/2014/main" id="{D12CDB88-3FEF-EE3C-C3AD-BA2248AAFBDA}"/>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Tree>
    <p:extLst>
      <p:ext uri="{BB962C8B-B14F-4D97-AF65-F5344CB8AC3E}">
        <p14:creationId xmlns:p14="http://schemas.microsoft.com/office/powerpoint/2010/main" val="2435787628"/>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3C18AA7B-BE2B-8BE3-C5D0-D8CAF1913BFF}"/>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ADA1C37F-ABFA-CF1E-46FC-AEFC0D6682D8}"/>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6A21FCA4-DEB4-CD17-FB34-485B2E8B15BE}"/>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69CC23E6-9202-4C91-1A72-7EB6F5B3C231}"/>
              </a:ext>
            </a:extLst>
          </p:cNvPr>
          <p:cNvSpPr txBox="1">
            <a:spLocks noGrp="1"/>
          </p:cNvSpPr>
          <p:nvPr>
            <p:ph type="sldNum" sz="quarter" idx="8"/>
          </p:nvPr>
        </p:nvSpPr>
        <p:spPr/>
        <p:txBody>
          <a:bodyPr/>
          <a:lstStyle>
            <a:lvl1pPr>
              <a:defRPr>
                <a:solidFill>
                  <a:srgbClr val="AFB3B9"/>
                </a:solidFill>
              </a:defRPr>
            </a:lvl1pPr>
          </a:lstStyle>
          <a:p>
            <a:pPr lvl="0"/>
            <a:fld id="{4E211AEA-3ED9-451E-8FEB-D4AF32382535}" type="slidenum">
              <a:t>‹#›</a:t>
            </a:fld>
            <a:endParaRPr lang="en-US"/>
          </a:p>
        </p:txBody>
      </p:sp>
      <p:cxnSp>
        <p:nvCxnSpPr>
          <p:cNvPr id="6" name="Straight Connector 7">
            <a:extLst>
              <a:ext uri="{FF2B5EF4-FFF2-40B4-BE49-F238E27FC236}">
                <a16:creationId xmlns:a16="http://schemas.microsoft.com/office/drawing/2014/main" id="{CEA79A44-2B2A-D56A-95DC-DD8534DFF72E}"/>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150241A8-2883-4E65-8B0B-CE309CB6F239}"/>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07767459-9AE6-5898-8BB3-3CEDC981F686}"/>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B59C3E37-0C10-3A01-B5C7-17DA8B0CAF98}"/>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5D252F59-85F8-851F-BC05-8112AD488820}"/>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F1C89743-7641-E57F-D4E9-5370EF02CB6A}"/>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D0EB5511-D9B6-A978-C02B-8EEAA433E04F}"/>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53F728EA-1DFD-D858-1664-44E06CFC0AC9}"/>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2877773313"/>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bg object 16">
            <a:extLst>
              <a:ext uri="{FF2B5EF4-FFF2-40B4-BE49-F238E27FC236}">
                <a16:creationId xmlns:a16="http://schemas.microsoft.com/office/drawing/2014/main" id="{F983CA50-4BF4-226C-76DD-0DF794A37B14}"/>
              </a:ext>
            </a:extLst>
          </p:cNvPr>
          <p:cNvSpPr/>
          <p:nvPr/>
        </p:nvSpPr>
        <p:spPr>
          <a:xfrm>
            <a:off x="0" y="0"/>
            <a:ext cx="12191996" cy="6858000"/>
          </a:xfrm>
          <a:custGeom>
            <a:avLst/>
            <a:gdLst>
              <a:gd name="f0" fmla="val w"/>
              <a:gd name="f1" fmla="val h"/>
              <a:gd name="f2" fmla="val 0"/>
              <a:gd name="f3" fmla="val 12192000"/>
              <a:gd name="f4" fmla="val 6858000"/>
              <a:gd name="f5" fmla="*/ f0 1 12192000"/>
              <a:gd name="f6" fmla="*/ f1 1 6858000"/>
              <a:gd name="f7" fmla="+- f4 0 f2"/>
              <a:gd name="f8" fmla="+- f3 0 f2"/>
              <a:gd name="f9" fmla="*/ f8 1 12192000"/>
              <a:gd name="f10" fmla="*/ f7 1 6858000"/>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12192000" h="6858000">
                <a:moveTo>
                  <a:pt x="f3" y="f2"/>
                </a:moveTo>
                <a:lnTo>
                  <a:pt x="f2" y="f2"/>
                </a:lnTo>
                <a:lnTo>
                  <a:pt x="f2" y="f4"/>
                </a:lnTo>
                <a:lnTo>
                  <a:pt x="f3" y="f4"/>
                </a:lnTo>
                <a:lnTo>
                  <a:pt x="f3" y="f2"/>
                </a:lnTo>
                <a:close/>
              </a:path>
            </a:pathLst>
          </a:custGeom>
          <a:solidFill>
            <a:srgbClr val="F3F6FA"/>
          </a:solidFill>
          <a:ln cap="flat">
            <a:noFill/>
            <a:prstDash val="solid"/>
          </a:ln>
        </p:spPr>
        <p:txBody>
          <a:bodyPr vert="horz" wrap="square" lIns="0" tIns="0" rIns="0" bIns="0" anchor="t"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3" name="bg object 17">
            <a:extLst>
              <a:ext uri="{FF2B5EF4-FFF2-40B4-BE49-F238E27FC236}">
                <a16:creationId xmlns:a16="http://schemas.microsoft.com/office/drawing/2014/main" id="{DE8AE410-885B-1732-F101-B2E573E13320}"/>
              </a:ext>
            </a:extLst>
          </p:cNvPr>
          <p:cNvSpPr/>
          <p:nvPr/>
        </p:nvSpPr>
        <p:spPr>
          <a:xfrm>
            <a:off x="1" y="5100853"/>
            <a:ext cx="7111361" cy="1757677"/>
          </a:xfrm>
          <a:custGeom>
            <a:avLst/>
            <a:gdLst>
              <a:gd name="f0" fmla="val w"/>
              <a:gd name="f1" fmla="val h"/>
              <a:gd name="f2" fmla="val 0"/>
              <a:gd name="f3" fmla="val 7111365"/>
              <a:gd name="f4" fmla="val 1757679"/>
              <a:gd name="f5" fmla="val 612238"/>
              <a:gd name="f6" fmla="val 72"/>
              <a:gd name="f7" fmla="val 558414"/>
              <a:gd name="f8" fmla="val 504455"/>
              <a:gd name="f9" fmla="val 346"/>
              <a:gd name="f10" fmla="val 450360"/>
              <a:gd name="f11" fmla="val 1116"/>
              <a:gd name="f12" fmla="val 396127"/>
              <a:gd name="f13" fmla="val 2315"/>
              <a:gd name="f14" fmla="val 341757"/>
              <a:gd name="f15" fmla="val 3949"/>
              <a:gd name="f16" fmla="val 292962"/>
              <a:gd name="f17" fmla="val 5809"/>
              <a:gd name="f18" fmla="val 244267"/>
              <a:gd name="f19" fmla="val 8061"/>
              <a:gd name="f20" fmla="val 195669"/>
              <a:gd name="f21" fmla="val 10711"/>
              <a:gd name="f22" fmla="val 147165"/>
              <a:gd name="f23" fmla="val 13764"/>
              <a:gd name="f24" fmla="val 98753"/>
              <a:gd name="f25" fmla="val 17223"/>
              <a:gd name="f26" fmla="val 50431"/>
              <a:gd name="f27" fmla="val 21096"/>
              <a:gd name="f28" fmla="val 25666"/>
              <a:gd name="f29" fmla="val 1757146"/>
              <a:gd name="f30" fmla="val 7110983"/>
              <a:gd name="f31" fmla="val 6700405"/>
              <a:gd name="f32" fmla="val 1636344"/>
              <a:gd name="f33" fmla="val 6607186"/>
              <a:gd name="f34" fmla="val 1607300"/>
              <a:gd name="f35" fmla="val 6467358"/>
              <a:gd name="f36" fmla="val 1562910"/>
              <a:gd name="f37" fmla="val 6327483"/>
              <a:gd name="f38" fmla="val 1517588"/>
              <a:gd name="f39" fmla="val 6187509"/>
              <a:gd name="f40" fmla="val 1471399"/>
              <a:gd name="f41" fmla="val 6000630"/>
              <a:gd name="f42" fmla="val 1408578"/>
              <a:gd name="f43" fmla="val 5766459"/>
              <a:gd name="f44" fmla="val 1328280"/>
              <a:gd name="f45" fmla="val 5484294"/>
              <a:gd name="f46" fmla="val 1229723"/>
              <a:gd name="f47" fmla="val 4285873"/>
              <a:gd name="f48" fmla="val 804446"/>
              <a:gd name="f49" fmla="val 3990553"/>
              <a:gd name="f50" fmla="val 701631"/>
              <a:gd name="f51" fmla="val 3741532"/>
              <a:gd name="f52" fmla="val 616526"/>
              <a:gd name="f53" fmla="val 3543643"/>
              <a:gd name="f54" fmla="val 550199"/>
              <a:gd name="f55" fmla="val 3449272"/>
              <a:gd name="f56" fmla="val 519263"/>
              <a:gd name="f57" fmla="val 3354639"/>
              <a:gd name="f58" fmla="val 488840"/>
              <a:gd name="f59" fmla="val 3259736"/>
              <a:gd name="f60" fmla="val 458969"/>
              <a:gd name="f61" fmla="val 3164554"/>
              <a:gd name="f62" fmla="val 429687"/>
              <a:gd name="f63" fmla="val 3069083"/>
              <a:gd name="f64" fmla="val 401033"/>
              <a:gd name="f65" fmla="val 2973315"/>
              <a:gd name="f66" fmla="val 373045"/>
              <a:gd name="f67" fmla="val 2877241"/>
              <a:gd name="f68" fmla="val 345760"/>
              <a:gd name="f69" fmla="val 2780851"/>
              <a:gd name="f70" fmla="val 319217"/>
              <a:gd name="f71" fmla="val 2684137"/>
              <a:gd name="f72" fmla="val 293454"/>
              <a:gd name="f73" fmla="val 2587089"/>
              <a:gd name="f74" fmla="val 268509"/>
              <a:gd name="f75" fmla="val 2489699"/>
              <a:gd name="f76" fmla="val 244419"/>
              <a:gd name="f77" fmla="val 2391957"/>
              <a:gd name="f78" fmla="val 221224"/>
              <a:gd name="f79" fmla="val 2293855"/>
              <a:gd name="f80" fmla="val 198961"/>
              <a:gd name="f81" fmla="val 2244665"/>
              <a:gd name="f82" fmla="val 188191"/>
              <a:gd name="f83" fmla="val 2195383"/>
              <a:gd name="f84" fmla="val 177668"/>
              <a:gd name="f85" fmla="val 2146005"/>
              <a:gd name="f86" fmla="val 167398"/>
              <a:gd name="f87" fmla="val 2096532"/>
              <a:gd name="f88" fmla="val 157384"/>
              <a:gd name="f89" fmla="val 2046962"/>
              <a:gd name="f90" fmla="val 147632"/>
              <a:gd name="f91" fmla="val 1997294"/>
              <a:gd name="f92" fmla="val 138146"/>
              <a:gd name="f93" fmla="val 1947526"/>
              <a:gd name="f94" fmla="val 128931"/>
              <a:gd name="f95" fmla="val 1897659"/>
              <a:gd name="f96" fmla="val 119992"/>
              <a:gd name="f97" fmla="val 1847690"/>
              <a:gd name="f98" fmla="val 111333"/>
              <a:gd name="f99" fmla="val 1797618"/>
              <a:gd name="f100" fmla="val 102960"/>
              <a:gd name="f101" fmla="val 1747443"/>
              <a:gd name="f102" fmla="val 94877"/>
              <a:gd name="f103" fmla="val 1697163"/>
              <a:gd name="f104" fmla="val 87089"/>
              <a:gd name="f105" fmla="val 1646777"/>
              <a:gd name="f106" fmla="val 79601"/>
              <a:gd name="f107" fmla="val 1596283"/>
              <a:gd name="f108" fmla="val 72417"/>
              <a:gd name="f109" fmla="val 1545682"/>
              <a:gd name="f110" fmla="val 65542"/>
              <a:gd name="f111" fmla="val 1494971"/>
              <a:gd name="f112" fmla="val 58981"/>
              <a:gd name="f113" fmla="val 1444150"/>
              <a:gd name="f114" fmla="val 52739"/>
              <a:gd name="f115" fmla="val 1393217"/>
              <a:gd name="f116" fmla="val 46821"/>
              <a:gd name="f117" fmla="val 1342172"/>
              <a:gd name="f118" fmla="val 41230"/>
              <a:gd name="f119" fmla="val 1291013"/>
              <a:gd name="f120" fmla="val 35972"/>
              <a:gd name="f121" fmla="val 1239738"/>
              <a:gd name="f122" fmla="val 31052"/>
              <a:gd name="f123" fmla="val 1188348"/>
              <a:gd name="f124" fmla="val 26475"/>
              <a:gd name="f125" fmla="val 1136840"/>
              <a:gd name="f126" fmla="val 22245"/>
              <a:gd name="f127" fmla="val 1085214"/>
              <a:gd name="f128" fmla="val 18367"/>
              <a:gd name="f129" fmla="val 1033469"/>
              <a:gd name="f130" fmla="val 14845"/>
              <a:gd name="f131" fmla="val 981602"/>
              <a:gd name="f132" fmla="val 11685"/>
              <a:gd name="f133" fmla="val 929614"/>
              <a:gd name="f134" fmla="val 8891"/>
              <a:gd name="f135" fmla="val 877504"/>
              <a:gd name="f136" fmla="val 6469"/>
              <a:gd name="f137" fmla="val 825269"/>
              <a:gd name="f138" fmla="val 4422"/>
              <a:gd name="f139" fmla="val 772909"/>
              <a:gd name="f140" fmla="val 2755"/>
              <a:gd name="f141" fmla="val 719484"/>
              <a:gd name="f142" fmla="val 1455"/>
              <a:gd name="f143" fmla="val 665927"/>
              <a:gd name="f144" fmla="val 559"/>
              <a:gd name="f145" fmla="*/ f0 1 7111365"/>
              <a:gd name="f146" fmla="*/ f1 1 1757679"/>
              <a:gd name="f147" fmla="+- f4 0 f2"/>
              <a:gd name="f148" fmla="+- f3 0 f2"/>
              <a:gd name="f149" fmla="*/ f148 1 7111365"/>
              <a:gd name="f150" fmla="*/ f147 1 1757679"/>
              <a:gd name="f151" fmla="*/ f2 1 f149"/>
              <a:gd name="f152" fmla="*/ f3 1 f149"/>
              <a:gd name="f153" fmla="*/ f2 1 f150"/>
              <a:gd name="f154" fmla="*/ f4 1 f150"/>
              <a:gd name="f155" fmla="*/ f151 f145 1"/>
              <a:gd name="f156" fmla="*/ f152 f145 1"/>
              <a:gd name="f157" fmla="*/ f154 f146 1"/>
              <a:gd name="f158" fmla="*/ f153 f146 1"/>
            </a:gdLst>
            <a:ahLst/>
            <a:cxnLst>
              <a:cxn ang="3cd4">
                <a:pos x="hc" y="t"/>
              </a:cxn>
              <a:cxn ang="0">
                <a:pos x="r" y="vc"/>
              </a:cxn>
              <a:cxn ang="cd4">
                <a:pos x="hc" y="b"/>
              </a:cxn>
              <a:cxn ang="cd2">
                <a:pos x="l" y="vc"/>
              </a:cxn>
            </a:cxnLst>
            <a:rect l="f155" t="f158" r="f156" b="f157"/>
            <a:pathLst>
              <a:path w="7111365" h="1757679">
                <a:moveTo>
                  <a:pt x="f5" y="f6"/>
                </a:moveTo>
                <a:lnTo>
                  <a:pt x="f7" y="f2"/>
                </a:lnTo>
                <a:lnTo>
                  <a:pt x="f8" y="f9"/>
                </a:lnTo>
                <a:lnTo>
                  <a:pt x="f10" y="f11"/>
                </a:lnTo>
                <a:lnTo>
                  <a:pt x="f12" y="f13"/>
                </a:lnTo>
                <a:lnTo>
                  <a:pt x="f14" y="f15"/>
                </a:lnTo>
                <a:lnTo>
                  <a:pt x="f16" y="f17"/>
                </a:lnTo>
                <a:lnTo>
                  <a:pt x="f18" y="f19"/>
                </a:lnTo>
                <a:lnTo>
                  <a:pt x="f20" y="f21"/>
                </a:lnTo>
                <a:lnTo>
                  <a:pt x="f22" y="f23"/>
                </a:lnTo>
                <a:lnTo>
                  <a:pt x="f24" y="f25"/>
                </a:lnTo>
                <a:lnTo>
                  <a:pt x="f26" y="f27"/>
                </a:lnTo>
                <a:lnTo>
                  <a:pt x="f2" y="f28"/>
                </a:lnTo>
                <a:lnTo>
                  <a:pt x="f2" y="f29"/>
                </a:lnTo>
                <a:lnTo>
                  <a:pt x="f30" y="f29"/>
                </a:lnTo>
                <a:lnTo>
                  <a:pt x="f31" y="f32"/>
                </a:lnTo>
                <a:lnTo>
                  <a:pt x="f33" y="f34"/>
                </a:lnTo>
                <a:lnTo>
                  <a:pt x="f35" y="f36"/>
                </a:lnTo>
                <a:lnTo>
                  <a:pt x="f37" y="f38"/>
                </a:lnTo>
                <a:lnTo>
                  <a:pt x="f39" y="f40"/>
                </a:lnTo>
                <a:lnTo>
                  <a:pt x="f41" y="f42"/>
                </a:lnTo>
                <a:lnTo>
                  <a:pt x="f43" y="f44"/>
                </a:lnTo>
                <a:lnTo>
                  <a:pt x="f45" y="f46"/>
                </a:lnTo>
                <a:lnTo>
                  <a:pt x="f47" y="f48"/>
                </a:lnTo>
                <a:lnTo>
                  <a:pt x="f49" y="f50"/>
                </a:lnTo>
                <a:lnTo>
                  <a:pt x="f51" y="f52"/>
                </a:lnTo>
                <a:lnTo>
                  <a:pt x="f53" y="f54"/>
                </a:lnTo>
                <a:lnTo>
                  <a:pt x="f55" y="f56"/>
                </a:lnTo>
                <a:lnTo>
                  <a:pt x="f57" y="f58"/>
                </a:lnTo>
                <a:lnTo>
                  <a:pt x="f59" y="f60"/>
                </a:lnTo>
                <a:lnTo>
                  <a:pt x="f61" y="f62"/>
                </a:lnTo>
                <a:lnTo>
                  <a:pt x="f63" y="f64"/>
                </a:lnTo>
                <a:lnTo>
                  <a:pt x="f65" y="f66"/>
                </a:lnTo>
                <a:lnTo>
                  <a:pt x="f67" y="f68"/>
                </a:lnTo>
                <a:lnTo>
                  <a:pt x="f69" y="f70"/>
                </a:lnTo>
                <a:lnTo>
                  <a:pt x="f71" y="f72"/>
                </a:lnTo>
                <a:lnTo>
                  <a:pt x="f73" y="f74"/>
                </a:lnTo>
                <a:lnTo>
                  <a:pt x="f75" y="f76"/>
                </a:lnTo>
                <a:lnTo>
                  <a:pt x="f77" y="f78"/>
                </a:lnTo>
                <a:lnTo>
                  <a:pt x="f79" y="f80"/>
                </a:lnTo>
                <a:lnTo>
                  <a:pt x="f81" y="f82"/>
                </a:lnTo>
                <a:lnTo>
                  <a:pt x="f83" y="f84"/>
                </a:lnTo>
                <a:lnTo>
                  <a:pt x="f85" y="f86"/>
                </a:lnTo>
                <a:lnTo>
                  <a:pt x="f87" y="f88"/>
                </a:lnTo>
                <a:lnTo>
                  <a:pt x="f89" y="f90"/>
                </a:lnTo>
                <a:lnTo>
                  <a:pt x="f91" y="f92"/>
                </a:lnTo>
                <a:lnTo>
                  <a:pt x="f93" y="f94"/>
                </a:lnTo>
                <a:lnTo>
                  <a:pt x="f95" y="f96"/>
                </a:lnTo>
                <a:lnTo>
                  <a:pt x="f97" y="f98"/>
                </a:lnTo>
                <a:lnTo>
                  <a:pt x="f99" y="f100"/>
                </a:lnTo>
                <a:lnTo>
                  <a:pt x="f101" y="f102"/>
                </a:lnTo>
                <a:lnTo>
                  <a:pt x="f103" y="f104"/>
                </a:lnTo>
                <a:lnTo>
                  <a:pt x="f105" y="f106"/>
                </a:lnTo>
                <a:lnTo>
                  <a:pt x="f107" y="f108"/>
                </a:lnTo>
                <a:lnTo>
                  <a:pt x="f109" y="f110"/>
                </a:lnTo>
                <a:lnTo>
                  <a:pt x="f111" y="f112"/>
                </a:lnTo>
                <a:lnTo>
                  <a:pt x="f113" y="f114"/>
                </a:lnTo>
                <a:lnTo>
                  <a:pt x="f115" y="f116"/>
                </a:lnTo>
                <a:lnTo>
                  <a:pt x="f117" y="f118"/>
                </a:lnTo>
                <a:lnTo>
                  <a:pt x="f119" y="f120"/>
                </a:lnTo>
                <a:lnTo>
                  <a:pt x="f121" y="f122"/>
                </a:lnTo>
                <a:lnTo>
                  <a:pt x="f123" y="f124"/>
                </a:lnTo>
                <a:lnTo>
                  <a:pt x="f125" y="f126"/>
                </a:lnTo>
                <a:lnTo>
                  <a:pt x="f127" y="f128"/>
                </a:lnTo>
                <a:lnTo>
                  <a:pt x="f129" y="f130"/>
                </a:lnTo>
                <a:lnTo>
                  <a:pt x="f131" y="f132"/>
                </a:lnTo>
                <a:lnTo>
                  <a:pt x="f133" y="f134"/>
                </a:lnTo>
                <a:lnTo>
                  <a:pt x="f135" y="f136"/>
                </a:lnTo>
                <a:lnTo>
                  <a:pt x="f137" y="f138"/>
                </a:lnTo>
                <a:lnTo>
                  <a:pt x="f139" y="f140"/>
                </a:lnTo>
                <a:lnTo>
                  <a:pt x="f141" y="f142"/>
                </a:lnTo>
                <a:lnTo>
                  <a:pt x="f143" y="f144"/>
                </a:lnTo>
                <a:lnTo>
                  <a:pt x="f5" y="f6"/>
                </a:lnTo>
                <a:close/>
              </a:path>
            </a:pathLst>
          </a:custGeom>
          <a:solidFill>
            <a:srgbClr val="FFFFFF"/>
          </a:solidFill>
          <a:ln cap="flat">
            <a:noFill/>
            <a:prstDash val="solid"/>
          </a:ln>
        </p:spPr>
        <p:txBody>
          <a:bodyPr vert="horz" wrap="square" lIns="0" tIns="0" rIns="0" bIns="0" anchor="t"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pic>
        <p:nvPicPr>
          <p:cNvPr id="4" name="bg object 18">
            <a:extLst>
              <a:ext uri="{FF2B5EF4-FFF2-40B4-BE49-F238E27FC236}">
                <a16:creationId xmlns:a16="http://schemas.microsoft.com/office/drawing/2014/main" id="{E0256C2C-3B4B-6264-0C4E-8763142ADF4C}"/>
              </a:ext>
            </a:extLst>
          </p:cNvPr>
          <p:cNvPicPr>
            <a:picLocks noChangeAspect="1"/>
          </p:cNvPicPr>
          <p:nvPr/>
        </p:nvPicPr>
        <p:blipFill>
          <a:blip r:embed="rId2"/>
          <a:stretch>
            <a:fillRect/>
          </a:stretch>
        </p:blipFill>
        <p:spPr>
          <a:xfrm>
            <a:off x="0" y="5041902"/>
            <a:ext cx="12191996" cy="1816098"/>
          </a:xfrm>
          <a:prstGeom prst="rect">
            <a:avLst/>
          </a:prstGeom>
          <a:noFill/>
          <a:ln cap="flat">
            <a:noFill/>
          </a:ln>
        </p:spPr>
      </p:pic>
      <p:sp>
        <p:nvSpPr>
          <p:cNvPr id="5" name="bg object 19">
            <a:extLst>
              <a:ext uri="{FF2B5EF4-FFF2-40B4-BE49-F238E27FC236}">
                <a16:creationId xmlns:a16="http://schemas.microsoft.com/office/drawing/2014/main" id="{29889E8B-B8F7-DFB6-0C3E-DA60CBD2EB5B}"/>
              </a:ext>
            </a:extLst>
          </p:cNvPr>
          <p:cNvSpPr/>
          <p:nvPr/>
        </p:nvSpPr>
        <p:spPr>
          <a:xfrm>
            <a:off x="0" y="5020056"/>
            <a:ext cx="12191996" cy="1838328"/>
          </a:xfrm>
          <a:custGeom>
            <a:avLst/>
            <a:gdLst>
              <a:gd name="f0" fmla="val w"/>
              <a:gd name="f1" fmla="val h"/>
              <a:gd name="f2" fmla="val 0"/>
              <a:gd name="f3" fmla="val 12192000"/>
              <a:gd name="f4" fmla="val 1838325"/>
              <a:gd name="f5" fmla="val 682693"/>
              <a:gd name="f6" fmla="val 631977"/>
              <a:gd name="f7" fmla="val 191"/>
              <a:gd name="f8" fmla="val 584149"/>
              <a:gd name="f9" fmla="val 737"/>
              <a:gd name="f10" fmla="val 536385"/>
              <a:gd name="f11" fmla="val 1641"/>
              <a:gd name="f12" fmla="val 488688"/>
              <a:gd name="f13" fmla="val 2908"/>
              <a:gd name="f14" fmla="val 441056"/>
              <a:gd name="f15" fmla="val 4541"/>
              <a:gd name="f16" fmla="val 393493"/>
              <a:gd name="f17" fmla="val 6547"/>
              <a:gd name="f18" fmla="val 345998"/>
              <a:gd name="f19" fmla="val 8929"/>
              <a:gd name="f20" fmla="val 38164"/>
              <a:gd name="f21" fmla="val 105627"/>
              <a:gd name="f22" fmla="val 50435"/>
              <a:gd name="f23" fmla="val 101057"/>
              <a:gd name="f24" fmla="val 98761"/>
              <a:gd name="f25" fmla="val 97184"/>
              <a:gd name="f26" fmla="val 147175"/>
              <a:gd name="f27" fmla="val 93724"/>
              <a:gd name="f28" fmla="val 195680"/>
              <a:gd name="f29" fmla="val 90672"/>
              <a:gd name="f30" fmla="val 244280"/>
              <a:gd name="f31" fmla="val 88022"/>
              <a:gd name="f32" fmla="val 292975"/>
              <a:gd name="f33" fmla="val 85770"/>
              <a:gd name="f34" fmla="val 341769"/>
              <a:gd name="f35" fmla="val 83910"/>
              <a:gd name="f36" fmla="val 394500"/>
              <a:gd name="f37" fmla="val 82318"/>
              <a:gd name="f38" fmla="val 447099"/>
              <a:gd name="f39" fmla="val 81134"/>
              <a:gd name="f40" fmla="val 499569"/>
              <a:gd name="f41" fmla="val 80355"/>
              <a:gd name="f42" fmla="val 551910"/>
              <a:gd name="f43" fmla="val 79975"/>
              <a:gd name="f44" fmla="val 604123"/>
              <a:gd name="f45" fmla="val 79990"/>
              <a:gd name="f46" fmla="val 656210"/>
              <a:gd name="f47" fmla="val 80395"/>
              <a:gd name="f48" fmla="val 708172"/>
              <a:gd name="f49" fmla="val 81187"/>
              <a:gd name="f50" fmla="val 760009"/>
              <a:gd name="f51" fmla="val 82360"/>
              <a:gd name="f52" fmla="val 811723"/>
              <a:gd name="f53" fmla="val 83909"/>
              <a:gd name="f54" fmla="val 863315"/>
              <a:gd name="f55" fmla="val 85830"/>
              <a:gd name="f56" fmla="val 914785"/>
              <a:gd name="f57" fmla="val 88119"/>
              <a:gd name="f58" fmla="val 966136"/>
              <a:gd name="f59" fmla="val 90771"/>
              <a:gd name="f60" fmla="val 1017368"/>
              <a:gd name="f61" fmla="val 93782"/>
              <a:gd name="f62" fmla="val 1068481"/>
              <a:gd name="f63" fmla="val 97146"/>
              <a:gd name="f64" fmla="val 1119478"/>
              <a:gd name="f65" fmla="val 100859"/>
              <a:gd name="f66" fmla="val 1170360"/>
              <a:gd name="f67" fmla="val 104917"/>
              <a:gd name="f68" fmla="val 1221127"/>
              <a:gd name="f69" fmla="val 109315"/>
              <a:gd name="f70" fmla="val 1271780"/>
              <a:gd name="f71" fmla="val 114049"/>
              <a:gd name="f72" fmla="val 1322321"/>
              <a:gd name="f73" fmla="val 119113"/>
              <a:gd name="f74" fmla="val 1372750"/>
              <a:gd name="f75" fmla="val 124504"/>
              <a:gd name="f76" fmla="val 1423070"/>
              <a:gd name="f77" fmla="val 130217"/>
              <a:gd name="f78" fmla="val 1473280"/>
              <a:gd name="f79" fmla="val 136247"/>
              <a:gd name="f80" fmla="val 1523382"/>
              <a:gd name="f81" fmla="val 142589"/>
              <a:gd name="f82" fmla="val 1573377"/>
              <a:gd name="f83" fmla="val 149239"/>
              <a:gd name="f84" fmla="val 1623266"/>
              <a:gd name="f85" fmla="val 156193"/>
              <a:gd name="f86" fmla="val 1673051"/>
              <a:gd name="f87" fmla="val 163446"/>
              <a:gd name="f88" fmla="val 1722731"/>
              <a:gd name="f89" fmla="val 170993"/>
              <a:gd name="f90" fmla="val 1772309"/>
              <a:gd name="f91" fmla="val 178830"/>
              <a:gd name="f92" fmla="val 1821786"/>
              <a:gd name="f93" fmla="val 186951"/>
              <a:gd name="f94" fmla="val 1871162"/>
              <a:gd name="f95" fmla="val 195354"/>
              <a:gd name="f96" fmla="val 1920438"/>
              <a:gd name="f97" fmla="val 204032"/>
              <a:gd name="f98" fmla="val 1969617"/>
              <a:gd name="f99" fmla="val 212982"/>
              <a:gd name="f100" fmla="val 2018698"/>
              <a:gd name="f101" fmla="val 222199"/>
              <a:gd name="f102" fmla="val 2067683"/>
              <a:gd name="f103" fmla="val 231677"/>
              <a:gd name="f104" fmla="val 2116573"/>
              <a:gd name="f105" fmla="val 241414"/>
              <a:gd name="f106" fmla="val 2165369"/>
              <a:gd name="f107" fmla="val 251404"/>
              <a:gd name="f108" fmla="val 2214072"/>
              <a:gd name="f109" fmla="val 261642"/>
              <a:gd name="f110" fmla="val 2262683"/>
              <a:gd name="f111" fmla="val 272124"/>
              <a:gd name="f112" fmla="val 2359634"/>
              <a:gd name="f113" fmla="val 293801"/>
              <a:gd name="f114" fmla="val 2456232"/>
              <a:gd name="f115" fmla="val 316400"/>
              <a:gd name="f116" fmla="val 2552484"/>
              <a:gd name="f117" fmla="val 339883"/>
              <a:gd name="f118" fmla="val 2648399"/>
              <a:gd name="f119" fmla="val 364213"/>
              <a:gd name="f120" fmla="val 2743986"/>
              <a:gd name="f121" fmla="val 389354"/>
              <a:gd name="f122" fmla="val 2839253"/>
              <a:gd name="f123" fmla="val 415270"/>
              <a:gd name="f124" fmla="val 2934210"/>
              <a:gd name="f125" fmla="val 441923"/>
              <a:gd name="f126" fmla="val 3028865"/>
              <a:gd name="f127" fmla="val 469277"/>
              <a:gd name="f128" fmla="val 3123226"/>
              <a:gd name="f129" fmla="val 497296"/>
              <a:gd name="f130" fmla="val 3217303"/>
              <a:gd name="f131" fmla="val 525943"/>
              <a:gd name="f132" fmla="val 3311104"/>
              <a:gd name="f133" fmla="val 555181"/>
              <a:gd name="f134" fmla="val 3404637"/>
              <a:gd name="f135" fmla="val 584973"/>
              <a:gd name="f136" fmla="val 3497912"/>
              <a:gd name="f137" fmla="val 615284"/>
              <a:gd name="f138" fmla="val 3590937"/>
              <a:gd name="f139" fmla="val 646075"/>
              <a:gd name="f140" fmla="val 3791774"/>
              <a:gd name="f141" fmla="val 713748"/>
              <a:gd name="f142" fmla="val 4040254"/>
              <a:gd name="f143" fmla="val 799025"/>
              <a:gd name="f144" fmla="val 4334988"/>
              <a:gd name="f145" fmla="val 901968"/>
              <a:gd name="f146" fmla="val 5625866"/>
              <a:gd name="f147" fmla="val 1359840"/>
              <a:gd name="f148" fmla="val 5907371"/>
              <a:gd name="f149" fmla="val 1457295"/>
              <a:gd name="f150" fmla="val 6094441"/>
              <a:gd name="f151" fmla="val 1520802"/>
              <a:gd name="f152" fmla="val 6281177"/>
              <a:gd name="f153" fmla="val 1582959"/>
              <a:gd name="f154" fmla="val 6421085"/>
              <a:gd name="f155" fmla="val 1628599"/>
              <a:gd name="f156" fmla="val 6560929"/>
              <a:gd name="f157" fmla="val 1673327"/>
              <a:gd name="f158" fmla="val 6700761"/>
              <a:gd name="f159" fmla="val 1717079"/>
              <a:gd name="f160" fmla="val 7111365"/>
              <a:gd name="f161" fmla="val 1837945"/>
              <a:gd name="f162" fmla="val 1008838"/>
              <a:gd name="f163" fmla="val 12147976"/>
              <a:gd name="f164" fmla="val 1027873"/>
              <a:gd name="f165" fmla="val 12103695"/>
              <a:gd name="f166" fmla="val 1046580"/>
              <a:gd name="f167" fmla="val 12059162"/>
              <a:gd name="f168" fmla="val 1064960"/>
              <a:gd name="f169" fmla="val 12014382"/>
              <a:gd name="f170" fmla="val 1083015"/>
              <a:gd name="f171" fmla="val 11969360"/>
              <a:gd name="f172" fmla="val 1100744"/>
              <a:gd name="f173" fmla="val 11924100"/>
              <a:gd name="f174" fmla="val 1118147"/>
              <a:gd name="f175" fmla="val 11878609"/>
              <a:gd name="f176" fmla="val 1135227"/>
              <a:gd name="f177" fmla="val 11832891"/>
              <a:gd name="f178" fmla="val 1151982"/>
              <a:gd name="f179" fmla="val 11786951"/>
              <a:gd name="f180" fmla="val 1168414"/>
              <a:gd name="f181" fmla="val 11740793"/>
              <a:gd name="f182" fmla="val 1184523"/>
              <a:gd name="f183" fmla="val 11694424"/>
              <a:gd name="f184" fmla="val 1200309"/>
              <a:gd name="f185" fmla="val 11647847"/>
              <a:gd name="f186" fmla="val 1215774"/>
              <a:gd name="f187" fmla="val 11601068"/>
              <a:gd name="f188" fmla="val 1230917"/>
              <a:gd name="f189" fmla="val 11554093"/>
              <a:gd name="f190" fmla="val 1245740"/>
              <a:gd name="f191" fmla="val 11506925"/>
              <a:gd name="f192" fmla="val 1260242"/>
              <a:gd name="f193" fmla="val 11459569"/>
              <a:gd name="f194" fmla="val 1274425"/>
              <a:gd name="f195" fmla="val 11412032"/>
              <a:gd name="f196" fmla="val 1288288"/>
              <a:gd name="f197" fmla="val 11364318"/>
              <a:gd name="f198" fmla="val 1301833"/>
              <a:gd name="f199" fmla="val 11316431"/>
              <a:gd name="f200" fmla="val 1315060"/>
              <a:gd name="f201" fmla="val 11268377"/>
              <a:gd name="f202" fmla="val 1327969"/>
              <a:gd name="f203" fmla="val 11220161"/>
              <a:gd name="f204" fmla="val 1340561"/>
              <a:gd name="f205" fmla="val 11171788"/>
              <a:gd name="f206" fmla="val 1352836"/>
              <a:gd name="f207" fmla="val 11123263"/>
              <a:gd name="f208" fmla="val 1364796"/>
              <a:gd name="f209" fmla="val 11074590"/>
              <a:gd name="f210" fmla="val 1376440"/>
              <a:gd name="f211" fmla="val 11025776"/>
              <a:gd name="f212" fmla="val 1387769"/>
              <a:gd name="f213" fmla="val 10976824"/>
              <a:gd name="f214" fmla="val 1398783"/>
              <a:gd name="f215" fmla="val 10927740"/>
              <a:gd name="f216" fmla="val 1409484"/>
              <a:gd name="f217" fmla="val 10878528"/>
              <a:gd name="f218" fmla="val 1419872"/>
              <a:gd name="f219" fmla="val 10829194"/>
              <a:gd name="f220" fmla="val 1429946"/>
              <a:gd name="f221" fmla="val 10779744"/>
              <a:gd name="f222" fmla="val 1439709"/>
              <a:gd name="f223" fmla="val 10730180"/>
              <a:gd name="f224" fmla="val 1449159"/>
              <a:gd name="f225" fmla="val 10680510"/>
              <a:gd name="f226" fmla="val 1458299"/>
              <a:gd name="f227" fmla="val 10630737"/>
              <a:gd name="f228" fmla="val 1467128"/>
              <a:gd name="f229" fmla="val 10580867"/>
              <a:gd name="f230" fmla="val 1475646"/>
              <a:gd name="f231" fmla="val 10530905"/>
              <a:gd name="f232" fmla="val 1483856"/>
              <a:gd name="f233" fmla="val 10480855"/>
              <a:gd name="f234" fmla="val 1491756"/>
              <a:gd name="f235" fmla="val 10430723"/>
              <a:gd name="f236" fmla="val 1499347"/>
              <a:gd name="f237" fmla="val 10380514"/>
              <a:gd name="f238" fmla="val 1506631"/>
              <a:gd name="f239" fmla="val 10330232"/>
              <a:gd name="f240" fmla="val 1513607"/>
              <a:gd name="f241" fmla="val 10279883"/>
              <a:gd name="f242" fmla="val 1520276"/>
              <a:gd name="f243" fmla="val 10229472"/>
              <a:gd name="f244" fmla="val 1526638"/>
              <a:gd name="f245" fmla="val 10179004"/>
              <a:gd name="f246" fmla="val 1532695"/>
              <a:gd name="f247" fmla="val 10128483"/>
              <a:gd name="f248" fmla="val 1538447"/>
              <a:gd name="f249" fmla="val 10077914"/>
              <a:gd name="f250" fmla="val 1543893"/>
              <a:gd name="f251" fmla="val 10027304"/>
              <a:gd name="f252" fmla="val 1549036"/>
              <a:gd name="f253" fmla="val 9976655"/>
              <a:gd name="f254" fmla="val 1553875"/>
              <a:gd name="f255" fmla="val 9925975"/>
              <a:gd name="f256" fmla="val 1558410"/>
              <a:gd name="f257" fmla="val 9875267"/>
              <a:gd name="f258" fmla="val 1562643"/>
              <a:gd name="f259" fmla="val 9824537"/>
              <a:gd name="f260" fmla="val 1566574"/>
              <a:gd name="f261" fmla="val 9773789"/>
              <a:gd name="f262" fmla="val 1570203"/>
              <a:gd name="f263" fmla="val 9723029"/>
              <a:gd name="f264" fmla="val 1573531"/>
              <a:gd name="f265" fmla="val 9672261"/>
              <a:gd name="f266" fmla="val 1576558"/>
              <a:gd name="f267" fmla="val 9621491"/>
              <a:gd name="f268" fmla="val 1579285"/>
              <a:gd name="f269" fmla="val 9570724"/>
              <a:gd name="f270" fmla="val 1581713"/>
              <a:gd name="f271" fmla="val 9519964"/>
              <a:gd name="f272" fmla="val 1583842"/>
              <a:gd name="f273" fmla="val 9469216"/>
              <a:gd name="f274" fmla="val 1585673"/>
              <a:gd name="f275" fmla="val 9418487"/>
              <a:gd name="f276" fmla="val 1587206"/>
              <a:gd name="f277" fmla="val 9367779"/>
              <a:gd name="f278" fmla="val 1588441"/>
              <a:gd name="f279" fmla="val 9317099"/>
              <a:gd name="f280" fmla="val 1589380"/>
              <a:gd name="f281" fmla="val 9266452"/>
              <a:gd name="f282" fmla="val 1590022"/>
              <a:gd name="f283" fmla="val 9215842"/>
              <a:gd name="f284" fmla="val 1590369"/>
              <a:gd name="f285" fmla="val 9165275"/>
              <a:gd name="f286" fmla="val 1590420"/>
              <a:gd name="f287" fmla="val 9114755"/>
              <a:gd name="f288" fmla="val 1590177"/>
              <a:gd name="f289" fmla="val 9064287"/>
              <a:gd name="f290" fmla="val 1589639"/>
              <a:gd name="f291" fmla="val 9013877"/>
              <a:gd name="f292" fmla="val 1588808"/>
              <a:gd name="f293" fmla="val 8963530"/>
              <a:gd name="f294" fmla="val 1587684"/>
              <a:gd name="f295" fmla="val 8913250"/>
              <a:gd name="f296" fmla="val 1586267"/>
              <a:gd name="f297" fmla="val 8863042"/>
              <a:gd name="f298" fmla="val 1584559"/>
              <a:gd name="f299" fmla="val 8812912"/>
              <a:gd name="f300" fmla="val 1582559"/>
              <a:gd name="f301" fmla="val 8762864"/>
              <a:gd name="f302" fmla="val 1580267"/>
              <a:gd name="f303" fmla="val 8712904"/>
              <a:gd name="f304" fmla="val 1577686"/>
              <a:gd name="f305" fmla="val 8663036"/>
              <a:gd name="f306" fmla="val 1574814"/>
              <a:gd name="f307" fmla="val 8613265"/>
              <a:gd name="f308" fmla="val 1571654"/>
              <a:gd name="f309" fmla="val 8563597"/>
              <a:gd name="f310" fmla="val 1568204"/>
              <a:gd name="f311" fmla="val 8514036"/>
              <a:gd name="f312" fmla="val 1564466"/>
              <a:gd name="f313" fmla="val 8464588"/>
              <a:gd name="f314" fmla="val 1560440"/>
              <a:gd name="f315" fmla="val 8415256"/>
              <a:gd name="f316" fmla="val 1556128"/>
              <a:gd name="f317" fmla="val 8366048"/>
              <a:gd name="f318" fmla="val 1551528"/>
              <a:gd name="f319" fmla="val 8316966"/>
              <a:gd name="f320" fmla="val 1546642"/>
              <a:gd name="f321" fmla="val 8268017"/>
              <a:gd name="f322" fmla="val 1541471"/>
              <a:gd name="f323" fmla="val 8219205"/>
              <a:gd name="f324" fmla="val 1536015"/>
              <a:gd name="f325" fmla="val 8170536"/>
              <a:gd name="f326" fmla="val 1530274"/>
              <a:gd name="f327" fmla="val 8122014"/>
              <a:gd name="f328" fmla="val 1524249"/>
              <a:gd name="f329" fmla="val 8073644"/>
              <a:gd name="f330" fmla="val 1517940"/>
              <a:gd name="f331" fmla="val 8025431"/>
              <a:gd name="f332" fmla="val 1511349"/>
              <a:gd name="f333" fmla="val 7977381"/>
              <a:gd name="f334" fmla="val 1504475"/>
              <a:gd name="f335" fmla="val 7929498"/>
              <a:gd name="f336" fmla="val 1497319"/>
              <a:gd name="f337" fmla="val 7881788"/>
              <a:gd name="f338" fmla="val 1489882"/>
              <a:gd name="f339" fmla="val 7834254"/>
              <a:gd name="f340" fmla="val 1482164"/>
              <a:gd name="f341" fmla="val 7786903"/>
              <a:gd name="f342" fmla="val 1474166"/>
              <a:gd name="f343" fmla="val 7738126"/>
              <a:gd name="f344" fmla="val 1465660"/>
              <a:gd name="f345" fmla="val 7640491"/>
              <a:gd name="f346" fmla="val 1448021"/>
              <a:gd name="f347" fmla="val 7542751"/>
              <a:gd name="f348" fmla="val 1429573"/>
              <a:gd name="f349" fmla="val 7444910"/>
              <a:gd name="f350" fmla="val 1410348"/>
              <a:gd name="f351" fmla="val 7346973"/>
              <a:gd name="f352" fmla="val 1390379"/>
              <a:gd name="f353" fmla="val 7248943"/>
              <a:gd name="f354" fmla="val 1369697"/>
              <a:gd name="f355" fmla="val 7150826"/>
              <a:gd name="f356" fmla="val 1348335"/>
              <a:gd name="f357" fmla="val 7052624"/>
              <a:gd name="f358" fmla="val 1326325"/>
              <a:gd name="f359" fmla="val 6954344"/>
              <a:gd name="f360" fmla="val 1303699"/>
              <a:gd name="f361" fmla="val 6855988"/>
              <a:gd name="f362" fmla="val 1280488"/>
              <a:gd name="f363" fmla="val 6757561"/>
              <a:gd name="f364" fmla="val 1256726"/>
              <a:gd name="f365" fmla="val 6609797"/>
              <a:gd name="f366" fmla="val 1220118"/>
              <a:gd name="f367" fmla="val 6461898"/>
              <a:gd name="f368" fmla="val 1182449"/>
              <a:gd name="f369" fmla="val 6313878"/>
              <a:gd name="f370" fmla="val 1143828"/>
              <a:gd name="f371" fmla="val 6116354"/>
              <a:gd name="f372" fmla="val 1091037"/>
              <a:gd name="f373" fmla="val 5918674"/>
              <a:gd name="f374" fmla="val 1037003"/>
              <a:gd name="f375" fmla="val 5671408"/>
              <a:gd name="f376" fmla="val 968101"/>
              <a:gd name="f377" fmla="val 4632326"/>
              <a:gd name="f378" fmla="val 673191"/>
              <a:gd name="f379" fmla="val 4335739"/>
              <a:gd name="f380" fmla="val 590761"/>
              <a:gd name="f381" fmla="val 4138197"/>
              <a:gd name="f382" fmla="val 537088"/>
              <a:gd name="f383" fmla="val 3940841"/>
              <a:gd name="f384" fmla="val 484740"/>
              <a:gd name="f385" fmla="val 3792966"/>
              <a:gd name="f386" fmla="val 446503"/>
              <a:gd name="f387" fmla="val 3645230"/>
              <a:gd name="f388" fmla="val 409263"/>
              <a:gd name="f389" fmla="val 3497647"/>
              <a:gd name="f390" fmla="val 373130"/>
              <a:gd name="f391" fmla="val 3399350"/>
              <a:gd name="f392" fmla="val 349710"/>
              <a:gd name="f393" fmla="val 3301131"/>
              <a:gd name="f394" fmla="val 326862"/>
              <a:gd name="f395" fmla="val 3202995"/>
              <a:gd name="f396" fmla="val 304617"/>
              <a:gd name="f397" fmla="val 3104947"/>
              <a:gd name="f398" fmla="val 283009"/>
              <a:gd name="f399" fmla="val 3006989"/>
              <a:gd name="f400" fmla="val 262069"/>
              <a:gd name="f401" fmla="val 2909128"/>
              <a:gd name="f402" fmla="val 241830"/>
              <a:gd name="f403" fmla="val 2811366"/>
              <a:gd name="f404" fmla="val 222323"/>
              <a:gd name="f405" fmla="val 2713708"/>
              <a:gd name="f406" fmla="val 203581"/>
              <a:gd name="f407" fmla="val 2616159"/>
              <a:gd name="f408" fmla="val 185635"/>
              <a:gd name="f409" fmla="val 2518722"/>
              <a:gd name="f410" fmla="val 168518"/>
              <a:gd name="f411" fmla="val 2421402"/>
              <a:gd name="f412" fmla="val 152263"/>
              <a:gd name="f413" fmla="val 2324204"/>
              <a:gd name="f414" fmla="val 136900"/>
              <a:gd name="f415" fmla="val 2227131"/>
              <a:gd name="f416" fmla="val 122463"/>
              <a:gd name="f417" fmla="val 2130188"/>
              <a:gd name="f418" fmla="val 108983"/>
              <a:gd name="f419" fmla="val 2033378"/>
              <a:gd name="f420" fmla="val 96492"/>
              <a:gd name="f421" fmla="val 1936708"/>
              <a:gd name="f422" fmla="val 85023"/>
              <a:gd name="f423" fmla="val 1888425"/>
              <a:gd name="f424" fmla="val 79682"/>
              <a:gd name="f425" fmla="val 1840179"/>
              <a:gd name="f426" fmla="val 74608"/>
              <a:gd name="f427" fmla="val 1791970"/>
              <a:gd name="f428" fmla="val 69805"/>
              <a:gd name="f429" fmla="val 1743798"/>
              <a:gd name="f430" fmla="val 65278"/>
              <a:gd name="f431" fmla="val 1695663"/>
              <a:gd name="f432" fmla="val 61030"/>
              <a:gd name="f433" fmla="val 1647567"/>
              <a:gd name="f434" fmla="val 57066"/>
              <a:gd name="f435" fmla="val 1599510"/>
              <a:gd name="f436" fmla="val 53390"/>
              <a:gd name="f437" fmla="val 1551492"/>
              <a:gd name="f438" fmla="val 50004"/>
              <a:gd name="f439" fmla="val 1503514"/>
              <a:gd name="f440" fmla="val 46915"/>
              <a:gd name="f441" fmla="val 1451727"/>
              <a:gd name="f442" fmla="val 41426"/>
              <a:gd name="f443" fmla="val 1400000"/>
              <a:gd name="f444" fmla="val 36255"/>
              <a:gd name="f445" fmla="val 1348336"/>
              <a:gd name="f446" fmla="val 31407"/>
              <a:gd name="f447" fmla="val 1296735"/>
              <a:gd name="f448" fmla="val 26886"/>
              <a:gd name="f449" fmla="val 1245197"/>
              <a:gd name="f450" fmla="val 22697"/>
              <a:gd name="f451" fmla="val 1193723"/>
              <a:gd name="f452" fmla="val 18846"/>
              <a:gd name="f453" fmla="val 1142315"/>
              <a:gd name="f454" fmla="val 15337"/>
              <a:gd name="f455" fmla="val 1090973"/>
              <a:gd name="f456" fmla="val 12176"/>
              <a:gd name="f457" fmla="val 1039697"/>
              <a:gd name="f458" fmla="val 9368"/>
              <a:gd name="f459" fmla="val 988488"/>
              <a:gd name="f460" fmla="val 6917"/>
              <a:gd name="f461" fmla="val 937348"/>
              <a:gd name="f462" fmla="val 4828"/>
              <a:gd name="f463" fmla="val 886276"/>
              <a:gd name="f464" fmla="val 3107"/>
              <a:gd name="f465" fmla="val 835274"/>
              <a:gd name="f466" fmla="val 1759"/>
              <a:gd name="f467" fmla="val 784343"/>
              <a:gd name="f468" fmla="val 788"/>
              <a:gd name="f469" fmla="val 733482"/>
              <a:gd name="f470" fmla="val 200"/>
              <a:gd name="f471" fmla="*/ f0 1 12192000"/>
              <a:gd name="f472" fmla="*/ f1 1 1838325"/>
              <a:gd name="f473" fmla="+- f4 0 f2"/>
              <a:gd name="f474" fmla="+- f3 0 f2"/>
              <a:gd name="f475" fmla="*/ f474 1 12192000"/>
              <a:gd name="f476" fmla="*/ f473 1 1838325"/>
              <a:gd name="f477" fmla="*/ f2 1 f475"/>
              <a:gd name="f478" fmla="*/ f3 1 f475"/>
              <a:gd name="f479" fmla="*/ f2 1 f476"/>
              <a:gd name="f480" fmla="*/ f4 1 f476"/>
              <a:gd name="f481" fmla="*/ f477 f471 1"/>
              <a:gd name="f482" fmla="*/ f478 f471 1"/>
              <a:gd name="f483" fmla="*/ f480 f472 1"/>
              <a:gd name="f484" fmla="*/ f479 f472 1"/>
            </a:gdLst>
            <a:ahLst/>
            <a:cxnLst>
              <a:cxn ang="3cd4">
                <a:pos x="hc" y="t"/>
              </a:cxn>
              <a:cxn ang="0">
                <a:pos x="r" y="vc"/>
              </a:cxn>
              <a:cxn ang="cd4">
                <a:pos x="hc" y="b"/>
              </a:cxn>
              <a:cxn ang="cd2">
                <a:pos x="l" y="vc"/>
              </a:cxn>
            </a:cxnLst>
            <a:rect l="f481" t="f484" r="f482" b="f483"/>
            <a:pathLst>
              <a:path w="12192000" h="1838325">
                <a:moveTo>
                  <a:pt x="f5" y="f2"/>
                </a:moveTo>
                <a:lnTo>
                  <a:pt x="f6" y="f7"/>
                </a:lnTo>
                <a:lnTo>
                  <a:pt x="f8" y="f9"/>
                </a:lnTo>
                <a:lnTo>
                  <a:pt x="f10" y="f11"/>
                </a:lnTo>
                <a:lnTo>
                  <a:pt x="f12" y="f13"/>
                </a:lnTo>
                <a:lnTo>
                  <a:pt x="f14" y="f15"/>
                </a:lnTo>
                <a:lnTo>
                  <a:pt x="f16" y="f17"/>
                </a:lnTo>
                <a:lnTo>
                  <a:pt x="f18" y="f19"/>
                </a:lnTo>
                <a:lnTo>
                  <a:pt x="f2" y="f20"/>
                </a:lnTo>
                <a:lnTo>
                  <a:pt x="f2" y="f21"/>
                </a:lnTo>
                <a:lnTo>
                  <a:pt x="f22" y="f23"/>
                </a:lnTo>
                <a:lnTo>
                  <a:pt x="f24" y="f25"/>
                </a:lnTo>
                <a:lnTo>
                  <a:pt x="f26" y="f27"/>
                </a:lnTo>
                <a:lnTo>
                  <a:pt x="f28" y="f29"/>
                </a:lnTo>
                <a:lnTo>
                  <a:pt x="f30" y="f31"/>
                </a:lnTo>
                <a:lnTo>
                  <a:pt x="f32" y="f33"/>
                </a:lnTo>
                <a:lnTo>
                  <a:pt x="f34" y="f35"/>
                </a:lnTo>
                <a:lnTo>
                  <a:pt x="f36" y="f37"/>
                </a:lnTo>
                <a:lnTo>
                  <a:pt x="f38" y="f39"/>
                </a:lnTo>
                <a:lnTo>
                  <a:pt x="f40" y="f41"/>
                </a:lnTo>
                <a:lnTo>
                  <a:pt x="f42" y="f43"/>
                </a:lnTo>
                <a:lnTo>
                  <a:pt x="f44" y="f45"/>
                </a:lnTo>
                <a:lnTo>
                  <a:pt x="f46" y="f47"/>
                </a:lnTo>
                <a:lnTo>
                  <a:pt x="f48" y="f49"/>
                </a:lnTo>
                <a:lnTo>
                  <a:pt x="f50" y="f51"/>
                </a:lnTo>
                <a:lnTo>
                  <a:pt x="f52" y="f53"/>
                </a:lnTo>
                <a:lnTo>
                  <a:pt x="f54" y="f55"/>
                </a:lnTo>
                <a:lnTo>
                  <a:pt x="f56" y="f57"/>
                </a:lnTo>
                <a:lnTo>
                  <a:pt x="f58" y="f59"/>
                </a:lnTo>
                <a:lnTo>
                  <a:pt x="f60" y="f61"/>
                </a:lnTo>
                <a:lnTo>
                  <a:pt x="f62" y="f63"/>
                </a:lnTo>
                <a:lnTo>
                  <a:pt x="f64" y="f65"/>
                </a:lnTo>
                <a:lnTo>
                  <a:pt x="f66" y="f67"/>
                </a:lnTo>
                <a:lnTo>
                  <a:pt x="f68" y="f69"/>
                </a:lnTo>
                <a:lnTo>
                  <a:pt x="f70" y="f71"/>
                </a:lnTo>
                <a:lnTo>
                  <a:pt x="f72" y="f73"/>
                </a:lnTo>
                <a:lnTo>
                  <a:pt x="f74" y="f75"/>
                </a:lnTo>
                <a:lnTo>
                  <a:pt x="f76" y="f77"/>
                </a:lnTo>
                <a:lnTo>
                  <a:pt x="f78" y="f79"/>
                </a:lnTo>
                <a:lnTo>
                  <a:pt x="f80" y="f81"/>
                </a:lnTo>
                <a:lnTo>
                  <a:pt x="f82" y="f83"/>
                </a:lnTo>
                <a:lnTo>
                  <a:pt x="f84" y="f85"/>
                </a:lnTo>
                <a:lnTo>
                  <a:pt x="f86" y="f87"/>
                </a:lnTo>
                <a:lnTo>
                  <a:pt x="f88" y="f89"/>
                </a:lnTo>
                <a:lnTo>
                  <a:pt x="f90" y="f91"/>
                </a:lnTo>
                <a:lnTo>
                  <a:pt x="f92" y="f93"/>
                </a:lnTo>
                <a:lnTo>
                  <a:pt x="f94" y="f95"/>
                </a:lnTo>
                <a:lnTo>
                  <a:pt x="f96" y="f97"/>
                </a:lnTo>
                <a:lnTo>
                  <a:pt x="f98" y="f99"/>
                </a:lnTo>
                <a:lnTo>
                  <a:pt x="f100" y="f101"/>
                </a:lnTo>
                <a:lnTo>
                  <a:pt x="f102" y="f103"/>
                </a:lnTo>
                <a:lnTo>
                  <a:pt x="f104" y="f105"/>
                </a:lnTo>
                <a:lnTo>
                  <a:pt x="f106" y="f107"/>
                </a:lnTo>
                <a:lnTo>
                  <a:pt x="f108" y="f109"/>
                </a:lnTo>
                <a:lnTo>
                  <a:pt x="f110" y="f111"/>
                </a:lnTo>
                <a:lnTo>
                  <a:pt x="f112" y="f113"/>
                </a:lnTo>
                <a:lnTo>
                  <a:pt x="f114" y="f115"/>
                </a:lnTo>
                <a:lnTo>
                  <a:pt x="f116" y="f117"/>
                </a:lnTo>
                <a:lnTo>
                  <a:pt x="f118" y="f119"/>
                </a:lnTo>
                <a:lnTo>
                  <a:pt x="f120" y="f121"/>
                </a:lnTo>
                <a:lnTo>
                  <a:pt x="f122" y="f123"/>
                </a:lnTo>
                <a:lnTo>
                  <a:pt x="f124" y="f125"/>
                </a:lnTo>
                <a:lnTo>
                  <a:pt x="f126" y="f127"/>
                </a:lnTo>
                <a:lnTo>
                  <a:pt x="f128" y="f129"/>
                </a:lnTo>
                <a:lnTo>
                  <a:pt x="f130" y="f131"/>
                </a:lnTo>
                <a:lnTo>
                  <a:pt x="f132" y="f133"/>
                </a:lnTo>
                <a:lnTo>
                  <a:pt x="f134" y="f135"/>
                </a:lnTo>
                <a:lnTo>
                  <a:pt x="f136" y="f137"/>
                </a:lnTo>
                <a:lnTo>
                  <a:pt x="f138" y="f139"/>
                </a:lnTo>
                <a:lnTo>
                  <a:pt x="f140" y="f141"/>
                </a:lnTo>
                <a:lnTo>
                  <a:pt x="f142" y="f143"/>
                </a:lnTo>
                <a:lnTo>
                  <a:pt x="f144" y="f145"/>
                </a:lnTo>
                <a:lnTo>
                  <a:pt x="f146" y="f147"/>
                </a:lnTo>
                <a:lnTo>
                  <a:pt x="f148" y="f149"/>
                </a:lnTo>
                <a:lnTo>
                  <a:pt x="f150" y="f151"/>
                </a:lnTo>
                <a:lnTo>
                  <a:pt x="f152" y="f153"/>
                </a:lnTo>
                <a:lnTo>
                  <a:pt x="f154" y="f155"/>
                </a:lnTo>
                <a:lnTo>
                  <a:pt x="f156" y="f157"/>
                </a:lnTo>
                <a:lnTo>
                  <a:pt x="f158" y="f159"/>
                </a:lnTo>
                <a:lnTo>
                  <a:pt x="f160" y="f161"/>
                </a:lnTo>
                <a:lnTo>
                  <a:pt x="f3" y="f161"/>
                </a:lnTo>
                <a:lnTo>
                  <a:pt x="f3" y="f162"/>
                </a:lnTo>
                <a:lnTo>
                  <a:pt x="f163" y="f164"/>
                </a:lnTo>
                <a:lnTo>
                  <a:pt x="f165" y="f166"/>
                </a:lnTo>
                <a:lnTo>
                  <a:pt x="f167" y="f168"/>
                </a:lnTo>
                <a:lnTo>
                  <a:pt x="f169" y="f170"/>
                </a:lnTo>
                <a:lnTo>
                  <a:pt x="f171" y="f172"/>
                </a:lnTo>
                <a:lnTo>
                  <a:pt x="f173" y="f174"/>
                </a:lnTo>
                <a:lnTo>
                  <a:pt x="f175" y="f176"/>
                </a:lnTo>
                <a:lnTo>
                  <a:pt x="f177" y="f178"/>
                </a:lnTo>
                <a:lnTo>
                  <a:pt x="f179" y="f180"/>
                </a:lnTo>
                <a:lnTo>
                  <a:pt x="f181" y="f182"/>
                </a:lnTo>
                <a:lnTo>
                  <a:pt x="f183" y="f184"/>
                </a:lnTo>
                <a:lnTo>
                  <a:pt x="f185" y="f186"/>
                </a:lnTo>
                <a:lnTo>
                  <a:pt x="f187" y="f188"/>
                </a:lnTo>
                <a:lnTo>
                  <a:pt x="f189" y="f190"/>
                </a:lnTo>
                <a:lnTo>
                  <a:pt x="f191" y="f192"/>
                </a:lnTo>
                <a:lnTo>
                  <a:pt x="f193" y="f194"/>
                </a:lnTo>
                <a:lnTo>
                  <a:pt x="f195" y="f196"/>
                </a:lnTo>
                <a:lnTo>
                  <a:pt x="f197" y="f198"/>
                </a:lnTo>
                <a:lnTo>
                  <a:pt x="f199" y="f200"/>
                </a:lnTo>
                <a:lnTo>
                  <a:pt x="f201" y="f202"/>
                </a:lnTo>
                <a:lnTo>
                  <a:pt x="f203" y="f204"/>
                </a:lnTo>
                <a:lnTo>
                  <a:pt x="f205" y="f206"/>
                </a:lnTo>
                <a:lnTo>
                  <a:pt x="f207" y="f208"/>
                </a:lnTo>
                <a:lnTo>
                  <a:pt x="f209" y="f210"/>
                </a:lnTo>
                <a:lnTo>
                  <a:pt x="f211" y="f212"/>
                </a:lnTo>
                <a:lnTo>
                  <a:pt x="f213" y="f214"/>
                </a:lnTo>
                <a:lnTo>
                  <a:pt x="f215" y="f216"/>
                </a:lnTo>
                <a:lnTo>
                  <a:pt x="f217" y="f218"/>
                </a:lnTo>
                <a:lnTo>
                  <a:pt x="f219" y="f220"/>
                </a:lnTo>
                <a:lnTo>
                  <a:pt x="f221" y="f222"/>
                </a:lnTo>
                <a:lnTo>
                  <a:pt x="f223" y="f224"/>
                </a:lnTo>
                <a:lnTo>
                  <a:pt x="f225" y="f226"/>
                </a:lnTo>
                <a:lnTo>
                  <a:pt x="f227" y="f228"/>
                </a:lnTo>
                <a:lnTo>
                  <a:pt x="f229" y="f230"/>
                </a:lnTo>
                <a:lnTo>
                  <a:pt x="f231" y="f232"/>
                </a:lnTo>
                <a:lnTo>
                  <a:pt x="f233" y="f234"/>
                </a:lnTo>
                <a:lnTo>
                  <a:pt x="f235" y="f236"/>
                </a:lnTo>
                <a:lnTo>
                  <a:pt x="f237" y="f238"/>
                </a:lnTo>
                <a:lnTo>
                  <a:pt x="f239" y="f240"/>
                </a:lnTo>
                <a:lnTo>
                  <a:pt x="f241" y="f242"/>
                </a:lnTo>
                <a:lnTo>
                  <a:pt x="f243" y="f244"/>
                </a:lnTo>
                <a:lnTo>
                  <a:pt x="f245" y="f246"/>
                </a:lnTo>
                <a:lnTo>
                  <a:pt x="f247" y="f248"/>
                </a:lnTo>
                <a:lnTo>
                  <a:pt x="f249" y="f250"/>
                </a:lnTo>
                <a:lnTo>
                  <a:pt x="f251" y="f252"/>
                </a:lnTo>
                <a:lnTo>
                  <a:pt x="f253" y="f254"/>
                </a:lnTo>
                <a:lnTo>
                  <a:pt x="f255" y="f256"/>
                </a:lnTo>
                <a:lnTo>
                  <a:pt x="f257" y="f258"/>
                </a:lnTo>
                <a:lnTo>
                  <a:pt x="f259" y="f260"/>
                </a:lnTo>
                <a:lnTo>
                  <a:pt x="f261" y="f262"/>
                </a:lnTo>
                <a:lnTo>
                  <a:pt x="f263" y="f264"/>
                </a:lnTo>
                <a:lnTo>
                  <a:pt x="f265" y="f266"/>
                </a:lnTo>
                <a:lnTo>
                  <a:pt x="f267" y="f268"/>
                </a:lnTo>
                <a:lnTo>
                  <a:pt x="f269" y="f270"/>
                </a:lnTo>
                <a:lnTo>
                  <a:pt x="f271" y="f272"/>
                </a:lnTo>
                <a:lnTo>
                  <a:pt x="f273" y="f274"/>
                </a:lnTo>
                <a:lnTo>
                  <a:pt x="f275" y="f276"/>
                </a:lnTo>
                <a:lnTo>
                  <a:pt x="f277" y="f278"/>
                </a:lnTo>
                <a:lnTo>
                  <a:pt x="f279" y="f280"/>
                </a:lnTo>
                <a:lnTo>
                  <a:pt x="f281" y="f282"/>
                </a:lnTo>
                <a:lnTo>
                  <a:pt x="f283" y="f284"/>
                </a:lnTo>
                <a:lnTo>
                  <a:pt x="f285" y="f286"/>
                </a:lnTo>
                <a:lnTo>
                  <a:pt x="f287" y="f288"/>
                </a:lnTo>
                <a:lnTo>
                  <a:pt x="f289" y="f290"/>
                </a:lnTo>
                <a:lnTo>
                  <a:pt x="f291" y="f292"/>
                </a:lnTo>
                <a:lnTo>
                  <a:pt x="f293" y="f294"/>
                </a:lnTo>
                <a:lnTo>
                  <a:pt x="f295" y="f296"/>
                </a:lnTo>
                <a:lnTo>
                  <a:pt x="f297" y="f298"/>
                </a:lnTo>
                <a:lnTo>
                  <a:pt x="f299" y="f300"/>
                </a:lnTo>
                <a:lnTo>
                  <a:pt x="f301" y="f302"/>
                </a:lnTo>
                <a:lnTo>
                  <a:pt x="f303" y="f304"/>
                </a:lnTo>
                <a:lnTo>
                  <a:pt x="f305" y="f306"/>
                </a:lnTo>
                <a:lnTo>
                  <a:pt x="f307" y="f308"/>
                </a:lnTo>
                <a:lnTo>
                  <a:pt x="f309" y="f310"/>
                </a:lnTo>
                <a:lnTo>
                  <a:pt x="f311" y="f312"/>
                </a:lnTo>
                <a:lnTo>
                  <a:pt x="f313" y="f314"/>
                </a:lnTo>
                <a:lnTo>
                  <a:pt x="f315" y="f316"/>
                </a:lnTo>
                <a:lnTo>
                  <a:pt x="f317" y="f318"/>
                </a:lnTo>
                <a:lnTo>
                  <a:pt x="f319" y="f320"/>
                </a:lnTo>
                <a:lnTo>
                  <a:pt x="f321" y="f322"/>
                </a:lnTo>
                <a:lnTo>
                  <a:pt x="f323" y="f324"/>
                </a:lnTo>
                <a:lnTo>
                  <a:pt x="f325" y="f326"/>
                </a:lnTo>
                <a:lnTo>
                  <a:pt x="f327" y="f328"/>
                </a:lnTo>
                <a:lnTo>
                  <a:pt x="f329" y="f330"/>
                </a:lnTo>
                <a:lnTo>
                  <a:pt x="f331" y="f332"/>
                </a:lnTo>
                <a:lnTo>
                  <a:pt x="f333" y="f334"/>
                </a:lnTo>
                <a:lnTo>
                  <a:pt x="f335" y="f336"/>
                </a:lnTo>
                <a:lnTo>
                  <a:pt x="f337" y="f338"/>
                </a:lnTo>
                <a:lnTo>
                  <a:pt x="f339" y="f340"/>
                </a:lnTo>
                <a:lnTo>
                  <a:pt x="f341" y="f342"/>
                </a:lnTo>
                <a:lnTo>
                  <a:pt x="f343" y="f344"/>
                </a:lnTo>
                <a:lnTo>
                  <a:pt x="f345" y="f346"/>
                </a:lnTo>
                <a:lnTo>
                  <a:pt x="f347" y="f348"/>
                </a:lnTo>
                <a:lnTo>
                  <a:pt x="f349" y="f350"/>
                </a:lnTo>
                <a:lnTo>
                  <a:pt x="f351" y="f352"/>
                </a:lnTo>
                <a:lnTo>
                  <a:pt x="f353" y="f354"/>
                </a:lnTo>
                <a:lnTo>
                  <a:pt x="f355" y="f356"/>
                </a:lnTo>
                <a:lnTo>
                  <a:pt x="f357" y="f358"/>
                </a:lnTo>
                <a:lnTo>
                  <a:pt x="f359" y="f360"/>
                </a:lnTo>
                <a:lnTo>
                  <a:pt x="f361" y="f362"/>
                </a:lnTo>
                <a:lnTo>
                  <a:pt x="f363" y="f364"/>
                </a:lnTo>
                <a:lnTo>
                  <a:pt x="f365" y="f366"/>
                </a:lnTo>
                <a:lnTo>
                  <a:pt x="f367" y="f368"/>
                </a:lnTo>
                <a:lnTo>
                  <a:pt x="f369" y="f370"/>
                </a:lnTo>
                <a:lnTo>
                  <a:pt x="f371" y="f372"/>
                </a:lnTo>
                <a:lnTo>
                  <a:pt x="f373" y="f374"/>
                </a:lnTo>
                <a:lnTo>
                  <a:pt x="f375" y="f376"/>
                </a:lnTo>
                <a:lnTo>
                  <a:pt x="f377" y="f378"/>
                </a:lnTo>
                <a:lnTo>
                  <a:pt x="f379" y="f380"/>
                </a:lnTo>
                <a:lnTo>
                  <a:pt x="f381" y="f382"/>
                </a:lnTo>
                <a:lnTo>
                  <a:pt x="f383" y="f384"/>
                </a:lnTo>
                <a:lnTo>
                  <a:pt x="f385" y="f386"/>
                </a:lnTo>
                <a:lnTo>
                  <a:pt x="f387" y="f388"/>
                </a:lnTo>
                <a:lnTo>
                  <a:pt x="f389" y="f390"/>
                </a:lnTo>
                <a:lnTo>
                  <a:pt x="f391" y="f392"/>
                </a:lnTo>
                <a:lnTo>
                  <a:pt x="f393" y="f394"/>
                </a:lnTo>
                <a:lnTo>
                  <a:pt x="f395" y="f396"/>
                </a:lnTo>
                <a:lnTo>
                  <a:pt x="f397" y="f398"/>
                </a:lnTo>
                <a:lnTo>
                  <a:pt x="f399" y="f400"/>
                </a:lnTo>
                <a:lnTo>
                  <a:pt x="f401" y="f402"/>
                </a:lnTo>
                <a:lnTo>
                  <a:pt x="f403" y="f404"/>
                </a:lnTo>
                <a:lnTo>
                  <a:pt x="f405" y="f406"/>
                </a:lnTo>
                <a:lnTo>
                  <a:pt x="f407" y="f408"/>
                </a:lnTo>
                <a:lnTo>
                  <a:pt x="f409" y="f410"/>
                </a:lnTo>
                <a:lnTo>
                  <a:pt x="f411" y="f412"/>
                </a:lnTo>
                <a:lnTo>
                  <a:pt x="f413" y="f414"/>
                </a:lnTo>
                <a:lnTo>
                  <a:pt x="f415" y="f416"/>
                </a:lnTo>
                <a:lnTo>
                  <a:pt x="f417" y="f418"/>
                </a:lnTo>
                <a:lnTo>
                  <a:pt x="f419" y="f420"/>
                </a:lnTo>
                <a:lnTo>
                  <a:pt x="f421" y="f422"/>
                </a:lnTo>
                <a:lnTo>
                  <a:pt x="f423" y="f424"/>
                </a:lnTo>
                <a:lnTo>
                  <a:pt x="f425" y="f426"/>
                </a:lnTo>
                <a:lnTo>
                  <a:pt x="f427" y="f428"/>
                </a:lnTo>
                <a:lnTo>
                  <a:pt x="f429" y="f430"/>
                </a:lnTo>
                <a:lnTo>
                  <a:pt x="f431" y="f432"/>
                </a:lnTo>
                <a:lnTo>
                  <a:pt x="f433" y="f434"/>
                </a:lnTo>
                <a:lnTo>
                  <a:pt x="f435" y="f436"/>
                </a:lnTo>
                <a:lnTo>
                  <a:pt x="f437" y="f438"/>
                </a:lnTo>
                <a:lnTo>
                  <a:pt x="f439" y="f440"/>
                </a:lnTo>
                <a:lnTo>
                  <a:pt x="f441" y="f442"/>
                </a:lnTo>
                <a:lnTo>
                  <a:pt x="f443" y="f444"/>
                </a:lnTo>
                <a:lnTo>
                  <a:pt x="f445" y="f446"/>
                </a:lnTo>
                <a:lnTo>
                  <a:pt x="f447" y="f448"/>
                </a:lnTo>
                <a:lnTo>
                  <a:pt x="f449" y="f450"/>
                </a:lnTo>
                <a:lnTo>
                  <a:pt x="f451" y="f452"/>
                </a:lnTo>
                <a:lnTo>
                  <a:pt x="f453" y="f454"/>
                </a:lnTo>
                <a:lnTo>
                  <a:pt x="f455" y="f456"/>
                </a:lnTo>
                <a:lnTo>
                  <a:pt x="f457" y="f458"/>
                </a:lnTo>
                <a:lnTo>
                  <a:pt x="f459" y="f460"/>
                </a:lnTo>
                <a:lnTo>
                  <a:pt x="f461" y="f462"/>
                </a:lnTo>
                <a:lnTo>
                  <a:pt x="f463" y="f464"/>
                </a:lnTo>
                <a:lnTo>
                  <a:pt x="f465" y="f466"/>
                </a:lnTo>
                <a:lnTo>
                  <a:pt x="f467" y="f468"/>
                </a:lnTo>
                <a:lnTo>
                  <a:pt x="f469" y="f470"/>
                </a:lnTo>
                <a:lnTo>
                  <a:pt x="f5" y="f2"/>
                </a:lnTo>
                <a:close/>
              </a:path>
            </a:pathLst>
          </a:custGeom>
          <a:solidFill>
            <a:srgbClr val="1C488A"/>
          </a:solidFill>
          <a:ln cap="flat">
            <a:noFill/>
            <a:prstDash val="solid"/>
          </a:ln>
        </p:spPr>
        <p:txBody>
          <a:bodyPr vert="horz" wrap="square" lIns="0" tIns="0" rIns="0" bIns="0" anchor="t"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pic>
        <p:nvPicPr>
          <p:cNvPr id="6" name="bg object 20">
            <a:extLst>
              <a:ext uri="{FF2B5EF4-FFF2-40B4-BE49-F238E27FC236}">
                <a16:creationId xmlns:a16="http://schemas.microsoft.com/office/drawing/2014/main" id="{4D30BF82-89A1-FB82-A430-B39C3FC2B1F3}"/>
              </a:ext>
            </a:extLst>
          </p:cNvPr>
          <p:cNvPicPr>
            <a:picLocks noChangeAspect="1"/>
          </p:cNvPicPr>
          <p:nvPr/>
        </p:nvPicPr>
        <p:blipFill>
          <a:blip r:embed="rId3"/>
          <a:stretch>
            <a:fillRect/>
          </a:stretch>
        </p:blipFill>
        <p:spPr>
          <a:xfrm>
            <a:off x="313960" y="5564125"/>
            <a:ext cx="2025386" cy="911355"/>
          </a:xfrm>
          <a:prstGeom prst="rect">
            <a:avLst/>
          </a:prstGeom>
          <a:noFill/>
          <a:ln cap="flat">
            <a:noFill/>
          </a:ln>
        </p:spPr>
      </p:pic>
      <p:sp>
        <p:nvSpPr>
          <p:cNvPr id="7" name="bg object 21">
            <a:extLst>
              <a:ext uri="{FF2B5EF4-FFF2-40B4-BE49-F238E27FC236}">
                <a16:creationId xmlns:a16="http://schemas.microsoft.com/office/drawing/2014/main" id="{F73C0AFA-C6F4-0E78-8614-8A90CF864533}"/>
              </a:ext>
            </a:extLst>
          </p:cNvPr>
          <p:cNvSpPr/>
          <p:nvPr/>
        </p:nvSpPr>
        <p:spPr>
          <a:xfrm>
            <a:off x="1520190" y="2812538"/>
            <a:ext cx="2286000" cy="0"/>
          </a:xfrm>
          <a:custGeom>
            <a:avLst/>
            <a:gdLst>
              <a:gd name="f0" fmla="val w"/>
              <a:gd name="f1" fmla="val h"/>
              <a:gd name="f2" fmla="val ss"/>
              <a:gd name="f3" fmla="val 0"/>
              <a:gd name="f4" fmla="val 2286000"/>
              <a:gd name="f5" fmla="abs f0"/>
              <a:gd name="f6" fmla="abs f1"/>
              <a:gd name="f7" fmla="abs f2"/>
              <a:gd name="f8" fmla="*/ f0 1 2286000"/>
              <a:gd name="f9" fmla="+- f3 0 f3"/>
              <a:gd name="f10" fmla="+- f4 0 f3"/>
              <a:gd name="f11" fmla="?: f5 f0 1"/>
              <a:gd name="f12" fmla="?: f6 f1 1"/>
              <a:gd name="f13" fmla="?: f7 f2 1"/>
              <a:gd name="f14" fmla="*/ f10 1 2286000"/>
              <a:gd name="f15" fmla="*/ f9 1 0"/>
              <a:gd name="f16" fmla="*/ f11 1 2286000"/>
              <a:gd name="f17" fmla="*/ f12 1 21600"/>
              <a:gd name="f18" fmla="*/ 21600 f12 1"/>
              <a:gd name="f19" fmla="*/ 0 1 f14"/>
              <a:gd name="f20" fmla="*/ 2286000 1 f14"/>
              <a:gd name="f21" fmla="*/ 0 1 f15"/>
              <a:gd name="f22" fmla="*/ 1 1 f15"/>
              <a:gd name="f23" fmla="min f17 f16"/>
              <a:gd name="f24" fmla="*/ f18 1 f13"/>
              <a:gd name="f25" fmla="*/ f19 f8 1"/>
              <a:gd name="f26" fmla="*/ f20 f8 1"/>
              <a:gd name="f27" fmla="val f24"/>
              <a:gd name="f28" fmla="*/ f3 f23 1"/>
              <a:gd name="f29" fmla="+- f27 0 f3"/>
              <a:gd name="f30" fmla="*/ f29 1 0"/>
              <a:gd name="f31" fmla="*/ f22 f30 1"/>
              <a:gd name="f32" fmla="*/ f21 f30 1"/>
              <a:gd name="f33" fmla="*/ f32 f23 1"/>
              <a:gd name="f34" fmla="*/ f31 f23 1"/>
            </a:gdLst>
            <a:ahLst/>
            <a:cxnLst>
              <a:cxn ang="3cd4">
                <a:pos x="hc" y="t"/>
              </a:cxn>
              <a:cxn ang="0">
                <a:pos x="r" y="vc"/>
              </a:cxn>
              <a:cxn ang="cd4">
                <a:pos x="hc" y="b"/>
              </a:cxn>
              <a:cxn ang="cd2">
                <a:pos x="l" y="vc"/>
              </a:cxn>
            </a:cxnLst>
            <a:rect l="f25" t="f33" r="f26" b="f34"/>
            <a:pathLst>
              <a:path w="2286000">
                <a:moveTo>
                  <a:pt x="f3" y="f28"/>
                </a:moveTo>
                <a:lnTo>
                  <a:pt x="f4" y="f28"/>
                </a:lnTo>
              </a:path>
            </a:pathLst>
          </a:custGeom>
          <a:noFill/>
          <a:ln w="32004" cap="flat">
            <a:solidFill>
              <a:srgbClr val="F58366"/>
            </a:solidFill>
            <a:prstDash val="solid"/>
            <a:miter/>
          </a:ln>
        </p:spPr>
        <p:txBody>
          <a:bodyPr vert="horz" wrap="square" lIns="0" tIns="0" rIns="0" bIns="0" anchor="t"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8" name="Holder 2">
            <a:extLst>
              <a:ext uri="{FF2B5EF4-FFF2-40B4-BE49-F238E27FC236}">
                <a16:creationId xmlns:a16="http://schemas.microsoft.com/office/drawing/2014/main" id="{086A7E6E-A4E8-139D-4A27-1624302C753D}"/>
              </a:ext>
            </a:extLst>
          </p:cNvPr>
          <p:cNvSpPr txBox="1">
            <a:spLocks noGrp="1"/>
          </p:cNvSpPr>
          <p:nvPr>
            <p:ph type="title"/>
          </p:nvPr>
        </p:nvSpPr>
        <p:spPr>
          <a:xfrm>
            <a:off x="471694" y="493922"/>
            <a:ext cx="11248619" cy="574042"/>
          </a:xfrm>
        </p:spPr>
        <p:txBody>
          <a:bodyPr wrap="square" lIns="0" tIns="0" rIns="0" bIns="0">
            <a:spAutoFit/>
          </a:bodyPr>
          <a:lstStyle>
            <a:lvl1pPr>
              <a:defRPr b="0">
                <a:solidFill>
                  <a:srgbClr val="444C55"/>
                </a:solidFill>
              </a:defRPr>
            </a:lvl1pPr>
          </a:lstStyle>
          <a:p>
            <a:pPr lvl="0"/>
            <a:endParaRPr lang="en-US"/>
          </a:p>
        </p:txBody>
      </p:sp>
      <p:sp>
        <p:nvSpPr>
          <p:cNvPr id="9" name="Holder 3">
            <a:extLst>
              <a:ext uri="{FF2B5EF4-FFF2-40B4-BE49-F238E27FC236}">
                <a16:creationId xmlns:a16="http://schemas.microsoft.com/office/drawing/2014/main" id="{888AA657-07A1-A641-5CCB-E29AD42B5F05}"/>
              </a:ext>
            </a:extLst>
          </p:cNvPr>
          <p:cNvSpPr txBox="1">
            <a:spLocks noGrp="1"/>
          </p:cNvSpPr>
          <p:nvPr>
            <p:ph type="subTitle" idx="4294967295"/>
          </p:nvPr>
        </p:nvSpPr>
        <p:spPr>
          <a:xfrm>
            <a:off x="1828800" y="3840481"/>
            <a:ext cx="8534396" cy="369335"/>
          </a:xfrm>
        </p:spPr>
        <p:txBody>
          <a:bodyPr wrap="square" lIns="0" tIns="0" rIns="0" bIns="0">
            <a:spAutoFit/>
          </a:bodyPr>
          <a:lstStyle>
            <a:lvl1pPr>
              <a:defRPr/>
            </a:lvl1pPr>
          </a:lstStyle>
          <a:p>
            <a:pPr lvl="0"/>
            <a:endParaRPr lang="en-US"/>
          </a:p>
        </p:txBody>
      </p:sp>
      <p:sp>
        <p:nvSpPr>
          <p:cNvPr id="10" name="Holder 4">
            <a:extLst>
              <a:ext uri="{FF2B5EF4-FFF2-40B4-BE49-F238E27FC236}">
                <a16:creationId xmlns:a16="http://schemas.microsoft.com/office/drawing/2014/main" id="{162698D2-A251-AA22-8E50-101DC90D640C}"/>
              </a:ext>
            </a:extLst>
          </p:cNvPr>
          <p:cNvSpPr txBox="1">
            <a:spLocks noGrp="1"/>
          </p:cNvSpPr>
          <p:nvPr>
            <p:ph type="ftr" sz="quarter" idx="9"/>
          </p:nvPr>
        </p:nvSpPr>
        <p:spPr/>
        <p:txBody>
          <a:bodyPr lIns="0" tIns="0" rIns="0" bIns="0" anchorCtr="1"/>
          <a:lstStyle>
            <a:lvl1pPr algn="ctr">
              <a:defRPr/>
            </a:lvl1pPr>
          </a:lstStyle>
          <a:p>
            <a:pPr lvl="0"/>
            <a:endParaRPr lang="en-US"/>
          </a:p>
        </p:txBody>
      </p:sp>
      <p:sp>
        <p:nvSpPr>
          <p:cNvPr id="11" name="Holder 5">
            <a:extLst>
              <a:ext uri="{FF2B5EF4-FFF2-40B4-BE49-F238E27FC236}">
                <a16:creationId xmlns:a16="http://schemas.microsoft.com/office/drawing/2014/main" id="{8E542EED-858E-534A-7BA4-794AEBC74BDC}"/>
              </a:ext>
            </a:extLst>
          </p:cNvPr>
          <p:cNvSpPr txBox="1">
            <a:spLocks noGrp="1"/>
          </p:cNvSpPr>
          <p:nvPr>
            <p:ph type="dt" sz="quarter" idx="7"/>
          </p:nvPr>
        </p:nvSpPr>
        <p:spPr>
          <a:xfrm>
            <a:off x="0" y="0"/>
            <a:ext cx="0" cy="0"/>
          </a:xfrm>
          <a:prstGeom prst="rect">
            <a:avLst/>
          </a:prstGeom>
          <a:noFill/>
          <a:ln>
            <a:noFill/>
          </a:ln>
        </p:spPr>
        <p:txBody>
          <a:bodyPr vert="horz" wrap="square" lIns="0" tIns="0" rIns="0" bIns="0" anchor="t" anchorCtr="0" compatLnSpc="1">
            <a:noAutofit/>
          </a:bodyPr>
          <a:lstStyle>
            <a:lvl1pPr marL="0" marR="0" lvl="0" indent="0" algn="l" defTabSz="914446" rtl="0" fontAlgn="auto" hangingPunct="1">
              <a:lnSpc>
                <a:spcPct val="100000"/>
              </a:lnSpc>
              <a:spcBef>
                <a:spcPts val="0"/>
              </a:spcBef>
              <a:spcAft>
                <a:spcPts val="0"/>
              </a:spcAft>
              <a:buNone/>
              <a:tabLst/>
              <a:defRPr lang="en-US" sz="1800" b="0" i="0" u="none" strike="noStrike" kern="1200" cap="none" spc="0" baseline="0">
                <a:solidFill>
                  <a:srgbClr val="939699"/>
                </a:solidFill>
                <a:uFillTx/>
                <a:latin typeface="Calibri"/>
              </a:defRPr>
            </a:lvl1pPr>
          </a:lstStyle>
          <a:p>
            <a:pPr lvl="0"/>
            <a:fld id="{C8860695-7001-4852-8914-910A15292ECF}" type="datetime1">
              <a:rPr lang="en-US"/>
              <a:pPr lvl="0"/>
              <a:t>5/20/2026</a:t>
            </a:fld>
            <a:endParaRPr lang="en-US"/>
          </a:p>
        </p:txBody>
      </p:sp>
      <p:sp>
        <p:nvSpPr>
          <p:cNvPr id="12" name="Holder 6">
            <a:extLst>
              <a:ext uri="{FF2B5EF4-FFF2-40B4-BE49-F238E27FC236}">
                <a16:creationId xmlns:a16="http://schemas.microsoft.com/office/drawing/2014/main" id="{59B47B7C-77CF-3C2B-86CE-8C114F55237C}"/>
              </a:ext>
            </a:extLst>
          </p:cNvPr>
          <p:cNvSpPr txBox="1">
            <a:spLocks noGrp="1"/>
          </p:cNvSpPr>
          <p:nvPr>
            <p:ph type="sldNum" sz="quarter" idx="8"/>
          </p:nvPr>
        </p:nvSpPr>
        <p:spPr/>
        <p:txBody>
          <a:bodyPr lIns="0" tIns="0" rIns="0" bIns="0"/>
          <a:lstStyle>
            <a:lvl1pPr marL="38105">
              <a:lnSpc>
                <a:spcPts val="1425"/>
              </a:lnSpc>
              <a:defRPr spc="-5">
                <a:solidFill>
                  <a:srgbClr val="929599"/>
                </a:solidFill>
                <a:latin typeface="Arial"/>
                <a:cs typeface="Arial"/>
              </a:defRPr>
            </a:lvl1pPr>
          </a:lstStyle>
          <a:p>
            <a:pPr lvl="0"/>
            <a:fld id="{6BD141EB-11D5-432E-8F76-FCDDD5BBFA7E}" type="slidenum">
              <a:t>‹#›</a:t>
            </a:fld>
            <a:endParaRPr lang="en-US"/>
          </a:p>
        </p:txBody>
      </p:sp>
    </p:spTree>
    <p:extLst>
      <p:ext uri="{BB962C8B-B14F-4D97-AF65-F5344CB8AC3E}">
        <p14:creationId xmlns:p14="http://schemas.microsoft.com/office/powerpoint/2010/main" val="507818449"/>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DE7E07CF-694A-C3D4-24E7-5AB732803EDA}"/>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C9B4070A-9035-0435-356F-3FE8FE2A868F}"/>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4DF0A502-F451-0D3C-4647-3E30BDB91411}"/>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39D5943F-B1B3-B538-E452-551848EA7578}"/>
              </a:ext>
            </a:extLst>
          </p:cNvPr>
          <p:cNvSpPr txBox="1">
            <a:spLocks noGrp="1"/>
          </p:cNvSpPr>
          <p:nvPr>
            <p:ph type="sldNum" sz="quarter" idx="8"/>
          </p:nvPr>
        </p:nvSpPr>
        <p:spPr/>
        <p:txBody>
          <a:bodyPr/>
          <a:lstStyle>
            <a:lvl1pPr>
              <a:defRPr>
                <a:solidFill>
                  <a:srgbClr val="AFB3B9"/>
                </a:solidFill>
              </a:defRPr>
            </a:lvl1pPr>
          </a:lstStyle>
          <a:p>
            <a:pPr lvl="0"/>
            <a:fld id="{7F1BC5AD-3BC8-4F0E-BB6E-15695F4A9BFC}" type="slidenum">
              <a:t>‹#›</a:t>
            </a:fld>
            <a:endParaRPr lang="en-US"/>
          </a:p>
        </p:txBody>
      </p:sp>
      <p:cxnSp>
        <p:nvCxnSpPr>
          <p:cNvPr id="6" name="Straight Connector 7">
            <a:extLst>
              <a:ext uri="{FF2B5EF4-FFF2-40B4-BE49-F238E27FC236}">
                <a16:creationId xmlns:a16="http://schemas.microsoft.com/office/drawing/2014/main" id="{1845D0D4-E34C-3824-C0B3-A47D48CED41D}"/>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E9F7EF2C-6618-5450-E72C-2B213B2F1885}"/>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232A7969-E29C-3349-1458-188BF05A0480}"/>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C21B432B-A525-01F3-8B60-E318761DC6D6}"/>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C9C79706-9DCF-B12B-C22D-F71471982CA8}"/>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D361824D-7A30-840C-2172-B37B20D5DD71}"/>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6E2DBE47-2A59-2317-A905-8966F3444D59}"/>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F0F20486-D2A0-E0DC-1B50-68A3125DF141}"/>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1233307165"/>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343657-D885-0B06-A96F-EC26B4FEAAC3}"/>
              </a:ext>
            </a:extLst>
          </p:cNvPr>
          <p:cNvSpPr txBox="1">
            <a:spLocks noGrp="1"/>
          </p:cNvSpPr>
          <p:nvPr>
            <p:ph type="title"/>
          </p:nvPr>
        </p:nvSpPr>
        <p:spPr/>
        <p:txBody>
          <a:bodyPr/>
          <a:lstStyle>
            <a:lvl1pPr>
              <a:defRPr/>
            </a:lvl1pPr>
          </a:lstStyle>
          <a:p>
            <a:pPr lvl="0"/>
            <a:r>
              <a:rPr lang="en-US"/>
              <a:t>Click to edit Master title style</a:t>
            </a:r>
          </a:p>
        </p:txBody>
      </p:sp>
      <p:sp>
        <p:nvSpPr>
          <p:cNvPr id="3" name="Content Placeholder 2">
            <a:extLst>
              <a:ext uri="{FF2B5EF4-FFF2-40B4-BE49-F238E27FC236}">
                <a16:creationId xmlns:a16="http://schemas.microsoft.com/office/drawing/2014/main" id="{785B9AD2-8D97-D49B-14BE-68D080F110F0}"/>
              </a:ext>
            </a:extLst>
          </p:cNvPr>
          <p:cNvSpPr txBox="1">
            <a:spLocks noGrp="1"/>
          </p:cNvSpPr>
          <p:nvPr>
            <p:ph idx="1"/>
          </p:nvPr>
        </p:nvSpPr>
        <p:spPr>
          <a:xfrm>
            <a:off x="609604" y="1825627"/>
            <a:ext cx="5410203" cy="4351336"/>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43">
            <a:extLst>
              <a:ext uri="{FF2B5EF4-FFF2-40B4-BE49-F238E27FC236}">
                <a16:creationId xmlns:a16="http://schemas.microsoft.com/office/drawing/2014/main" id="{43453D77-4211-A68B-0143-27CFBBA1FFFA}"/>
              </a:ext>
            </a:extLst>
          </p:cNvPr>
          <p:cNvGrpSpPr/>
          <p:nvPr/>
        </p:nvGrpSpPr>
        <p:grpSpPr>
          <a:xfrm>
            <a:off x="7191545" y="0"/>
            <a:ext cx="5000460" cy="1425988"/>
            <a:chOff x="7191545" y="0"/>
            <a:chExt cx="5000460" cy="1425988"/>
          </a:xfrm>
        </p:grpSpPr>
        <p:pic>
          <p:nvPicPr>
            <p:cNvPr id="5" name="Picture 19">
              <a:extLst>
                <a:ext uri="{FF2B5EF4-FFF2-40B4-BE49-F238E27FC236}">
                  <a16:creationId xmlns:a16="http://schemas.microsoft.com/office/drawing/2014/main" id="{9FE0729E-965F-27CA-DBBD-66071E58B0E9}"/>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6" name="Group 42">
              <a:extLst>
                <a:ext uri="{FF2B5EF4-FFF2-40B4-BE49-F238E27FC236}">
                  <a16:creationId xmlns:a16="http://schemas.microsoft.com/office/drawing/2014/main" id="{A7D1992F-2733-14B6-ACAE-7FB422D7147B}"/>
                </a:ext>
              </a:extLst>
            </p:cNvPr>
            <p:cNvGrpSpPr/>
            <p:nvPr/>
          </p:nvGrpSpPr>
          <p:grpSpPr>
            <a:xfrm>
              <a:off x="7191545" y="0"/>
              <a:ext cx="5000460" cy="1425988"/>
              <a:chOff x="7191545" y="0"/>
              <a:chExt cx="5000460" cy="1425988"/>
            </a:xfrm>
          </p:grpSpPr>
          <p:sp>
            <p:nvSpPr>
              <p:cNvPr id="7" name="Freeform 41">
                <a:extLst>
                  <a:ext uri="{FF2B5EF4-FFF2-40B4-BE49-F238E27FC236}">
                    <a16:creationId xmlns:a16="http://schemas.microsoft.com/office/drawing/2014/main" id="{71CEB19F-ED3A-39D5-E69C-B52034E1BDCC}"/>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8" name="Freeform 39">
                <a:extLst>
                  <a:ext uri="{FF2B5EF4-FFF2-40B4-BE49-F238E27FC236}">
                    <a16:creationId xmlns:a16="http://schemas.microsoft.com/office/drawing/2014/main" id="{18A2D498-4032-B688-B775-6B10CAA17BCC}"/>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9" name="Content Placeholder 3">
            <a:extLst>
              <a:ext uri="{FF2B5EF4-FFF2-40B4-BE49-F238E27FC236}">
                <a16:creationId xmlns:a16="http://schemas.microsoft.com/office/drawing/2014/main" id="{01E50518-3B2B-C248-0746-EA0604BAFE16}"/>
              </a:ext>
            </a:extLst>
          </p:cNvPr>
          <p:cNvSpPr txBox="1">
            <a:spLocks noGrp="1"/>
          </p:cNvSpPr>
          <p:nvPr>
            <p:ph idx="2"/>
          </p:nvPr>
        </p:nvSpPr>
        <p:spPr>
          <a:xfrm>
            <a:off x="6172201" y="1825627"/>
            <a:ext cx="5410203" cy="4351336"/>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7">
            <a:extLst>
              <a:ext uri="{FF2B5EF4-FFF2-40B4-BE49-F238E27FC236}">
                <a16:creationId xmlns:a16="http://schemas.microsoft.com/office/drawing/2014/main" id="{D596338E-21F7-A556-D016-6D85581837C1}"/>
              </a:ext>
            </a:extLst>
          </p:cNvPr>
          <p:cNvSpPr txBox="1">
            <a:spLocks noGrp="1"/>
          </p:cNvSpPr>
          <p:nvPr>
            <p:ph type="sldNum" sz="quarter" idx="8"/>
          </p:nvPr>
        </p:nvSpPr>
        <p:spPr>
          <a:xfrm>
            <a:off x="8839193" y="6356352"/>
            <a:ext cx="2743200" cy="365129"/>
          </a:xfrm>
        </p:spPr>
        <p:txBody>
          <a:bodyPr/>
          <a:lstStyle>
            <a:lvl1pPr>
              <a:defRPr/>
            </a:lvl1pPr>
          </a:lstStyle>
          <a:p>
            <a:pPr lvl="0"/>
            <a:fld id="{5C3BB29F-468E-4E21-AD18-ACC302015079}" type="slidenum">
              <a:t>‹#›</a:t>
            </a:fld>
            <a:endParaRPr lang="en-US"/>
          </a:p>
        </p:txBody>
      </p:sp>
      <p:cxnSp>
        <p:nvCxnSpPr>
          <p:cNvPr id="11" name="Straight Connector 6">
            <a:extLst>
              <a:ext uri="{FF2B5EF4-FFF2-40B4-BE49-F238E27FC236}">
                <a16:creationId xmlns:a16="http://schemas.microsoft.com/office/drawing/2014/main" id="{2C0203A5-7AE7-59EE-4318-CE6804433C7F}"/>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2" name="Footer Placeholder 4">
            <a:extLst>
              <a:ext uri="{FF2B5EF4-FFF2-40B4-BE49-F238E27FC236}">
                <a16:creationId xmlns:a16="http://schemas.microsoft.com/office/drawing/2014/main" id="{70CCBFC8-9816-AAC6-722C-7C4AD017E035}"/>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3216851316"/>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 name="Group 24">
            <a:extLst>
              <a:ext uri="{FF2B5EF4-FFF2-40B4-BE49-F238E27FC236}">
                <a16:creationId xmlns:a16="http://schemas.microsoft.com/office/drawing/2014/main" id="{AC5FAC49-5EA0-0904-FFE9-2F3946A1A408}"/>
              </a:ext>
            </a:extLst>
          </p:cNvPr>
          <p:cNvGrpSpPr/>
          <p:nvPr/>
        </p:nvGrpSpPr>
        <p:grpSpPr>
          <a:xfrm>
            <a:off x="7191545" y="0"/>
            <a:ext cx="5000460" cy="1425988"/>
            <a:chOff x="7191545" y="0"/>
            <a:chExt cx="5000460" cy="1425988"/>
          </a:xfrm>
        </p:grpSpPr>
        <p:pic>
          <p:nvPicPr>
            <p:cNvPr id="3" name="Picture 25">
              <a:extLst>
                <a:ext uri="{FF2B5EF4-FFF2-40B4-BE49-F238E27FC236}">
                  <a16:creationId xmlns:a16="http://schemas.microsoft.com/office/drawing/2014/main" id="{34D71C15-1FE1-93FA-D848-DCB04DAF0E6D}"/>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26">
              <a:extLst>
                <a:ext uri="{FF2B5EF4-FFF2-40B4-BE49-F238E27FC236}">
                  <a16:creationId xmlns:a16="http://schemas.microsoft.com/office/drawing/2014/main" id="{3E7D19C1-52F5-9BBF-F730-041221A58CAB}"/>
                </a:ext>
              </a:extLst>
            </p:cNvPr>
            <p:cNvGrpSpPr/>
            <p:nvPr/>
          </p:nvGrpSpPr>
          <p:grpSpPr>
            <a:xfrm>
              <a:off x="7191545" y="0"/>
              <a:ext cx="5000460" cy="1425988"/>
              <a:chOff x="7191545" y="0"/>
              <a:chExt cx="5000460" cy="1425988"/>
            </a:xfrm>
          </p:grpSpPr>
          <p:sp>
            <p:nvSpPr>
              <p:cNvPr id="5" name="Freeform 27">
                <a:extLst>
                  <a:ext uri="{FF2B5EF4-FFF2-40B4-BE49-F238E27FC236}">
                    <a16:creationId xmlns:a16="http://schemas.microsoft.com/office/drawing/2014/main" id="{BDF6F5B3-9028-FD48-BC57-3C9B780D1B44}"/>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28">
                <a:extLst>
                  <a:ext uri="{FF2B5EF4-FFF2-40B4-BE49-F238E27FC236}">
                    <a16:creationId xmlns:a16="http://schemas.microsoft.com/office/drawing/2014/main" id="{69C8D1D2-8B24-AA2E-2FC3-9B924889F1B7}"/>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9F6C7339-FE7E-3EC7-E122-A9C890B7F2F8}"/>
              </a:ext>
            </a:extLst>
          </p:cNvPr>
          <p:cNvSpPr txBox="1">
            <a:spLocks noGrp="1"/>
          </p:cNvSpPr>
          <p:nvPr>
            <p:ph type="title"/>
          </p:nvPr>
        </p:nvSpPr>
        <p:spPr/>
        <p:txBody>
          <a:bodyPr/>
          <a:lstStyle>
            <a:lvl1pPr>
              <a:defRPr/>
            </a:lvl1pPr>
          </a:lstStyle>
          <a:p>
            <a:pPr lvl="0"/>
            <a:r>
              <a:rPr lang="en-US"/>
              <a:t>Click to edit Master title style</a:t>
            </a:r>
          </a:p>
        </p:txBody>
      </p:sp>
      <p:sp>
        <p:nvSpPr>
          <p:cNvPr id="8" name="Text Placeholder 2">
            <a:extLst>
              <a:ext uri="{FF2B5EF4-FFF2-40B4-BE49-F238E27FC236}">
                <a16:creationId xmlns:a16="http://schemas.microsoft.com/office/drawing/2014/main" id="{B0A9344C-1556-5F67-5F07-9FE1565FC227}"/>
              </a:ext>
            </a:extLst>
          </p:cNvPr>
          <p:cNvSpPr txBox="1">
            <a:spLocks noGrp="1"/>
          </p:cNvSpPr>
          <p:nvPr>
            <p:ph type="body" idx="1"/>
          </p:nvPr>
        </p:nvSpPr>
        <p:spPr>
          <a:xfrm>
            <a:off x="609604" y="1681160"/>
            <a:ext cx="5387973" cy="823910"/>
          </a:xfrm>
          <a:solidFill>
            <a:srgbClr val="F3F6FB"/>
          </a:solidFill>
        </p:spPr>
        <p:txBody>
          <a:bodyPr lIns="182880" tIns="0" rIns="182880" bIns="0" anchor="ctr"/>
          <a:lstStyle>
            <a:lvl1pPr marL="0" indent="0">
              <a:buNone/>
              <a:defRPr u="sng">
                <a:uFill>
                  <a:solidFill>
                    <a:srgbClr val="F58366"/>
                  </a:solidFill>
                </a:uFill>
              </a:defRPr>
            </a:lvl1pPr>
          </a:lstStyle>
          <a:p>
            <a:pPr lvl="0"/>
            <a:r>
              <a:rPr lang="en-US"/>
              <a:t>Click to edit Master text styles</a:t>
            </a:r>
          </a:p>
        </p:txBody>
      </p:sp>
      <p:sp>
        <p:nvSpPr>
          <p:cNvPr id="9" name="Content Placeholder 3">
            <a:extLst>
              <a:ext uri="{FF2B5EF4-FFF2-40B4-BE49-F238E27FC236}">
                <a16:creationId xmlns:a16="http://schemas.microsoft.com/office/drawing/2014/main" id="{A7A0A9EA-FEEE-36E6-9659-E8346F609010}"/>
              </a:ext>
            </a:extLst>
          </p:cNvPr>
          <p:cNvSpPr txBox="1">
            <a:spLocks noGrp="1"/>
          </p:cNvSpPr>
          <p:nvPr>
            <p:ph idx="2"/>
          </p:nvPr>
        </p:nvSpPr>
        <p:spPr>
          <a:xfrm>
            <a:off x="609604" y="2505072"/>
            <a:ext cx="5387973" cy="3684583"/>
          </a:xfrm>
          <a:solidFill>
            <a:srgbClr val="F3F6FB"/>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B46B63B5-22BA-686A-345B-12E50ECE6C8C}"/>
              </a:ext>
            </a:extLst>
          </p:cNvPr>
          <p:cNvSpPr txBox="1">
            <a:spLocks noGrp="1"/>
          </p:cNvSpPr>
          <p:nvPr>
            <p:ph type="body" idx="3"/>
          </p:nvPr>
        </p:nvSpPr>
        <p:spPr>
          <a:xfrm>
            <a:off x="6172201" y="1681160"/>
            <a:ext cx="5410203" cy="823910"/>
          </a:xfrm>
          <a:solidFill>
            <a:srgbClr val="F3F6FB"/>
          </a:solidFill>
        </p:spPr>
        <p:txBody>
          <a:bodyPr lIns="182880" tIns="0" rIns="182880" bIns="0" anchor="ctr"/>
          <a:lstStyle>
            <a:lvl1pPr marL="0" indent="0">
              <a:buNone/>
              <a:defRPr u="sng">
                <a:uFill>
                  <a:solidFill>
                    <a:srgbClr val="F58366"/>
                  </a:solidFill>
                </a:uFill>
              </a:defRPr>
            </a:lvl1pPr>
          </a:lstStyle>
          <a:p>
            <a:pPr lvl="0"/>
            <a:r>
              <a:rPr lang="en-US"/>
              <a:t>Click to edit Master text styles</a:t>
            </a:r>
          </a:p>
        </p:txBody>
      </p:sp>
      <p:sp>
        <p:nvSpPr>
          <p:cNvPr id="11" name="Content Placeholder 5">
            <a:extLst>
              <a:ext uri="{FF2B5EF4-FFF2-40B4-BE49-F238E27FC236}">
                <a16:creationId xmlns:a16="http://schemas.microsoft.com/office/drawing/2014/main" id="{4D2826C6-A69B-0424-0DD6-64CB6560EA0B}"/>
              </a:ext>
            </a:extLst>
          </p:cNvPr>
          <p:cNvSpPr txBox="1">
            <a:spLocks noGrp="1"/>
          </p:cNvSpPr>
          <p:nvPr>
            <p:ph idx="4"/>
          </p:nvPr>
        </p:nvSpPr>
        <p:spPr>
          <a:xfrm>
            <a:off x="6172201" y="2505072"/>
            <a:ext cx="5410203" cy="3684583"/>
          </a:xfrm>
          <a:solidFill>
            <a:srgbClr val="F3F6FB"/>
          </a:solidFill>
        </p:spPr>
        <p:txBody>
          <a:bodyPr lIns="182880" tIns="0" rIns="182880" bIns="0"/>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9">
            <a:extLst>
              <a:ext uri="{FF2B5EF4-FFF2-40B4-BE49-F238E27FC236}">
                <a16:creationId xmlns:a16="http://schemas.microsoft.com/office/drawing/2014/main" id="{2C7DA4F6-1B45-5339-AD41-9F1DC4614060}"/>
              </a:ext>
            </a:extLst>
          </p:cNvPr>
          <p:cNvSpPr txBox="1">
            <a:spLocks noGrp="1"/>
          </p:cNvSpPr>
          <p:nvPr>
            <p:ph type="sldNum" sz="quarter" idx="8"/>
          </p:nvPr>
        </p:nvSpPr>
        <p:spPr/>
        <p:txBody>
          <a:bodyPr/>
          <a:lstStyle>
            <a:lvl1pPr>
              <a:defRPr/>
            </a:lvl1pPr>
          </a:lstStyle>
          <a:p>
            <a:pPr lvl="0"/>
            <a:fld id="{ED9E517C-557B-47BD-A4D4-84F6536525F4}" type="slidenum">
              <a:t>‹#›</a:t>
            </a:fld>
            <a:endParaRPr lang="en-US"/>
          </a:p>
        </p:txBody>
      </p:sp>
      <p:cxnSp>
        <p:nvCxnSpPr>
          <p:cNvPr id="13" name="Straight Connector 8">
            <a:extLst>
              <a:ext uri="{FF2B5EF4-FFF2-40B4-BE49-F238E27FC236}">
                <a16:creationId xmlns:a16="http://schemas.microsoft.com/office/drawing/2014/main" id="{0ECA703B-5164-5F15-4F48-4A2667208656}"/>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4" name="Footer Placeholder 7">
            <a:extLst>
              <a:ext uri="{FF2B5EF4-FFF2-40B4-BE49-F238E27FC236}">
                <a16:creationId xmlns:a16="http://schemas.microsoft.com/office/drawing/2014/main" id="{6D6274BB-BE8C-5F36-F498-E72A31D2A9C2}"/>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3004102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9257"/>
        <p:cNvGrpSpPr/>
        <p:nvPr/>
      </p:nvGrpSpPr>
      <p:grpSpPr>
        <a:xfrm>
          <a:off x="0" y="0"/>
          <a:ext cx="0" cy="0"/>
          <a:chOff x="0" y="0"/>
          <a:chExt cx="0" cy="0"/>
        </a:xfrm>
      </p:grpSpPr>
      <p:grpSp>
        <p:nvGrpSpPr>
          <p:cNvPr id="9258" name="Google Shape;9258;p1338"/>
          <p:cNvGrpSpPr/>
          <p:nvPr/>
        </p:nvGrpSpPr>
        <p:grpSpPr>
          <a:xfrm>
            <a:off x="7191542" y="1"/>
            <a:ext cx="5000459" cy="1425992"/>
            <a:chOff x="7191542" y="1"/>
            <a:chExt cx="5000459" cy="1425992"/>
          </a:xfrm>
        </p:grpSpPr>
        <p:pic>
          <p:nvPicPr>
            <p:cNvPr id="9259" name="Google Shape;9259;p13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60" name="Google Shape;9260;p1338"/>
            <p:cNvGrpSpPr/>
            <p:nvPr/>
          </p:nvGrpSpPr>
          <p:grpSpPr>
            <a:xfrm>
              <a:off x="7191542" y="1"/>
              <a:ext cx="5000459" cy="1425992"/>
              <a:chOff x="7186272" y="0"/>
              <a:chExt cx="5005729" cy="1427495"/>
            </a:xfrm>
          </p:grpSpPr>
          <p:sp>
            <p:nvSpPr>
              <p:cNvPr id="9261" name="Google Shape;9261;p13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262" name="Google Shape;9262;p13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263" name="Google Shape;9263;p13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264" name="Google Shape;9264;p133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265" name="Google Shape;9265;p133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66" name="Google Shape;9266;p133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267" name="Google Shape;9267;p133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68" name="Google Shape;9268;p13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69" name="Google Shape;9269;p13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70" name="Google Shape;9270;p13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 name="Group 21">
            <a:extLst>
              <a:ext uri="{FF2B5EF4-FFF2-40B4-BE49-F238E27FC236}">
                <a16:creationId xmlns:a16="http://schemas.microsoft.com/office/drawing/2014/main" id="{2523393A-0BC1-2C91-DCAC-2EF276A0C6E2}"/>
              </a:ext>
            </a:extLst>
          </p:cNvPr>
          <p:cNvGrpSpPr/>
          <p:nvPr/>
        </p:nvGrpSpPr>
        <p:grpSpPr>
          <a:xfrm>
            <a:off x="7191545" y="0"/>
            <a:ext cx="5000460" cy="1425988"/>
            <a:chOff x="7191545" y="0"/>
            <a:chExt cx="5000460" cy="1425988"/>
          </a:xfrm>
        </p:grpSpPr>
        <p:pic>
          <p:nvPicPr>
            <p:cNvPr id="3" name="Picture 22">
              <a:extLst>
                <a:ext uri="{FF2B5EF4-FFF2-40B4-BE49-F238E27FC236}">
                  <a16:creationId xmlns:a16="http://schemas.microsoft.com/office/drawing/2014/main" id="{6792AB42-BEA7-5DD1-DFB9-284D5841188A}"/>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23">
              <a:extLst>
                <a:ext uri="{FF2B5EF4-FFF2-40B4-BE49-F238E27FC236}">
                  <a16:creationId xmlns:a16="http://schemas.microsoft.com/office/drawing/2014/main" id="{8CFED1C2-DEB3-0622-EEF0-ED2AC91540D1}"/>
                </a:ext>
              </a:extLst>
            </p:cNvPr>
            <p:cNvGrpSpPr/>
            <p:nvPr/>
          </p:nvGrpSpPr>
          <p:grpSpPr>
            <a:xfrm>
              <a:off x="7191545" y="0"/>
              <a:ext cx="5000460" cy="1425988"/>
              <a:chOff x="7191545" y="0"/>
              <a:chExt cx="5000460" cy="1425988"/>
            </a:xfrm>
          </p:grpSpPr>
          <p:sp>
            <p:nvSpPr>
              <p:cNvPr id="5" name="Freeform 24">
                <a:extLst>
                  <a:ext uri="{FF2B5EF4-FFF2-40B4-BE49-F238E27FC236}">
                    <a16:creationId xmlns:a16="http://schemas.microsoft.com/office/drawing/2014/main" id="{40C3B516-9519-0052-0DDA-53CC13C10737}"/>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25">
                <a:extLst>
                  <a:ext uri="{FF2B5EF4-FFF2-40B4-BE49-F238E27FC236}">
                    <a16:creationId xmlns:a16="http://schemas.microsoft.com/office/drawing/2014/main" id="{2F2E36AA-548F-605F-A97B-038606567D92}"/>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206230A9-BA80-35FF-A5CF-2D2FD37C6B08}"/>
              </a:ext>
            </a:extLst>
          </p:cNvPr>
          <p:cNvSpPr txBox="1">
            <a:spLocks noGrp="1"/>
          </p:cNvSpPr>
          <p:nvPr>
            <p:ph type="title"/>
          </p:nvPr>
        </p:nvSpPr>
        <p:spPr/>
        <p:txBody>
          <a:bodyPr/>
          <a:lstStyle>
            <a:lvl1pPr>
              <a:defRPr/>
            </a:lvl1pPr>
          </a:lstStyle>
          <a:p>
            <a:pPr lvl="0"/>
            <a:r>
              <a:rPr lang="en-US"/>
              <a:t>Click to edit Master title style</a:t>
            </a:r>
          </a:p>
        </p:txBody>
      </p:sp>
      <p:sp>
        <p:nvSpPr>
          <p:cNvPr id="8" name="Slide Number Placeholder 5">
            <a:extLst>
              <a:ext uri="{FF2B5EF4-FFF2-40B4-BE49-F238E27FC236}">
                <a16:creationId xmlns:a16="http://schemas.microsoft.com/office/drawing/2014/main" id="{55BA3CD8-0A38-3AC2-AA01-5262BBD5D142}"/>
              </a:ext>
            </a:extLst>
          </p:cNvPr>
          <p:cNvSpPr txBox="1">
            <a:spLocks noGrp="1"/>
          </p:cNvSpPr>
          <p:nvPr>
            <p:ph type="sldNum" sz="quarter" idx="8"/>
          </p:nvPr>
        </p:nvSpPr>
        <p:spPr/>
        <p:txBody>
          <a:bodyPr/>
          <a:lstStyle>
            <a:lvl1pPr>
              <a:defRPr/>
            </a:lvl1pPr>
          </a:lstStyle>
          <a:p>
            <a:pPr lvl="0"/>
            <a:fld id="{C0A7019D-29F4-43A9-9118-7BB180441C6F}" type="slidenum">
              <a:t>‹#›</a:t>
            </a:fld>
            <a:endParaRPr lang="en-US"/>
          </a:p>
        </p:txBody>
      </p:sp>
      <p:cxnSp>
        <p:nvCxnSpPr>
          <p:cNvPr id="9" name="Straight Connector 6">
            <a:extLst>
              <a:ext uri="{FF2B5EF4-FFF2-40B4-BE49-F238E27FC236}">
                <a16:creationId xmlns:a16="http://schemas.microsoft.com/office/drawing/2014/main" id="{CF887929-C83C-3C88-AF97-99AECC66D2C0}"/>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0" name="Footer Placeholder 2">
            <a:extLst>
              <a:ext uri="{FF2B5EF4-FFF2-40B4-BE49-F238E27FC236}">
                <a16:creationId xmlns:a16="http://schemas.microsoft.com/office/drawing/2014/main" id="{859C4E08-F71F-BBE2-512E-CB187F74DEE0}"/>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3300623888"/>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2_End">
    <p:spTree>
      <p:nvGrpSpPr>
        <p:cNvPr id="1" name=""/>
        <p:cNvGrpSpPr/>
        <p:nvPr/>
      </p:nvGrpSpPr>
      <p:grpSpPr>
        <a:xfrm>
          <a:off x="0" y="0"/>
          <a:ext cx="0" cy="0"/>
          <a:chOff x="0" y="0"/>
          <a:chExt cx="0" cy="0"/>
        </a:xfrm>
      </p:grpSpPr>
      <p:grpSp>
        <p:nvGrpSpPr>
          <p:cNvPr id="2" name="Group 41">
            <a:extLst>
              <a:ext uri="{FF2B5EF4-FFF2-40B4-BE49-F238E27FC236}">
                <a16:creationId xmlns:a16="http://schemas.microsoft.com/office/drawing/2014/main" id="{0CDEF7C4-D554-5F89-9834-C34C6FAB6A84}"/>
              </a:ext>
            </a:extLst>
          </p:cNvPr>
          <p:cNvGrpSpPr/>
          <p:nvPr/>
        </p:nvGrpSpPr>
        <p:grpSpPr>
          <a:xfrm>
            <a:off x="0" y="0"/>
            <a:ext cx="12191996" cy="2148830"/>
            <a:chOff x="0" y="0"/>
            <a:chExt cx="12191996" cy="2148830"/>
          </a:xfrm>
        </p:grpSpPr>
        <p:sp>
          <p:nvSpPr>
            <p:cNvPr id="3" name="Freeform 40">
              <a:extLst>
                <a:ext uri="{FF2B5EF4-FFF2-40B4-BE49-F238E27FC236}">
                  <a16:creationId xmlns:a16="http://schemas.microsoft.com/office/drawing/2014/main" id="{5D6B1D15-6354-530E-F95B-C20BDC9AA67F}"/>
                </a:ext>
              </a:extLst>
            </p:cNvPr>
            <p:cNvSpPr/>
            <p:nvPr/>
          </p:nvSpPr>
          <p:spPr>
            <a:xfrm flipH="1">
              <a:off x="0" y="0"/>
              <a:ext cx="12191996" cy="2148830"/>
            </a:xfrm>
            <a:custGeom>
              <a:avLst/>
              <a:gdLst>
                <a:gd name="f0" fmla="val 10800000"/>
                <a:gd name="f1" fmla="val 5400000"/>
                <a:gd name="f2" fmla="val 180"/>
                <a:gd name="f3" fmla="val w"/>
                <a:gd name="f4" fmla="val h"/>
                <a:gd name="f5" fmla="val 0"/>
                <a:gd name="f6" fmla="val 12192000"/>
                <a:gd name="f7" fmla="val 2148830"/>
                <a:gd name="f8" fmla="val 2318293"/>
                <a:gd name="f9" fmla="val 2110341"/>
                <a:gd name="f10" fmla="val 1952334"/>
                <a:gd name="f11" fmla="val 920"/>
                <a:gd name="f12" fmla="val 1343499"/>
                <a:gd name="f13" fmla="val 23864"/>
                <a:gd name="f14" fmla="val 752130"/>
                <a:gd name="f15" fmla="val 152982"/>
                <a:gd name="f16" fmla="val 184205"/>
                <a:gd name="f17" fmla="val 435928"/>
                <a:gd name="f18" fmla="val 536864"/>
                <a:gd name="f19" fmla="val 554713"/>
                <a:gd name="f20" fmla="val 201115"/>
                <a:gd name="f21" fmla="val 452796"/>
                <a:gd name="f22" fmla="val 776357"/>
                <a:gd name="f23" fmla="val 187336"/>
                <a:gd name="f24" fmla="val 1349828"/>
                <a:gd name="f25" fmla="val 76760"/>
                <a:gd name="f26" fmla="val 1947588"/>
                <a:gd name="f27" fmla="val 66249"/>
                <a:gd name="f28" fmla="val 2962940"/>
                <a:gd name="f29" fmla="val 48421"/>
                <a:gd name="f30" fmla="val 3890218"/>
                <a:gd name="f31" fmla="val 291317"/>
                <a:gd name="f32" fmla="val 4778140"/>
                <a:gd name="f33" fmla="val 604018"/>
                <a:gd name="f34" fmla="val 7231510"/>
                <a:gd name="f35" fmla="val 1468126"/>
                <a:gd name="f36" fmla="val 9178927"/>
                <a:gd name="f37" fmla="val 2492024"/>
                <a:gd name="f38" fmla="val 11996242"/>
                <a:gd name="f39" fmla="val 2036894"/>
                <a:gd name="f40" fmla="val 2002266"/>
                <a:gd name="f41" fmla="val 1415250"/>
                <a:gd name="f42" fmla="val 12022971"/>
                <a:gd name="f43" fmla="val 1470801"/>
                <a:gd name="f44" fmla="val 10719696"/>
                <a:gd name="f45" fmla="val 1863939"/>
                <a:gd name="f46" fmla="val 9271154"/>
                <a:gd name="f47" fmla="val 1783804"/>
                <a:gd name="f48" fmla="val 7970940"/>
                <a:gd name="f49" fmla="val 1436986"/>
                <a:gd name="f50" fmla="val 6890984"/>
                <a:gd name="f51" fmla="val 1148958"/>
                <a:gd name="f52" fmla="val 5866930"/>
                <a:gd name="f53" fmla="val 767309"/>
                <a:gd name="f54" fmla="val 4800356"/>
                <a:gd name="f55" fmla="val 456582"/>
                <a:gd name="f56" fmla="val 4068903"/>
                <a:gd name="f57" fmla="val 243471"/>
                <a:gd name="f58" fmla="val 3348204"/>
                <a:gd name="f59" fmla="val 74251"/>
                <a:gd name="f60" fmla="val 2646880"/>
                <a:gd name="f61" fmla="val 17560"/>
                <a:gd name="f62" fmla="+- 0 0 -90"/>
                <a:gd name="f63" fmla="*/ f3 1 12192000"/>
                <a:gd name="f64" fmla="*/ f4 1 2148830"/>
                <a:gd name="f65" fmla="+- f7 0 f5"/>
                <a:gd name="f66" fmla="+- f6 0 f5"/>
                <a:gd name="f67" fmla="*/ f62 f0 1"/>
                <a:gd name="f68" fmla="*/ f66 1 12192000"/>
                <a:gd name="f69" fmla="*/ f65 1 2148830"/>
                <a:gd name="f70" fmla="*/ 2318293 f66 1"/>
                <a:gd name="f71" fmla="*/ 0 f65 1"/>
                <a:gd name="f72" fmla="*/ 2110341 f66 1"/>
                <a:gd name="f73" fmla="*/ 1952334 f66 1"/>
                <a:gd name="f74" fmla="*/ 920 f65 1"/>
                <a:gd name="f75" fmla="*/ 184205 f66 1"/>
                <a:gd name="f76" fmla="*/ 435928 f65 1"/>
                <a:gd name="f77" fmla="*/ 0 f66 1"/>
                <a:gd name="f78" fmla="*/ 536864 f65 1"/>
                <a:gd name="f79" fmla="*/ 554713 f65 1"/>
                <a:gd name="f80" fmla="*/ 201115 f66 1"/>
                <a:gd name="f81" fmla="*/ 452796 f65 1"/>
                <a:gd name="f82" fmla="*/ 1947588 f66 1"/>
                <a:gd name="f83" fmla="*/ 66249 f65 1"/>
                <a:gd name="f84" fmla="*/ 4778140 f66 1"/>
                <a:gd name="f85" fmla="*/ 604018 f65 1"/>
                <a:gd name="f86" fmla="*/ 11996242 f66 1"/>
                <a:gd name="f87" fmla="*/ 2036894 f65 1"/>
                <a:gd name="f88" fmla="*/ 12192000 f66 1"/>
                <a:gd name="f89" fmla="*/ 2002266 f65 1"/>
                <a:gd name="f90" fmla="*/ 1415250 f65 1"/>
                <a:gd name="f91" fmla="*/ 12022971 f66 1"/>
                <a:gd name="f92" fmla="*/ 1470801 f65 1"/>
                <a:gd name="f93" fmla="*/ 7970940 f66 1"/>
                <a:gd name="f94" fmla="*/ 1436986 f65 1"/>
                <a:gd name="f95" fmla="*/ 4800356 f66 1"/>
                <a:gd name="f96" fmla="*/ 456582 f65 1"/>
                <a:gd name="f97" fmla="*/ 2646880 f66 1"/>
                <a:gd name="f98" fmla="*/ 17560 f65 1"/>
                <a:gd name="f99" fmla="*/ f67 1 f2"/>
                <a:gd name="f100" fmla="*/ f70 1 12192000"/>
                <a:gd name="f101" fmla="*/ f71 1 2148830"/>
                <a:gd name="f102" fmla="*/ f72 1 12192000"/>
                <a:gd name="f103" fmla="*/ f73 1 12192000"/>
                <a:gd name="f104" fmla="*/ f74 1 2148830"/>
                <a:gd name="f105" fmla="*/ f75 1 12192000"/>
                <a:gd name="f106" fmla="*/ f76 1 2148830"/>
                <a:gd name="f107" fmla="*/ f77 1 12192000"/>
                <a:gd name="f108" fmla="*/ f78 1 2148830"/>
                <a:gd name="f109" fmla="*/ f79 1 2148830"/>
                <a:gd name="f110" fmla="*/ f80 1 12192000"/>
                <a:gd name="f111" fmla="*/ f81 1 2148830"/>
                <a:gd name="f112" fmla="*/ f82 1 12192000"/>
                <a:gd name="f113" fmla="*/ f83 1 2148830"/>
                <a:gd name="f114" fmla="*/ f84 1 12192000"/>
                <a:gd name="f115" fmla="*/ f85 1 2148830"/>
                <a:gd name="f116" fmla="*/ f86 1 12192000"/>
                <a:gd name="f117" fmla="*/ f87 1 2148830"/>
                <a:gd name="f118" fmla="*/ f88 1 12192000"/>
                <a:gd name="f119" fmla="*/ f89 1 2148830"/>
                <a:gd name="f120" fmla="*/ f90 1 2148830"/>
                <a:gd name="f121" fmla="*/ f91 1 12192000"/>
                <a:gd name="f122" fmla="*/ f92 1 2148830"/>
                <a:gd name="f123" fmla="*/ f93 1 12192000"/>
                <a:gd name="f124" fmla="*/ f94 1 2148830"/>
                <a:gd name="f125" fmla="*/ f95 1 12192000"/>
                <a:gd name="f126" fmla="*/ f96 1 2148830"/>
                <a:gd name="f127" fmla="*/ f97 1 12192000"/>
                <a:gd name="f128" fmla="*/ f98 1 2148830"/>
                <a:gd name="f129" fmla="*/ f5 1 f68"/>
                <a:gd name="f130" fmla="*/ f6 1 f68"/>
                <a:gd name="f131" fmla="*/ f5 1 f69"/>
                <a:gd name="f132" fmla="*/ f7 1 f69"/>
                <a:gd name="f133" fmla="+- f99 0 f1"/>
                <a:gd name="f134" fmla="*/ f100 1 f68"/>
                <a:gd name="f135" fmla="*/ f101 1 f69"/>
                <a:gd name="f136" fmla="*/ f102 1 f68"/>
                <a:gd name="f137" fmla="*/ f103 1 f68"/>
                <a:gd name="f138" fmla="*/ f104 1 f69"/>
                <a:gd name="f139" fmla="*/ f105 1 f68"/>
                <a:gd name="f140" fmla="*/ f106 1 f69"/>
                <a:gd name="f141" fmla="*/ f107 1 f68"/>
                <a:gd name="f142" fmla="*/ f108 1 f69"/>
                <a:gd name="f143" fmla="*/ f109 1 f69"/>
                <a:gd name="f144" fmla="*/ f110 1 f68"/>
                <a:gd name="f145" fmla="*/ f111 1 f69"/>
                <a:gd name="f146" fmla="*/ f112 1 f68"/>
                <a:gd name="f147" fmla="*/ f113 1 f69"/>
                <a:gd name="f148" fmla="*/ f114 1 f68"/>
                <a:gd name="f149" fmla="*/ f115 1 f69"/>
                <a:gd name="f150" fmla="*/ f116 1 f68"/>
                <a:gd name="f151" fmla="*/ f117 1 f69"/>
                <a:gd name="f152" fmla="*/ f118 1 f68"/>
                <a:gd name="f153" fmla="*/ f119 1 f69"/>
                <a:gd name="f154" fmla="*/ f120 1 f69"/>
                <a:gd name="f155" fmla="*/ f121 1 f68"/>
                <a:gd name="f156" fmla="*/ f122 1 f69"/>
                <a:gd name="f157" fmla="*/ f123 1 f68"/>
                <a:gd name="f158" fmla="*/ f124 1 f69"/>
                <a:gd name="f159" fmla="*/ f125 1 f68"/>
                <a:gd name="f160" fmla="*/ f126 1 f69"/>
                <a:gd name="f161" fmla="*/ f127 1 f68"/>
                <a:gd name="f162" fmla="*/ f128 1 f69"/>
                <a:gd name="f163" fmla="*/ f129 f63 1"/>
                <a:gd name="f164" fmla="*/ f130 f63 1"/>
                <a:gd name="f165" fmla="*/ f132 f64 1"/>
                <a:gd name="f166" fmla="*/ f131 f64 1"/>
                <a:gd name="f167" fmla="*/ f134 f63 1"/>
                <a:gd name="f168" fmla="*/ f135 f64 1"/>
                <a:gd name="f169" fmla="*/ f136 f63 1"/>
                <a:gd name="f170" fmla="*/ f137 f63 1"/>
                <a:gd name="f171" fmla="*/ f138 f64 1"/>
                <a:gd name="f172" fmla="*/ f139 f63 1"/>
                <a:gd name="f173" fmla="*/ f140 f64 1"/>
                <a:gd name="f174" fmla="*/ f141 f63 1"/>
                <a:gd name="f175" fmla="*/ f142 f64 1"/>
                <a:gd name="f176" fmla="*/ f143 f64 1"/>
                <a:gd name="f177" fmla="*/ f144 f63 1"/>
                <a:gd name="f178" fmla="*/ f145 f64 1"/>
                <a:gd name="f179" fmla="*/ f146 f63 1"/>
                <a:gd name="f180" fmla="*/ f147 f64 1"/>
                <a:gd name="f181" fmla="*/ f148 f63 1"/>
                <a:gd name="f182" fmla="*/ f149 f64 1"/>
                <a:gd name="f183" fmla="*/ f150 f63 1"/>
                <a:gd name="f184" fmla="*/ f151 f64 1"/>
                <a:gd name="f185" fmla="*/ f152 f63 1"/>
                <a:gd name="f186" fmla="*/ f153 f64 1"/>
                <a:gd name="f187" fmla="*/ f154 f64 1"/>
                <a:gd name="f188" fmla="*/ f155 f63 1"/>
                <a:gd name="f189" fmla="*/ f156 f64 1"/>
                <a:gd name="f190" fmla="*/ f157 f63 1"/>
                <a:gd name="f191" fmla="*/ f158 f64 1"/>
                <a:gd name="f192" fmla="*/ f159 f63 1"/>
                <a:gd name="f193" fmla="*/ f160 f64 1"/>
                <a:gd name="f194" fmla="*/ f161 f63 1"/>
                <a:gd name="f195" fmla="*/ f162 f64 1"/>
              </a:gdLst>
              <a:ahLst/>
              <a:cxnLst>
                <a:cxn ang="3cd4">
                  <a:pos x="hc" y="t"/>
                </a:cxn>
                <a:cxn ang="0">
                  <a:pos x="r" y="vc"/>
                </a:cxn>
                <a:cxn ang="cd4">
                  <a:pos x="hc" y="b"/>
                </a:cxn>
                <a:cxn ang="cd2">
                  <a:pos x="l" y="vc"/>
                </a:cxn>
                <a:cxn ang="f133">
                  <a:pos x="f167" y="f168"/>
                </a:cxn>
                <a:cxn ang="f133">
                  <a:pos x="f169" y="f168"/>
                </a:cxn>
                <a:cxn ang="f133">
                  <a:pos x="f170" y="f171"/>
                </a:cxn>
                <a:cxn ang="f133">
                  <a:pos x="f172" y="f173"/>
                </a:cxn>
                <a:cxn ang="f133">
                  <a:pos x="f174" y="f175"/>
                </a:cxn>
                <a:cxn ang="f133">
                  <a:pos x="f174" y="f176"/>
                </a:cxn>
                <a:cxn ang="f133">
                  <a:pos x="f177" y="f178"/>
                </a:cxn>
                <a:cxn ang="f133">
                  <a:pos x="f179" y="f180"/>
                </a:cxn>
                <a:cxn ang="f133">
                  <a:pos x="f181" y="f182"/>
                </a:cxn>
                <a:cxn ang="f133">
                  <a:pos x="f183" y="f184"/>
                </a:cxn>
                <a:cxn ang="f133">
                  <a:pos x="f185" y="f186"/>
                </a:cxn>
                <a:cxn ang="f133">
                  <a:pos x="f185" y="f187"/>
                </a:cxn>
                <a:cxn ang="f133">
                  <a:pos x="f188" y="f189"/>
                </a:cxn>
                <a:cxn ang="f133">
                  <a:pos x="f190" y="f191"/>
                </a:cxn>
                <a:cxn ang="f133">
                  <a:pos x="f192" y="f193"/>
                </a:cxn>
                <a:cxn ang="f133">
                  <a:pos x="f194" y="f195"/>
                </a:cxn>
              </a:cxnLst>
              <a:rect l="f163" t="f166" r="f164" b="f165"/>
              <a:pathLst>
                <a:path w="12192000" h="2148830">
                  <a:moveTo>
                    <a:pt x="f8" y="f5"/>
                  </a:moveTo>
                  <a:lnTo>
                    <a:pt x="f9" y="f5"/>
                  </a:lnTo>
                  <a:lnTo>
                    <a:pt x="f10" y="f11"/>
                  </a:lnTo>
                  <a:cubicBezTo>
                    <a:pt x="f12" y="f13"/>
                    <a:pt x="f14" y="f15"/>
                    <a:pt x="f16" y="f17"/>
                  </a:cubicBezTo>
                  <a:lnTo>
                    <a:pt x="f5" y="f18"/>
                  </a:lnTo>
                  <a:lnTo>
                    <a:pt x="f5" y="f19"/>
                  </a:lnTo>
                  <a:lnTo>
                    <a:pt x="f20" y="f21"/>
                  </a:lnTo>
                  <a:cubicBezTo>
                    <a:pt x="f22" y="f23"/>
                    <a:pt x="f24" y="f25"/>
                    <a:pt x="f26" y="f27"/>
                  </a:cubicBezTo>
                  <a:cubicBezTo>
                    <a:pt x="f28" y="f29"/>
                    <a:pt x="f30" y="f31"/>
                    <a:pt x="f32" y="f33"/>
                  </a:cubicBezTo>
                  <a:cubicBezTo>
                    <a:pt x="f34" y="f35"/>
                    <a:pt x="f36" y="f37"/>
                    <a:pt x="f38" y="f39"/>
                  </a:cubicBezTo>
                  <a:lnTo>
                    <a:pt x="f6" y="f40"/>
                  </a:lnTo>
                  <a:lnTo>
                    <a:pt x="f6" y="f41"/>
                  </a:lnTo>
                  <a:lnTo>
                    <a:pt x="f42" y="f43"/>
                  </a:lnTo>
                  <a:cubicBezTo>
                    <a:pt x="f44" y="f45"/>
                    <a:pt x="f46" y="f47"/>
                    <a:pt x="f48" y="f49"/>
                  </a:cubicBezTo>
                  <a:cubicBezTo>
                    <a:pt x="f50" y="f51"/>
                    <a:pt x="f52" y="f53"/>
                    <a:pt x="f54" y="f55"/>
                  </a:cubicBezTo>
                  <a:cubicBezTo>
                    <a:pt x="f56" y="f57"/>
                    <a:pt x="f58" y="f59"/>
                    <a:pt x="f60" y="f61"/>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4" name="Freeform 38">
              <a:extLst>
                <a:ext uri="{FF2B5EF4-FFF2-40B4-BE49-F238E27FC236}">
                  <a16:creationId xmlns:a16="http://schemas.microsoft.com/office/drawing/2014/main" id="{702A39C1-1A98-14D2-E6E8-0CF35C4C7951}"/>
                </a:ext>
              </a:extLst>
            </p:cNvPr>
            <p:cNvSpPr/>
            <p:nvPr/>
          </p:nvSpPr>
          <p:spPr>
            <a:xfrm flipH="1">
              <a:off x="0" y="0"/>
              <a:ext cx="12191996" cy="1992139"/>
            </a:xfrm>
            <a:custGeom>
              <a:avLst/>
              <a:gdLst>
                <a:gd name="f0" fmla="val 10800000"/>
                <a:gd name="f1" fmla="val 5400000"/>
                <a:gd name="f2" fmla="val 180"/>
                <a:gd name="f3" fmla="val w"/>
                <a:gd name="f4" fmla="val h"/>
                <a:gd name="f5" fmla="val 0"/>
                <a:gd name="f6" fmla="val 12192000"/>
                <a:gd name="f7" fmla="val 1992138"/>
                <a:gd name="f8" fmla="val 2724271"/>
                <a:gd name="f9" fmla="val 1788442"/>
                <a:gd name="f10" fmla="val 1635403"/>
                <a:gd name="f11" fmla="val 12925"/>
                <a:gd name="f12" fmla="val 1134241"/>
                <a:gd name="f13" fmla="val 70905"/>
                <a:gd name="f14" fmla="val 647221"/>
                <a:gd name="f15" fmla="val 207817"/>
                <a:gd name="f16" fmla="val 178220"/>
                <a:gd name="f17" fmla="val 451207"/>
                <a:gd name="f18" fmla="val 552718"/>
                <a:gd name="f19" fmla="val 570885"/>
                <a:gd name="f20" fmla="val 195368"/>
                <a:gd name="f21" fmla="val 467800"/>
                <a:gd name="f22" fmla="val 765758"/>
                <a:gd name="f23" fmla="val 193094"/>
                <a:gd name="f24" fmla="val 1336955"/>
                <a:gd name="f25" fmla="val 73179"/>
                <a:gd name="f26" fmla="val 1934073"/>
                <a:gd name="f27" fmla="val 52850"/>
                <a:gd name="f28" fmla="val 2948304"/>
                <a:gd name="f29" fmla="val 18310"/>
                <a:gd name="f30" fmla="val 3878878"/>
                <a:gd name="f31" fmla="val 245747"/>
                <a:gd name="f32" fmla="val 4771217"/>
                <a:gd name="f33" fmla="val 543645"/>
                <a:gd name="f34" fmla="val 7236913"/>
                <a:gd name="f35" fmla="val 1366709"/>
                <a:gd name="f36" fmla="val 9199689"/>
                <a:gd name="f37" fmla="val 2357774"/>
                <a:gd name="f38" fmla="val 12007222"/>
                <a:gd name="f39" fmla="val 1856729"/>
                <a:gd name="f40" fmla="val 1820900"/>
                <a:gd name="f41" fmla="val 897073"/>
                <a:gd name="f42" fmla="val 12062517"/>
                <a:gd name="f43" fmla="val 950128"/>
                <a:gd name="f44" fmla="val 10950292"/>
                <a:gd name="f45" fmla="val 1376478"/>
                <a:gd name="f46" fmla="val 9595706"/>
                <a:gd name="f47" fmla="val 1466451"/>
                <a:gd name="f48" fmla="val 8435105"/>
                <a:gd name="f49" fmla="val 1266613"/>
                <a:gd name="f50" fmla="val 6618389"/>
                <a:gd name="f51" fmla="val 953715"/>
                <a:gd name="f52" fmla="val 4735222"/>
                <a:gd name="f53" fmla="val 130088"/>
                <a:gd name="f54" fmla="val 2948502"/>
                <a:gd name="f55" fmla="val 20548"/>
                <a:gd name="f56" fmla="+- 0 0 -90"/>
                <a:gd name="f57" fmla="*/ f3 1 12192000"/>
                <a:gd name="f58" fmla="*/ f4 1 1992138"/>
                <a:gd name="f59" fmla="+- f7 0 f5"/>
                <a:gd name="f60" fmla="+- f6 0 f5"/>
                <a:gd name="f61" fmla="*/ f56 f0 1"/>
                <a:gd name="f62" fmla="*/ f60 1 12192000"/>
                <a:gd name="f63" fmla="*/ f59 1 1992138"/>
                <a:gd name="f64" fmla="*/ 2724271 f60 1"/>
                <a:gd name="f65" fmla="*/ 0 f59 1"/>
                <a:gd name="f66" fmla="*/ 1788442 f60 1"/>
                <a:gd name="f67" fmla="*/ 1635403 f60 1"/>
                <a:gd name="f68" fmla="*/ 12925 f59 1"/>
                <a:gd name="f69" fmla="*/ 178220 f60 1"/>
                <a:gd name="f70" fmla="*/ 451207 f59 1"/>
                <a:gd name="f71" fmla="*/ 0 f60 1"/>
                <a:gd name="f72" fmla="*/ 552718 f59 1"/>
                <a:gd name="f73" fmla="*/ 570885 f59 1"/>
                <a:gd name="f74" fmla="*/ 195368 f60 1"/>
                <a:gd name="f75" fmla="*/ 467800 f59 1"/>
                <a:gd name="f76" fmla="*/ 1934073 f60 1"/>
                <a:gd name="f77" fmla="*/ 52850 f59 1"/>
                <a:gd name="f78" fmla="*/ 4771217 f60 1"/>
                <a:gd name="f79" fmla="*/ 543645 f59 1"/>
                <a:gd name="f80" fmla="*/ 12007222 f60 1"/>
                <a:gd name="f81" fmla="*/ 1856729 f59 1"/>
                <a:gd name="f82" fmla="*/ 12192000 f60 1"/>
                <a:gd name="f83" fmla="*/ 1820900 f59 1"/>
                <a:gd name="f84" fmla="*/ 897073 f59 1"/>
                <a:gd name="f85" fmla="*/ 12062517 f60 1"/>
                <a:gd name="f86" fmla="*/ 950128 f59 1"/>
                <a:gd name="f87" fmla="*/ 8435105 f60 1"/>
                <a:gd name="f88" fmla="*/ 1266613 f59 1"/>
                <a:gd name="f89" fmla="*/ 2948502 f60 1"/>
                <a:gd name="f90" fmla="*/ 20548 f59 1"/>
                <a:gd name="f91" fmla="*/ f61 1 f2"/>
                <a:gd name="f92" fmla="*/ f64 1 12192000"/>
                <a:gd name="f93" fmla="*/ f65 1 1992138"/>
                <a:gd name="f94" fmla="*/ f66 1 12192000"/>
                <a:gd name="f95" fmla="*/ f67 1 12192000"/>
                <a:gd name="f96" fmla="*/ f68 1 1992138"/>
                <a:gd name="f97" fmla="*/ f69 1 12192000"/>
                <a:gd name="f98" fmla="*/ f70 1 1992138"/>
                <a:gd name="f99" fmla="*/ f71 1 12192000"/>
                <a:gd name="f100" fmla="*/ f72 1 1992138"/>
                <a:gd name="f101" fmla="*/ f73 1 1992138"/>
                <a:gd name="f102" fmla="*/ f74 1 12192000"/>
                <a:gd name="f103" fmla="*/ f75 1 1992138"/>
                <a:gd name="f104" fmla="*/ f76 1 12192000"/>
                <a:gd name="f105" fmla="*/ f77 1 1992138"/>
                <a:gd name="f106" fmla="*/ f78 1 12192000"/>
                <a:gd name="f107" fmla="*/ f79 1 1992138"/>
                <a:gd name="f108" fmla="*/ f80 1 12192000"/>
                <a:gd name="f109" fmla="*/ f81 1 1992138"/>
                <a:gd name="f110" fmla="*/ f82 1 12192000"/>
                <a:gd name="f111" fmla="*/ f83 1 1992138"/>
                <a:gd name="f112" fmla="*/ f84 1 1992138"/>
                <a:gd name="f113" fmla="*/ f85 1 12192000"/>
                <a:gd name="f114" fmla="*/ f86 1 1992138"/>
                <a:gd name="f115" fmla="*/ f87 1 12192000"/>
                <a:gd name="f116" fmla="*/ f88 1 1992138"/>
                <a:gd name="f117" fmla="*/ f89 1 12192000"/>
                <a:gd name="f118" fmla="*/ f90 1 1992138"/>
                <a:gd name="f119" fmla="*/ f5 1 f62"/>
                <a:gd name="f120" fmla="*/ f6 1 f62"/>
                <a:gd name="f121" fmla="*/ f5 1 f63"/>
                <a:gd name="f122" fmla="*/ f7 1 f63"/>
                <a:gd name="f123" fmla="+- f91 0 f1"/>
                <a:gd name="f124" fmla="*/ f92 1 f62"/>
                <a:gd name="f125" fmla="*/ f93 1 f63"/>
                <a:gd name="f126" fmla="*/ f94 1 f62"/>
                <a:gd name="f127" fmla="*/ f95 1 f62"/>
                <a:gd name="f128" fmla="*/ f96 1 f63"/>
                <a:gd name="f129" fmla="*/ f97 1 f62"/>
                <a:gd name="f130" fmla="*/ f98 1 f63"/>
                <a:gd name="f131" fmla="*/ f99 1 f62"/>
                <a:gd name="f132" fmla="*/ f100 1 f63"/>
                <a:gd name="f133" fmla="*/ f101 1 f63"/>
                <a:gd name="f134" fmla="*/ f102 1 f62"/>
                <a:gd name="f135" fmla="*/ f103 1 f63"/>
                <a:gd name="f136" fmla="*/ f104 1 f62"/>
                <a:gd name="f137" fmla="*/ f105 1 f63"/>
                <a:gd name="f138" fmla="*/ f106 1 f62"/>
                <a:gd name="f139" fmla="*/ f107 1 f63"/>
                <a:gd name="f140" fmla="*/ f108 1 f62"/>
                <a:gd name="f141" fmla="*/ f109 1 f63"/>
                <a:gd name="f142" fmla="*/ f110 1 f62"/>
                <a:gd name="f143" fmla="*/ f111 1 f63"/>
                <a:gd name="f144" fmla="*/ f112 1 f63"/>
                <a:gd name="f145" fmla="*/ f113 1 f62"/>
                <a:gd name="f146" fmla="*/ f114 1 f63"/>
                <a:gd name="f147" fmla="*/ f115 1 f62"/>
                <a:gd name="f148" fmla="*/ f116 1 f63"/>
                <a:gd name="f149" fmla="*/ f117 1 f62"/>
                <a:gd name="f150" fmla="*/ f118 1 f63"/>
                <a:gd name="f151" fmla="*/ f119 f57 1"/>
                <a:gd name="f152" fmla="*/ f120 f57 1"/>
                <a:gd name="f153" fmla="*/ f122 f58 1"/>
                <a:gd name="f154" fmla="*/ f121 f58 1"/>
                <a:gd name="f155" fmla="*/ f124 f57 1"/>
                <a:gd name="f156" fmla="*/ f125 f58 1"/>
                <a:gd name="f157" fmla="*/ f126 f57 1"/>
                <a:gd name="f158" fmla="*/ f127 f57 1"/>
                <a:gd name="f159" fmla="*/ f128 f58 1"/>
                <a:gd name="f160" fmla="*/ f129 f57 1"/>
                <a:gd name="f161" fmla="*/ f130 f58 1"/>
                <a:gd name="f162" fmla="*/ f131 f57 1"/>
                <a:gd name="f163" fmla="*/ f132 f58 1"/>
                <a:gd name="f164" fmla="*/ f133 f58 1"/>
                <a:gd name="f165" fmla="*/ f134 f57 1"/>
                <a:gd name="f166" fmla="*/ f135 f58 1"/>
                <a:gd name="f167" fmla="*/ f136 f57 1"/>
                <a:gd name="f168" fmla="*/ f137 f58 1"/>
                <a:gd name="f169" fmla="*/ f138 f57 1"/>
                <a:gd name="f170" fmla="*/ f139 f58 1"/>
                <a:gd name="f171" fmla="*/ f140 f57 1"/>
                <a:gd name="f172" fmla="*/ f141 f58 1"/>
                <a:gd name="f173" fmla="*/ f142 f57 1"/>
                <a:gd name="f174" fmla="*/ f143 f58 1"/>
                <a:gd name="f175" fmla="*/ f144 f58 1"/>
                <a:gd name="f176" fmla="*/ f145 f57 1"/>
                <a:gd name="f177" fmla="*/ f146 f58 1"/>
                <a:gd name="f178" fmla="*/ f147 f57 1"/>
                <a:gd name="f179" fmla="*/ f148 f58 1"/>
                <a:gd name="f180" fmla="*/ f149 f57 1"/>
                <a:gd name="f181" fmla="*/ f150 f58 1"/>
              </a:gdLst>
              <a:ahLst/>
              <a:cxnLst>
                <a:cxn ang="3cd4">
                  <a:pos x="hc" y="t"/>
                </a:cxn>
                <a:cxn ang="0">
                  <a:pos x="r" y="vc"/>
                </a:cxn>
                <a:cxn ang="cd4">
                  <a:pos x="hc" y="b"/>
                </a:cxn>
                <a:cxn ang="cd2">
                  <a:pos x="l" y="vc"/>
                </a:cxn>
                <a:cxn ang="f123">
                  <a:pos x="f155" y="f156"/>
                </a:cxn>
                <a:cxn ang="f123">
                  <a:pos x="f157" y="f156"/>
                </a:cxn>
                <a:cxn ang="f123">
                  <a:pos x="f158" y="f159"/>
                </a:cxn>
                <a:cxn ang="f123">
                  <a:pos x="f160" y="f161"/>
                </a:cxn>
                <a:cxn ang="f123">
                  <a:pos x="f162" y="f163"/>
                </a:cxn>
                <a:cxn ang="f123">
                  <a:pos x="f162" y="f164"/>
                </a:cxn>
                <a:cxn ang="f123">
                  <a:pos x="f165" y="f166"/>
                </a:cxn>
                <a:cxn ang="f123">
                  <a:pos x="f167" y="f168"/>
                </a:cxn>
                <a:cxn ang="f123">
                  <a:pos x="f169" y="f170"/>
                </a:cxn>
                <a:cxn ang="f123">
                  <a:pos x="f171" y="f172"/>
                </a:cxn>
                <a:cxn ang="f123">
                  <a:pos x="f173" y="f174"/>
                </a:cxn>
                <a:cxn ang="f123">
                  <a:pos x="f173" y="f175"/>
                </a:cxn>
                <a:cxn ang="f123">
                  <a:pos x="f176" y="f177"/>
                </a:cxn>
                <a:cxn ang="f123">
                  <a:pos x="f178" y="f179"/>
                </a:cxn>
                <a:cxn ang="f123">
                  <a:pos x="f180" y="f181"/>
                </a:cxn>
              </a:cxnLst>
              <a:rect l="f151" t="f154" r="f152" b="f153"/>
              <a:pathLst>
                <a:path w="12192000" h="1992138">
                  <a:moveTo>
                    <a:pt x="f8" y="f5"/>
                  </a:moveTo>
                  <a:lnTo>
                    <a:pt x="f9" y="f5"/>
                  </a:lnTo>
                  <a:lnTo>
                    <a:pt x="f10" y="f11"/>
                  </a:lnTo>
                  <a:cubicBezTo>
                    <a:pt x="f12" y="f13"/>
                    <a:pt x="f14" y="f15"/>
                    <a:pt x="f16" y="f17"/>
                  </a:cubicBezTo>
                  <a:lnTo>
                    <a:pt x="f5" y="f18"/>
                  </a:lnTo>
                  <a:lnTo>
                    <a:pt x="f5" y="f19"/>
                  </a:lnTo>
                  <a:lnTo>
                    <a:pt x="f20" y="f21"/>
                  </a:lnTo>
                  <a:cubicBezTo>
                    <a:pt x="f22" y="f23"/>
                    <a:pt x="f24" y="f25"/>
                    <a:pt x="f26" y="f27"/>
                  </a:cubicBezTo>
                  <a:cubicBezTo>
                    <a:pt x="f28" y="f29"/>
                    <a:pt x="f30" y="f31"/>
                    <a:pt x="f32" y="f33"/>
                  </a:cubicBezTo>
                  <a:cubicBezTo>
                    <a:pt x="f34" y="f35"/>
                    <a:pt x="f36" y="f37"/>
                    <a:pt x="f38" y="f39"/>
                  </a:cubicBezTo>
                  <a:lnTo>
                    <a:pt x="f6" y="f40"/>
                  </a:lnTo>
                  <a:lnTo>
                    <a:pt x="f6" y="f41"/>
                  </a:lnTo>
                  <a:lnTo>
                    <a:pt x="f42" y="f43"/>
                  </a:lnTo>
                  <a:cubicBezTo>
                    <a:pt x="f44" y="f45"/>
                    <a:pt x="f46" y="f47"/>
                    <a:pt x="f48" y="f49"/>
                  </a:cubicBezTo>
                  <a:cubicBezTo>
                    <a:pt x="f50" y="f51"/>
                    <a:pt x="f52" y="f53"/>
                    <a:pt x="f54" y="f55"/>
                  </a:cubicBezTo>
                  <a:close/>
                </a:path>
              </a:pathLst>
            </a:custGeom>
            <a:solidFill>
              <a:srgbClr val="00498F"/>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sp>
        <p:nvSpPr>
          <p:cNvPr id="5" name="Rectangle 3">
            <a:extLst>
              <a:ext uri="{FF2B5EF4-FFF2-40B4-BE49-F238E27FC236}">
                <a16:creationId xmlns:a16="http://schemas.microsoft.com/office/drawing/2014/main" id="{3998D845-1FBE-903E-C9F3-B1638742C62C}"/>
              </a:ext>
            </a:extLst>
          </p:cNvPr>
          <p:cNvSpPr/>
          <p:nvPr/>
        </p:nvSpPr>
        <p:spPr>
          <a:xfrm>
            <a:off x="902366" y="1517694"/>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Content Placeholder 2">
            <a:extLst>
              <a:ext uri="{FF2B5EF4-FFF2-40B4-BE49-F238E27FC236}">
                <a16:creationId xmlns:a16="http://schemas.microsoft.com/office/drawing/2014/main" id="{D8D30F97-CE72-37D9-6428-8AA134427FEE}"/>
              </a:ext>
            </a:extLst>
          </p:cNvPr>
          <p:cNvSpPr txBox="1">
            <a:spLocks noGrp="1"/>
          </p:cNvSpPr>
          <p:nvPr>
            <p:ph idx="4294967295"/>
          </p:nvPr>
        </p:nvSpPr>
        <p:spPr>
          <a:xfrm>
            <a:off x="1219197" y="3429001"/>
            <a:ext cx="5582649" cy="1413561"/>
          </a:xfrm>
        </p:spPr>
        <p:txBody>
          <a:bodyPr/>
          <a:lstStyle>
            <a:lvl1pPr marL="0" indent="0">
              <a:buNone/>
              <a:defRPr sz="2000"/>
            </a:lvl1pPr>
          </a:lstStyle>
          <a:p>
            <a:pPr lvl="0"/>
            <a:r>
              <a:rPr lang="en-US"/>
              <a:t>Click to edit Master text styles</a:t>
            </a:r>
          </a:p>
        </p:txBody>
      </p:sp>
      <p:sp>
        <p:nvSpPr>
          <p:cNvPr id="7" name="Title 11">
            <a:extLst>
              <a:ext uri="{FF2B5EF4-FFF2-40B4-BE49-F238E27FC236}">
                <a16:creationId xmlns:a16="http://schemas.microsoft.com/office/drawing/2014/main" id="{02D6BB0F-B014-1CD5-2E5E-F23830A79189}"/>
              </a:ext>
            </a:extLst>
          </p:cNvPr>
          <p:cNvSpPr txBox="1">
            <a:spLocks noGrp="1"/>
          </p:cNvSpPr>
          <p:nvPr>
            <p:ph type="title"/>
          </p:nvPr>
        </p:nvSpPr>
        <p:spPr>
          <a:xfrm>
            <a:off x="1219197" y="1887486"/>
            <a:ext cx="5582649" cy="1078260"/>
          </a:xfrm>
        </p:spPr>
        <p:txBody>
          <a:bodyPr/>
          <a:lstStyle>
            <a:lvl1pPr>
              <a:defRPr sz="6000"/>
            </a:lvl1pPr>
          </a:lstStyle>
          <a:p>
            <a:pPr lvl="0"/>
            <a:r>
              <a:rPr lang="en-US"/>
              <a:t>Thank you</a:t>
            </a:r>
          </a:p>
        </p:txBody>
      </p:sp>
      <p:pic>
        <p:nvPicPr>
          <p:cNvPr id="8" name="Picture 32">
            <a:extLst>
              <a:ext uri="{FF2B5EF4-FFF2-40B4-BE49-F238E27FC236}">
                <a16:creationId xmlns:a16="http://schemas.microsoft.com/office/drawing/2014/main" id="{6041876A-1BD9-E7FB-2D02-AAE57B87CBD1}"/>
              </a:ext>
            </a:extLst>
          </p:cNvPr>
          <p:cNvPicPr>
            <a:picLocks noChangeAspect="1"/>
          </p:cNvPicPr>
          <p:nvPr/>
        </p:nvPicPr>
        <p:blipFill>
          <a:blip r:embed="rId2"/>
          <a:srcRect/>
          <a:stretch>
            <a:fillRect/>
          </a:stretch>
        </p:blipFill>
        <p:spPr>
          <a:xfrm>
            <a:off x="902366" y="228371"/>
            <a:ext cx="2025313" cy="911940"/>
          </a:xfrm>
          <a:prstGeom prst="rect">
            <a:avLst/>
          </a:prstGeom>
          <a:noFill/>
          <a:ln cap="flat">
            <a:noFill/>
          </a:ln>
        </p:spPr>
      </p:pic>
      <p:sp>
        <p:nvSpPr>
          <p:cNvPr id="9" name="Picture Placeholder 16">
            <a:extLst>
              <a:ext uri="{FF2B5EF4-FFF2-40B4-BE49-F238E27FC236}">
                <a16:creationId xmlns:a16="http://schemas.microsoft.com/office/drawing/2014/main" id="{35E095A3-A6F5-732D-6B6E-C975722FB8C3}"/>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spTree>
    <p:extLst>
      <p:ext uri="{BB962C8B-B14F-4D97-AF65-F5344CB8AC3E}">
        <p14:creationId xmlns:p14="http://schemas.microsoft.com/office/powerpoint/2010/main" val="4258181837"/>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2" name="Slide Number Placeholder 4">
            <a:extLst>
              <a:ext uri="{FF2B5EF4-FFF2-40B4-BE49-F238E27FC236}">
                <a16:creationId xmlns:a16="http://schemas.microsoft.com/office/drawing/2014/main" id="{EDF60444-1AB8-A7EF-F9F2-3824EE008A65}"/>
              </a:ext>
            </a:extLst>
          </p:cNvPr>
          <p:cNvSpPr txBox="1">
            <a:spLocks noGrp="1"/>
          </p:cNvSpPr>
          <p:nvPr>
            <p:ph type="sldNum" sz="quarter" idx="8"/>
          </p:nvPr>
        </p:nvSpPr>
        <p:spPr/>
        <p:txBody>
          <a:bodyPr/>
          <a:lstStyle>
            <a:lvl1pPr>
              <a:defRPr/>
            </a:lvl1pPr>
          </a:lstStyle>
          <a:p>
            <a:pPr lvl="0"/>
            <a:fld id="{1E9D8875-5A52-4713-B378-91E92C3BFFDC}" type="slidenum">
              <a:t>‹#›</a:t>
            </a:fld>
            <a:endParaRPr lang="en-US"/>
          </a:p>
        </p:txBody>
      </p:sp>
      <p:cxnSp>
        <p:nvCxnSpPr>
          <p:cNvPr id="3" name="Straight Connector 3">
            <a:extLst>
              <a:ext uri="{FF2B5EF4-FFF2-40B4-BE49-F238E27FC236}">
                <a16:creationId xmlns:a16="http://schemas.microsoft.com/office/drawing/2014/main" id="{A6A81EE1-8177-4633-7A5E-DD2DBA5A9957}"/>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4" name="Footer Placeholder 1">
            <a:extLst>
              <a:ext uri="{FF2B5EF4-FFF2-40B4-BE49-F238E27FC236}">
                <a16:creationId xmlns:a16="http://schemas.microsoft.com/office/drawing/2014/main" id="{270AA782-9EB8-120F-1F59-FFE8B9135DF2}"/>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5" name="Group 5">
            <a:extLst>
              <a:ext uri="{FF2B5EF4-FFF2-40B4-BE49-F238E27FC236}">
                <a16:creationId xmlns:a16="http://schemas.microsoft.com/office/drawing/2014/main" id="{DBBD5900-6553-64C0-F7AB-69BA9A35F11C}"/>
              </a:ext>
            </a:extLst>
          </p:cNvPr>
          <p:cNvGrpSpPr/>
          <p:nvPr/>
        </p:nvGrpSpPr>
        <p:grpSpPr>
          <a:xfrm>
            <a:off x="7191545" y="0"/>
            <a:ext cx="5000460" cy="1425988"/>
            <a:chOff x="7191545" y="0"/>
            <a:chExt cx="5000460" cy="1425988"/>
          </a:xfrm>
        </p:grpSpPr>
        <p:pic>
          <p:nvPicPr>
            <p:cNvPr id="6" name="Picture 6">
              <a:extLst>
                <a:ext uri="{FF2B5EF4-FFF2-40B4-BE49-F238E27FC236}">
                  <a16:creationId xmlns:a16="http://schemas.microsoft.com/office/drawing/2014/main" id="{4721C97E-C9C0-842E-B862-BF2D17CE60F7}"/>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7" name="Group 7">
              <a:extLst>
                <a:ext uri="{FF2B5EF4-FFF2-40B4-BE49-F238E27FC236}">
                  <a16:creationId xmlns:a16="http://schemas.microsoft.com/office/drawing/2014/main" id="{010A7D5F-56CD-E575-E736-C3D3787FE3F1}"/>
                </a:ext>
              </a:extLst>
            </p:cNvPr>
            <p:cNvGrpSpPr/>
            <p:nvPr/>
          </p:nvGrpSpPr>
          <p:grpSpPr>
            <a:xfrm>
              <a:off x="7191545" y="0"/>
              <a:ext cx="5000460" cy="1425988"/>
              <a:chOff x="7191545" y="0"/>
              <a:chExt cx="5000460" cy="1425988"/>
            </a:xfrm>
          </p:grpSpPr>
          <p:sp>
            <p:nvSpPr>
              <p:cNvPr id="8" name="Freeform 8">
                <a:extLst>
                  <a:ext uri="{FF2B5EF4-FFF2-40B4-BE49-F238E27FC236}">
                    <a16:creationId xmlns:a16="http://schemas.microsoft.com/office/drawing/2014/main" id="{AB8CFE73-610E-31A9-23CC-A0DFF9037322}"/>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9" name="Freeform 9">
                <a:extLst>
                  <a:ext uri="{FF2B5EF4-FFF2-40B4-BE49-F238E27FC236}">
                    <a16:creationId xmlns:a16="http://schemas.microsoft.com/office/drawing/2014/main" id="{0C095E43-4796-3325-0B14-20414396E5D2}"/>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Tree>
    <p:extLst>
      <p:ext uri="{BB962C8B-B14F-4D97-AF65-F5344CB8AC3E}">
        <p14:creationId xmlns:p14="http://schemas.microsoft.com/office/powerpoint/2010/main" val="3090158055"/>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4_Cover">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0C983215-9E23-304A-EE82-9C18EDF3BB99}"/>
              </a:ext>
            </a:extLst>
          </p:cNvPr>
          <p:cNvSpPr/>
          <p:nvPr/>
        </p:nvSpPr>
        <p:spPr>
          <a:xfrm>
            <a:off x="902366" y="1294416"/>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A1758808-3FBD-F65A-ABA9-A36FF3FCF08B}"/>
              </a:ext>
            </a:extLst>
          </p:cNvPr>
          <p:cNvSpPr txBox="1">
            <a:spLocks noGrp="1"/>
          </p:cNvSpPr>
          <p:nvPr>
            <p:ph type="title"/>
          </p:nvPr>
        </p:nvSpPr>
        <p:spPr>
          <a:xfrm>
            <a:off x="1413314" y="1561328"/>
            <a:ext cx="5194432" cy="1826340"/>
          </a:xfrm>
        </p:spPr>
        <p:txBody>
          <a:bodyPr anchor="b"/>
          <a:lstStyle>
            <a:lvl1pPr>
              <a:defRPr sz="4000">
                <a:solidFill>
                  <a:srgbClr val="444C55"/>
                </a:solidFill>
              </a:defRPr>
            </a:lvl1pPr>
          </a:lstStyle>
          <a:p>
            <a:pPr lvl="0"/>
            <a:r>
              <a:rPr lang="en-US"/>
              <a:t>Click to edit Master title style</a:t>
            </a:r>
          </a:p>
        </p:txBody>
      </p:sp>
      <p:sp>
        <p:nvSpPr>
          <p:cNvPr id="4" name="Subtitle 2">
            <a:extLst>
              <a:ext uri="{FF2B5EF4-FFF2-40B4-BE49-F238E27FC236}">
                <a16:creationId xmlns:a16="http://schemas.microsoft.com/office/drawing/2014/main" id="{14343BC6-6623-6148-E443-0786BA1F795E}"/>
              </a:ext>
            </a:extLst>
          </p:cNvPr>
          <p:cNvSpPr txBox="1">
            <a:spLocks noGrp="1"/>
          </p:cNvSpPr>
          <p:nvPr>
            <p:ph type="subTitle" idx="4294967295"/>
          </p:nvPr>
        </p:nvSpPr>
        <p:spPr>
          <a:xfrm>
            <a:off x="1413314" y="3766861"/>
            <a:ext cx="5194432" cy="986564"/>
          </a:xfrm>
        </p:spPr>
        <p:txBody>
          <a:bodyPr/>
          <a:lstStyle>
            <a:lvl1pPr marL="0" indent="0">
              <a:buNone/>
              <a:defRPr/>
            </a:lvl1pPr>
          </a:lstStyle>
          <a:p>
            <a:pPr lvl="0"/>
            <a:r>
              <a:rPr lang="en-US"/>
              <a:t>Click to edit Master subtitle style</a:t>
            </a:r>
          </a:p>
        </p:txBody>
      </p:sp>
      <p:sp>
        <p:nvSpPr>
          <p:cNvPr id="5" name="Picture Placeholder 21">
            <a:extLst>
              <a:ext uri="{FF2B5EF4-FFF2-40B4-BE49-F238E27FC236}">
                <a16:creationId xmlns:a16="http://schemas.microsoft.com/office/drawing/2014/main" id="{D8117CF9-D9EA-3423-38B0-F33C0495069A}"/>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grpSp>
        <p:nvGrpSpPr>
          <p:cNvPr id="6" name="Group 26">
            <a:extLst>
              <a:ext uri="{FF2B5EF4-FFF2-40B4-BE49-F238E27FC236}">
                <a16:creationId xmlns:a16="http://schemas.microsoft.com/office/drawing/2014/main" id="{09D97AA5-5180-8A85-9AA8-A5BE122395AE}"/>
              </a:ext>
            </a:extLst>
          </p:cNvPr>
          <p:cNvGrpSpPr/>
          <p:nvPr/>
        </p:nvGrpSpPr>
        <p:grpSpPr>
          <a:xfrm>
            <a:off x="0" y="5020349"/>
            <a:ext cx="12191996" cy="1837651"/>
            <a:chOff x="0" y="5020348"/>
            <a:chExt cx="12191996" cy="1837651"/>
          </a:xfrm>
        </p:grpSpPr>
        <p:sp>
          <p:nvSpPr>
            <p:cNvPr id="7" name="Freeform 27">
              <a:extLst>
                <a:ext uri="{FF2B5EF4-FFF2-40B4-BE49-F238E27FC236}">
                  <a16:creationId xmlns:a16="http://schemas.microsoft.com/office/drawing/2014/main" id="{64103272-2EA7-2313-3A17-089F414F1B2A}"/>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8" name="Freeform 28">
              <a:extLst>
                <a:ext uri="{FF2B5EF4-FFF2-40B4-BE49-F238E27FC236}">
                  <a16:creationId xmlns:a16="http://schemas.microsoft.com/office/drawing/2014/main" id="{31FB4C43-B11A-3FC4-E107-725DDC89EFF8}"/>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9" name="Picture 29">
              <a:extLst>
                <a:ext uri="{FF2B5EF4-FFF2-40B4-BE49-F238E27FC236}">
                  <a16:creationId xmlns:a16="http://schemas.microsoft.com/office/drawing/2014/main" id="{F6F17B83-DB65-B1A5-E3AA-719826DF2E2B}"/>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1871095873"/>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4_Divider">
    <p:spTree>
      <p:nvGrpSpPr>
        <p:cNvPr id="1" name=""/>
        <p:cNvGrpSpPr/>
        <p:nvPr/>
      </p:nvGrpSpPr>
      <p:grpSpPr>
        <a:xfrm>
          <a:off x="0" y="0"/>
          <a:ext cx="0" cy="0"/>
          <a:chOff x="0" y="0"/>
          <a:chExt cx="0" cy="0"/>
        </a:xfrm>
      </p:grpSpPr>
      <p:grpSp>
        <p:nvGrpSpPr>
          <p:cNvPr id="2" name="Group 9">
            <a:extLst>
              <a:ext uri="{FF2B5EF4-FFF2-40B4-BE49-F238E27FC236}">
                <a16:creationId xmlns:a16="http://schemas.microsoft.com/office/drawing/2014/main" id="{DC6604A3-F419-E8E7-1F73-9117718001F1}"/>
              </a:ext>
            </a:extLst>
          </p:cNvPr>
          <p:cNvGrpSpPr/>
          <p:nvPr/>
        </p:nvGrpSpPr>
        <p:grpSpPr>
          <a:xfrm>
            <a:off x="0" y="5020349"/>
            <a:ext cx="12191996" cy="1837651"/>
            <a:chOff x="0" y="5020348"/>
            <a:chExt cx="12191996" cy="1837651"/>
          </a:xfrm>
        </p:grpSpPr>
        <p:sp>
          <p:nvSpPr>
            <p:cNvPr id="3" name="Freeform 25">
              <a:extLst>
                <a:ext uri="{FF2B5EF4-FFF2-40B4-BE49-F238E27FC236}">
                  <a16:creationId xmlns:a16="http://schemas.microsoft.com/office/drawing/2014/main" id="{E7751B62-20B2-5D9D-C298-C8AF54163BA7}"/>
                </a:ext>
              </a:extLst>
            </p:cNvPr>
            <p:cNvSpPr/>
            <p:nvPr/>
          </p:nvSpPr>
          <p:spPr>
            <a:xfrm>
              <a:off x="0" y="5100267"/>
              <a:ext cx="7111371" cy="1757732"/>
            </a:xfrm>
            <a:custGeom>
              <a:avLst/>
              <a:gdLst>
                <a:gd name="f0" fmla="val 10800000"/>
                <a:gd name="f1" fmla="val 5400000"/>
                <a:gd name="f2" fmla="val 180"/>
                <a:gd name="f3" fmla="val w"/>
                <a:gd name="f4" fmla="val h"/>
                <a:gd name="f5" fmla="val 0"/>
                <a:gd name="f6" fmla="val 7111369"/>
                <a:gd name="f7" fmla="val 1757730"/>
                <a:gd name="f8" fmla="val 772954"/>
                <a:gd name="f9" fmla="val 2778"/>
                <a:gd name="f10" fmla="val 1769038"/>
                <a:gd name="f11" fmla="val 30799"/>
                <a:gd name="f12" fmla="val 2696750"/>
                <a:gd name="f13" fmla="val 267531"/>
                <a:gd name="f14" fmla="val 3590934"/>
                <a:gd name="f15" fmla="val 566046"/>
                <a:gd name="f16" fmla="val 4684008"/>
                <a:gd name="f17" fmla="val 930921"/>
                <a:gd name="f18" fmla="val 5690778"/>
                <a:gd name="f19" fmla="val 1324625"/>
                <a:gd name="f20" fmla="val 6700767"/>
                <a:gd name="f21" fmla="val 1636882"/>
                <a:gd name="f22" fmla="val 25690"/>
                <a:gd name="f23" fmla="val 2197"/>
                <a:gd name="f24" fmla="val 25414"/>
                <a:gd name="f25" fmla="val 114653"/>
                <a:gd name="f26" fmla="val 14905"/>
                <a:gd name="f27" fmla="val 227801"/>
                <a:gd name="f28" fmla="val 7857"/>
                <a:gd name="f29" fmla="val 341773"/>
                <a:gd name="f30" fmla="val 3976"/>
                <a:gd name="f31" fmla="val 486963"/>
                <a:gd name="f32" fmla="+- 0 0 968"/>
                <a:gd name="f33" fmla="val 630656"/>
                <a:gd name="f34" fmla="+- 0 0 1224"/>
                <a:gd name="f35" fmla="+- 0 0 -90"/>
                <a:gd name="f36" fmla="*/ f3 1 7111369"/>
                <a:gd name="f37" fmla="*/ f4 1 1757730"/>
                <a:gd name="f38" fmla="+- f7 0 f5"/>
                <a:gd name="f39" fmla="+- f6 0 f5"/>
                <a:gd name="f40" fmla="*/ f35 f0 1"/>
                <a:gd name="f41" fmla="*/ f39 1 7111369"/>
                <a:gd name="f42" fmla="*/ f38 1 1757730"/>
                <a:gd name="f43" fmla="*/ 772954 f39 1"/>
                <a:gd name="f44" fmla="*/ 2778 f38 1"/>
                <a:gd name="f45" fmla="*/ 3590934 f39 1"/>
                <a:gd name="f46" fmla="*/ 566046 f38 1"/>
                <a:gd name="f47" fmla="*/ 6700767 f39 1"/>
                <a:gd name="f48" fmla="*/ 1636882 f38 1"/>
                <a:gd name="f49" fmla="*/ 7111369 f39 1"/>
                <a:gd name="f50" fmla="*/ 1757730 f38 1"/>
                <a:gd name="f51" fmla="*/ 0 f39 1"/>
                <a:gd name="f52" fmla="*/ 25690 f38 1"/>
                <a:gd name="f53" fmla="*/ 2197 f39 1"/>
                <a:gd name="f54" fmla="*/ 25414 f38 1"/>
                <a:gd name="f55" fmla="*/ 341773 f39 1"/>
                <a:gd name="f56" fmla="*/ 3976 f38 1"/>
                <a:gd name="f57" fmla="*/ f40 1 f2"/>
                <a:gd name="f58" fmla="*/ f43 1 7111369"/>
                <a:gd name="f59" fmla="*/ f44 1 1757730"/>
                <a:gd name="f60" fmla="*/ f45 1 7111369"/>
                <a:gd name="f61" fmla="*/ f46 1 1757730"/>
                <a:gd name="f62" fmla="*/ f47 1 7111369"/>
                <a:gd name="f63" fmla="*/ f48 1 1757730"/>
                <a:gd name="f64" fmla="*/ f49 1 7111369"/>
                <a:gd name="f65" fmla="*/ f50 1 1757730"/>
                <a:gd name="f66" fmla="*/ f51 1 7111369"/>
                <a:gd name="f67" fmla="*/ f52 1 1757730"/>
                <a:gd name="f68" fmla="*/ f53 1 7111369"/>
                <a:gd name="f69" fmla="*/ f54 1 1757730"/>
                <a:gd name="f70" fmla="*/ f55 1 7111369"/>
                <a:gd name="f71" fmla="*/ f56 1 1757730"/>
                <a:gd name="f72" fmla="*/ f5 1 f41"/>
                <a:gd name="f73" fmla="*/ f6 1 f41"/>
                <a:gd name="f74" fmla="*/ f5 1 f42"/>
                <a:gd name="f75" fmla="*/ f7 1 f42"/>
                <a:gd name="f76" fmla="+- f57 0 f1"/>
                <a:gd name="f77" fmla="*/ f58 1 f41"/>
                <a:gd name="f78" fmla="*/ f59 1 f42"/>
                <a:gd name="f79" fmla="*/ f60 1 f41"/>
                <a:gd name="f80" fmla="*/ f61 1 f42"/>
                <a:gd name="f81" fmla="*/ f62 1 f41"/>
                <a:gd name="f82" fmla="*/ f63 1 f42"/>
                <a:gd name="f83" fmla="*/ f64 1 f41"/>
                <a:gd name="f84" fmla="*/ f65 1 f42"/>
                <a:gd name="f85" fmla="*/ f66 1 f41"/>
                <a:gd name="f86" fmla="*/ f67 1 f42"/>
                <a:gd name="f87" fmla="*/ f68 1 f41"/>
                <a:gd name="f88" fmla="*/ f69 1 f42"/>
                <a:gd name="f89" fmla="*/ f70 1 f41"/>
                <a:gd name="f90" fmla="*/ f71 1 f42"/>
                <a:gd name="f91" fmla="*/ f72 f36 1"/>
                <a:gd name="f92" fmla="*/ f73 f36 1"/>
                <a:gd name="f93" fmla="*/ f75 f37 1"/>
                <a:gd name="f94" fmla="*/ f74 f37 1"/>
                <a:gd name="f95" fmla="*/ f77 f36 1"/>
                <a:gd name="f96" fmla="*/ f78 f37 1"/>
                <a:gd name="f97" fmla="*/ f79 f36 1"/>
                <a:gd name="f98" fmla="*/ f80 f37 1"/>
                <a:gd name="f99" fmla="*/ f81 f36 1"/>
                <a:gd name="f100" fmla="*/ f82 f37 1"/>
                <a:gd name="f101" fmla="*/ f83 f36 1"/>
                <a:gd name="f102" fmla="*/ f84 f37 1"/>
                <a:gd name="f103" fmla="*/ f85 f36 1"/>
                <a:gd name="f104" fmla="*/ f86 f37 1"/>
                <a:gd name="f105" fmla="*/ f87 f36 1"/>
                <a:gd name="f106" fmla="*/ f88 f37 1"/>
                <a:gd name="f107" fmla="*/ f89 f36 1"/>
                <a:gd name="f108" fmla="*/ f90 f37 1"/>
              </a:gdLst>
              <a:ahLst/>
              <a:cxnLst>
                <a:cxn ang="3cd4">
                  <a:pos x="hc" y="t"/>
                </a:cxn>
                <a:cxn ang="0">
                  <a:pos x="r" y="vc"/>
                </a:cxn>
                <a:cxn ang="cd4">
                  <a:pos x="hc" y="b"/>
                </a:cxn>
                <a:cxn ang="cd2">
                  <a:pos x="l" y="vc"/>
                </a:cxn>
                <a:cxn ang="f76">
                  <a:pos x="f95" y="f96"/>
                </a:cxn>
                <a:cxn ang="f76">
                  <a:pos x="f97" y="f98"/>
                </a:cxn>
                <a:cxn ang="f76">
                  <a:pos x="f99" y="f100"/>
                </a:cxn>
                <a:cxn ang="f76">
                  <a:pos x="f101" y="f102"/>
                </a:cxn>
                <a:cxn ang="f76">
                  <a:pos x="f103" y="f102"/>
                </a:cxn>
                <a:cxn ang="f76">
                  <a:pos x="f103" y="f104"/>
                </a:cxn>
                <a:cxn ang="f76">
                  <a:pos x="f105" y="f106"/>
                </a:cxn>
                <a:cxn ang="f76">
                  <a:pos x="f107" y="f108"/>
                </a:cxn>
                <a:cxn ang="f76">
                  <a:pos x="f95" y="f96"/>
                </a:cxn>
              </a:cxnLst>
              <a:rect l="f91" t="f94" r="f92" b="f93"/>
              <a:pathLst>
                <a:path w="7111369" h="1757730">
                  <a:moveTo>
                    <a:pt x="f8" y="f9"/>
                  </a:moveTo>
                  <a:cubicBezTo>
                    <a:pt x="f10" y="f11"/>
                    <a:pt x="f12" y="f13"/>
                    <a:pt x="f14" y="f15"/>
                  </a:cubicBezTo>
                  <a:cubicBezTo>
                    <a:pt x="f16" y="f17"/>
                    <a:pt x="f18" y="f19"/>
                    <a:pt x="f20" y="f21"/>
                  </a:cubicBezTo>
                  <a:lnTo>
                    <a:pt x="f6" y="f7"/>
                  </a:lnTo>
                  <a:lnTo>
                    <a:pt x="f5" y="f7"/>
                  </a:lnTo>
                  <a:lnTo>
                    <a:pt x="f5" y="f22"/>
                  </a:lnTo>
                  <a:lnTo>
                    <a:pt x="f23" y="f24"/>
                  </a:lnTo>
                  <a:cubicBezTo>
                    <a:pt x="f25" y="f26"/>
                    <a:pt x="f27" y="f28"/>
                    <a:pt x="f29" y="f30"/>
                  </a:cubicBezTo>
                  <a:cubicBezTo>
                    <a:pt x="f31" y="f32"/>
                    <a:pt x="f33" y="f34"/>
                    <a:pt x="f8" y="f9"/>
                  </a:cubicBezTo>
                  <a:close/>
                </a:path>
              </a:pathLst>
            </a:cu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4" name="Freeform 19">
              <a:extLst>
                <a:ext uri="{FF2B5EF4-FFF2-40B4-BE49-F238E27FC236}">
                  <a16:creationId xmlns:a16="http://schemas.microsoft.com/office/drawing/2014/main" id="{F4A4309F-F325-6BD9-4CE3-E9C81190A729}"/>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5" name="Freeform 14">
              <a:extLst>
                <a:ext uri="{FF2B5EF4-FFF2-40B4-BE49-F238E27FC236}">
                  <a16:creationId xmlns:a16="http://schemas.microsoft.com/office/drawing/2014/main" id="{711C3311-4225-0D06-B259-691ED09114B6}"/>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6" name="Picture 20">
              <a:extLst>
                <a:ext uri="{FF2B5EF4-FFF2-40B4-BE49-F238E27FC236}">
                  <a16:creationId xmlns:a16="http://schemas.microsoft.com/office/drawing/2014/main" id="{DC70ADA1-4EBD-E034-F91A-31AD37BD529D}"/>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
        <p:nvSpPr>
          <p:cNvPr id="7" name="Title 10">
            <a:extLst>
              <a:ext uri="{FF2B5EF4-FFF2-40B4-BE49-F238E27FC236}">
                <a16:creationId xmlns:a16="http://schemas.microsoft.com/office/drawing/2014/main" id="{35218B31-E770-CC10-6505-68AC11679C1D}"/>
              </a:ext>
            </a:extLst>
          </p:cNvPr>
          <p:cNvSpPr txBox="1">
            <a:spLocks noGrp="1"/>
          </p:cNvSpPr>
          <p:nvPr>
            <p:ph type="title"/>
          </p:nvPr>
        </p:nvSpPr>
        <p:spPr>
          <a:xfrm>
            <a:off x="1413305" y="701748"/>
            <a:ext cx="9365376" cy="2014679"/>
          </a:xfrm>
        </p:spPr>
        <p:txBody>
          <a:bodyPr anchor="b"/>
          <a:lstStyle>
            <a:lvl1pPr>
              <a:defRPr/>
            </a:lvl1pPr>
          </a:lstStyle>
          <a:p>
            <a:pPr lvl="0"/>
            <a:r>
              <a:rPr lang="en-US"/>
              <a:t>Click to edit Master title style</a:t>
            </a:r>
          </a:p>
        </p:txBody>
      </p:sp>
      <p:sp>
        <p:nvSpPr>
          <p:cNvPr id="8" name="Subtitle 2">
            <a:extLst>
              <a:ext uri="{FF2B5EF4-FFF2-40B4-BE49-F238E27FC236}">
                <a16:creationId xmlns:a16="http://schemas.microsoft.com/office/drawing/2014/main" id="{79C005F5-6534-5FD3-199C-DC3031291AEA}"/>
              </a:ext>
            </a:extLst>
          </p:cNvPr>
          <p:cNvSpPr txBox="1">
            <a:spLocks noGrp="1"/>
          </p:cNvSpPr>
          <p:nvPr>
            <p:ph type="subTitle" idx="4294967295"/>
          </p:nvPr>
        </p:nvSpPr>
        <p:spPr>
          <a:xfrm>
            <a:off x="1413305" y="3081637"/>
            <a:ext cx="9365376" cy="986564"/>
          </a:xfrm>
        </p:spPr>
        <p:txBody>
          <a:bodyPr/>
          <a:lstStyle>
            <a:lvl1pPr marL="0" indent="0">
              <a:buNone/>
              <a:defRPr/>
            </a:lvl1pPr>
          </a:lstStyle>
          <a:p>
            <a:pPr lvl="0"/>
            <a:r>
              <a:rPr lang="en-US"/>
              <a:t>Click to edit Master subtitle style</a:t>
            </a:r>
          </a:p>
        </p:txBody>
      </p:sp>
    </p:spTree>
    <p:extLst>
      <p:ext uri="{BB962C8B-B14F-4D97-AF65-F5344CB8AC3E}">
        <p14:creationId xmlns:p14="http://schemas.microsoft.com/office/powerpoint/2010/main" val="759356330"/>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5_Cover">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3E0C568B-DF40-B1E1-09A6-AA84206A976F}"/>
              </a:ext>
            </a:extLst>
          </p:cNvPr>
          <p:cNvSpPr/>
          <p:nvPr/>
        </p:nvSpPr>
        <p:spPr>
          <a:xfrm>
            <a:off x="902366" y="1294416"/>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473376BD-9EE4-9D2C-8B41-48AC2ED73B5F}"/>
              </a:ext>
            </a:extLst>
          </p:cNvPr>
          <p:cNvSpPr txBox="1">
            <a:spLocks noGrp="1"/>
          </p:cNvSpPr>
          <p:nvPr>
            <p:ph type="title"/>
          </p:nvPr>
        </p:nvSpPr>
        <p:spPr>
          <a:xfrm>
            <a:off x="1413314" y="1561328"/>
            <a:ext cx="5194432" cy="1826340"/>
          </a:xfrm>
        </p:spPr>
        <p:txBody>
          <a:bodyPr anchor="b"/>
          <a:lstStyle>
            <a:lvl1pPr>
              <a:defRPr sz="4000">
                <a:solidFill>
                  <a:srgbClr val="444C55"/>
                </a:solidFill>
              </a:defRPr>
            </a:lvl1pPr>
          </a:lstStyle>
          <a:p>
            <a:pPr lvl="0"/>
            <a:r>
              <a:rPr lang="en-US"/>
              <a:t>Click to edit Master title style</a:t>
            </a:r>
          </a:p>
        </p:txBody>
      </p:sp>
      <p:sp>
        <p:nvSpPr>
          <p:cNvPr id="4" name="Subtitle 2">
            <a:extLst>
              <a:ext uri="{FF2B5EF4-FFF2-40B4-BE49-F238E27FC236}">
                <a16:creationId xmlns:a16="http://schemas.microsoft.com/office/drawing/2014/main" id="{3E92E7D7-F3F9-017E-2B8A-5407FAE97B88}"/>
              </a:ext>
            </a:extLst>
          </p:cNvPr>
          <p:cNvSpPr txBox="1">
            <a:spLocks noGrp="1"/>
          </p:cNvSpPr>
          <p:nvPr>
            <p:ph type="subTitle" idx="4294967295"/>
          </p:nvPr>
        </p:nvSpPr>
        <p:spPr>
          <a:xfrm>
            <a:off x="1413314" y="3766861"/>
            <a:ext cx="5194432" cy="986564"/>
          </a:xfrm>
        </p:spPr>
        <p:txBody>
          <a:bodyPr/>
          <a:lstStyle>
            <a:lvl1pPr marL="0" indent="0">
              <a:buNone/>
              <a:defRPr/>
            </a:lvl1pPr>
          </a:lstStyle>
          <a:p>
            <a:pPr lvl="0"/>
            <a:r>
              <a:rPr lang="en-US"/>
              <a:t>Click to edit Master subtitle style</a:t>
            </a:r>
          </a:p>
        </p:txBody>
      </p:sp>
      <p:sp>
        <p:nvSpPr>
          <p:cNvPr id="5" name="Picture Placeholder 21">
            <a:extLst>
              <a:ext uri="{FF2B5EF4-FFF2-40B4-BE49-F238E27FC236}">
                <a16:creationId xmlns:a16="http://schemas.microsoft.com/office/drawing/2014/main" id="{5160EFE5-8973-7457-1495-B2BD44A0FCE9}"/>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grpSp>
        <p:nvGrpSpPr>
          <p:cNvPr id="6" name="Group 26">
            <a:extLst>
              <a:ext uri="{FF2B5EF4-FFF2-40B4-BE49-F238E27FC236}">
                <a16:creationId xmlns:a16="http://schemas.microsoft.com/office/drawing/2014/main" id="{DC5F432C-D7C4-C399-00B4-A20B3E72E34C}"/>
              </a:ext>
            </a:extLst>
          </p:cNvPr>
          <p:cNvGrpSpPr/>
          <p:nvPr/>
        </p:nvGrpSpPr>
        <p:grpSpPr>
          <a:xfrm>
            <a:off x="0" y="5020349"/>
            <a:ext cx="12191996" cy="1837651"/>
            <a:chOff x="0" y="5020348"/>
            <a:chExt cx="12191996" cy="1837651"/>
          </a:xfrm>
        </p:grpSpPr>
        <p:sp>
          <p:nvSpPr>
            <p:cNvPr id="7" name="Freeform 27">
              <a:extLst>
                <a:ext uri="{FF2B5EF4-FFF2-40B4-BE49-F238E27FC236}">
                  <a16:creationId xmlns:a16="http://schemas.microsoft.com/office/drawing/2014/main" id="{C42E585B-962B-0F85-B6EB-F07C999B4B90}"/>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8" name="Freeform 28">
              <a:extLst>
                <a:ext uri="{FF2B5EF4-FFF2-40B4-BE49-F238E27FC236}">
                  <a16:creationId xmlns:a16="http://schemas.microsoft.com/office/drawing/2014/main" id="{6EA92053-1E5D-0916-787D-56FFAC42AE8B}"/>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9" name="Picture 29">
              <a:extLst>
                <a:ext uri="{FF2B5EF4-FFF2-40B4-BE49-F238E27FC236}">
                  <a16:creationId xmlns:a16="http://schemas.microsoft.com/office/drawing/2014/main" id="{6B864D20-0FA6-21F1-378B-9F1FB443364A}"/>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1265342883"/>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 name="Group 21">
            <a:extLst>
              <a:ext uri="{FF2B5EF4-FFF2-40B4-BE49-F238E27FC236}">
                <a16:creationId xmlns:a16="http://schemas.microsoft.com/office/drawing/2014/main" id="{4C9A87D6-AB80-487D-041B-FDBB3623FD8E}"/>
              </a:ext>
            </a:extLst>
          </p:cNvPr>
          <p:cNvGrpSpPr/>
          <p:nvPr/>
        </p:nvGrpSpPr>
        <p:grpSpPr>
          <a:xfrm>
            <a:off x="7191545" y="0"/>
            <a:ext cx="5000460" cy="1425988"/>
            <a:chOff x="7191545" y="0"/>
            <a:chExt cx="5000460" cy="1425988"/>
          </a:xfrm>
        </p:grpSpPr>
        <p:pic>
          <p:nvPicPr>
            <p:cNvPr id="3" name="Picture 22">
              <a:extLst>
                <a:ext uri="{FF2B5EF4-FFF2-40B4-BE49-F238E27FC236}">
                  <a16:creationId xmlns:a16="http://schemas.microsoft.com/office/drawing/2014/main" id="{ABF4ABE6-5BA5-0B50-BF4B-E6F8A4011A2E}"/>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23">
              <a:extLst>
                <a:ext uri="{FF2B5EF4-FFF2-40B4-BE49-F238E27FC236}">
                  <a16:creationId xmlns:a16="http://schemas.microsoft.com/office/drawing/2014/main" id="{5FED1C01-D9A1-5CF6-C0FF-E2A14A5B16D3}"/>
                </a:ext>
              </a:extLst>
            </p:cNvPr>
            <p:cNvGrpSpPr/>
            <p:nvPr/>
          </p:nvGrpSpPr>
          <p:grpSpPr>
            <a:xfrm>
              <a:off x="7191545" y="0"/>
              <a:ext cx="5000460" cy="1425988"/>
              <a:chOff x="7191545" y="0"/>
              <a:chExt cx="5000460" cy="1425988"/>
            </a:xfrm>
          </p:grpSpPr>
          <p:sp>
            <p:nvSpPr>
              <p:cNvPr id="5" name="Freeform 24">
                <a:extLst>
                  <a:ext uri="{FF2B5EF4-FFF2-40B4-BE49-F238E27FC236}">
                    <a16:creationId xmlns:a16="http://schemas.microsoft.com/office/drawing/2014/main" id="{BC53B8DF-BFFB-DEA1-8E78-2953FF5E1B49}"/>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25">
                <a:extLst>
                  <a:ext uri="{FF2B5EF4-FFF2-40B4-BE49-F238E27FC236}">
                    <a16:creationId xmlns:a16="http://schemas.microsoft.com/office/drawing/2014/main" id="{2185D3F6-39FC-6DCE-21F2-8A9C51A26742}"/>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AD14579B-159B-892C-6C3D-7DA1EDF4DF45}"/>
              </a:ext>
            </a:extLst>
          </p:cNvPr>
          <p:cNvSpPr txBox="1">
            <a:spLocks noGrp="1"/>
          </p:cNvSpPr>
          <p:nvPr>
            <p:ph type="title"/>
          </p:nvPr>
        </p:nvSpPr>
        <p:spPr/>
        <p:txBody>
          <a:bodyPr/>
          <a:lstStyle>
            <a:lvl1pPr>
              <a:defRPr/>
            </a:lvl1pPr>
          </a:lstStyle>
          <a:p>
            <a:pPr lvl="0"/>
            <a:r>
              <a:rPr lang="en-US"/>
              <a:t>Click to edit Master title style</a:t>
            </a:r>
          </a:p>
        </p:txBody>
      </p:sp>
      <p:sp>
        <p:nvSpPr>
          <p:cNvPr id="8" name="Slide Number Placeholder 5">
            <a:extLst>
              <a:ext uri="{FF2B5EF4-FFF2-40B4-BE49-F238E27FC236}">
                <a16:creationId xmlns:a16="http://schemas.microsoft.com/office/drawing/2014/main" id="{7C5F886F-7DFE-E85D-ED76-DC0F0579DDF9}"/>
              </a:ext>
            </a:extLst>
          </p:cNvPr>
          <p:cNvSpPr txBox="1">
            <a:spLocks noGrp="1"/>
          </p:cNvSpPr>
          <p:nvPr>
            <p:ph type="sldNum" sz="quarter" idx="8"/>
          </p:nvPr>
        </p:nvSpPr>
        <p:spPr/>
        <p:txBody>
          <a:bodyPr/>
          <a:lstStyle>
            <a:lvl1pPr>
              <a:defRPr/>
            </a:lvl1pPr>
          </a:lstStyle>
          <a:p>
            <a:pPr lvl="0"/>
            <a:fld id="{6BE7782E-EC05-401E-842E-06726A73B3AE}" type="slidenum">
              <a:t>‹#›</a:t>
            </a:fld>
            <a:endParaRPr lang="en-US"/>
          </a:p>
        </p:txBody>
      </p:sp>
      <p:cxnSp>
        <p:nvCxnSpPr>
          <p:cNvPr id="9" name="Straight Connector 6">
            <a:extLst>
              <a:ext uri="{FF2B5EF4-FFF2-40B4-BE49-F238E27FC236}">
                <a16:creationId xmlns:a16="http://schemas.microsoft.com/office/drawing/2014/main" id="{BFA0D6DC-8722-D6C0-C3A1-59A7645D1DD1}"/>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0" name="Footer Placeholder 2">
            <a:extLst>
              <a:ext uri="{FF2B5EF4-FFF2-40B4-BE49-F238E27FC236}">
                <a16:creationId xmlns:a16="http://schemas.microsoft.com/office/drawing/2014/main" id="{FBBDC517-B419-C9CE-9555-11102B3C1C70}"/>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366058832"/>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3_End">
    <p:spTree>
      <p:nvGrpSpPr>
        <p:cNvPr id="1" name=""/>
        <p:cNvGrpSpPr/>
        <p:nvPr/>
      </p:nvGrpSpPr>
      <p:grpSpPr>
        <a:xfrm>
          <a:off x="0" y="0"/>
          <a:ext cx="0" cy="0"/>
          <a:chOff x="0" y="0"/>
          <a:chExt cx="0" cy="0"/>
        </a:xfrm>
      </p:grpSpPr>
      <p:grpSp>
        <p:nvGrpSpPr>
          <p:cNvPr id="2" name="Group 41">
            <a:extLst>
              <a:ext uri="{FF2B5EF4-FFF2-40B4-BE49-F238E27FC236}">
                <a16:creationId xmlns:a16="http://schemas.microsoft.com/office/drawing/2014/main" id="{5D6FB967-C188-7A77-B115-130FF9C90D30}"/>
              </a:ext>
            </a:extLst>
          </p:cNvPr>
          <p:cNvGrpSpPr/>
          <p:nvPr/>
        </p:nvGrpSpPr>
        <p:grpSpPr>
          <a:xfrm>
            <a:off x="0" y="0"/>
            <a:ext cx="12191996" cy="2148830"/>
            <a:chOff x="0" y="0"/>
            <a:chExt cx="12191996" cy="2148830"/>
          </a:xfrm>
        </p:grpSpPr>
        <p:sp>
          <p:nvSpPr>
            <p:cNvPr id="3" name="Freeform 40">
              <a:extLst>
                <a:ext uri="{FF2B5EF4-FFF2-40B4-BE49-F238E27FC236}">
                  <a16:creationId xmlns:a16="http://schemas.microsoft.com/office/drawing/2014/main" id="{B363F04D-A2D5-8808-E815-6FBE569BFD7E}"/>
                </a:ext>
              </a:extLst>
            </p:cNvPr>
            <p:cNvSpPr/>
            <p:nvPr/>
          </p:nvSpPr>
          <p:spPr>
            <a:xfrm flipH="1">
              <a:off x="0" y="0"/>
              <a:ext cx="12191996" cy="2148830"/>
            </a:xfrm>
            <a:custGeom>
              <a:avLst/>
              <a:gdLst>
                <a:gd name="f0" fmla="val 10800000"/>
                <a:gd name="f1" fmla="val 5400000"/>
                <a:gd name="f2" fmla="val 180"/>
                <a:gd name="f3" fmla="val w"/>
                <a:gd name="f4" fmla="val h"/>
                <a:gd name="f5" fmla="val 0"/>
                <a:gd name="f6" fmla="val 12192000"/>
                <a:gd name="f7" fmla="val 2148830"/>
                <a:gd name="f8" fmla="val 2318293"/>
                <a:gd name="f9" fmla="val 2110341"/>
                <a:gd name="f10" fmla="val 1952334"/>
                <a:gd name="f11" fmla="val 920"/>
                <a:gd name="f12" fmla="val 1343499"/>
                <a:gd name="f13" fmla="val 23864"/>
                <a:gd name="f14" fmla="val 752130"/>
                <a:gd name="f15" fmla="val 152982"/>
                <a:gd name="f16" fmla="val 184205"/>
                <a:gd name="f17" fmla="val 435928"/>
                <a:gd name="f18" fmla="val 536864"/>
                <a:gd name="f19" fmla="val 554713"/>
                <a:gd name="f20" fmla="val 201115"/>
                <a:gd name="f21" fmla="val 452796"/>
                <a:gd name="f22" fmla="val 776357"/>
                <a:gd name="f23" fmla="val 187336"/>
                <a:gd name="f24" fmla="val 1349828"/>
                <a:gd name="f25" fmla="val 76760"/>
                <a:gd name="f26" fmla="val 1947588"/>
                <a:gd name="f27" fmla="val 66249"/>
                <a:gd name="f28" fmla="val 2962940"/>
                <a:gd name="f29" fmla="val 48421"/>
                <a:gd name="f30" fmla="val 3890218"/>
                <a:gd name="f31" fmla="val 291317"/>
                <a:gd name="f32" fmla="val 4778140"/>
                <a:gd name="f33" fmla="val 604018"/>
                <a:gd name="f34" fmla="val 7231510"/>
                <a:gd name="f35" fmla="val 1468126"/>
                <a:gd name="f36" fmla="val 9178927"/>
                <a:gd name="f37" fmla="val 2492024"/>
                <a:gd name="f38" fmla="val 11996242"/>
                <a:gd name="f39" fmla="val 2036894"/>
                <a:gd name="f40" fmla="val 2002266"/>
                <a:gd name="f41" fmla="val 1415250"/>
                <a:gd name="f42" fmla="val 12022971"/>
                <a:gd name="f43" fmla="val 1470801"/>
                <a:gd name="f44" fmla="val 10719696"/>
                <a:gd name="f45" fmla="val 1863939"/>
                <a:gd name="f46" fmla="val 9271154"/>
                <a:gd name="f47" fmla="val 1783804"/>
                <a:gd name="f48" fmla="val 7970940"/>
                <a:gd name="f49" fmla="val 1436986"/>
                <a:gd name="f50" fmla="val 6890984"/>
                <a:gd name="f51" fmla="val 1148958"/>
                <a:gd name="f52" fmla="val 5866930"/>
                <a:gd name="f53" fmla="val 767309"/>
                <a:gd name="f54" fmla="val 4800356"/>
                <a:gd name="f55" fmla="val 456582"/>
                <a:gd name="f56" fmla="val 4068903"/>
                <a:gd name="f57" fmla="val 243471"/>
                <a:gd name="f58" fmla="val 3348204"/>
                <a:gd name="f59" fmla="val 74251"/>
                <a:gd name="f60" fmla="val 2646880"/>
                <a:gd name="f61" fmla="val 17560"/>
                <a:gd name="f62" fmla="+- 0 0 -90"/>
                <a:gd name="f63" fmla="*/ f3 1 12192000"/>
                <a:gd name="f64" fmla="*/ f4 1 2148830"/>
                <a:gd name="f65" fmla="+- f7 0 f5"/>
                <a:gd name="f66" fmla="+- f6 0 f5"/>
                <a:gd name="f67" fmla="*/ f62 f0 1"/>
                <a:gd name="f68" fmla="*/ f66 1 12192000"/>
                <a:gd name="f69" fmla="*/ f65 1 2148830"/>
                <a:gd name="f70" fmla="*/ 2318293 f66 1"/>
                <a:gd name="f71" fmla="*/ 0 f65 1"/>
                <a:gd name="f72" fmla="*/ 2110341 f66 1"/>
                <a:gd name="f73" fmla="*/ 1952334 f66 1"/>
                <a:gd name="f74" fmla="*/ 920 f65 1"/>
                <a:gd name="f75" fmla="*/ 184205 f66 1"/>
                <a:gd name="f76" fmla="*/ 435928 f65 1"/>
                <a:gd name="f77" fmla="*/ 0 f66 1"/>
                <a:gd name="f78" fmla="*/ 536864 f65 1"/>
                <a:gd name="f79" fmla="*/ 554713 f65 1"/>
                <a:gd name="f80" fmla="*/ 201115 f66 1"/>
                <a:gd name="f81" fmla="*/ 452796 f65 1"/>
                <a:gd name="f82" fmla="*/ 1947588 f66 1"/>
                <a:gd name="f83" fmla="*/ 66249 f65 1"/>
                <a:gd name="f84" fmla="*/ 4778140 f66 1"/>
                <a:gd name="f85" fmla="*/ 604018 f65 1"/>
                <a:gd name="f86" fmla="*/ 11996242 f66 1"/>
                <a:gd name="f87" fmla="*/ 2036894 f65 1"/>
                <a:gd name="f88" fmla="*/ 12192000 f66 1"/>
                <a:gd name="f89" fmla="*/ 2002266 f65 1"/>
                <a:gd name="f90" fmla="*/ 1415250 f65 1"/>
                <a:gd name="f91" fmla="*/ 12022971 f66 1"/>
                <a:gd name="f92" fmla="*/ 1470801 f65 1"/>
                <a:gd name="f93" fmla="*/ 7970940 f66 1"/>
                <a:gd name="f94" fmla="*/ 1436986 f65 1"/>
                <a:gd name="f95" fmla="*/ 4800356 f66 1"/>
                <a:gd name="f96" fmla="*/ 456582 f65 1"/>
                <a:gd name="f97" fmla="*/ 2646880 f66 1"/>
                <a:gd name="f98" fmla="*/ 17560 f65 1"/>
                <a:gd name="f99" fmla="*/ f67 1 f2"/>
                <a:gd name="f100" fmla="*/ f70 1 12192000"/>
                <a:gd name="f101" fmla="*/ f71 1 2148830"/>
                <a:gd name="f102" fmla="*/ f72 1 12192000"/>
                <a:gd name="f103" fmla="*/ f73 1 12192000"/>
                <a:gd name="f104" fmla="*/ f74 1 2148830"/>
                <a:gd name="f105" fmla="*/ f75 1 12192000"/>
                <a:gd name="f106" fmla="*/ f76 1 2148830"/>
                <a:gd name="f107" fmla="*/ f77 1 12192000"/>
                <a:gd name="f108" fmla="*/ f78 1 2148830"/>
                <a:gd name="f109" fmla="*/ f79 1 2148830"/>
                <a:gd name="f110" fmla="*/ f80 1 12192000"/>
                <a:gd name="f111" fmla="*/ f81 1 2148830"/>
                <a:gd name="f112" fmla="*/ f82 1 12192000"/>
                <a:gd name="f113" fmla="*/ f83 1 2148830"/>
                <a:gd name="f114" fmla="*/ f84 1 12192000"/>
                <a:gd name="f115" fmla="*/ f85 1 2148830"/>
                <a:gd name="f116" fmla="*/ f86 1 12192000"/>
                <a:gd name="f117" fmla="*/ f87 1 2148830"/>
                <a:gd name="f118" fmla="*/ f88 1 12192000"/>
                <a:gd name="f119" fmla="*/ f89 1 2148830"/>
                <a:gd name="f120" fmla="*/ f90 1 2148830"/>
                <a:gd name="f121" fmla="*/ f91 1 12192000"/>
                <a:gd name="f122" fmla="*/ f92 1 2148830"/>
                <a:gd name="f123" fmla="*/ f93 1 12192000"/>
                <a:gd name="f124" fmla="*/ f94 1 2148830"/>
                <a:gd name="f125" fmla="*/ f95 1 12192000"/>
                <a:gd name="f126" fmla="*/ f96 1 2148830"/>
                <a:gd name="f127" fmla="*/ f97 1 12192000"/>
                <a:gd name="f128" fmla="*/ f98 1 2148830"/>
                <a:gd name="f129" fmla="*/ f5 1 f68"/>
                <a:gd name="f130" fmla="*/ f6 1 f68"/>
                <a:gd name="f131" fmla="*/ f5 1 f69"/>
                <a:gd name="f132" fmla="*/ f7 1 f69"/>
                <a:gd name="f133" fmla="+- f99 0 f1"/>
                <a:gd name="f134" fmla="*/ f100 1 f68"/>
                <a:gd name="f135" fmla="*/ f101 1 f69"/>
                <a:gd name="f136" fmla="*/ f102 1 f68"/>
                <a:gd name="f137" fmla="*/ f103 1 f68"/>
                <a:gd name="f138" fmla="*/ f104 1 f69"/>
                <a:gd name="f139" fmla="*/ f105 1 f68"/>
                <a:gd name="f140" fmla="*/ f106 1 f69"/>
                <a:gd name="f141" fmla="*/ f107 1 f68"/>
                <a:gd name="f142" fmla="*/ f108 1 f69"/>
                <a:gd name="f143" fmla="*/ f109 1 f69"/>
                <a:gd name="f144" fmla="*/ f110 1 f68"/>
                <a:gd name="f145" fmla="*/ f111 1 f69"/>
                <a:gd name="f146" fmla="*/ f112 1 f68"/>
                <a:gd name="f147" fmla="*/ f113 1 f69"/>
                <a:gd name="f148" fmla="*/ f114 1 f68"/>
                <a:gd name="f149" fmla="*/ f115 1 f69"/>
                <a:gd name="f150" fmla="*/ f116 1 f68"/>
                <a:gd name="f151" fmla="*/ f117 1 f69"/>
                <a:gd name="f152" fmla="*/ f118 1 f68"/>
                <a:gd name="f153" fmla="*/ f119 1 f69"/>
                <a:gd name="f154" fmla="*/ f120 1 f69"/>
                <a:gd name="f155" fmla="*/ f121 1 f68"/>
                <a:gd name="f156" fmla="*/ f122 1 f69"/>
                <a:gd name="f157" fmla="*/ f123 1 f68"/>
                <a:gd name="f158" fmla="*/ f124 1 f69"/>
                <a:gd name="f159" fmla="*/ f125 1 f68"/>
                <a:gd name="f160" fmla="*/ f126 1 f69"/>
                <a:gd name="f161" fmla="*/ f127 1 f68"/>
                <a:gd name="f162" fmla="*/ f128 1 f69"/>
                <a:gd name="f163" fmla="*/ f129 f63 1"/>
                <a:gd name="f164" fmla="*/ f130 f63 1"/>
                <a:gd name="f165" fmla="*/ f132 f64 1"/>
                <a:gd name="f166" fmla="*/ f131 f64 1"/>
                <a:gd name="f167" fmla="*/ f134 f63 1"/>
                <a:gd name="f168" fmla="*/ f135 f64 1"/>
                <a:gd name="f169" fmla="*/ f136 f63 1"/>
                <a:gd name="f170" fmla="*/ f137 f63 1"/>
                <a:gd name="f171" fmla="*/ f138 f64 1"/>
                <a:gd name="f172" fmla="*/ f139 f63 1"/>
                <a:gd name="f173" fmla="*/ f140 f64 1"/>
                <a:gd name="f174" fmla="*/ f141 f63 1"/>
                <a:gd name="f175" fmla="*/ f142 f64 1"/>
                <a:gd name="f176" fmla="*/ f143 f64 1"/>
                <a:gd name="f177" fmla="*/ f144 f63 1"/>
                <a:gd name="f178" fmla="*/ f145 f64 1"/>
                <a:gd name="f179" fmla="*/ f146 f63 1"/>
                <a:gd name="f180" fmla="*/ f147 f64 1"/>
                <a:gd name="f181" fmla="*/ f148 f63 1"/>
                <a:gd name="f182" fmla="*/ f149 f64 1"/>
                <a:gd name="f183" fmla="*/ f150 f63 1"/>
                <a:gd name="f184" fmla="*/ f151 f64 1"/>
                <a:gd name="f185" fmla="*/ f152 f63 1"/>
                <a:gd name="f186" fmla="*/ f153 f64 1"/>
                <a:gd name="f187" fmla="*/ f154 f64 1"/>
                <a:gd name="f188" fmla="*/ f155 f63 1"/>
                <a:gd name="f189" fmla="*/ f156 f64 1"/>
                <a:gd name="f190" fmla="*/ f157 f63 1"/>
                <a:gd name="f191" fmla="*/ f158 f64 1"/>
                <a:gd name="f192" fmla="*/ f159 f63 1"/>
                <a:gd name="f193" fmla="*/ f160 f64 1"/>
                <a:gd name="f194" fmla="*/ f161 f63 1"/>
                <a:gd name="f195" fmla="*/ f162 f64 1"/>
              </a:gdLst>
              <a:ahLst/>
              <a:cxnLst>
                <a:cxn ang="3cd4">
                  <a:pos x="hc" y="t"/>
                </a:cxn>
                <a:cxn ang="0">
                  <a:pos x="r" y="vc"/>
                </a:cxn>
                <a:cxn ang="cd4">
                  <a:pos x="hc" y="b"/>
                </a:cxn>
                <a:cxn ang="cd2">
                  <a:pos x="l" y="vc"/>
                </a:cxn>
                <a:cxn ang="f133">
                  <a:pos x="f167" y="f168"/>
                </a:cxn>
                <a:cxn ang="f133">
                  <a:pos x="f169" y="f168"/>
                </a:cxn>
                <a:cxn ang="f133">
                  <a:pos x="f170" y="f171"/>
                </a:cxn>
                <a:cxn ang="f133">
                  <a:pos x="f172" y="f173"/>
                </a:cxn>
                <a:cxn ang="f133">
                  <a:pos x="f174" y="f175"/>
                </a:cxn>
                <a:cxn ang="f133">
                  <a:pos x="f174" y="f176"/>
                </a:cxn>
                <a:cxn ang="f133">
                  <a:pos x="f177" y="f178"/>
                </a:cxn>
                <a:cxn ang="f133">
                  <a:pos x="f179" y="f180"/>
                </a:cxn>
                <a:cxn ang="f133">
                  <a:pos x="f181" y="f182"/>
                </a:cxn>
                <a:cxn ang="f133">
                  <a:pos x="f183" y="f184"/>
                </a:cxn>
                <a:cxn ang="f133">
                  <a:pos x="f185" y="f186"/>
                </a:cxn>
                <a:cxn ang="f133">
                  <a:pos x="f185" y="f187"/>
                </a:cxn>
                <a:cxn ang="f133">
                  <a:pos x="f188" y="f189"/>
                </a:cxn>
                <a:cxn ang="f133">
                  <a:pos x="f190" y="f191"/>
                </a:cxn>
                <a:cxn ang="f133">
                  <a:pos x="f192" y="f193"/>
                </a:cxn>
                <a:cxn ang="f133">
                  <a:pos x="f194" y="f195"/>
                </a:cxn>
              </a:cxnLst>
              <a:rect l="f163" t="f166" r="f164" b="f165"/>
              <a:pathLst>
                <a:path w="12192000" h="2148830">
                  <a:moveTo>
                    <a:pt x="f8" y="f5"/>
                  </a:moveTo>
                  <a:lnTo>
                    <a:pt x="f9" y="f5"/>
                  </a:lnTo>
                  <a:lnTo>
                    <a:pt x="f10" y="f11"/>
                  </a:lnTo>
                  <a:cubicBezTo>
                    <a:pt x="f12" y="f13"/>
                    <a:pt x="f14" y="f15"/>
                    <a:pt x="f16" y="f17"/>
                  </a:cubicBezTo>
                  <a:lnTo>
                    <a:pt x="f5" y="f18"/>
                  </a:lnTo>
                  <a:lnTo>
                    <a:pt x="f5" y="f19"/>
                  </a:lnTo>
                  <a:lnTo>
                    <a:pt x="f20" y="f21"/>
                  </a:lnTo>
                  <a:cubicBezTo>
                    <a:pt x="f22" y="f23"/>
                    <a:pt x="f24" y="f25"/>
                    <a:pt x="f26" y="f27"/>
                  </a:cubicBezTo>
                  <a:cubicBezTo>
                    <a:pt x="f28" y="f29"/>
                    <a:pt x="f30" y="f31"/>
                    <a:pt x="f32" y="f33"/>
                  </a:cubicBezTo>
                  <a:cubicBezTo>
                    <a:pt x="f34" y="f35"/>
                    <a:pt x="f36" y="f37"/>
                    <a:pt x="f38" y="f39"/>
                  </a:cubicBezTo>
                  <a:lnTo>
                    <a:pt x="f6" y="f40"/>
                  </a:lnTo>
                  <a:lnTo>
                    <a:pt x="f6" y="f41"/>
                  </a:lnTo>
                  <a:lnTo>
                    <a:pt x="f42" y="f43"/>
                  </a:lnTo>
                  <a:cubicBezTo>
                    <a:pt x="f44" y="f45"/>
                    <a:pt x="f46" y="f47"/>
                    <a:pt x="f48" y="f49"/>
                  </a:cubicBezTo>
                  <a:cubicBezTo>
                    <a:pt x="f50" y="f51"/>
                    <a:pt x="f52" y="f53"/>
                    <a:pt x="f54" y="f55"/>
                  </a:cubicBezTo>
                  <a:cubicBezTo>
                    <a:pt x="f56" y="f57"/>
                    <a:pt x="f58" y="f59"/>
                    <a:pt x="f60" y="f61"/>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4" name="Freeform 38">
              <a:extLst>
                <a:ext uri="{FF2B5EF4-FFF2-40B4-BE49-F238E27FC236}">
                  <a16:creationId xmlns:a16="http://schemas.microsoft.com/office/drawing/2014/main" id="{F84BB6DF-4700-1083-15A7-B3BF2EE30BD4}"/>
                </a:ext>
              </a:extLst>
            </p:cNvPr>
            <p:cNvSpPr/>
            <p:nvPr/>
          </p:nvSpPr>
          <p:spPr>
            <a:xfrm flipH="1">
              <a:off x="0" y="0"/>
              <a:ext cx="12191996" cy="1992139"/>
            </a:xfrm>
            <a:custGeom>
              <a:avLst/>
              <a:gdLst>
                <a:gd name="f0" fmla="val 10800000"/>
                <a:gd name="f1" fmla="val 5400000"/>
                <a:gd name="f2" fmla="val 180"/>
                <a:gd name="f3" fmla="val w"/>
                <a:gd name="f4" fmla="val h"/>
                <a:gd name="f5" fmla="val 0"/>
                <a:gd name="f6" fmla="val 12192000"/>
                <a:gd name="f7" fmla="val 1992138"/>
                <a:gd name="f8" fmla="val 2724271"/>
                <a:gd name="f9" fmla="val 1788442"/>
                <a:gd name="f10" fmla="val 1635403"/>
                <a:gd name="f11" fmla="val 12925"/>
                <a:gd name="f12" fmla="val 1134241"/>
                <a:gd name="f13" fmla="val 70905"/>
                <a:gd name="f14" fmla="val 647221"/>
                <a:gd name="f15" fmla="val 207817"/>
                <a:gd name="f16" fmla="val 178220"/>
                <a:gd name="f17" fmla="val 451207"/>
                <a:gd name="f18" fmla="val 552718"/>
                <a:gd name="f19" fmla="val 570885"/>
                <a:gd name="f20" fmla="val 195368"/>
                <a:gd name="f21" fmla="val 467800"/>
                <a:gd name="f22" fmla="val 765758"/>
                <a:gd name="f23" fmla="val 193094"/>
                <a:gd name="f24" fmla="val 1336955"/>
                <a:gd name="f25" fmla="val 73179"/>
                <a:gd name="f26" fmla="val 1934073"/>
                <a:gd name="f27" fmla="val 52850"/>
                <a:gd name="f28" fmla="val 2948304"/>
                <a:gd name="f29" fmla="val 18310"/>
                <a:gd name="f30" fmla="val 3878878"/>
                <a:gd name="f31" fmla="val 245747"/>
                <a:gd name="f32" fmla="val 4771217"/>
                <a:gd name="f33" fmla="val 543645"/>
                <a:gd name="f34" fmla="val 7236913"/>
                <a:gd name="f35" fmla="val 1366709"/>
                <a:gd name="f36" fmla="val 9199689"/>
                <a:gd name="f37" fmla="val 2357774"/>
                <a:gd name="f38" fmla="val 12007222"/>
                <a:gd name="f39" fmla="val 1856729"/>
                <a:gd name="f40" fmla="val 1820900"/>
                <a:gd name="f41" fmla="val 897073"/>
                <a:gd name="f42" fmla="val 12062517"/>
                <a:gd name="f43" fmla="val 950128"/>
                <a:gd name="f44" fmla="val 10950292"/>
                <a:gd name="f45" fmla="val 1376478"/>
                <a:gd name="f46" fmla="val 9595706"/>
                <a:gd name="f47" fmla="val 1466451"/>
                <a:gd name="f48" fmla="val 8435105"/>
                <a:gd name="f49" fmla="val 1266613"/>
                <a:gd name="f50" fmla="val 6618389"/>
                <a:gd name="f51" fmla="val 953715"/>
                <a:gd name="f52" fmla="val 4735222"/>
                <a:gd name="f53" fmla="val 130088"/>
                <a:gd name="f54" fmla="val 2948502"/>
                <a:gd name="f55" fmla="val 20548"/>
                <a:gd name="f56" fmla="+- 0 0 -90"/>
                <a:gd name="f57" fmla="*/ f3 1 12192000"/>
                <a:gd name="f58" fmla="*/ f4 1 1992138"/>
                <a:gd name="f59" fmla="+- f7 0 f5"/>
                <a:gd name="f60" fmla="+- f6 0 f5"/>
                <a:gd name="f61" fmla="*/ f56 f0 1"/>
                <a:gd name="f62" fmla="*/ f60 1 12192000"/>
                <a:gd name="f63" fmla="*/ f59 1 1992138"/>
                <a:gd name="f64" fmla="*/ 2724271 f60 1"/>
                <a:gd name="f65" fmla="*/ 0 f59 1"/>
                <a:gd name="f66" fmla="*/ 1788442 f60 1"/>
                <a:gd name="f67" fmla="*/ 1635403 f60 1"/>
                <a:gd name="f68" fmla="*/ 12925 f59 1"/>
                <a:gd name="f69" fmla="*/ 178220 f60 1"/>
                <a:gd name="f70" fmla="*/ 451207 f59 1"/>
                <a:gd name="f71" fmla="*/ 0 f60 1"/>
                <a:gd name="f72" fmla="*/ 552718 f59 1"/>
                <a:gd name="f73" fmla="*/ 570885 f59 1"/>
                <a:gd name="f74" fmla="*/ 195368 f60 1"/>
                <a:gd name="f75" fmla="*/ 467800 f59 1"/>
                <a:gd name="f76" fmla="*/ 1934073 f60 1"/>
                <a:gd name="f77" fmla="*/ 52850 f59 1"/>
                <a:gd name="f78" fmla="*/ 4771217 f60 1"/>
                <a:gd name="f79" fmla="*/ 543645 f59 1"/>
                <a:gd name="f80" fmla="*/ 12007222 f60 1"/>
                <a:gd name="f81" fmla="*/ 1856729 f59 1"/>
                <a:gd name="f82" fmla="*/ 12192000 f60 1"/>
                <a:gd name="f83" fmla="*/ 1820900 f59 1"/>
                <a:gd name="f84" fmla="*/ 897073 f59 1"/>
                <a:gd name="f85" fmla="*/ 12062517 f60 1"/>
                <a:gd name="f86" fmla="*/ 950128 f59 1"/>
                <a:gd name="f87" fmla="*/ 8435105 f60 1"/>
                <a:gd name="f88" fmla="*/ 1266613 f59 1"/>
                <a:gd name="f89" fmla="*/ 2948502 f60 1"/>
                <a:gd name="f90" fmla="*/ 20548 f59 1"/>
                <a:gd name="f91" fmla="*/ f61 1 f2"/>
                <a:gd name="f92" fmla="*/ f64 1 12192000"/>
                <a:gd name="f93" fmla="*/ f65 1 1992138"/>
                <a:gd name="f94" fmla="*/ f66 1 12192000"/>
                <a:gd name="f95" fmla="*/ f67 1 12192000"/>
                <a:gd name="f96" fmla="*/ f68 1 1992138"/>
                <a:gd name="f97" fmla="*/ f69 1 12192000"/>
                <a:gd name="f98" fmla="*/ f70 1 1992138"/>
                <a:gd name="f99" fmla="*/ f71 1 12192000"/>
                <a:gd name="f100" fmla="*/ f72 1 1992138"/>
                <a:gd name="f101" fmla="*/ f73 1 1992138"/>
                <a:gd name="f102" fmla="*/ f74 1 12192000"/>
                <a:gd name="f103" fmla="*/ f75 1 1992138"/>
                <a:gd name="f104" fmla="*/ f76 1 12192000"/>
                <a:gd name="f105" fmla="*/ f77 1 1992138"/>
                <a:gd name="f106" fmla="*/ f78 1 12192000"/>
                <a:gd name="f107" fmla="*/ f79 1 1992138"/>
                <a:gd name="f108" fmla="*/ f80 1 12192000"/>
                <a:gd name="f109" fmla="*/ f81 1 1992138"/>
                <a:gd name="f110" fmla="*/ f82 1 12192000"/>
                <a:gd name="f111" fmla="*/ f83 1 1992138"/>
                <a:gd name="f112" fmla="*/ f84 1 1992138"/>
                <a:gd name="f113" fmla="*/ f85 1 12192000"/>
                <a:gd name="f114" fmla="*/ f86 1 1992138"/>
                <a:gd name="f115" fmla="*/ f87 1 12192000"/>
                <a:gd name="f116" fmla="*/ f88 1 1992138"/>
                <a:gd name="f117" fmla="*/ f89 1 12192000"/>
                <a:gd name="f118" fmla="*/ f90 1 1992138"/>
                <a:gd name="f119" fmla="*/ f5 1 f62"/>
                <a:gd name="f120" fmla="*/ f6 1 f62"/>
                <a:gd name="f121" fmla="*/ f5 1 f63"/>
                <a:gd name="f122" fmla="*/ f7 1 f63"/>
                <a:gd name="f123" fmla="+- f91 0 f1"/>
                <a:gd name="f124" fmla="*/ f92 1 f62"/>
                <a:gd name="f125" fmla="*/ f93 1 f63"/>
                <a:gd name="f126" fmla="*/ f94 1 f62"/>
                <a:gd name="f127" fmla="*/ f95 1 f62"/>
                <a:gd name="f128" fmla="*/ f96 1 f63"/>
                <a:gd name="f129" fmla="*/ f97 1 f62"/>
                <a:gd name="f130" fmla="*/ f98 1 f63"/>
                <a:gd name="f131" fmla="*/ f99 1 f62"/>
                <a:gd name="f132" fmla="*/ f100 1 f63"/>
                <a:gd name="f133" fmla="*/ f101 1 f63"/>
                <a:gd name="f134" fmla="*/ f102 1 f62"/>
                <a:gd name="f135" fmla="*/ f103 1 f63"/>
                <a:gd name="f136" fmla="*/ f104 1 f62"/>
                <a:gd name="f137" fmla="*/ f105 1 f63"/>
                <a:gd name="f138" fmla="*/ f106 1 f62"/>
                <a:gd name="f139" fmla="*/ f107 1 f63"/>
                <a:gd name="f140" fmla="*/ f108 1 f62"/>
                <a:gd name="f141" fmla="*/ f109 1 f63"/>
                <a:gd name="f142" fmla="*/ f110 1 f62"/>
                <a:gd name="f143" fmla="*/ f111 1 f63"/>
                <a:gd name="f144" fmla="*/ f112 1 f63"/>
                <a:gd name="f145" fmla="*/ f113 1 f62"/>
                <a:gd name="f146" fmla="*/ f114 1 f63"/>
                <a:gd name="f147" fmla="*/ f115 1 f62"/>
                <a:gd name="f148" fmla="*/ f116 1 f63"/>
                <a:gd name="f149" fmla="*/ f117 1 f62"/>
                <a:gd name="f150" fmla="*/ f118 1 f63"/>
                <a:gd name="f151" fmla="*/ f119 f57 1"/>
                <a:gd name="f152" fmla="*/ f120 f57 1"/>
                <a:gd name="f153" fmla="*/ f122 f58 1"/>
                <a:gd name="f154" fmla="*/ f121 f58 1"/>
                <a:gd name="f155" fmla="*/ f124 f57 1"/>
                <a:gd name="f156" fmla="*/ f125 f58 1"/>
                <a:gd name="f157" fmla="*/ f126 f57 1"/>
                <a:gd name="f158" fmla="*/ f127 f57 1"/>
                <a:gd name="f159" fmla="*/ f128 f58 1"/>
                <a:gd name="f160" fmla="*/ f129 f57 1"/>
                <a:gd name="f161" fmla="*/ f130 f58 1"/>
                <a:gd name="f162" fmla="*/ f131 f57 1"/>
                <a:gd name="f163" fmla="*/ f132 f58 1"/>
                <a:gd name="f164" fmla="*/ f133 f58 1"/>
                <a:gd name="f165" fmla="*/ f134 f57 1"/>
                <a:gd name="f166" fmla="*/ f135 f58 1"/>
                <a:gd name="f167" fmla="*/ f136 f57 1"/>
                <a:gd name="f168" fmla="*/ f137 f58 1"/>
                <a:gd name="f169" fmla="*/ f138 f57 1"/>
                <a:gd name="f170" fmla="*/ f139 f58 1"/>
                <a:gd name="f171" fmla="*/ f140 f57 1"/>
                <a:gd name="f172" fmla="*/ f141 f58 1"/>
                <a:gd name="f173" fmla="*/ f142 f57 1"/>
                <a:gd name="f174" fmla="*/ f143 f58 1"/>
                <a:gd name="f175" fmla="*/ f144 f58 1"/>
                <a:gd name="f176" fmla="*/ f145 f57 1"/>
                <a:gd name="f177" fmla="*/ f146 f58 1"/>
                <a:gd name="f178" fmla="*/ f147 f57 1"/>
                <a:gd name="f179" fmla="*/ f148 f58 1"/>
                <a:gd name="f180" fmla="*/ f149 f57 1"/>
                <a:gd name="f181" fmla="*/ f150 f58 1"/>
              </a:gdLst>
              <a:ahLst/>
              <a:cxnLst>
                <a:cxn ang="3cd4">
                  <a:pos x="hc" y="t"/>
                </a:cxn>
                <a:cxn ang="0">
                  <a:pos x="r" y="vc"/>
                </a:cxn>
                <a:cxn ang="cd4">
                  <a:pos x="hc" y="b"/>
                </a:cxn>
                <a:cxn ang="cd2">
                  <a:pos x="l" y="vc"/>
                </a:cxn>
                <a:cxn ang="f123">
                  <a:pos x="f155" y="f156"/>
                </a:cxn>
                <a:cxn ang="f123">
                  <a:pos x="f157" y="f156"/>
                </a:cxn>
                <a:cxn ang="f123">
                  <a:pos x="f158" y="f159"/>
                </a:cxn>
                <a:cxn ang="f123">
                  <a:pos x="f160" y="f161"/>
                </a:cxn>
                <a:cxn ang="f123">
                  <a:pos x="f162" y="f163"/>
                </a:cxn>
                <a:cxn ang="f123">
                  <a:pos x="f162" y="f164"/>
                </a:cxn>
                <a:cxn ang="f123">
                  <a:pos x="f165" y="f166"/>
                </a:cxn>
                <a:cxn ang="f123">
                  <a:pos x="f167" y="f168"/>
                </a:cxn>
                <a:cxn ang="f123">
                  <a:pos x="f169" y="f170"/>
                </a:cxn>
                <a:cxn ang="f123">
                  <a:pos x="f171" y="f172"/>
                </a:cxn>
                <a:cxn ang="f123">
                  <a:pos x="f173" y="f174"/>
                </a:cxn>
                <a:cxn ang="f123">
                  <a:pos x="f173" y="f175"/>
                </a:cxn>
                <a:cxn ang="f123">
                  <a:pos x="f176" y="f177"/>
                </a:cxn>
                <a:cxn ang="f123">
                  <a:pos x="f178" y="f179"/>
                </a:cxn>
                <a:cxn ang="f123">
                  <a:pos x="f180" y="f181"/>
                </a:cxn>
              </a:cxnLst>
              <a:rect l="f151" t="f154" r="f152" b="f153"/>
              <a:pathLst>
                <a:path w="12192000" h="1992138">
                  <a:moveTo>
                    <a:pt x="f8" y="f5"/>
                  </a:moveTo>
                  <a:lnTo>
                    <a:pt x="f9" y="f5"/>
                  </a:lnTo>
                  <a:lnTo>
                    <a:pt x="f10" y="f11"/>
                  </a:lnTo>
                  <a:cubicBezTo>
                    <a:pt x="f12" y="f13"/>
                    <a:pt x="f14" y="f15"/>
                    <a:pt x="f16" y="f17"/>
                  </a:cubicBezTo>
                  <a:lnTo>
                    <a:pt x="f5" y="f18"/>
                  </a:lnTo>
                  <a:lnTo>
                    <a:pt x="f5" y="f19"/>
                  </a:lnTo>
                  <a:lnTo>
                    <a:pt x="f20" y="f21"/>
                  </a:lnTo>
                  <a:cubicBezTo>
                    <a:pt x="f22" y="f23"/>
                    <a:pt x="f24" y="f25"/>
                    <a:pt x="f26" y="f27"/>
                  </a:cubicBezTo>
                  <a:cubicBezTo>
                    <a:pt x="f28" y="f29"/>
                    <a:pt x="f30" y="f31"/>
                    <a:pt x="f32" y="f33"/>
                  </a:cubicBezTo>
                  <a:cubicBezTo>
                    <a:pt x="f34" y="f35"/>
                    <a:pt x="f36" y="f37"/>
                    <a:pt x="f38" y="f39"/>
                  </a:cubicBezTo>
                  <a:lnTo>
                    <a:pt x="f6" y="f40"/>
                  </a:lnTo>
                  <a:lnTo>
                    <a:pt x="f6" y="f41"/>
                  </a:lnTo>
                  <a:lnTo>
                    <a:pt x="f42" y="f43"/>
                  </a:lnTo>
                  <a:cubicBezTo>
                    <a:pt x="f44" y="f45"/>
                    <a:pt x="f46" y="f47"/>
                    <a:pt x="f48" y="f49"/>
                  </a:cubicBezTo>
                  <a:cubicBezTo>
                    <a:pt x="f50" y="f51"/>
                    <a:pt x="f52" y="f53"/>
                    <a:pt x="f54" y="f55"/>
                  </a:cubicBezTo>
                  <a:close/>
                </a:path>
              </a:pathLst>
            </a:custGeom>
            <a:solidFill>
              <a:srgbClr val="00498F"/>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sp>
        <p:nvSpPr>
          <p:cNvPr id="5" name="Rectangle 3">
            <a:extLst>
              <a:ext uri="{FF2B5EF4-FFF2-40B4-BE49-F238E27FC236}">
                <a16:creationId xmlns:a16="http://schemas.microsoft.com/office/drawing/2014/main" id="{ED0EA592-818D-61A3-D6CB-AA49BB786115}"/>
              </a:ext>
            </a:extLst>
          </p:cNvPr>
          <p:cNvSpPr/>
          <p:nvPr/>
        </p:nvSpPr>
        <p:spPr>
          <a:xfrm>
            <a:off x="902366" y="1517694"/>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Content Placeholder 2">
            <a:extLst>
              <a:ext uri="{FF2B5EF4-FFF2-40B4-BE49-F238E27FC236}">
                <a16:creationId xmlns:a16="http://schemas.microsoft.com/office/drawing/2014/main" id="{922761D1-C96D-ADF3-FF3D-83E1CEFA5E3B}"/>
              </a:ext>
            </a:extLst>
          </p:cNvPr>
          <p:cNvSpPr txBox="1">
            <a:spLocks noGrp="1"/>
          </p:cNvSpPr>
          <p:nvPr>
            <p:ph idx="4294967295"/>
          </p:nvPr>
        </p:nvSpPr>
        <p:spPr>
          <a:xfrm>
            <a:off x="1219197" y="3429001"/>
            <a:ext cx="5582649" cy="1413561"/>
          </a:xfrm>
        </p:spPr>
        <p:txBody>
          <a:bodyPr/>
          <a:lstStyle>
            <a:lvl1pPr marL="0" indent="0">
              <a:buNone/>
              <a:defRPr sz="2000"/>
            </a:lvl1pPr>
          </a:lstStyle>
          <a:p>
            <a:pPr lvl="0"/>
            <a:r>
              <a:rPr lang="en-US"/>
              <a:t>Click to edit Master text styles</a:t>
            </a:r>
          </a:p>
        </p:txBody>
      </p:sp>
      <p:sp>
        <p:nvSpPr>
          <p:cNvPr id="7" name="Title 11">
            <a:extLst>
              <a:ext uri="{FF2B5EF4-FFF2-40B4-BE49-F238E27FC236}">
                <a16:creationId xmlns:a16="http://schemas.microsoft.com/office/drawing/2014/main" id="{2D1E1A45-2F87-590C-9B22-F1E43B8D405E}"/>
              </a:ext>
            </a:extLst>
          </p:cNvPr>
          <p:cNvSpPr txBox="1">
            <a:spLocks noGrp="1"/>
          </p:cNvSpPr>
          <p:nvPr>
            <p:ph type="title"/>
          </p:nvPr>
        </p:nvSpPr>
        <p:spPr>
          <a:xfrm>
            <a:off x="1219197" y="1887486"/>
            <a:ext cx="5582649" cy="1078260"/>
          </a:xfrm>
        </p:spPr>
        <p:txBody>
          <a:bodyPr/>
          <a:lstStyle>
            <a:lvl1pPr>
              <a:defRPr sz="6000"/>
            </a:lvl1pPr>
          </a:lstStyle>
          <a:p>
            <a:pPr lvl="0"/>
            <a:r>
              <a:rPr lang="en-US"/>
              <a:t>Thank you</a:t>
            </a:r>
          </a:p>
        </p:txBody>
      </p:sp>
      <p:pic>
        <p:nvPicPr>
          <p:cNvPr id="8" name="Picture 32">
            <a:extLst>
              <a:ext uri="{FF2B5EF4-FFF2-40B4-BE49-F238E27FC236}">
                <a16:creationId xmlns:a16="http://schemas.microsoft.com/office/drawing/2014/main" id="{AB5419F9-0442-D75A-DAC7-4254A397C19D}"/>
              </a:ext>
            </a:extLst>
          </p:cNvPr>
          <p:cNvPicPr>
            <a:picLocks noChangeAspect="1"/>
          </p:cNvPicPr>
          <p:nvPr/>
        </p:nvPicPr>
        <p:blipFill>
          <a:blip r:embed="rId2"/>
          <a:srcRect/>
          <a:stretch>
            <a:fillRect/>
          </a:stretch>
        </p:blipFill>
        <p:spPr>
          <a:xfrm>
            <a:off x="902366" y="228371"/>
            <a:ext cx="2025313" cy="911940"/>
          </a:xfrm>
          <a:prstGeom prst="rect">
            <a:avLst/>
          </a:prstGeom>
          <a:noFill/>
          <a:ln cap="flat">
            <a:noFill/>
          </a:ln>
        </p:spPr>
      </p:pic>
      <p:sp>
        <p:nvSpPr>
          <p:cNvPr id="9" name="Picture Placeholder 16">
            <a:extLst>
              <a:ext uri="{FF2B5EF4-FFF2-40B4-BE49-F238E27FC236}">
                <a16:creationId xmlns:a16="http://schemas.microsoft.com/office/drawing/2014/main" id="{31873405-DF2D-8BA7-B2AC-93F5E08E02BC}"/>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spTree>
    <p:extLst>
      <p:ext uri="{BB962C8B-B14F-4D97-AF65-F5344CB8AC3E}">
        <p14:creationId xmlns:p14="http://schemas.microsoft.com/office/powerpoint/2010/main" val="1744167388"/>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6_Divider">
    <p:spTree>
      <p:nvGrpSpPr>
        <p:cNvPr id="1" name=""/>
        <p:cNvGrpSpPr/>
        <p:nvPr/>
      </p:nvGrpSpPr>
      <p:grpSpPr>
        <a:xfrm>
          <a:off x="0" y="0"/>
          <a:ext cx="0" cy="0"/>
          <a:chOff x="0" y="0"/>
          <a:chExt cx="0" cy="0"/>
        </a:xfrm>
      </p:grpSpPr>
      <p:grpSp>
        <p:nvGrpSpPr>
          <p:cNvPr id="2" name="Group 9">
            <a:extLst>
              <a:ext uri="{FF2B5EF4-FFF2-40B4-BE49-F238E27FC236}">
                <a16:creationId xmlns:a16="http://schemas.microsoft.com/office/drawing/2014/main" id="{40D26234-5F95-497D-A63A-CBD648FD50BC}"/>
              </a:ext>
            </a:extLst>
          </p:cNvPr>
          <p:cNvGrpSpPr/>
          <p:nvPr/>
        </p:nvGrpSpPr>
        <p:grpSpPr>
          <a:xfrm>
            <a:off x="0" y="5020349"/>
            <a:ext cx="12191996" cy="1837651"/>
            <a:chOff x="0" y="5020348"/>
            <a:chExt cx="12191996" cy="1837651"/>
          </a:xfrm>
        </p:grpSpPr>
        <p:sp>
          <p:nvSpPr>
            <p:cNvPr id="3" name="Freeform 25">
              <a:extLst>
                <a:ext uri="{FF2B5EF4-FFF2-40B4-BE49-F238E27FC236}">
                  <a16:creationId xmlns:a16="http://schemas.microsoft.com/office/drawing/2014/main" id="{403A594C-FD12-B809-6BB2-5A8F30E71EF8}"/>
                </a:ext>
              </a:extLst>
            </p:cNvPr>
            <p:cNvSpPr/>
            <p:nvPr/>
          </p:nvSpPr>
          <p:spPr>
            <a:xfrm>
              <a:off x="0" y="5100267"/>
              <a:ext cx="7111371" cy="1757732"/>
            </a:xfrm>
            <a:custGeom>
              <a:avLst/>
              <a:gdLst>
                <a:gd name="f0" fmla="val 10800000"/>
                <a:gd name="f1" fmla="val 5400000"/>
                <a:gd name="f2" fmla="val 180"/>
                <a:gd name="f3" fmla="val w"/>
                <a:gd name="f4" fmla="val h"/>
                <a:gd name="f5" fmla="val 0"/>
                <a:gd name="f6" fmla="val 7111369"/>
                <a:gd name="f7" fmla="val 1757730"/>
                <a:gd name="f8" fmla="val 772954"/>
                <a:gd name="f9" fmla="val 2778"/>
                <a:gd name="f10" fmla="val 1769038"/>
                <a:gd name="f11" fmla="val 30799"/>
                <a:gd name="f12" fmla="val 2696750"/>
                <a:gd name="f13" fmla="val 267531"/>
                <a:gd name="f14" fmla="val 3590934"/>
                <a:gd name="f15" fmla="val 566046"/>
                <a:gd name="f16" fmla="val 4684008"/>
                <a:gd name="f17" fmla="val 930921"/>
                <a:gd name="f18" fmla="val 5690778"/>
                <a:gd name="f19" fmla="val 1324625"/>
                <a:gd name="f20" fmla="val 6700767"/>
                <a:gd name="f21" fmla="val 1636882"/>
                <a:gd name="f22" fmla="val 25690"/>
                <a:gd name="f23" fmla="val 2197"/>
                <a:gd name="f24" fmla="val 25414"/>
                <a:gd name="f25" fmla="val 114653"/>
                <a:gd name="f26" fmla="val 14905"/>
                <a:gd name="f27" fmla="val 227801"/>
                <a:gd name="f28" fmla="val 7857"/>
                <a:gd name="f29" fmla="val 341773"/>
                <a:gd name="f30" fmla="val 3976"/>
                <a:gd name="f31" fmla="val 486963"/>
                <a:gd name="f32" fmla="+- 0 0 968"/>
                <a:gd name="f33" fmla="val 630656"/>
                <a:gd name="f34" fmla="+- 0 0 1224"/>
                <a:gd name="f35" fmla="+- 0 0 -90"/>
                <a:gd name="f36" fmla="*/ f3 1 7111369"/>
                <a:gd name="f37" fmla="*/ f4 1 1757730"/>
                <a:gd name="f38" fmla="+- f7 0 f5"/>
                <a:gd name="f39" fmla="+- f6 0 f5"/>
                <a:gd name="f40" fmla="*/ f35 f0 1"/>
                <a:gd name="f41" fmla="*/ f39 1 7111369"/>
                <a:gd name="f42" fmla="*/ f38 1 1757730"/>
                <a:gd name="f43" fmla="*/ 772954 f39 1"/>
                <a:gd name="f44" fmla="*/ 2778 f38 1"/>
                <a:gd name="f45" fmla="*/ 3590934 f39 1"/>
                <a:gd name="f46" fmla="*/ 566046 f38 1"/>
                <a:gd name="f47" fmla="*/ 6700767 f39 1"/>
                <a:gd name="f48" fmla="*/ 1636882 f38 1"/>
                <a:gd name="f49" fmla="*/ 7111369 f39 1"/>
                <a:gd name="f50" fmla="*/ 1757730 f38 1"/>
                <a:gd name="f51" fmla="*/ 0 f39 1"/>
                <a:gd name="f52" fmla="*/ 25690 f38 1"/>
                <a:gd name="f53" fmla="*/ 2197 f39 1"/>
                <a:gd name="f54" fmla="*/ 25414 f38 1"/>
                <a:gd name="f55" fmla="*/ 341773 f39 1"/>
                <a:gd name="f56" fmla="*/ 3976 f38 1"/>
                <a:gd name="f57" fmla="*/ f40 1 f2"/>
                <a:gd name="f58" fmla="*/ f43 1 7111369"/>
                <a:gd name="f59" fmla="*/ f44 1 1757730"/>
                <a:gd name="f60" fmla="*/ f45 1 7111369"/>
                <a:gd name="f61" fmla="*/ f46 1 1757730"/>
                <a:gd name="f62" fmla="*/ f47 1 7111369"/>
                <a:gd name="f63" fmla="*/ f48 1 1757730"/>
                <a:gd name="f64" fmla="*/ f49 1 7111369"/>
                <a:gd name="f65" fmla="*/ f50 1 1757730"/>
                <a:gd name="f66" fmla="*/ f51 1 7111369"/>
                <a:gd name="f67" fmla="*/ f52 1 1757730"/>
                <a:gd name="f68" fmla="*/ f53 1 7111369"/>
                <a:gd name="f69" fmla="*/ f54 1 1757730"/>
                <a:gd name="f70" fmla="*/ f55 1 7111369"/>
                <a:gd name="f71" fmla="*/ f56 1 1757730"/>
                <a:gd name="f72" fmla="*/ f5 1 f41"/>
                <a:gd name="f73" fmla="*/ f6 1 f41"/>
                <a:gd name="f74" fmla="*/ f5 1 f42"/>
                <a:gd name="f75" fmla="*/ f7 1 f42"/>
                <a:gd name="f76" fmla="+- f57 0 f1"/>
                <a:gd name="f77" fmla="*/ f58 1 f41"/>
                <a:gd name="f78" fmla="*/ f59 1 f42"/>
                <a:gd name="f79" fmla="*/ f60 1 f41"/>
                <a:gd name="f80" fmla="*/ f61 1 f42"/>
                <a:gd name="f81" fmla="*/ f62 1 f41"/>
                <a:gd name="f82" fmla="*/ f63 1 f42"/>
                <a:gd name="f83" fmla="*/ f64 1 f41"/>
                <a:gd name="f84" fmla="*/ f65 1 f42"/>
                <a:gd name="f85" fmla="*/ f66 1 f41"/>
                <a:gd name="f86" fmla="*/ f67 1 f42"/>
                <a:gd name="f87" fmla="*/ f68 1 f41"/>
                <a:gd name="f88" fmla="*/ f69 1 f42"/>
                <a:gd name="f89" fmla="*/ f70 1 f41"/>
                <a:gd name="f90" fmla="*/ f71 1 f42"/>
                <a:gd name="f91" fmla="*/ f72 f36 1"/>
                <a:gd name="f92" fmla="*/ f73 f36 1"/>
                <a:gd name="f93" fmla="*/ f75 f37 1"/>
                <a:gd name="f94" fmla="*/ f74 f37 1"/>
                <a:gd name="f95" fmla="*/ f77 f36 1"/>
                <a:gd name="f96" fmla="*/ f78 f37 1"/>
                <a:gd name="f97" fmla="*/ f79 f36 1"/>
                <a:gd name="f98" fmla="*/ f80 f37 1"/>
                <a:gd name="f99" fmla="*/ f81 f36 1"/>
                <a:gd name="f100" fmla="*/ f82 f37 1"/>
                <a:gd name="f101" fmla="*/ f83 f36 1"/>
                <a:gd name="f102" fmla="*/ f84 f37 1"/>
                <a:gd name="f103" fmla="*/ f85 f36 1"/>
                <a:gd name="f104" fmla="*/ f86 f37 1"/>
                <a:gd name="f105" fmla="*/ f87 f36 1"/>
                <a:gd name="f106" fmla="*/ f88 f37 1"/>
                <a:gd name="f107" fmla="*/ f89 f36 1"/>
                <a:gd name="f108" fmla="*/ f90 f37 1"/>
              </a:gdLst>
              <a:ahLst/>
              <a:cxnLst>
                <a:cxn ang="3cd4">
                  <a:pos x="hc" y="t"/>
                </a:cxn>
                <a:cxn ang="0">
                  <a:pos x="r" y="vc"/>
                </a:cxn>
                <a:cxn ang="cd4">
                  <a:pos x="hc" y="b"/>
                </a:cxn>
                <a:cxn ang="cd2">
                  <a:pos x="l" y="vc"/>
                </a:cxn>
                <a:cxn ang="f76">
                  <a:pos x="f95" y="f96"/>
                </a:cxn>
                <a:cxn ang="f76">
                  <a:pos x="f97" y="f98"/>
                </a:cxn>
                <a:cxn ang="f76">
                  <a:pos x="f99" y="f100"/>
                </a:cxn>
                <a:cxn ang="f76">
                  <a:pos x="f101" y="f102"/>
                </a:cxn>
                <a:cxn ang="f76">
                  <a:pos x="f103" y="f102"/>
                </a:cxn>
                <a:cxn ang="f76">
                  <a:pos x="f103" y="f104"/>
                </a:cxn>
                <a:cxn ang="f76">
                  <a:pos x="f105" y="f106"/>
                </a:cxn>
                <a:cxn ang="f76">
                  <a:pos x="f107" y="f108"/>
                </a:cxn>
                <a:cxn ang="f76">
                  <a:pos x="f95" y="f96"/>
                </a:cxn>
              </a:cxnLst>
              <a:rect l="f91" t="f94" r="f92" b="f93"/>
              <a:pathLst>
                <a:path w="7111369" h="1757730">
                  <a:moveTo>
                    <a:pt x="f8" y="f9"/>
                  </a:moveTo>
                  <a:cubicBezTo>
                    <a:pt x="f10" y="f11"/>
                    <a:pt x="f12" y="f13"/>
                    <a:pt x="f14" y="f15"/>
                  </a:cubicBezTo>
                  <a:cubicBezTo>
                    <a:pt x="f16" y="f17"/>
                    <a:pt x="f18" y="f19"/>
                    <a:pt x="f20" y="f21"/>
                  </a:cubicBezTo>
                  <a:lnTo>
                    <a:pt x="f6" y="f7"/>
                  </a:lnTo>
                  <a:lnTo>
                    <a:pt x="f5" y="f7"/>
                  </a:lnTo>
                  <a:lnTo>
                    <a:pt x="f5" y="f22"/>
                  </a:lnTo>
                  <a:lnTo>
                    <a:pt x="f23" y="f24"/>
                  </a:lnTo>
                  <a:cubicBezTo>
                    <a:pt x="f25" y="f26"/>
                    <a:pt x="f27" y="f28"/>
                    <a:pt x="f29" y="f30"/>
                  </a:cubicBezTo>
                  <a:cubicBezTo>
                    <a:pt x="f31" y="f32"/>
                    <a:pt x="f33" y="f34"/>
                    <a:pt x="f8" y="f9"/>
                  </a:cubicBezTo>
                  <a:close/>
                </a:path>
              </a:pathLst>
            </a:cu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4" name="Freeform 19">
              <a:extLst>
                <a:ext uri="{FF2B5EF4-FFF2-40B4-BE49-F238E27FC236}">
                  <a16:creationId xmlns:a16="http://schemas.microsoft.com/office/drawing/2014/main" id="{694AD103-E89D-5798-AC86-FFD633D9150E}"/>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5" name="Freeform 14">
              <a:extLst>
                <a:ext uri="{FF2B5EF4-FFF2-40B4-BE49-F238E27FC236}">
                  <a16:creationId xmlns:a16="http://schemas.microsoft.com/office/drawing/2014/main" id="{80756D92-D2B4-6CB0-6FAA-E04F0671D9F2}"/>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6" name="Picture 20">
              <a:extLst>
                <a:ext uri="{FF2B5EF4-FFF2-40B4-BE49-F238E27FC236}">
                  <a16:creationId xmlns:a16="http://schemas.microsoft.com/office/drawing/2014/main" id="{19EB1623-3FEB-D1B5-0308-9FADEEC97FB3}"/>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
        <p:nvSpPr>
          <p:cNvPr id="7" name="Title 10">
            <a:extLst>
              <a:ext uri="{FF2B5EF4-FFF2-40B4-BE49-F238E27FC236}">
                <a16:creationId xmlns:a16="http://schemas.microsoft.com/office/drawing/2014/main" id="{69A739E9-5654-8FB4-D7EC-1BFFBCF67CAA}"/>
              </a:ext>
            </a:extLst>
          </p:cNvPr>
          <p:cNvSpPr txBox="1">
            <a:spLocks noGrp="1"/>
          </p:cNvSpPr>
          <p:nvPr>
            <p:ph type="title"/>
          </p:nvPr>
        </p:nvSpPr>
        <p:spPr>
          <a:xfrm>
            <a:off x="1413305" y="701748"/>
            <a:ext cx="9365376" cy="2014679"/>
          </a:xfrm>
        </p:spPr>
        <p:txBody>
          <a:bodyPr anchor="b"/>
          <a:lstStyle>
            <a:lvl1pPr>
              <a:defRPr/>
            </a:lvl1pPr>
          </a:lstStyle>
          <a:p>
            <a:pPr lvl="0"/>
            <a:r>
              <a:rPr lang="en-US"/>
              <a:t>Click to edit Master title style</a:t>
            </a:r>
          </a:p>
        </p:txBody>
      </p:sp>
      <p:sp>
        <p:nvSpPr>
          <p:cNvPr id="8" name="Subtitle 2">
            <a:extLst>
              <a:ext uri="{FF2B5EF4-FFF2-40B4-BE49-F238E27FC236}">
                <a16:creationId xmlns:a16="http://schemas.microsoft.com/office/drawing/2014/main" id="{B04B7AB2-61B7-6C53-4C07-D9195C362865}"/>
              </a:ext>
            </a:extLst>
          </p:cNvPr>
          <p:cNvSpPr txBox="1">
            <a:spLocks noGrp="1"/>
          </p:cNvSpPr>
          <p:nvPr>
            <p:ph type="subTitle" idx="4294967295"/>
          </p:nvPr>
        </p:nvSpPr>
        <p:spPr>
          <a:xfrm>
            <a:off x="1413305" y="3081637"/>
            <a:ext cx="9365376" cy="986564"/>
          </a:xfrm>
        </p:spPr>
        <p:txBody>
          <a:bodyPr/>
          <a:lstStyle>
            <a:lvl1pPr marL="0" indent="0">
              <a:buNone/>
              <a:defRPr/>
            </a:lvl1pPr>
          </a:lstStyle>
          <a:p>
            <a:pPr lvl="0"/>
            <a:r>
              <a:rPr lang="en-US"/>
              <a:t>Click to edit Master subtitle style</a:t>
            </a:r>
          </a:p>
        </p:txBody>
      </p:sp>
    </p:spTree>
    <p:extLst>
      <p:ext uri="{BB962C8B-B14F-4D97-AF65-F5344CB8AC3E}">
        <p14:creationId xmlns:p14="http://schemas.microsoft.com/office/powerpoint/2010/main" val="3944419045"/>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5_Photo Slide">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A8EA98C6-CF63-08D4-336E-5DEAA0A37D0D}"/>
              </a:ext>
            </a:extLst>
          </p:cNvPr>
          <p:cNvSpPr txBox="1">
            <a:spLocks noGrp="1"/>
          </p:cNvSpPr>
          <p:nvPr>
            <p:ph type="body" idx="4294967295"/>
          </p:nvPr>
        </p:nvSpPr>
        <p:spPr>
          <a:xfrm>
            <a:off x="457200" y="1146255"/>
            <a:ext cx="2350172" cy="2971800"/>
          </a:xfrm>
        </p:spPr>
        <p:txBody>
          <a:bodyPr/>
          <a:lstStyle>
            <a:lvl1pPr marL="0" indent="0">
              <a:buNone/>
              <a:defRPr/>
            </a:lvl1pPr>
          </a:lstStyle>
          <a:p>
            <a:pPr lvl="0"/>
            <a:r>
              <a:rPr lang="en-US"/>
              <a:t>Click to edit Master text styles</a:t>
            </a:r>
          </a:p>
        </p:txBody>
      </p:sp>
      <p:cxnSp>
        <p:nvCxnSpPr>
          <p:cNvPr id="3" name="Straight Connector 5">
            <a:extLst>
              <a:ext uri="{FF2B5EF4-FFF2-40B4-BE49-F238E27FC236}">
                <a16:creationId xmlns:a16="http://schemas.microsoft.com/office/drawing/2014/main" id="{097A3F6C-5C0B-CB61-878C-04B2BFF0EAB5}"/>
              </a:ext>
            </a:extLst>
          </p:cNvPr>
          <p:cNvCxnSpPr/>
          <p:nvPr/>
        </p:nvCxnSpPr>
        <p:spPr>
          <a:xfrm>
            <a:off x="457201" y="947985"/>
            <a:ext cx="2350163" cy="0"/>
          </a:xfrm>
          <a:prstGeom prst="straightConnector1">
            <a:avLst/>
          </a:prstGeom>
          <a:noFill/>
          <a:ln w="31747" cap="flat">
            <a:solidFill>
              <a:srgbClr val="F58366"/>
            </a:solidFill>
            <a:prstDash val="solid"/>
            <a:miter/>
          </a:ln>
        </p:spPr>
      </p:cxnSp>
      <p:grpSp>
        <p:nvGrpSpPr>
          <p:cNvPr id="4" name="Group 2">
            <a:extLst>
              <a:ext uri="{FF2B5EF4-FFF2-40B4-BE49-F238E27FC236}">
                <a16:creationId xmlns:a16="http://schemas.microsoft.com/office/drawing/2014/main" id="{16D4A230-DA38-29D4-CCB3-E328643562A8}"/>
              </a:ext>
            </a:extLst>
          </p:cNvPr>
          <p:cNvGrpSpPr/>
          <p:nvPr/>
        </p:nvGrpSpPr>
        <p:grpSpPr>
          <a:xfrm>
            <a:off x="1" y="5379425"/>
            <a:ext cx="2807363" cy="753895"/>
            <a:chOff x="0" y="5379424"/>
            <a:chExt cx="2807363" cy="753895"/>
          </a:xfrm>
        </p:grpSpPr>
        <p:sp>
          <p:nvSpPr>
            <p:cNvPr id="5" name="Freeform 21">
              <a:extLst>
                <a:ext uri="{FF2B5EF4-FFF2-40B4-BE49-F238E27FC236}">
                  <a16:creationId xmlns:a16="http://schemas.microsoft.com/office/drawing/2014/main" id="{FE4F6E7A-ED63-A0C1-B89B-3556DE91786E}"/>
                </a:ext>
              </a:extLst>
            </p:cNvPr>
            <p:cNvSpPr/>
            <p:nvPr/>
          </p:nvSpPr>
          <p:spPr>
            <a:xfrm>
              <a:off x="0" y="5532513"/>
              <a:ext cx="2807363" cy="600806"/>
            </a:xfrm>
            <a:custGeom>
              <a:avLst/>
              <a:gdLst>
                <a:gd name="f0" fmla="val 10800000"/>
                <a:gd name="f1" fmla="val 5400000"/>
                <a:gd name="f2" fmla="val 180"/>
                <a:gd name="f3" fmla="val w"/>
                <a:gd name="f4" fmla="val h"/>
                <a:gd name="f5" fmla="val 0"/>
                <a:gd name="f6" fmla="val 2807368"/>
                <a:gd name="f7" fmla="val 600807"/>
                <a:gd name="f8" fmla="val 429971"/>
                <a:gd name="f9" fmla="val 123998"/>
                <a:gd name="f10" fmla="val 1184765"/>
                <a:gd name="f11" fmla="val 325331"/>
                <a:gd name="f12" fmla="val 2014184"/>
                <a:gd name="f13" fmla="val 392492"/>
                <a:gd name="f14" fmla="val 2790212"/>
                <a:gd name="f15" fmla="val 235402"/>
                <a:gd name="f16" fmla="val 231522"/>
                <a:gd name="f17" fmla="val 566106"/>
                <a:gd name="f18" fmla="val 2593885"/>
                <a:gd name="f19" fmla="val 587498"/>
                <a:gd name="f20" fmla="val 1673646"/>
                <a:gd name="f21" fmla="val 651184"/>
                <a:gd name="f22" fmla="val 884869"/>
                <a:gd name="f23" fmla="val 479260"/>
                <a:gd name="f24" fmla="val 100844"/>
                <a:gd name="f25" fmla="val 222653"/>
                <a:gd name="f26" fmla="val 188389"/>
                <a:gd name="f27" fmla="+- 0 0 -90"/>
                <a:gd name="f28" fmla="*/ f3 1 2807368"/>
                <a:gd name="f29" fmla="*/ f4 1 600807"/>
                <a:gd name="f30" fmla="+- f7 0 f5"/>
                <a:gd name="f31" fmla="+- f6 0 f5"/>
                <a:gd name="f32" fmla="*/ f27 f0 1"/>
                <a:gd name="f33" fmla="*/ f31 1 2807368"/>
                <a:gd name="f34" fmla="*/ f30 1 600807"/>
                <a:gd name="f35" fmla="*/ 0 f31 1"/>
                <a:gd name="f36" fmla="*/ 0 f30 1"/>
                <a:gd name="f37" fmla="*/ 429971 f31 1"/>
                <a:gd name="f38" fmla="*/ 123998 f30 1"/>
                <a:gd name="f39" fmla="*/ 2790212 f31 1"/>
                <a:gd name="f40" fmla="*/ 235402 f30 1"/>
                <a:gd name="f41" fmla="*/ 2807368 f31 1"/>
                <a:gd name="f42" fmla="*/ 231522 f30 1"/>
                <a:gd name="f43" fmla="*/ 566106 f30 1"/>
                <a:gd name="f44" fmla="*/ 2593885 f31 1"/>
                <a:gd name="f45" fmla="*/ 587498 f30 1"/>
                <a:gd name="f46" fmla="*/ 100844 f31 1"/>
                <a:gd name="f47" fmla="*/ 222653 f30 1"/>
                <a:gd name="f48" fmla="*/ 188389 f30 1"/>
                <a:gd name="f49" fmla="*/ f32 1 f2"/>
                <a:gd name="f50" fmla="*/ f35 1 2807368"/>
                <a:gd name="f51" fmla="*/ f36 1 600807"/>
                <a:gd name="f52" fmla="*/ f37 1 2807368"/>
                <a:gd name="f53" fmla="*/ f38 1 600807"/>
                <a:gd name="f54" fmla="*/ f39 1 2807368"/>
                <a:gd name="f55" fmla="*/ f40 1 600807"/>
                <a:gd name="f56" fmla="*/ f41 1 2807368"/>
                <a:gd name="f57" fmla="*/ f42 1 600807"/>
                <a:gd name="f58" fmla="*/ f43 1 600807"/>
                <a:gd name="f59" fmla="*/ f44 1 2807368"/>
                <a:gd name="f60" fmla="*/ f45 1 600807"/>
                <a:gd name="f61" fmla="*/ f46 1 2807368"/>
                <a:gd name="f62" fmla="*/ f47 1 600807"/>
                <a:gd name="f63" fmla="*/ f48 1 600807"/>
                <a:gd name="f64" fmla="*/ f5 1 f33"/>
                <a:gd name="f65" fmla="*/ f6 1 f33"/>
                <a:gd name="f66" fmla="*/ f5 1 f34"/>
                <a:gd name="f67" fmla="*/ f7 1 f34"/>
                <a:gd name="f68" fmla="+- f49 0 f1"/>
                <a:gd name="f69" fmla="*/ f50 1 f33"/>
                <a:gd name="f70" fmla="*/ f51 1 f34"/>
                <a:gd name="f71" fmla="*/ f52 1 f33"/>
                <a:gd name="f72" fmla="*/ f53 1 f34"/>
                <a:gd name="f73" fmla="*/ f54 1 f33"/>
                <a:gd name="f74" fmla="*/ f55 1 f34"/>
                <a:gd name="f75" fmla="*/ f56 1 f33"/>
                <a:gd name="f76" fmla="*/ f57 1 f34"/>
                <a:gd name="f77" fmla="*/ f58 1 f34"/>
                <a:gd name="f78" fmla="*/ f59 1 f33"/>
                <a:gd name="f79" fmla="*/ f60 1 f34"/>
                <a:gd name="f80" fmla="*/ f61 1 f33"/>
                <a:gd name="f81" fmla="*/ f62 1 f34"/>
                <a:gd name="f82" fmla="*/ f63 1 f34"/>
                <a:gd name="f83" fmla="*/ f64 f28 1"/>
                <a:gd name="f84" fmla="*/ f65 f28 1"/>
                <a:gd name="f85" fmla="*/ f67 f29 1"/>
                <a:gd name="f86" fmla="*/ f66 f29 1"/>
                <a:gd name="f87" fmla="*/ f69 f28 1"/>
                <a:gd name="f88" fmla="*/ f70 f29 1"/>
                <a:gd name="f89" fmla="*/ f71 f28 1"/>
                <a:gd name="f90" fmla="*/ f72 f29 1"/>
                <a:gd name="f91" fmla="*/ f73 f28 1"/>
                <a:gd name="f92" fmla="*/ f74 f29 1"/>
                <a:gd name="f93" fmla="*/ f75 f28 1"/>
                <a:gd name="f94" fmla="*/ f76 f29 1"/>
                <a:gd name="f95" fmla="*/ f77 f29 1"/>
                <a:gd name="f96" fmla="*/ f78 f28 1"/>
                <a:gd name="f97" fmla="*/ f79 f29 1"/>
                <a:gd name="f98" fmla="*/ f80 f28 1"/>
                <a:gd name="f99" fmla="*/ f81 f29 1"/>
                <a:gd name="f100" fmla="*/ f82 f29 1"/>
              </a:gdLst>
              <a:ahLst/>
              <a:cxnLst>
                <a:cxn ang="3cd4">
                  <a:pos x="hc" y="t"/>
                </a:cxn>
                <a:cxn ang="0">
                  <a:pos x="r" y="vc"/>
                </a:cxn>
                <a:cxn ang="cd4">
                  <a:pos x="hc" y="b"/>
                </a:cxn>
                <a:cxn ang="cd2">
                  <a:pos x="l" y="vc"/>
                </a:cxn>
                <a:cxn ang="f68">
                  <a:pos x="f87" y="f88"/>
                </a:cxn>
                <a:cxn ang="f68">
                  <a:pos x="f89" y="f90"/>
                </a:cxn>
                <a:cxn ang="f68">
                  <a:pos x="f91" y="f92"/>
                </a:cxn>
                <a:cxn ang="f68">
                  <a:pos x="f93" y="f94"/>
                </a:cxn>
                <a:cxn ang="f68">
                  <a:pos x="f93" y="f95"/>
                </a:cxn>
                <a:cxn ang="f68">
                  <a:pos x="f96" y="f97"/>
                </a:cxn>
                <a:cxn ang="f68">
                  <a:pos x="f98" y="f99"/>
                </a:cxn>
                <a:cxn ang="f68">
                  <a:pos x="f87" y="f100"/>
                </a:cxn>
              </a:cxnLst>
              <a:rect l="f83" t="f86" r="f84" b="f85"/>
              <a:pathLst>
                <a:path w="2807368" h="600807">
                  <a:moveTo>
                    <a:pt x="f5" y="f5"/>
                  </a:moveTo>
                  <a:lnTo>
                    <a:pt x="f8" y="f9"/>
                  </a:lnTo>
                  <a:cubicBezTo>
                    <a:pt x="f10" y="f11"/>
                    <a:pt x="f12" y="f13"/>
                    <a:pt x="f14" y="f15"/>
                  </a:cubicBezTo>
                  <a:lnTo>
                    <a:pt x="f6" y="f16"/>
                  </a:lnTo>
                  <a:lnTo>
                    <a:pt x="f6" y="f17"/>
                  </a:lnTo>
                  <a:lnTo>
                    <a:pt x="f18" y="f19"/>
                  </a:lnTo>
                  <a:cubicBezTo>
                    <a:pt x="f20" y="f21"/>
                    <a:pt x="f22" y="f23"/>
                    <a:pt x="f24" y="f25"/>
                  </a:cubicBezTo>
                  <a:lnTo>
                    <a:pt x="f5" y="f26"/>
                  </a:ln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Freeform 19">
              <a:extLst>
                <a:ext uri="{FF2B5EF4-FFF2-40B4-BE49-F238E27FC236}">
                  <a16:creationId xmlns:a16="http://schemas.microsoft.com/office/drawing/2014/main" id="{0ABC3401-5D6C-2010-D3AB-E048BBA8EC7E}"/>
                </a:ext>
              </a:extLst>
            </p:cNvPr>
            <p:cNvSpPr/>
            <p:nvPr/>
          </p:nvSpPr>
          <p:spPr>
            <a:xfrm>
              <a:off x="0" y="5379424"/>
              <a:ext cx="2807363" cy="649800"/>
            </a:xfrm>
            <a:custGeom>
              <a:avLst/>
              <a:gdLst>
                <a:gd name="f0" fmla="val 10800000"/>
                <a:gd name="f1" fmla="val 5400000"/>
                <a:gd name="f2" fmla="val 180"/>
                <a:gd name="f3" fmla="val w"/>
                <a:gd name="f4" fmla="val h"/>
                <a:gd name="f5" fmla="val 0"/>
                <a:gd name="f6" fmla="val 2807368"/>
                <a:gd name="f7" fmla="val 649803"/>
                <a:gd name="f8" fmla="val 282676"/>
                <a:gd name="f9" fmla="val 70799"/>
                <a:gd name="f10" fmla="val 435964"/>
                <a:gd name="f11" fmla="val 106085"/>
                <a:gd name="f12" fmla="val 588770"/>
                <a:gd name="f13" fmla="val 137629"/>
                <a:gd name="f14" fmla="val 740881"/>
                <a:gd name="f15" fmla="val 163828"/>
                <a:gd name="f16" fmla="val 1362800"/>
                <a:gd name="f17" fmla="val 270912"/>
                <a:gd name="f18" fmla="val 2067879"/>
                <a:gd name="f19" fmla="val 253759"/>
                <a:gd name="f20" fmla="val 2706471"/>
                <a:gd name="f21" fmla="val 96397"/>
                <a:gd name="f22" fmla="val 67250"/>
                <a:gd name="f23" fmla="val 605551"/>
                <a:gd name="f24" fmla="val 2602685"/>
                <a:gd name="f25" fmla="val 629466"/>
                <a:gd name="f26" fmla="val 1684237"/>
                <a:gd name="f27" fmla="val 708219"/>
                <a:gd name="f28" fmla="val 893252"/>
                <a:gd name="f29" fmla="val 549395"/>
                <a:gd name="f30" fmla="val 105614"/>
                <a:gd name="f31" fmla="val 305882"/>
                <a:gd name="f32" fmla="val 271926"/>
                <a:gd name="f33" fmla="+- 0 0 -90"/>
                <a:gd name="f34" fmla="*/ f3 1 2807368"/>
                <a:gd name="f35" fmla="*/ f4 1 649803"/>
                <a:gd name="f36" fmla="+- f7 0 f5"/>
                <a:gd name="f37" fmla="+- f6 0 f5"/>
                <a:gd name="f38" fmla="*/ f33 f0 1"/>
                <a:gd name="f39" fmla="*/ f37 1 2807368"/>
                <a:gd name="f40" fmla="*/ f36 1 649803"/>
                <a:gd name="f41" fmla="*/ 0 f37 1"/>
                <a:gd name="f42" fmla="*/ 0 f36 1"/>
                <a:gd name="f43" fmla="*/ 282676 f37 1"/>
                <a:gd name="f44" fmla="*/ 70799 f36 1"/>
                <a:gd name="f45" fmla="*/ 740881 f37 1"/>
                <a:gd name="f46" fmla="*/ 163828 f36 1"/>
                <a:gd name="f47" fmla="*/ 2706471 f37 1"/>
                <a:gd name="f48" fmla="*/ 96397 f36 1"/>
                <a:gd name="f49" fmla="*/ 2807368 f37 1"/>
                <a:gd name="f50" fmla="*/ 67250 f36 1"/>
                <a:gd name="f51" fmla="*/ 605551 f36 1"/>
                <a:gd name="f52" fmla="*/ 2602685 f37 1"/>
                <a:gd name="f53" fmla="*/ 629466 f36 1"/>
                <a:gd name="f54" fmla="*/ 105614 f37 1"/>
                <a:gd name="f55" fmla="*/ 305882 f36 1"/>
                <a:gd name="f56" fmla="*/ 271926 f36 1"/>
                <a:gd name="f57" fmla="*/ f38 1 f2"/>
                <a:gd name="f58" fmla="*/ f41 1 2807368"/>
                <a:gd name="f59" fmla="*/ f42 1 649803"/>
                <a:gd name="f60" fmla="*/ f43 1 2807368"/>
                <a:gd name="f61" fmla="*/ f44 1 649803"/>
                <a:gd name="f62" fmla="*/ f45 1 2807368"/>
                <a:gd name="f63" fmla="*/ f46 1 649803"/>
                <a:gd name="f64" fmla="*/ f47 1 2807368"/>
                <a:gd name="f65" fmla="*/ f48 1 649803"/>
                <a:gd name="f66" fmla="*/ f49 1 2807368"/>
                <a:gd name="f67" fmla="*/ f50 1 649803"/>
                <a:gd name="f68" fmla="*/ f51 1 649803"/>
                <a:gd name="f69" fmla="*/ f52 1 2807368"/>
                <a:gd name="f70" fmla="*/ f53 1 649803"/>
                <a:gd name="f71" fmla="*/ f54 1 2807368"/>
                <a:gd name="f72" fmla="*/ f55 1 649803"/>
                <a:gd name="f73" fmla="*/ f56 1 649803"/>
                <a:gd name="f74" fmla="*/ f5 1 f39"/>
                <a:gd name="f75" fmla="*/ f6 1 f39"/>
                <a:gd name="f76" fmla="*/ f5 1 f40"/>
                <a:gd name="f77" fmla="*/ f7 1 f40"/>
                <a:gd name="f78" fmla="+- f57 0 f1"/>
                <a:gd name="f79" fmla="*/ f58 1 f39"/>
                <a:gd name="f80" fmla="*/ f59 1 f40"/>
                <a:gd name="f81" fmla="*/ f60 1 f39"/>
                <a:gd name="f82" fmla="*/ f61 1 f40"/>
                <a:gd name="f83" fmla="*/ f62 1 f39"/>
                <a:gd name="f84" fmla="*/ f63 1 f40"/>
                <a:gd name="f85" fmla="*/ f64 1 f39"/>
                <a:gd name="f86" fmla="*/ f65 1 f40"/>
                <a:gd name="f87" fmla="*/ f66 1 f39"/>
                <a:gd name="f88" fmla="*/ f67 1 f40"/>
                <a:gd name="f89" fmla="*/ f68 1 f40"/>
                <a:gd name="f90" fmla="*/ f69 1 f39"/>
                <a:gd name="f91" fmla="*/ f70 1 f40"/>
                <a:gd name="f92" fmla="*/ f71 1 f39"/>
                <a:gd name="f93" fmla="*/ f72 1 f40"/>
                <a:gd name="f94" fmla="*/ f73 1 f40"/>
                <a:gd name="f95" fmla="*/ f74 f34 1"/>
                <a:gd name="f96" fmla="*/ f75 f34 1"/>
                <a:gd name="f97" fmla="*/ f77 f35 1"/>
                <a:gd name="f98" fmla="*/ f76 f35 1"/>
                <a:gd name="f99" fmla="*/ f79 f34 1"/>
                <a:gd name="f100" fmla="*/ f80 f35 1"/>
                <a:gd name="f101" fmla="*/ f81 f34 1"/>
                <a:gd name="f102" fmla="*/ f82 f35 1"/>
                <a:gd name="f103" fmla="*/ f83 f34 1"/>
                <a:gd name="f104" fmla="*/ f84 f35 1"/>
                <a:gd name="f105" fmla="*/ f85 f34 1"/>
                <a:gd name="f106" fmla="*/ f86 f35 1"/>
                <a:gd name="f107" fmla="*/ f87 f34 1"/>
                <a:gd name="f108" fmla="*/ f88 f35 1"/>
                <a:gd name="f109" fmla="*/ f89 f35 1"/>
                <a:gd name="f110" fmla="*/ f90 f34 1"/>
                <a:gd name="f111" fmla="*/ f91 f35 1"/>
                <a:gd name="f112" fmla="*/ f92 f34 1"/>
                <a:gd name="f113" fmla="*/ f93 f35 1"/>
                <a:gd name="f114" fmla="*/ f94 f35 1"/>
              </a:gdLst>
              <a:ahLst/>
              <a:cxnLst>
                <a:cxn ang="3cd4">
                  <a:pos x="hc" y="t"/>
                </a:cxn>
                <a:cxn ang="0">
                  <a:pos x="r" y="vc"/>
                </a:cxn>
                <a:cxn ang="cd4">
                  <a:pos x="hc" y="b"/>
                </a:cxn>
                <a:cxn ang="cd2">
                  <a:pos x="l" y="vc"/>
                </a:cxn>
                <a:cxn ang="f78">
                  <a:pos x="f99" y="f100"/>
                </a:cxn>
                <a:cxn ang="f78">
                  <a:pos x="f101" y="f102"/>
                </a:cxn>
                <a:cxn ang="f78">
                  <a:pos x="f103" y="f104"/>
                </a:cxn>
                <a:cxn ang="f78">
                  <a:pos x="f105" y="f106"/>
                </a:cxn>
                <a:cxn ang="f78">
                  <a:pos x="f107" y="f108"/>
                </a:cxn>
                <a:cxn ang="f78">
                  <a:pos x="f107" y="f109"/>
                </a:cxn>
                <a:cxn ang="f78">
                  <a:pos x="f110" y="f111"/>
                </a:cxn>
                <a:cxn ang="f78">
                  <a:pos x="f112" y="f113"/>
                </a:cxn>
                <a:cxn ang="f78">
                  <a:pos x="f99" y="f114"/>
                </a:cxn>
              </a:cxnLst>
              <a:rect l="f95" t="f98" r="f96" b="f97"/>
              <a:pathLst>
                <a:path w="2807368" h="649803">
                  <a:moveTo>
                    <a:pt x="f5" y="f5"/>
                  </a:moveTo>
                  <a:lnTo>
                    <a:pt x="f8" y="f9"/>
                  </a:lnTo>
                  <a:cubicBezTo>
                    <a:pt x="f10" y="f11"/>
                    <a:pt x="f12" y="f13"/>
                    <a:pt x="f14" y="f15"/>
                  </a:cubicBezTo>
                  <a:cubicBezTo>
                    <a:pt x="f16" y="f17"/>
                    <a:pt x="f18" y="f19"/>
                    <a:pt x="f20" y="f21"/>
                  </a:cubicBezTo>
                  <a:lnTo>
                    <a:pt x="f6" y="f22"/>
                  </a:lnTo>
                  <a:lnTo>
                    <a:pt x="f6" y="f23"/>
                  </a:lnTo>
                  <a:lnTo>
                    <a:pt x="f24" y="f25"/>
                  </a:lnTo>
                  <a:cubicBezTo>
                    <a:pt x="f26" y="f27"/>
                    <a:pt x="f28" y="f29"/>
                    <a:pt x="f30" y="f31"/>
                  </a:cubicBezTo>
                  <a:lnTo>
                    <a:pt x="f5" y="f32"/>
                  </a:ln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grpSp>
      <p:sp>
        <p:nvSpPr>
          <p:cNvPr id="7" name="Picture Placeholder 6">
            <a:extLst>
              <a:ext uri="{FF2B5EF4-FFF2-40B4-BE49-F238E27FC236}">
                <a16:creationId xmlns:a16="http://schemas.microsoft.com/office/drawing/2014/main" id="{89F5637E-BBF8-769F-6C94-B583E8A10D8A}"/>
              </a:ext>
            </a:extLst>
          </p:cNvPr>
          <p:cNvSpPr txBox="1">
            <a:spLocks noGrp="1"/>
          </p:cNvSpPr>
          <p:nvPr>
            <p:ph type="pic" idx="4294967295"/>
          </p:nvPr>
        </p:nvSpPr>
        <p:spPr>
          <a:xfrm>
            <a:off x="2807363" y="457200"/>
            <a:ext cx="8915400" cy="5943600"/>
          </a:xfrm>
        </p:spPr>
        <p:txBody>
          <a:bodyPr/>
          <a:lstStyle>
            <a:lvl1pPr>
              <a:defRPr/>
            </a:lvl1pPr>
          </a:lstStyle>
          <a:p>
            <a:pPr lvl="0"/>
            <a:endParaRPr lang="en-US"/>
          </a:p>
        </p:txBody>
      </p:sp>
      <p:pic>
        <p:nvPicPr>
          <p:cNvPr id="8" name="Picture 14">
            <a:extLst>
              <a:ext uri="{FF2B5EF4-FFF2-40B4-BE49-F238E27FC236}">
                <a16:creationId xmlns:a16="http://schemas.microsoft.com/office/drawing/2014/main" id="{2972B702-C60B-8A17-973D-811AA514D664}"/>
              </a:ext>
            </a:extLst>
          </p:cNvPr>
          <p:cNvPicPr>
            <a:picLocks noChangeAspect="1"/>
          </p:cNvPicPr>
          <p:nvPr/>
        </p:nvPicPr>
        <p:blipFill>
          <a:blip r:embed="rId2"/>
          <a:srcRect/>
          <a:stretch>
            <a:fillRect/>
          </a:stretch>
        </p:blipFill>
        <p:spPr>
          <a:xfrm>
            <a:off x="513354" y="4385535"/>
            <a:ext cx="2025313" cy="911940"/>
          </a:xfrm>
          <a:prstGeom prst="rect">
            <a:avLst/>
          </a:prstGeom>
          <a:noFill/>
          <a:ln cap="flat">
            <a:noFill/>
          </a:ln>
        </p:spPr>
      </p:pic>
    </p:spTree>
    <p:extLst>
      <p:ext uri="{BB962C8B-B14F-4D97-AF65-F5344CB8AC3E}">
        <p14:creationId xmlns:p14="http://schemas.microsoft.com/office/powerpoint/2010/main" val="38538351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9271"/>
        <p:cNvGrpSpPr/>
        <p:nvPr/>
      </p:nvGrpSpPr>
      <p:grpSpPr>
        <a:xfrm>
          <a:off x="0" y="0"/>
          <a:ext cx="0" cy="0"/>
          <a:chOff x="0" y="0"/>
          <a:chExt cx="0" cy="0"/>
        </a:xfrm>
      </p:grpSpPr>
      <p:grpSp>
        <p:nvGrpSpPr>
          <p:cNvPr id="9272" name="Google Shape;9272;p1339"/>
          <p:cNvGrpSpPr/>
          <p:nvPr/>
        </p:nvGrpSpPr>
        <p:grpSpPr>
          <a:xfrm>
            <a:off x="7191542" y="1"/>
            <a:ext cx="5000459" cy="1425992"/>
            <a:chOff x="7191542" y="1"/>
            <a:chExt cx="5000459" cy="1425992"/>
          </a:xfrm>
        </p:grpSpPr>
        <p:pic>
          <p:nvPicPr>
            <p:cNvPr id="9273" name="Google Shape;9273;p13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74" name="Google Shape;9274;p1339"/>
            <p:cNvGrpSpPr/>
            <p:nvPr/>
          </p:nvGrpSpPr>
          <p:grpSpPr>
            <a:xfrm>
              <a:off x="7191542" y="1"/>
              <a:ext cx="5000459" cy="1425992"/>
              <a:chOff x="7186272" y="0"/>
              <a:chExt cx="5005729" cy="1427495"/>
            </a:xfrm>
          </p:grpSpPr>
          <p:sp>
            <p:nvSpPr>
              <p:cNvPr id="9275" name="Google Shape;9275;p13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276" name="Google Shape;9276;p13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277" name="Google Shape;9277;p13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278" name="Google Shape;9278;p13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79" name="Google Shape;9279;p13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80" name="Google Shape;9280;p13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42644F33-DEA8-7C83-B655-75CA7D705D14}"/>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C2BCDF1C-8595-97F7-23A7-D9BC991040C7}"/>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3DC2F990-DA2D-536A-F202-37F814F42DD5}"/>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F330FCD4-B4A2-3F6C-909D-4E80A7B13A3F}"/>
              </a:ext>
            </a:extLst>
          </p:cNvPr>
          <p:cNvSpPr txBox="1">
            <a:spLocks noGrp="1"/>
          </p:cNvSpPr>
          <p:nvPr>
            <p:ph type="sldNum" sz="quarter" idx="8"/>
          </p:nvPr>
        </p:nvSpPr>
        <p:spPr/>
        <p:txBody>
          <a:bodyPr/>
          <a:lstStyle>
            <a:lvl1pPr>
              <a:defRPr>
                <a:solidFill>
                  <a:srgbClr val="AFB3B9"/>
                </a:solidFill>
              </a:defRPr>
            </a:lvl1pPr>
          </a:lstStyle>
          <a:p>
            <a:pPr lvl="0"/>
            <a:fld id="{9CF8455D-3E5A-4AE5-83BA-43601C28CB80}" type="slidenum">
              <a:t>‹#›</a:t>
            </a:fld>
            <a:endParaRPr lang="en-US"/>
          </a:p>
        </p:txBody>
      </p:sp>
      <p:cxnSp>
        <p:nvCxnSpPr>
          <p:cNvPr id="6" name="Straight Connector 7">
            <a:extLst>
              <a:ext uri="{FF2B5EF4-FFF2-40B4-BE49-F238E27FC236}">
                <a16:creationId xmlns:a16="http://schemas.microsoft.com/office/drawing/2014/main" id="{09F84F7E-D17C-47B8-9FAB-06AB07705316}"/>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09122E26-0EE3-FADA-D72A-87DEABF3AD47}"/>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A971EE32-E320-331B-92D9-4D0D9A8C651F}"/>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9A570A2A-4D9A-65D3-F7E5-3463D56834FC}"/>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D59933A6-FD10-DC15-8A50-B7468F22DFCF}"/>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C940A293-8721-CCF7-81A9-FA44D03AECF3}"/>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984D1A37-B3FA-5332-C1B0-2A10611CDC33}"/>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4E2A34BA-0285-8D22-44AB-D4CF9D71E79E}"/>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1900381591"/>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82619A67-0FAF-5FC6-A9F0-4A957719E6B8}"/>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C5665260-277A-11EF-D421-390796690E98}"/>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B92863A3-FBC5-8BA6-1FA0-1205FE5A6E9F}"/>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AEEB2824-F202-E0CF-4436-23DDC798278B}"/>
              </a:ext>
            </a:extLst>
          </p:cNvPr>
          <p:cNvSpPr txBox="1">
            <a:spLocks noGrp="1"/>
          </p:cNvSpPr>
          <p:nvPr>
            <p:ph type="sldNum" sz="quarter" idx="8"/>
          </p:nvPr>
        </p:nvSpPr>
        <p:spPr/>
        <p:txBody>
          <a:bodyPr/>
          <a:lstStyle>
            <a:lvl1pPr>
              <a:defRPr>
                <a:solidFill>
                  <a:srgbClr val="AFB3B9"/>
                </a:solidFill>
              </a:defRPr>
            </a:lvl1pPr>
          </a:lstStyle>
          <a:p>
            <a:pPr lvl="0"/>
            <a:fld id="{9B8C62C2-A660-4A26-87A2-26FE7EBED156}" type="slidenum">
              <a:t>‹#›</a:t>
            </a:fld>
            <a:endParaRPr lang="en-US"/>
          </a:p>
        </p:txBody>
      </p:sp>
      <p:cxnSp>
        <p:nvCxnSpPr>
          <p:cNvPr id="6" name="Straight Connector 7">
            <a:extLst>
              <a:ext uri="{FF2B5EF4-FFF2-40B4-BE49-F238E27FC236}">
                <a16:creationId xmlns:a16="http://schemas.microsoft.com/office/drawing/2014/main" id="{E0A13F01-EDB0-EAE8-55A8-30D6CCCDF217}"/>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18B55493-4625-4032-636D-D39037C7019D}"/>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CDC5D06E-6171-B1F9-40EE-12173176B990}"/>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5A4D0598-F1BE-9FD5-BD9B-8CBA96D8AF35}"/>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0E42F3A5-6EA0-E07F-66B7-BFA808ED9A35}"/>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279F2E3B-ECC1-EDA2-5798-29AC082CE4F8}"/>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D69FEB6C-ED6F-952D-4C8F-0AB9C4756963}"/>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F06F9E4D-8EE5-9FD2-42C1-F3A2618DFD32}"/>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4226357778"/>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2" name="Group 63">
            <a:extLst>
              <a:ext uri="{FF2B5EF4-FFF2-40B4-BE49-F238E27FC236}">
                <a16:creationId xmlns:a16="http://schemas.microsoft.com/office/drawing/2014/main" id="{54126ABF-2682-F16D-4C73-90525FD7E91B}"/>
              </a:ext>
            </a:extLst>
          </p:cNvPr>
          <p:cNvGrpSpPr/>
          <p:nvPr/>
        </p:nvGrpSpPr>
        <p:grpSpPr>
          <a:xfrm>
            <a:off x="7191545" y="0"/>
            <a:ext cx="5000460" cy="1425988"/>
            <a:chOff x="7191545" y="0"/>
            <a:chExt cx="5000460" cy="1425988"/>
          </a:xfrm>
        </p:grpSpPr>
        <p:pic>
          <p:nvPicPr>
            <p:cNvPr id="3" name="Picture 64">
              <a:extLst>
                <a:ext uri="{FF2B5EF4-FFF2-40B4-BE49-F238E27FC236}">
                  <a16:creationId xmlns:a16="http://schemas.microsoft.com/office/drawing/2014/main" id="{8CB68BBF-0943-835A-3C35-137C73BDED80}"/>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65">
              <a:extLst>
                <a:ext uri="{FF2B5EF4-FFF2-40B4-BE49-F238E27FC236}">
                  <a16:creationId xmlns:a16="http://schemas.microsoft.com/office/drawing/2014/main" id="{4E96E8A9-BBF8-6216-04B1-CEE0D3FE60EB}"/>
                </a:ext>
              </a:extLst>
            </p:cNvPr>
            <p:cNvGrpSpPr/>
            <p:nvPr/>
          </p:nvGrpSpPr>
          <p:grpSpPr>
            <a:xfrm>
              <a:off x="7191545" y="0"/>
              <a:ext cx="5000460" cy="1425988"/>
              <a:chOff x="7191545" y="0"/>
              <a:chExt cx="5000460" cy="1425988"/>
            </a:xfrm>
          </p:grpSpPr>
          <p:sp>
            <p:nvSpPr>
              <p:cNvPr id="5" name="Freeform 66">
                <a:extLst>
                  <a:ext uri="{FF2B5EF4-FFF2-40B4-BE49-F238E27FC236}">
                    <a16:creationId xmlns:a16="http://schemas.microsoft.com/office/drawing/2014/main" id="{27BCB368-8049-A0C9-87F5-2C8EE22795E8}"/>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67">
                <a:extLst>
                  <a:ext uri="{FF2B5EF4-FFF2-40B4-BE49-F238E27FC236}">
                    <a16:creationId xmlns:a16="http://schemas.microsoft.com/office/drawing/2014/main" id="{08804A25-76C9-0C98-C67B-FDE1AC373A73}"/>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D704F126-2769-B293-5F30-2402BE529651}"/>
              </a:ext>
            </a:extLst>
          </p:cNvPr>
          <p:cNvSpPr txBox="1">
            <a:spLocks noGrp="1"/>
          </p:cNvSpPr>
          <p:nvPr>
            <p:ph type="title"/>
          </p:nvPr>
        </p:nvSpPr>
        <p:spPr/>
        <p:txBody>
          <a:bodyPr/>
          <a:lstStyle>
            <a:lvl1pPr>
              <a:defRPr/>
            </a:lvl1pPr>
          </a:lstStyle>
          <a:p>
            <a:pPr lvl="0"/>
            <a:r>
              <a:rPr lang="en-US"/>
              <a:t>Click to edit Master title style</a:t>
            </a:r>
          </a:p>
        </p:txBody>
      </p:sp>
      <p:sp>
        <p:nvSpPr>
          <p:cNvPr id="8" name="Content Placeholder 2">
            <a:extLst>
              <a:ext uri="{FF2B5EF4-FFF2-40B4-BE49-F238E27FC236}">
                <a16:creationId xmlns:a16="http://schemas.microsoft.com/office/drawing/2014/main" id="{69373ED5-C417-B58D-9CA4-3E5ADFB943D5}"/>
              </a:ext>
            </a:extLst>
          </p:cNvPr>
          <p:cNvSpPr txBox="1">
            <a:spLocks noGrp="1"/>
          </p:cNvSpPr>
          <p:nvPr>
            <p:ph idx="1"/>
          </p:nvPr>
        </p:nvSpPr>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6">
            <a:extLst>
              <a:ext uri="{FF2B5EF4-FFF2-40B4-BE49-F238E27FC236}">
                <a16:creationId xmlns:a16="http://schemas.microsoft.com/office/drawing/2014/main" id="{6483947E-CA5E-AABF-4C0E-8CF469A08260}"/>
              </a:ext>
            </a:extLst>
          </p:cNvPr>
          <p:cNvSpPr txBox="1">
            <a:spLocks noGrp="1"/>
          </p:cNvSpPr>
          <p:nvPr>
            <p:ph type="sldNum" sz="quarter" idx="8"/>
          </p:nvPr>
        </p:nvSpPr>
        <p:spPr/>
        <p:txBody>
          <a:bodyPr/>
          <a:lstStyle>
            <a:lvl1pPr>
              <a:defRPr>
                <a:solidFill>
                  <a:srgbClr val="AFB3B9"/>
                </a:solidFill>
              </a:defRPr>
            </a:lvl1pPr>
          </a:lstStyle>
          <a:p>
            <a:pPr lvl="0"/>
            <a:fld id="{628E0205-E465-42CE-8EEE-6D004E8634F1}" type="slidenum">
              <a:t>‹#›</a:t>
            </a:fld>
            <a:endParaRPr lang="en-US"/>
          </a:p>
        </p:txBody>
      </p:sp>
      <p:cxnSp>
        <p:nvCxnSpPr>
          <p:cNvPr id="10" name="Straight Connector 7">
            <a:extLst>
              <a:ext uri="{FF2B5EF4-FFF2-40B4-BE49-F238E27FC236}">
                <a16:creationId xmlns:a16="http://schemas.microsoft.com/office/drawing/2014/main" id="{D81FAA95-D75A-4B8D-D642-190172AB19D4}"/>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1" name="Footer Placeholder 5">
            <a:extLst>
              <a:ext uri="{FF2B5EF4-FFF2-40B4-BE49-F238E27FC236}">
                <a16:creationId xmlns:a16="http://schemas.microsoft.com/office/drawing/2014/main" id="{728B4636-3A00-16AE-0D28-4D944DE2434A}"/>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352876868"/>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A4C049-5A98-D74B-B5BC-58109DFBB898}"/>
              </a:ext>
            </a:extLst>
          </p:cNvPr>
          <p:cNvSpPr txBox="1">
            <a:spLocks noGrp="1"/>
          </p:cNvSpPr>
          <p:nvPr>
            <p:ph type="title"/>
          </p:nvPr>
        </p:nvSpPr>
        <p:spPr/>
        <p:txBody>
          <a:bodyPr/>
          <a:lstStyle>
            <a:lvl1pPr>
              <a:defRPr/>
            </a:lvl1pPr>
          </a:lstStyle>
          <a:p>
            <a:pPr lvl="0"/>
            <a:r>
              <a:rPr lang="en-US"/>
              <a:t>Click to edit Master title style</a:t>
            </a:r>
          </a:p>
        </p:txBody>
      </p:sp>
      <p:sp>
        <p:nvSpPr>
          <p:cNvPr id="3" name="Content Placeholder 2">
            <a:extLst>
              <a:ext uri="{FF2B5EF4-FFF2-40B4-BE49-F238E27FC236}">
                <a16:creationId xmlns:a16="http://schemas.microsoft.com/office/drawing/2014/main" id="{A37AA886-F094-61DA-5388-947A5893997E}"/>
              </a:ext>
            </a:extLst>
          </p:cNvPr>
          <p:cNvSpPr txBox="1">
            <a:spLocks noGrp="1"/>
          </p:cNvSpPr>
          <p:nvPr>
            <p:ph idx="1"/>
          </p:nvPr>
        </p:nvSpPr>
        <p:spPr>
          <a:xfrm>
            <a:off x="609604" y="1825627"/>
            <a:ext cx="5410203" cy="4351336"/>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43">
            <a:extLst>
              <a:ext uri="{FF2B5EF4-FFF2-40B4-BE49-F238E27FC236}">
                <a16:creationId xmlns:a16="http://schemas.microsoft.com/office/drawing/2014/main" id="{C32B6798-4AD1-28D1-F53F-9C9600390A7A}"/>
              </a:ext>
            </a:extLst>
          </p:cNvPr>
          <p:cNvGrpSpPr/>
          <p:nvPr/>
        </p:nvGrpSpPr>
        <p:grpSpPr>
          <a:xfrm>
            <a:off x="7191545" y="0"/>
            <a:ext cx="5000460" cy="1425988"/>
            <a:chOff x="7191545" y="0"/>
            <a:chExt cx="5000460" cy="1425988"/>
          </a:xfrm>
        </p:grpSpPr>
        <p:pic>
          <p:nvPicPr>
            <p:cNvPr id="5" name="Picture 19">
              <a:extLst>
                <a:ext uri="{FF2B5EF4-FFF2-40B4-BE49-F238E27FC236}">
                  <a16:creationId xmlns:a16="http://schemas.microsoft.com/office/drawing/2014/main" id="{EA12344C-9E94-9C19-D3AF-EA3C00C009F8}"/>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6" name="Group 42">
              <a:extLst>
                <a:ext uri="{FF2B5EF4-FFF2-40B4-BE49-F238E27FC236}">
                  <a16:creationId xmlns:a16="http://schemas.microsoft.com/office/drawing/2014/main" id="{253BA7AB-D6C9-236D-7600-AB64A7B46086}"/>
                </a:ext>
              </a:extLst>
            </p:cNvPr>
            <p:cNvGrpSpPr/>
            <p:nvPr/>
          </p:nvGrpSpPr>
          <p:grpSpPr>
            <a:xfrm>
              <a:off x="7191545" y="0"/>
              <a:ext cx="5000460" cy="1425988"/>
              <a:chOff x="7191545" y="0"/>
              <a:chExt cx="5000460" cy="1425988"/>
            </a:xfrm>
          </p:grpSpPr>
          <p:sp>
            <p:nvSpPr>
              <p:cNvPr id="7" name="Freeform 41">
                <a:extLst>
                  <a:ext uri="{FF2B5EF4-FFF2-40B4-BE49-F238E27FC236}">
                    <a16:creationId xmlns:a16="http://schemas.microsoft.com/office/drawing/2014/main" id="{7E1D8000-935B-5AF9-ACEE-32B0DC45FE21}"/>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8" name="Freeform 39">
                <a:extLst>
                  <a:ext uri="{FF2B5EF4-FFF2-40B4-BE49-F238E27FC236}">
                    <a16:creationId xmlns:a16="http://schemas.microsoft.com/office/drawing/2014/main" id="{DF4A2214-C513-C037-B29A-428363393C1F}"/>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9" name="Content Placeholder 3">
            <a:extLst>
              <a:ext uri="{FF2B5EF4-FFF2-40B4-BE49-F238E27FC236}">
                <a16:creationId xmlns:a16="http://schemas.microsoft.com/office/drawing/2014/main" id="{D3F01CB8-ADDC-63BA-0C11-6F2E4CAEFAF0}"/>
              </a:ext>
            </a:extLst>
          </p:cNvPr>
          <p:cNvSpPr txBox="1">
            <a:spLocks noGrp="1"/>
          </p:cNvSpPr>
          <p:nvPr>
            <p:ph idx="2"/>
          </p:nvPr>
        </p:nvSpPr>
        <p:spPr>
          <a:xfrm>
            <a:off x="6172201" y="1825627"/>
            <a:ext cx="5410203" cy="4351336"/>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7">
            <a:extLst>
              <a:ext uri="{FF2B5EF4-FFF2-40B4-BE49-F238E27FC236}">
                <a16:creationId xmlns:a16="http://schemas.microsoft.com/office/drawing/2014/main" id="{7EFF50E5-C478-30D9-1CC6-56110D5A3423}"/>
              </a:ext>
            </a:extLst>
          </p:cNvPr>
          <p:cNvSpPr txBox="1">
            <a:spLocks noGrp="1"/>
          </p:cNvSpPr>
          <p:nvPr>
            <p:ph type="sldNum" sz="quarter" idx="8"/>
          </p:nvPr>
        </p:nvSpPr>
        <p:spPr>
          <a:xfrm>
            <a:off x="8839193" y="6356352"/>
            <a:ext cx="2743200" cy="365129"/>
          </a:xfrm>
        </p:spPr>
        <p:txBody>
          <a:bodyPr/>
          <a:lstStyle>
            <a:lvl1pPr>
              <a:defRPr/>
            </a:lvl1pPr>
          </a:lstStyle>
          <a:p>
            <a:pPr lvl="0"/>
            <a:fld id="{6C6F9C71-74DC-4D42-B249-331966C67B53}" type="slidenum">
              <a:t>‹#›</a:t>
            </a:fld>
            <a:endParaRPr lang="en-US"/>
          </a:p>
        </p:txBody>
      </p:sp>
      <p:cxnSp>
        <p:nvCxnSpPr>
          <p:cNvPr id="11" name="Straight Connector 6">
            <a:extLst>
              <a:ext uri="{FF2B5EF4-FFF2-40B4-BE49-F238E27FC236}">
                <a16:creationId xmlns:a16="http://schemas.microsoft.com/office/drawing/2014/main" id="{DEB0377D-3151-0B83-80C2-07C0279E31F3}"/>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2" name="Footer Placeholder 4">
            <a:extLst>
              <a:ext uri="{FF2B5EF4-FFF2-40B4-BE49-F238E27FC236}">
                <a16:creationId xmlns:a16="http://schemas.microsoft.com/office/drawing/2014/main" id="{6C32F69F-1BC0-A4D0-9DA2-C812D96ED77F}"/>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2345361392"/>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 name="Group 24">
            <a:extLst>
              <a:ext uri="{FF2B5EF4-FFF2-40B4-BE49-F238E27FC236}">
                <a16:creationId xmlns:a16="http://schemas.microsoft.com/office/drawing/2014/main" id="{A585D9C8-7EA0-E288-CFB4-7FD43E96BC40}"/>
              </a:ext>
            </a:extLst>
          </p:cNvPr>
          <p:cNvGrpSpPr/>
          <p:nvPr/>
        </p:nvGrpSpPr>
        <p:grpSpPr>
          <a:xfrm>
            <a:off x="7191545" y="0"/>
            <a:ext cx="5000460" cy="1425988"/>
            <a:chOff x="7191545" y="0"/>
            <a:chExt cx="5000460" cy="1425988"/>
          </a:xfrm>
        </p:grpSpPr>
        <p:pic>
          <p:nvPicPr>
            <p:cNvPr id="3" name="Picture 25">
              <a:extLst>
                <a:ext uri="{FF2B5EF4-FFF2-40B4-BE49-F238E27FC236}">
                  <a16:creationId xmlns:a16="http://schemas.microsoft.com/office/drawing/2014/main" id="{E2D582D1-A862-CAE8-0922-EF75AEA4D2D8}"/>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26">
              <a:extLst>
                <a:ext uri="{FF2B5EF4-FFF2-40B4-BE49-F238E27FC236}">
                  <a16:creationId xmlns:a16="http://schemas.microsoft.com/office/drawing/2014/main" id="{2F20AC56-F645-340B-117C-076F7C5D40DB}"/>
                </a:ext>
              </a:extLst>
            </p:cNvPr>
            <p:cNvGrpSpPr/>
            <p:nvPr/>
          </p:nvGrpSpPr>
          <p:grpSpPr>
            <a:xfrm>
              <a:off x="7191545" y="0"/>
              <a:ext cx="5000460" cy="1425988"/>
              <a:chOff x="7191545" y="0"/>
              <a:chExt cx="5000460" cy="1425988"/>
            </a:xfrm>
          </p:grpSpPr>
          <p:sp>
            <p:nvSpPr>
              <p:cNvPr id="5" name="Freeform 27">
                <a:extLst>
                  <a:ext uri="{FF2B5EF4-FFF2-40B4-BE49-F238E27FC236}">
                    <a16:creationId xmlns:a16="http://schemas.microsoft.com/office/drawing/2014/main" id="{76C07AF9-66BA-1B42-AF6B-43108AF34F08}"/>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28">
                <a:extLst>
                  <a:ext uri="{FF2B5EF4-FFF2-40B4-BE49-F238E27FC236}">
                    <a16:creationId xmlns:a16="http://schemas.microsoft.com/office/drawing/2014/main" id="{22B59D05-3DF4-6264-F1D4-83116DEEE63B}"/>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C8F5855D-67AD-8F80-6C3D-1B371A3902DE}"/>
              </a:ext>
            </a:extLst>
          </p:cNvPr>
          <p:cNvSpPr txBox="1">
            <a:spLocks noGrp="1"/>
          </p:cNvSpPr>
          <p:nvPr>
            <p:ph type="title"/>
          </p:nvPr>
        </p:nvSpPr>
        <p:spPr/>
        <p:txBody>
          <a:bodyPr/>
          <a:lstStyle>
            <a:lvl1pPr>
              <a:defRPr/>
            </a:lvl1pPr>
          </a:lstStyle>
          <a:p>
            <a:pPr lvl="0"/>
            <a:r>
              <a:rPr lang="en-US"/>
              <a:t>Click to edit Master title style</a:t>
            </a:r>
          </a:p>
        </p:txBody>
      </p:sp>
      <p:sp>
        <p:nvSpPr>
          <p:cNvPr id="8" name="Text Placeholder 2">
            <a:extLst>
              <a:ext uri="{FF2B5EF4-FFF2-40B4-BE49-F238E27FC236}">
                <a16:creationId xmlns:a16="http://schemas.microsoft.com/office/drawing/2014/main" id="{36C72B88-832B-9BB3-D213-BE752206CBA7}"/>
              </a:ext>
            </a:extLst>
          </p:cNvPr>
          <p:cNvSpPr txBox="1">
            <a:spLocks noGrp="1"/>
          </p:cNvSpPr>
          <p:nvPr>
            <p:ph type="body" idx="1"/>
          </p:nvPr>
        </p:nvSpPr>
        <p:spPr>
          <a:xfrm>
            <a:off x="609604" y="1681160"/>
            <a:ext cx="5387973" cy="823910"/>
          </a:xfrm>
          <a:solidFill>
            <a:srgbClr val="F3F6FB"/>
          </a:solidFill>
        </p:spPr>
        <p:txBody>
          <a:bodyPr lIns="182880" tIns="0" rIns="182880" bIns="0" anchor="ctr"/>
          <a:lstStyle>
            <a:lvl1pPr marL="0" indent="0">
              <a:buNone/>
              <a:defRPr u="sng">
                <a:uFill>
                  <a:solidFill>
                    <a:srgbClr val="F58366"/>
                  </a:solidFill>
                </a:uFill>
              </a:defRPr>
            </a:lvl1pPr>
          </a:lstStyle>
          <a:p>
            <a:pPr lvl="0"/>
            <a:r>
              <a:rPr lang="en-US"/>
              <a:t>Click to edit Master text styles</a:t>
            </a:r>
          </a:p>
        </p:txBody>
      </p:sp>
      <p:sp>
        <p:nvSpPr>
          <p:cNvPr id="9" name="Content Placeholder 3">
            <a:extLst>
              <a:ext uri="{FF2B5EF4-FFF2-40B4-BE49-F238E27FC236}">
                <a16:creationId xmlns:a16="http://schemas.microsoft.com/office/drawing/2014/main" id="{DA999E4E-F23F-3631-9632-3B77D8AF9208}"/>
              </a:ext>
            </a:extLst>
          </p:cNvPr>
          <p:cNvSpPr txBox="1">
            <a:spLocks noGrp="1"/>
          </p:cNvSpPr>
          <p:nvPr>
            <p:ph idx="2"/>
          </p:nvPr>
        </p:nvSpPr>
        <p:spPr>
          <a:xfrm>
            <a:off x="609604" y="2505072"/>
            <a:ext cx="5387973" cy="3684583"/>
          </a:xfrm>
          <a:solidFill>
            <a:srgbClr val="F3F6FB"/>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E61D6B30-2588-2455-7C06-CC929F906CBA}"/>
              </a:ext>
            </a:extLst>
          </p:cNvPr>
          <p:cNvSpPr txBox="1">
            <a:spLocks noGrp="1"/>
          </p:cNvSpPr>
          <p:nvPr>
            <p:ph type="body" idx="3"/>
          </p:nvPr>
        </p:nvSpPr>
        <p:spPr>
          <a:xfrm>
            <a:off x="6172201" y="1681160"/>
            <a:ext cx="5410203" cy="823910"/>
          </a:xfrm>
          <a:solidFill>
            <a:srgbClr val="F3F6FB"/>
          </a:solidFill>
        </p:spPr>
        <p:txBody>
          <a:bodyPr lIns="182880" tIns="0" rIns="182880" bIns="0" anchor="ctr"/>
          <a:lstStyle>
            <a:lvl1pPr marL="0" indent="0">
              <a:buNone/>
              <a:defRPr u="sng">
                <a:uFill>
                  <a:solidFill>
                    <a:srgbClr val="F58366"/>
                  </a:solidFill>
                </a:uFill>
              </a:defRPr>
            </a:lvl1pPr>
          </a:lstStyle>
          <a:p>
            <a:pPr lvl="0"/>
            <a:r>
              <a:rPr lang="en-US"/>
              <a:t>Click to edit Master text styles</a:t>
            </a:r>
          </a:p>
        </p:txBody>
      </p:sp>
      <p:sp>
        <p:nvSpPr>
          <p:cNvPr id="11" name="Content Placeholder 5">
            <a:extLst>
              <a:ext uri="{FF2B5EF4-FFF2-40B4-BE49-F238E27FC236}">
                <a16:creationId xmlns:a16="http://schemas.microsoft.com/office/drawing/2014/main" id="{CB70B6D4-3672-1367-7443-4C8799C88C99}"/>
              </a:ext>
            </a:extLst>
          </p:cNvPr>
          <p:cNvSpPr txBox="1">
            <a:spLocks noGrp="1"/>
          </p:cNvSpPr>
          <p:nvPr>
            <p:ph idx="4"/>
          </p:nvPr>
        </p:nvSpPr>
        <p:spPr>
          <a:xfrm>
            <a:off x="6172201" y="2505072"/>
            <a:ext cx="5410203" cy="3684583"/>
          </a:xfrm>
          <a:solidFill>
            <a:srgbClr val="F3F6FB"/>
          </a:solidFill>
        </p:spPr>
        <p:txBody>
          <a:bodyPr lIns="182880" tIns="0" rIns="182880" bIns="0"/>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9">
            <a:extLst>
              <a:ext uri="{FF2B5EF4-FFF2-40B4-BE49-F238E27FC236}">
                <a16:creationId xmlns:a16="http://schemas.microsoft.com/office/drawing/2014/main" id="{5DF70975-E9F5-FB22-AF9D-1F347F7472A5}"/>
              </a:ext>
            </a:extLst>
          </p:cNvPr>
          <p:cNvSpPr txBox="1">
            <a:spLocks noGrp="1"/>
          </p:cNvSpPr>
          <p:nvPr>
            <p:ph type="sldNum" sz="quarter" idx="8"/>
          </p:nvPr>
        </p:nvSpPr>
        <p:spPr/>
        <p:txBody>
          <a:bodyPr/>
          <a:lstStyle>
            <a:lvl1pPr>
              <a:defRPr/>
            </a:lvl1pPr>
          </a:lstStyle>
          <a:p>
            <a:pPr lvl="0"/>
            <a:fld id="{4161B6D0-5A4D-4630-A115-9CACF79D4A5E}" type="slidenum">
              <a:t>‹#›</a:t>
            </a:fld>
            <a:endParaRPr lang="en-US"/>
          </a:p>
        </p:txBody>
      </p:sp>
      <p:cxnSp>
        <p:nvCxnSpPr>
          <p:cNvPr id="13" name="Straight Connector 8">
            <a:extLst>
              <a:ext uri="{FF2B5EF4-FFF2-40B4-BE49-F238E27FC236}">
                <a16:creationId xmlns:a16="http://schemas.microsoft.com/office/drawing/2014/main" id="{C77C0289-AA7E-542D-121A-B1AAB8847EB2}"/>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4" name="Footer Placeholder 7">
            <a:extLst>
              <a:ext uri="{FF2B5EF4-FFF2-40B4-BE49-F238E27FC236}">
                <a16:creationId xmlns:a16="http://schemas.microsoft.com/office/drawing/2014/main" id="{61FF5E32-57CE-C555-0A17-078ED24A33FB}"/>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3496834805"/>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 name="Group 21">
            <a:extLst>
              <a:ext uri="{FF2B5EF4-FFF2-40B4-BE49-F238E27FC236}">
                <a16:creationId xmlns:a16="http://schemas.microsoft.com/office/drawing/2014/main" id="{6AD215F7-A933-717B-862F-CCA8D8E597A6}"/>
              </a:ext>
            </a:extLst>
          </p:cNvPr>
          <p:cNvGrpSpPr/>
          <p:nvPr/>
        </p:nvGrpSpPr>
        <p:grpSpPr>
          <a:xfrm>
            <a:off x="7191545" y="0"/>
            <a:ext cx="5000460" cy="1425988"/>
            <a:chOff x="7191545" y="0"/>
            <a:chExt cx="5000460" cy="1425988"/>
          </a:xfrm>
        </p:grpSpPr>
        <p:pic>
          <p:nvPicPr>
            <p:cNvPr id="3" name="Picture 22">
              <a:extLst>
                <a:ext uri="{FF2B5EF4-FFF2-40B4-BE49-F238E27FC236}">
                  <a16:creationId xmlns:a16="http://schemas.microsoft.com/office/drawing/2014/main" id="{CD71D8FC-AA1F-901F-112F-0D9438280DB0}"/>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23">
              <a:extLst>
                <a:ext uri="{FF2B5EF4-FFF2-40B4-BE49-F238E27FC236}">
                  <a16:creationId xmlns:a16="http://schemas.microsoft.com/office/drawing/2014/main" id="{C72528CC-6846-92E1-08FC-BE3370485A72}"/>
                </a:ext>
              </a:extLst>
            </p:cNvPr>
            <p:cNvGrpSpPr/>
            <p:nvPr/>
          </p:nvGrpSpPr>
          <p:grpSpPr>
            <a:xfrm>
              <a:off x="7191545" y="0"/>
              <a:ext cx="5000460" cy="1425988"/>
              <a:chOff x="7191545" y="0"/>
              <a:chExt cx="5000460" cy="1425988"/>
            </a:xfrm>
          </p:grpSpPr>
          <p:sp>
            <p:nvSpPr>
              <p:cNvPr id="5" name="Freeform 24">
                <a:extLst>
                  <a:ext uri="{FF2B5EF4-FFF2-40B4-BE49-F238E27FC236}">
                    <a16:creationId xmlns:a16="http://schemas.microsoft.com/office/drawing/2014/main" id="{8548E3A2-9C2B-751F-14D4-BF62556593F5}"/>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25">
                <a:extLst>
                  <a:ext uri="{FF2B5EF4-FFF2-40B4-BE49-F238E27FC236}">
                    <a16:creationId xmlns:a16="http://schemas.microsoft.com/office/drawing/2014/main" id="{228E3791-08CF-D528-AD88-1F1FCA7F2F9D}"/>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21994186-AD82-958A-A7F0-1976C760721B}"/>
              </a:ext>
            </a:extLst>
          </p:cNvPr>
          <p:cNvSpPr txBox="1">
            <a:spLocks noGrp="1"/>
          </p:cNvSpPr>
          <p:nvPr>
            <p:ph type="title"/>
          </p:nvPr>
        </p:nvSpPr>
        <p:spPr/>
        <p:txBody>
          <a:bodyPr/>
          <a:lstStyle>
            <a:lvl1pPr>
              <a:defRPr/>
            </a:lvl1pPr>
          </a:lstStyle>
          <a:p>
            <a:pPr lvl="0"/>
            <a:r>
              <a:rPr lang="en-US"/>
              <a:t>Click to edit Master title style</a:t>
            </a:r>
          </a:p>
        </p:txBody>
      </p:sp>
      <p:sp>
        <p:nvSpPr>
          <p:cNvPr id="8" name="Slide Number Placeholder 5">
            <a:extLst>
              <a:ext uri="{FF2B5EF4-FFF2-40B4-BE49-F238E27FC236}">
                <a16:creationId xmlns:a16="http://schemas.microsoft.com/office/drawing/2014/main" id="{8892C961-6D77-8808-AC88-3161EBFD09D7}"/>
              </a:ext>
            </a:extLst>
          </p:cNvPr>
          <p:cNvSpPr txBox="1">
            <a:spLocks noGrp="1"/>
          </p:cNvSpPr>
          <p:nvPr>
            <p:ph type="sldNum" sz="quarter" idx="8"/>
          </p:nvPr>
        </p:nvSpPr>
        <p:spPr/>
        <p:txBody>
          <a:bodyPr/>
          <a:lstStyle>
            <a:lvl1pPr>
              <a:defRPr/>
            </a:lvl1pPr>
          </a:lstStyle>
          <a:p>
            <a:pPr lvl="0"/>
            <a:fld id="{9BD7B569-02AE-46D4-BBEB-86B1665C0CD9}" type="slidenum">
              <a:t>‹#›</a:t>
            </a:fld>
            <a:endParaRPr lang="en-US"/>
          </a:p>
        </p:txBody>
      </p:sp>
      <p:cxnSp>
        <p:nvCxnSpPr>
          <p:cNvPr id="9" name="Straight Connector 6">
            <a:extLst>
              <a:ext uri="{FF2B5EF4-FFF2-40B4-BE49-F238E27FC236}">
                <a16:creationId xmlns:a16="http://schemas.microsoft.com/office/drawing/2014/main" id="{AFCBD749-7204-0A9D-8635-8F2839EFEEB6}"/>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0" name="Footer Placeholder 2">
            <a:extLst>
              <a:ext uri="{FF2B5EF4-FFF2-40B4-BE49-F238E27FC236}">
                <a16:creationId xmlns:a16="http://schemas.microsoft.com/office/drawing/2014/main" id="{078B771B-5FA3-6CB7-1708-99BDC21C24F7}"/>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410892430"/>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4_End">
    <p:spTree>
      <p:nvGrpSpPr>
        <p:cNvPr id="1" name=""/>
        <p:cNvGrpSpPr/>
        <p:nvPr/>
      </p:nvGrpSpPr>
      <p:grpSpPr>
        <a:xfrm>
          <a:off x="0" y="0"/>
          <a:ext cx="0" cy="0"/>
          <a:chOff x="0" y="0"/>
          <a:chExt cx="0" cy="0"/>
        </a:xfrm>
      </p:grpSpPr>
      <p:grpSp>
        <p:nvGrpSpPr>
          <p:cNvPr id="2" name="Group 41">
            <a:extLst>
              <a:ext uri="{FF2B5EF4-FFF2-40B4-BE49-F238E27FC236}">
                <a16:creationId xmlns:a16="http://schemas.microsoft.com/office/drawing/2014/main" id="{0AFDCB55-00AC-B6B8-9DC5-606B5D4CC7A1}"/>
              </a:ext>
            </a:extLst>
          </p:cNvPr>
          <p:cNvGrpSpPr/>
          <p:nvPr/>
        </p:nvGrpSpPr>
        <p:grpSpPr>
          <a:xfrm>
            <a:off x="0" y="0"/>
            <a:ext cx="12191996" cy="2148830"/>
            <a:chOff x="0" y="0"/>
            <a:chExt cx="12191996" cy="2148830"/>
          </a:xfrm>
        </p:grpSpPr>
        <p:sp>
          <p:nvSpPr>
            <p:cNvPr id="3" name="Freeform 40">
              <a:extLst>
                <a:ext uri="{FF2B5EF4-FFF2-40B4-BE49-F238E27FC236}">
                  <a16:creationId xmlns:a16="http://schemas.microsoft.com/office/drawing/2014/main" id="{60A6B8CE-EF19-B090-5103-D7FB294949C6}"/>
                </a:ext>
              </a:extLst>
            </p:cNvPr>
            <p:cNvSpPr/>
            <p:nvPr/>
          </p:nvSpPr>
          <p:spPr>
            <a:xfrm flipH="1">
              <a:off x="0" y="0"/>
              <a:ext cx="12191996" cy="2148830"/>
            </a:xfrm>
            <a:custGeom>
              <a:avLst/>
              <a:gdLst>
                <a:gd name="f0" fmla="val 10800000"/>
                <a:gd name="f1" fmla="val 5400000"/>
                <a:gd name="f2" fmla="val 180"/>
                <a:gd name="f3" fmla="val w"/>
                <a:gd name="f4" fmla="val h"/>
                <a:gd name="f5" fmla="val 0"/>
                <a:gd name="f6" fmla="val 12192000"/>
                <a:gd name="f7" fmla="val 2148830"/>
                <a:gd name="f8" fmla="val 2318293"/>
                <a:gd name="f9" fmla="val 2110341"/>
                <a:gd name="f10" fmla="val 1952334"/>
                <a:gd name="f11" fmla="val 920"/>
                <a:gd name="f12" fmla="val 1343499"/>
                <a:gd name="f13" fmla="val 23864"/>
                <a:gd name="f14" fmla="val 752130"/>
                <a:gd name="f15" fmla="val 152982"/>
                <a:gd name="f16" fmla="val 184205"/>
                <a:gd name="f17" fmla="val 435928"/>
                <a:gd name="f18" fmla="val 536864"/>
                <a:gd name="f19" fmla="val 554713"/>
                <a:gd name="f20" fmla="val 201115"/>
                <a:gd name="f21" fmla="val 452796"/>
                <a:gd name="f22" fmla="val 776357"/>
                <a:gd name="f23" fmla="val 187336"/>
                <a:gd name="f24" fmla="val 1349828"/>
                <a:gd name="f25" fmla="val 76760"/>
                <a:gd name="f26" fmla="val 1947588"/>
                <a:gd name="f27" fmla="val 66249"/>
                <a:gd name="f28" fmla="val 2962940"/>
                <a:gd name="f29" fmla="val 48421"/>
                <a:gd name="f30" fmla="val 3890218"/>
                <a:gd name="f31" fmla="val 291317"/>
                <a:gd name="f32" fmla="val 4778140"/>
                <a:gd name="f33" fmla="val 604018"/>
                <a:gd name="f34" fmla="val 7231510"/>
                <a:gd name="f35" fmla="val 1468126"/>
                <a:gd name="f36" fmla="val 9178927"/>
                <a:gd name="f37" fmla="val 2492024"/>
                <a:gd name="f38" fmla="val 11996242"/>
                <a:gd name="f39" fmla="val 2036894"/>
                <a:gd name="f40" fmla="val 2002266"/>
                <a:gd name="f41" fmla="val 1415250"/>
                <a:gd name="f42" fmla="val 12022971"/>
                <a:gd name="f43" fmla="val 1470801"/>
                <a:gd name="f44" fmla="val 10719696"/>
                <a:gd name="f45" fmla="val 1863939"/>
                <a:gd name="f46" fmla="val 9271154"/>
                <a:gd name="f47" fmla="val 1783804"/>
                <a:gd name="f48" fmla="val 7970940"/>
                <a:gd name="f49" fmla="val 1436986"/>
                <a:gd name="f50" fmla="val 6890984"/>
                <a:gd name="f51" fmla="val 1148958"/>
                <a:gd name="f52" fmla="val 5866930"/>
                <a:gd name="f53" fmla="val 767309"/>
                <a:gd name="f54" fmla="val 4800356"/>
                <a:gd name="f55" fmla="val 456582"/>
                <a:gd name="f56" fmla="val 4068903"/>
                <a:gd name="f57" fmla="val 243471"/>
                <a:gd name="f58" fmla="val 3348204"/>
                <a:gd name="f59" fmla="val 74251"/>
                <a:gd name="f60" fmla="val 2646880"/>
                <a:gd name="f61" fmla="val 17560"/>
                <a:gd name="f62" fmla="+- 0 0 -90"/>
                <a:gd name="f63" fmla="*/ f3 1 12192000"/>
                <a:gd name="f64" fmla="*/ f4 1 2148830"/>
                <a:gd name="f65" fmla="+- f7 0 f5"/>
                <a:gd name="f66" fmla="+- f6 0 f5"/>
                <a:gd name="f67" fmla="*/ f62 f0 1"/>
                <a:gd name="f68" fmla="*/ f66 1 12192000"/>
                <a:gd name="f69" fmla="*/ f65 1 2148830"/>
                <a:gd name="f70" fmla="*/ 2318293 f66 1"/>
                <a:gd name="f71" fmla="*/ 0 f65 1"/>
                <a:gd name="f72" fmla="*/ 2110341 f66 1"/>
                <a:gd name="f73" fmla="*/ 1952334 f66 1"/>
                <a:gd name="f74" fmla="*/ 920 f65 1"/>
                <a:gd name="f75" fmla="*/ 184205 f66 1"/>
                <a:gd name="f76" fmla="*/ 435928 f65 1"/>
                <a:gd name="f77" fmla="*/ 0 f66 1"/>
                <a:gd name="f78" fmla="*/ 536864 f65 1"/>
                <a:gd name="f79" fmla="*/ 554713 f65 1"/>
                <a:gd name="f80" fmla="*/ 201115 f66 1"/>
                <a:gd name="f81" fmla="*/ 452796 f65 1"/>
                <a:gd name="f82" fmla="*/ 1947588 f66 1"/>
                <a:gd name="f83" fmla="*/ 66249 f65 1"/>
                <a:gd name="f84" fmla="*/ 4778140 f66 1"/>
                <a:gd name="f85" fmla="*/ 604018 f65 1"/>
                <a:gd name="f86" fmla="*/ 11996242 f66 1"/>
                <a:gd name="f87" fmla="*/ 2036894 f65 1"/>
                <a:gd name="f88" fmla="*/ 12192000 f66 1"/>
                <a:gd name="f89" fmla="*/ 2002266 f65 1"/>
                <a:gd name="f90" fmla="*/ 1415250 f65 1"/>
                <a:gd name="f91" fmla="*/ 12022971 f66 1"/>
                <a:gd name="f92" fmla="*/ 1470801 f65 1"/>
                <a:gd name="f93" fmla="*/ 7970940 f66 1"/>
                <a:gd name="f94" fmla="*/ 1436986 f65 1"/>
                <a:gd name="f95" fmla="*/ 4800356 f66 1"/>
                <a:gd name="f96" fmla="*/ 456582 f65 1"/>
                <a:gd name="f97" fmla="*/ 2646880 f66 1"/>
                <a:gd name="f98" fmla="*/ 17560 f65 1"/>
                <a:gd name="f99" fmla="*/ f67 1 f2"/>
                <a:gd name="f100" fmla="*/ f70 1 12192000"/>
                <a:gd name="f101" fmla="*/ f71 1 2148830"/>
                <a:gd name="f102" fmla="*/ f72 1 12192000"/>
                <a:gd name="f103" fmla="*/ f73 1 12192000"/>
                <a:gd name="f104" fmla="*/ f74 1 2148830"/>
                <a:gd name="f105" fmla="*/ f75 1 12192000"/>
                <a:gd name="f106" fmla="*/ f76 1 2148830"/>
                <a:gd name="f107" fmla="*/ f77 1 12192000"/>
                <a:gd name="f108" fmla="*/ f78 1 2148830"/>
                <a:gd name="f109" fmla="*/ f79 1 2148830"/>
                <a:gd name="f110" fmla="*/ f80 1 12192000"/>
                <a:gd name="f111" fmla="*/ f81 1 2148830"/>
                <a:gd name="f112" fmla="*/ f82 1 12192000"/>
                <a:gd name="f113" fmla="*/ f83 1 2148830"/>
                <a:gd name="f114" fmla="*/ f84 1 12192000"/>
                <a:gd name="f115" fmla="*/ f85 1 2148830"/>
                <a:gd name="f116" fmla="*/ f86 1 12192000"/>
                <a:gd name="f117" fmla="*/ f87 1 2148830"/>
                <a:gd name="f118" fmla="*/ f88 1 12192000"/>
                <a:gd name="f119" fmla="*/ f89 1 2148830"/>
                <a:gd name="f120" fmla="*/ f90 1 2148830"/>
                <a:gd name="f121" fmla="*/ f91 1 12192000"/>
                <a:gd name="f122" fmla="*/ f92 1 2148830"/>
                <a:gd name="f123" fmla="*/ f93 1 12192000"/>
                <a:gd name="f124" fmla="*/ f94 1 2148830"/>
                <a:gd name="f125" fmla="*/ f95 1 12192000"/>
                <a:gd name="f126" fmla="*/ f96 1 2148830"/>
                <a:gd name="f127" fmla="*/ f97 1 12192000"/>
                <a:gd name="f128" fmla="*/ f98 1 2148830"/>
                <a:gd name="f129" fmla="*/ f5 1 f68"/>
                <a:gd name="f130" fmla="*/ f6 1 f68"/>
                <a:gd name="f131" fmla="*/ f5 1 f69"/>
                <a:gd name="f132" fmla="*/ f7 1 f69"/>
                <a:gd name="f133" fmla="+- f99 0 f1"/>
                <a:gd name="f134" fmla="*/ f100 1 f68"/>
                <a:gd name="f135" fmla="*/ f101 1 f69"/>
                <a:gd name="f136" fmla="*/ f102 1 f68"/>
                <a:gd name="f137" fmla="*/ f103 1 f68"/>
                <a:gd name="f138" fmla="*/ f104 1 f69"/>
                <a:gd name="f139" fmla="*/ f105 1 f68"/>
                <a:gd name="f140" fmla="*/ f106 1 f69"/>
                <a:gd name="f141" fmla="*/ f107 1 f68"/>
                <a:gd name="f142" fmla="*/ f108 1 f69"/>
                <a:gd name="f143" fmla="*/ f109 1 f69"/>
                <a:gd name="f144" fmla="*/ f110 1 f68"/>
                <a:gd name="f145" fmla="*/ f111 1 f69"/>
                <a:gd name="f146" fmla="*/ f112 1 f68"/>
                <a:gd name="f147" fmla="*/ f113 1 f69"/>
                <a:gd name="f148" fmla="*/ f114 1 f68"/>
                <a:gd name="f149" fmla="*/ f115 1 f69"/>
                <a:gd name="f150" fmla="*/ f116 1 f68"/>
                <a:gd name="f151" fmla="*/ f117 1 f69"/>
                <a:gd name="f152" fmla="*/ f118 1 f68"/>
                <a:gd name="f153" fmla="*/ f119 1 f69"/>
                <a:gd name="f154" fmla="*/ f120 1 f69"/>
                <a:gd name="f155" fmla="*/ f121 1 f68"/>
                <a:gd name="f156" fmla="*/ f122 1 f69"/>
                <a:gd name="f157" fmla="*/ f123 1 f68"/>
                <a:gd name="f158" fmla="*/ f124 1 f69"/>
                <a:gd name="f159" fmla="*/ f125 1 f68"/>
                <a:gd name="f160" fmla="*/ f126 1 f69"/>
                <a:gd name="f161" fmla="*/ f127 1 f68"/>
                <a:gd name="f162" fmla="*/ f128 1 f69"/>
                <a:gd name="f163" fmla="*/ f129 f63 1"/>
                <a:gd name="f164" fmla="*/ f130 f63 1"/>
                <a:gd name="f165" fmla="*/ f132 f64 1"/>
                <a:gd name="f166" fmla="*/ f131 f64 1"/>
                <a:gd name="f167" fmla="*/ f134 f63 1"/>
                <a:gd name="f168" fmla="*/ f135 f64 1"/>
                <a:gd name="f169" fmla="*/ f136 f63 1"/>
                <a:gd name="f170" fmla="*/ f137 f63 1"/>
                <a:gd name="f171" fmla="*/ f138 f64 1"/>
                <a:gd name="f172" fmla="*/ f139 f63 1"/>
                <a:gd name="f173" fmla="*/ f140 f64 1"/>
                <a:gd name="f174" fmla="*/ f141 f63 1"/>
                <a:gd name="f175" fmla="*/ f142 f64 1"/>
                <a:gd name="f176" fmla="*/ f143 f64 1"/>
                <a:gd name="f177" fmla="*/ f144 f63 1"/>
                <a:gd name="f178" fmla="*/ f145 f64 1"/>
                <a:gd name="f179" fmla="*/ f146 f63 1"/>
                <a:gd name="f180" fmla="*/ f147 f64 1"/>
                <a:gd name="f181" fmla="*/ f148 f63 1"/>
                <a:gd name="f182" fmla="*/ f149 f64 1"/>
                <a:gd name="f183" fmla="*/ f150 f63 1"/>
                <a:gd name="f184" fmla="*/ f151 f64 1"/>
                <a:gd name="f185" fmla="*/ f152 f63 1"/>
                <a:gd name="f186" fmla="*/ f153 f64 1"/>
                <a:gd name="f187" fmla="*/ f154 f64 1"/>
                <a:gd name="f188" fmla="*/ f155 f63 1"/>
                <a:gd name="f189" fmla="*/ f156 f64 1"/>
                <a:gd name="f190" fmla="*/ f157 f63 1"/>
                <a:gd name="f191" fmla="*/ f158 f64 1"/>
                <a:gd name="f192" fmla="*/ f159 f63 1"/>
                <a:gd name="f193" fmla="*/ f160 f64 1"/>
                <a:gd name="f194" fmla="*/ f161 f63 1"/>
                <a:gd name="f195" fmla="*/ f162 f64 1"/>
              </a:gdLst>
              <a:ahLst/>
              <a:cxnLst>
                <a:cxn ang="3cd4">
                  <a:pos x="hc" y="t"/>
                </a:cxn>
                <a:cxn ang="0">
                  <a:pos x="r" y="vc"/>
                </a:cxn>
                <a:cxn ang="cd4">
                  <a:pos x="hc" y="b"/>
                </a:cxn>
                <a:cxn ang="cd2">
                  <a:pos x="l" y="vc"/>
                </a:cxn>
                <a:cxn ang="f133">
                  <a:pos x="f167" y="f168"/>
                </a:cxn>
                <a:cxn ang="f133">
                  <a:pos x="f169" y="f168"/>
                </a:cxn>
                <a:cxn ang="f133">
                  <a:pos x="f170" y="f171"/>
                </a:cxn>
                <a:cxn ang="f133">
                  <a:pos x="f172" y="f173"/>
                </a:cxn>
                <a:cxn ang="f133">
                  <a:pos x="f174" y="f175"/>
                </a:cxn>
                <a:cxn ang="f133">
                  <a:pos x="f174" y="f176"/>
                </a:cxn>
                <a:cxn ang="f133">
                  <a:pos x="f177" y="f178"/>
                </a:cxn>
                <a:cxn ang="f133">
                  <a:pos x="f179" y="f180"/>
                </a:cxn>
                <a:cxn ang="f133">
                  <a:pos x="f181" y="f182"/>
                </a:cxn>
                <a:cxn ang="f133">
                  <a:pos x="f183" y="f184"/>
                </a:cxn>
                <a:cxn ang="f133">
                  <a:pos x="f185" y="f186"/>
                </a:cxn>
                <a:cxn ang="f133">
                  <a:pos x="f185" y="f187"/>
                </a:cxn>
                <a:cxn ang="f133">
                  <a:pos x="f188" y="f189"/>
                </a:cxn>
                <a:cxn ang="f133">
                  <a:pos x="f190" y="f191"/>
                </a:cxn>
                <a:cxn ang="f133">
                  <a:pos x="f192" y="f193"/>
                </a:cxn>
                <a:cxn ang="f133">
                  <a:pos x="f194" y="f195"/>
                </a:cxn>
              </a:cxnLst>
              <a:rect l="f163" t="f166" r="f164" b="f165"/>
              <a:pathLst>
                <a:path w="12192000" h="2148830">
                  <a:moveTo>
                    <a:pt x="f8" y="f5"/>
                  </a:moveTo>
                  <a:lnTo>
                    <a:pt x="f9" y="f5"/>
                  </a:lnTo>
                  <a:lnTo>
                    <a:pt x="f10" y="f11"/>
                  </a:lnTo>
                  <a:cubicBezTo>
                    <a:pt x="f12" y="f13"/>
                    <a:pt x="f14" y="f15"/>
                    <a:pt x="f16" y="f17"/>
                  </a:cubicBezTo>
                  <a:lnTo>
                    <a:pt x="f5" y="f18"/>
                  </a:lnTo>
                  <a:lnTo>
                    <a:pt x="f5" y="f19"/>
                  </a:lnTo>
                  <a:lnTo>
                    <a:pt x="f20" y="f21"/>
                  </a:lnTo>
                  <a:cubicBezTo>
                    <a:pt x="f22" y="f23"/>
                    <a:pt x="f24" y="f25"/>
                    <a:pt x="f26" y="f27"/>
                  </a:cubicBezTo>
                  <a:cubicBezTo>
                    <a:pt x="f28" y="f29"/>
                    <a:pt x="f30" y="f31"/>
                    <a:pt x="f32" y="f33"/>
                  </a:cubicBezTo>
                  <a:cubicBezTo>
                    <a:pt x="f34" y="f35"/>
                    <a:pt x="f36" y="f37"/>
                    <a:pt x="f38" y="f39"/>
                  </a:cubicBezTo>
                  <a:lnTo>
                    <a:pt x="f6" y="f40"/>
                  </a:lnTo>
                  <a:lnTo>
                    <a:pt x="f6" y="f41"/>
                  </a:lnTo>
                  <a:lnTo>
                    <a:pt x="f42" y="f43"/>
                  </a:lnTo>
                  <a:cubicBezTo>
                    <a:pt x="f44" y="f45"/>
                    <a:pt x="f46" y="f47"/>
                    <a:pt x="f48" y="f49"/>
                  </a:cubicBezTo>
                  <a:cubicBezTo>
                    <a:pt x="f50" y="f51"/>
                    <a:pt x="f52" y="f53"/>
                    <a:pt x="f54" y="f55"/>
                  </a:cubicBezTo>
                  <a:cubicBezTo>
                    <a:pt x="f56" y="f57"/>
                    <a:pt x="f58" y="f59"/>
                    <a:pt x="f60" y="f61"/>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4" name="Freeform 38">
              <a:extLst>
                <a:ext uri="{FF2B5EF4-FFF2-40B4-BE49-F238E27FC236}">
                  <a16:creationId xmlns:a16="http://schemas.microsoft.com/office/drawing/2014/main" id="{828133A1-8289-9BAA-01F3-54D5A6E4419A}"/>
                </a:ext>
              </a:extLst>
            </p:cNvPr>
            <p:cNvSpPr/>
            <p:nvPr/>
          </p:nvSpPr>
          <p:spPr>
            <a:xfrm flipH="1">
              <a:off x="0" y="0"/>
              <a:ext cx="12191996" cy="1992139"/>
            </a:xfrm>
            <a:custGeom>
              <a:avLst/>
              <a:gdLst>
                <a:gd name="f0" fmla="val 10800000"/>
                <a:gd name="f1" fmla="val 5400000"/>
                <a:gd name="f2" fmla="val 180"/>
                <a:gd name="f3" fmla="val w"/>
                <a:gd name="f4" fmla="val h"/>
                <a:gd name="f5" fmla="val 0"/>
                <a:gd name="f6" fmla="val 12192000"/>
                <a:gd name="f7" fmla="val 1992138"/>
                <a:gd name="f8" fmla="val 2724271"/>
                <a:gd name="f9" fmla="val 1788442"/>
                <a:gd name="f10" fmla="val 1635403"/>
                <a:gd name="f11" fmla="val 12925"/>
                <a:gd name="f12" fmla="val 1134241"/>
                <a:gd name="f13" fmla="val 70905"/>
                <a:gd name="f14" fmla="val 647221"/>
                <a:gd name="f15" fmla="val 207817"/>
                <a:gd name="f16" fmla="val 178220"/>
                <a:gd name="f17" fmla="val 451207"/>
                <a:gd name="f18" fmla="val 552718"/>
                <a:gd name="f19" fmla="val 570885"/>
                <a:gd name="f20" fmla="val 195368"/>
                <a:gd name="f21" fmla="val 467800"/>
                <a:gd name="f22" fmla="val 765758"/>
                <a:gd name="f23" fmla="val 193094"/>
                <a:gd name="f24" fmla="val 1336955"/>
                <a:gd name="f25" fmla="val 73179"/>
                <a:gd name="f26" fmla="val 1934073"/>
                <a:gd name="f27" fmla="val 52850"/>
                <a:gd name="f28" fmla="val 2948304"/>
                <a:gd name="f29" fmla="val 18310"/>
                <a:gd name="f30" fmla="val 3878878"/>
                <a:gd name="f31" fmla="val 245747"/>
                <a:gd name="f32" fmla="val 4771217"/>
                <a:gd name="f33" fmla="val 543645"/>
                <a:gd name="f34" fmla="val 7236913"/>
                <a:gd name="f35" fmla="val 1366709"/>
                <a:gd name="f36" fmla="val 9199689"/>
                <a:gd name="f37" fmla="val 2357774"/>
                <a:gd name="f38" fmla="val 12007222"/>
                <a:gd name="f39" fmla="val 1856729"/>
                <a:gd name="f40" fmla="val 1820900"/>
                <a:gd name="f41" fmla="val 897073"/>
                <a:gd name="f42" fmla="val 12062517"/>
                <a:gd name="f43" fmla="val 950128"/>
                <a:gd name="f44" fmla="val 10950292"/>
                <a:gd name="f45" fmla="val 1376478"/>
                <a:gd name="f46" fmla="val 9595706"/>
                <a:gd name="f47" fmla="val 1466451"/>
                <a:gd name="f48" fmla="val 8435105"/>
                <a:gd name="f49" fmla="val 1266613"/>
                <a:gd name="f50" fmla="val 6618389"/>
                <a:gd name="f51" fmla="val 953715"/>
                <a:gd name="f52" fmla="val 4735222"/>
                <a:gd name="f53" fmla="val 130088"/>
                <a:gd name="f54" fmla="val 2948502"/>
                <a:gd name="f55" fmla="val 20548"/>
                <a:gd name="f56" fmla="+- 0 0 -90"/>
                <a:gd name="f57" fmla="*/ f3 1 12192000"/>
                <a:gd name="f58" fmla="*/ f4 1 1992138"/>
                <a:gd name="f59" fmla="+- f7 0 f5"/>
                <a:gd name="f60" fmla="+- f6 0 f5"/>
                <a:gd name="f61" fmla="*/ f56 f0 1"/>
                <a:gd name="f62" fmla="*/ f60 1 12192000"/>
                <a:gd name="f63" fmla="*/ f59 1 1992138"/>
                <a:gd name="f64" fmla="*/ 2724271 f60 1"/>
                <a:gd name="f65" fmla="*/ 0 f59 1"/>
                <a:gd name="f66" fmla="*/ 1788442 f60 1"/>
                <a:gd name="f67" fmla="*/ 1635403 f60 1"/>
                <a:gd name="f68" fmla="*/ 12925 f59 1"/>
                <a:gd name="f69" fmla="*/ 178220 f60 1"/>
                <a:gd name="f70" fmla="*/ 451207 f59 1"/>
                <a:gd name="f71" fmla="*/ 0 f60 1"/>
                <a:gd name="f72" fmla="*/ 552718 f59 1"/>
                <a:gd name="f73" fmla="*/ 570885 f59 1"/>
                <a:gd name="f74" fmla="*/ 195368 f60 1"/>
                <a:gd name="f75" fmla="*/ 467800 f59 1"/>
                <a:gd name="f76" fmla="*/ 1934073 f60 1"/>
                <a:gd name="f77" fmla="*/ 52850 f59 1"/>
                <a:gd name="f78" fmla="*/ 4771217 f60 1"/>
                <a:gd name="f79" fmla="*/ 543645 f59 1"/>
                <a:gd name="f80" fmla="*/ 12007222 f60 1"/>
                <a:gd name="f81" fmla="*/ 1856729 f59 1"/>
                <a:gd name="f82" fmla="*/ 12192000 f60 1"/>
                <a:gd name="f83" fmla="*/ 1820900 f59 1"/>
                <a:gd name="f84" fmla="*/ 897073 f59 1"/>
                <a:gd name="f85" fmla="*/ 12062517 f60 1"/>
                <a:gd name="f86" fmla="*/ 950128 f59 1"/>
                <a:gd name="f87" fmla="*/ 8435105 f60 1"/>
                <a:gd name="f88" fmla="*/ 1266613 f59 1"/>
                <a:gd name="f89" fmla="*/ 2948502 f60 1"/>
                <a:gd name="f90" fmla="*/ 20548 f59 1"/>
                <a:gd name="f91" fmla="*/ f61 1 f2"/>
                <a:gd name="f92" fmla="*/ f64 1 12192000"/>
                <a:gd name="f93" fmla="*/ f65 1 1992138"/>
                <a:gd name="f94" fmla="*/ f66 1 12192000"/>
                <a:gd name="f95" fmla="*/ f67 1 12192000"/>
                <a:gd name="f96" fmla="*/ f68 1 1992138"/>
                <a:gd name="f97" fmla="*/ f69 1 12192000"/>
                <a:gd name="f98" fmla="*/ f70 1 1992138"/>
                <a:gd name="f99" fmla="*/ f71 1 12192000"/>
                <a:gd name="f100" fmla="*/ f72 1 1992138"/>
                <a:gd name="f101" fmla="*/ f73 1 1992138"/>
                <a:gd name="f102" fmla="*/ f74 1 12192000"/>
                <a:gd name="f103" fmla="*/ f75 1 1992138"/>
                <a:gd name="f104" fmla="*/ f76 1 12192000"/>
                <a:gd name="f105" fmla="*/ f77 1 1992138"/>
                <a:gd name="f106" fmla="*/ f78 1 12192000"/>
                <a:gd name="f107" fmla="*/ f79 1 1992138"/>
                <a:gd name="f108" fmla="*/ f80 1 12192000"/>
                <a:gd name="f109" fmla="*/ f81 1 1992138"/>
                <a:gd name="f110" fmla="*/ f82 1 12192000"/>
                <a:gd name="f111" fmla="*/ f83 1 1992138"/>
                <a:gd name="f112" fmla="*/ f84 1 1992138"/>
                <a:gd name="f113" fmla="*/ f85 1 12192000"/>
                <a:gd name="f114" fmla="*/ f86 1 1992138"/>
                <a:gd name="f115" fmla="*/ f87 1 12192000"/>
                <a:gd name="f116" fmla="*/ f88 1 1992138"/>
                <a:gd name="f117" fmla="*/ f89 1 12192000"/>
                <a:gd name="f118" fmla="*/ f90 1 1992138"/>
                <a:gd name="f119" fmla="*/ f5 1 f62"/>
                <a:gd name="f120" fmla="*/ f6 1 f62"/>
                <a:gd name="f121" fmla="*/ f5 1 f63"/>
                <a:gd name="f122" fmla="*/ f7 1 f63"/>
                <a:gd name="f123" fmla="+- f91 0 f1"/>
                <a:gd name="f124" fmla="*/ f92 1 f62"/>
                <a:gd name="f125" fmla="*/ f93 1 f63"/>
                <a:gd name="f126" fmla="*/ f94 1 f62"/>
                <a:gd name="f127" fmla="*/ f95 1 f62"/>
                <a:gd name="f128" fmla="*/ f96 1 f63"/>
                <a:gd name="f129" fmla="*/ f97 1 f62"/>
                <a:gd name="f130" fmla="*/ f98 1 f63"/>
                <a:gd name="f131" fmla="*/ f99 1 f62"/>
                <a:gd name="f132" fmla="*/ f100 1 f63"/>
                <a:gd name="f133" fmla="*/ f101 1 f63"/>
                <a:gd name="f134" fmla="*/ f102 1 f62"/>
                <a:gd name="f135" fmla="*/ f103 1 f63"/>
                <a:gd name="f136" fmla="*/ f104 1 f62"/>
                <a:gd name="f137" fmla="*/ f105 1 f63"/>
                <a:gd name="f138" fmla="*/ f106 1 f62"/>
                <a:gd name="f139" fmla="*/ f107 1 f63"/>
                <a:gd name="f140" fmla="*/ f108 1 f62"/>
                <a:gd name="f141" fmla="*/ f109 1 f63"/>
                <a:gd name="f142" fmla="*/ f110 1 f62"/>
                <a:gd name="f143" fmla="*/ f111 1 f63"/>
                <a:gd name="f144" fmla="*/ f112 1 f63"/>
                <a:gd name="f145" fmla="*/ f113 1 f62"/>
                <a:gd name="f146" fmla="*/ f114 1 f63"/>
                <a:gd name="f147" fmla="*/ f115 1 f62"/>
                <a:gd name="f148" fmla="*/ f116 1 f63"/>
                <a:gd name="f149" fmla="*/ f117 1 f62"/>
                <a:gd name="f150" fmla="*/ f118 1 f63"/>
                <a:gd name="f151" fmla="*/ f119 f57 1"/>
                <a:gd name="f152" fmla="*/ f120 f57 1"/>
                <a:gd name="f153" fmla="*/ f122 f58 1"/>
                <a:gd name="f154" fmla="*/ f121 f58 1"/>
                <a:gd name="f155" fmla="*/ f124 f57 1"/>
                <a:gd name="f156" fmla="*/ f125 f58 1"/>
                <a:gd name="f157" fmla="*/ f126 f57 1"/>
                <a:gd name="f158" fmla="*/ f127 f57 1"/>
                <a:gd name="f159" fmla="*/ f128 f58 1"/>
                <a:gd name="f160" fmla="*/ f129 f57 1"/>
                <a:gd name="f161" fmla="*/ f130 f58 1"/>
                <a:gd name="f162" fmla="*/ f131 f57 1"/>
                <a:gd name="f163" fmla="*/ f132 f58 1"/>
                <a:gd name="f164" fmla="*/ f133 f58 1"/>
                <a:gd name="f165" fmla="*/ f134 f57 1"/>
                <a:gd name="f166" fmla="*/ f135 f58 1"/>
                <a:gd name="f167" fmla="*/ f136 f57 1"/>
                <a:gd name="f168" fmla="*/ f137 f58 1"/>
                <a:gd name="f169" fmla="*/ f138 f57 1"/>
                <a:gd name="f170" fmla="*/ f139 f58 1"/>
                <a:gd name="f171" fmla="*/ f140 f57 1"/>
                <a:gd name="f172" fmla="*/ f141 f58 1"/>
                <a:gd name="f173" fmla="*/ f142 f57 1"/>
                <a:gd name="f174" fmla="*/ f143 f58 1"/>
                <a:gd name="f175" fmla="*/ f144 f58 1"/>
                <a:gd name="f176" fmla="*/ f145 f57 1"/>
                <a:gd name="f177" fmla="*/ f146 f58 1"/>
                <a:gd name="f178" fmla="*/ f147 f57 1"/>
                <a:gd name="f179" fmla="*/ f148 f58 1"/>
                <a:gd name="f180" fmla="*/ f149 f57 1"/>
                <a:gd name="f181" fmla="*/ f150 f58 1"/>
              </a:gdLst>
              <a:ahLst/>
              <a:cxnLst>
                <a:cxn ang="3cd4">
                  <a:pos x="hc" y="t"/>
                </a:cxn>
                <a:cxn ang="0">
                  <a:pos x="r" y="vc"/>
                </a:cxn>
                <a:cxn ang="cd4">
                  <a:pos x="hc" y="b"/>
                </a:cxn>
                <a:cxn ang="cd2">
                  <a:pos x="l" y="vc"/>
                </a:cxn>
                <a:cxn ang="f123">
                  <a:pos x="f155" y="f156"/>
                </a:cxn>
                <a:cxn ang="f123">
                  <a:pos x="f157" y="f156"/>
                </a:cxn>
                <a:cxn ang="f123">
                  <a:pos x="f158" y="f159"/>
                </a:cxn>
                <a:cxn ang="f123">
                  <a:pos x="f160" y="f161"/>
                </a:cxn>
                <a:cxn ang="f123">
                  <a:pos x="f162" y="f163"/>
                </a:cxn>
                <a:cxn ang="f123">
                  <a:pos x="f162" y="f164"/>
                </a:cxn>
                <a:cxn ang="f123">
                  <a:pos x="f165" y="f166"/>
                </a:cxn>
                <a:cxn ang="f123">
                  <a:pos x="f167" y="f168"/>
                </a:cxn>
                <a:cxn ang="f123">
                  <a:pos x="f169" y="f170"/>
                </a:cxn>
                <a:cxn ang="f123">
                  <a:pos x="f171" y="f172"/>
                </a:cxn>
                <a:cxn ang="f123">
                  <a:pos x="f173" y="f174"/>
                </a:cxn>
                <a:cxn ang="f123">
                  <a:pos x="f173" y="f175"/>
                </a:cxn>
                <a:cxn ang="f123">
                  <a:pos x="f176" y="f177"/>
                </a:cxn>
                <a:cxn ang="f123">
                  <a:pos x="f178" y="f179"/>
                </a:cxn>
                <a:cxn ang="f123">
                  <a:pos x="f180" y="f181"/>
                </a:cxn>
              </a:cxnLst>
              <a:rect l="f151" t="f154" r="f152" b="f153"/>
              <a:pathLst>
                <a:path w="12192000" h="1992138">
                  <a:moveTo>
                    <a:pt x="f8" y="f5"/>
                  </a:moveTo>
                  <a:lnTo>
                    <a:pt x="f9" y="f5"/>
                  </a:lnTo>
                  <a:lnTo>
                    <a:pt x="f10" y="f11"/>
                  </a:lnTo>
                  <a:cubicBezTo>
                    <a:pt x="f12" y="f13"/>
                    <a:pt x="f14" y="f15"/>
                    <a:pt x="f16" y="f17"/>
                  </a:cubicBezTo>
                  <a:lnTo>
                    <a:pt x="f5" y="f18"/>
                  </a:lnTo>
                  <a:lnTo>
                    <a:pt x="f5" y="f19"/>
                  </a:lnTo>
                  <a:lnTo>
                    <a:pt x="f20" y="f21"/>
                  </a:lnTo>
                  <a:cubicBezTo>
                    <a:pt x="f22" y="f23"/>
                    <a:pt x="f24" y="f25"/>
                    <a:pt x="f26" y="f27"/>
                  </a:cubicBezTo>
                  <a:cubicBezTo>
                    <a:pt x="f28" y="f29"/>
                    <a:pt x="f30" y="f31"/>
                    <a:pt x="f32" y="f33"/>
                  </a:cubicBezTo>
                  <a:cubicBezTo>
                    <a:pt x="f34" y="f35"/>
                    <a:pt x="f36" y="f37"/>
                    <a:pt x="f38" y="f39"/>
                  </a:cubicBezTo>
                  <a:lnTo>
                    <a:pt x="f6" y="f40"/>
                  </a:lnTo>
                  <a:lnTo>
                    <a:pt x="f6" y="f41"/>
                  </a:lnTo>
                  <a:lnTo>
                    <a:pt x="f42" y="f43"/>
                  </a:lnTo>
                  <a:cubicBezTo>
                    <a:pt x="f44" y="f45"/>
                    <a:pt x="f46" y="f47"/>
                    <a:pt x="f48" y="f49"/>
                  </a:cubicBezTo>
                  <a:cubicBezTo>
                    <a:pt x="f50" y="f51"/>
                    <a:pt x="f52" y="f53"/>
                    <a:pt x="f54" y="f55"/>
                  </a:cubicBezTo>
                  <a:close/>
                </a:path>
              </a:pathLst>
            </a:custGeom>
            <a:solidFill>
              <a:srgbClr val="00498F"/>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sp>
        <p:nvSpPr>
          <p:cNvPr id="5" name="Rectangle 3">
            <a:extLst>
              <a:ext uri="{FF2B5EF4-FFF2-40B4-BE49-F238E27FC236}">
                <a16:creationId xmlns:a16="http://schemas.microsoft.com/office/drawing/2014/main" id="{595BBDA0-B8DC-9C23-0B50-C33F8EF7E181}"/>
              </a:ext>
            </a:extLst>
          </p:cNvPr>
          <p:cNvSpPr/>
          <p:nvPr/>
        </p:nvSpPr>
        <p:spPr>
          <a:xfrm>
            <a:off x="902366" y="1517694"/>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Content Placeholder 2">
            <a:extLst>
              <a:ext uri="{FF2B5EF4-FFF2-40B4-BE49-F238E27FC236}">
                <a16:creationId xmlns:a16="http://schemas.microsoft.com/office/drawing/2014/main" id="{684B6617-8B02-8669-93DD-3DD60BAF3062}"/>
              </a:ext>
            </a:extLst>
          </p:cNvPr>
          <p:cNvSpPr txBox="1">
            <a:spLocks noGrp="1"/>
          </p:cNvSpPr>
          <p:nvPr>
            <p:ph idx="4294967295"/>
          </p:nvPr>
        </p:nvSpPr>
        <p:spPr>
          <a:xfrm>
            <a:off x="1219197" y="3429001"/>
            <a:ext cx="5582649" cy="1413561"/>
          </a:xfrm>
        </p:spPr>
        <p:txBody>
          <a:bodyPr/>
          <a:lstStyle>
            <a:lvl1pPr marL="0" indent="0">
              <a:buNone/>
              <a:defRPr sz="2000"/>
            </a:lvl1pPr>
          </a:lstStyle>
          <a:p>
            <a:pPr lvl="0"/>
            <a:r>
              <a:rPr lang="en-US"/>
              <a:t>Click to edit Master text styles</a:t>
            </a:r>
          </a:p>
        </p:txBody>
      </p:sp>
      <p:sp>
        <p:nvSpPr>
          <p:cNvPr id="7" name="Title 11">
            <a:extLst>
              <a:ext uri="{FF2B5EF4-FFF2-40B4-BE49-F238E27FC236}">
                <a16:creationId xmlns:a16="http://schemas.microsoft.com/office/drawing/2014/main" id="{834EDA63-771E-FDA3-1717-CF707F54B3AF}"/>
              </a:ext>
            </a:extLst>
          </p:cNvPr>
          <p:cNvSpPr txBox="1">
            <a:spLocks noGrp="1"/>
          </p:cNvSpPr>
          <p:nvPr>
            <p:ph type="title"/>
          </p:nvPr>
        </p:nvSpPr>
        <p:spPr>
          <a:xfrm>
            <a:off x="1219197" y="1887486"/>
            <a:ext cx="5582649" cy="1078260"/>
          </a:xfrm>
        </p:spPr>
        <p:txBody>
          <a:bodyPr/>
          <a:lstStyle>
            <a:lvl1pPr>
              <a:defRPr sz="6000"/>
            </a:lvl1pPr>
          </a:lstStyle>
          <a:p>
            <a:pPr lvl="0"/>
            <a:r>
              <a:rPr lang="en-US"/>
              <a:t>Thank you</a:t>
            </a:r>
          </a:p>
        </p:txBody>
      </p:sp>
      <p:pic>
        <p:nvPicPr>
          <p:cNvPr id="8" name="Picture 32">
            <a:extLst>
              <a:ext uri="{FF2B5EF4-FFF2-40B4-BE49-F238E27FC236}">
                <a16:creationId xmlns:a16="http://schemas.microsoft.com/office/drawing/2014/main" id="{BD93BD00-797C-58F6-0EFC-D217A76CDE16}"/>
              </a:ext>
            </a:extLst>
          </p:cNvPr>
          <p:cNvPicPr>
            <a:picLocks noChangeAspect="1"/>
          </p:cNvPicPr>
          <p:nvPr/>
        </p:nvPicPr>
        <p:blipFill>
          <a:blip r:embed="rId2"/>
          <a:srcRect/>
          <a:stretch>
            <a:fillRect/>
          </a:stretch>
        </p:blipFill>
        <p:spPr>
          <a:xfrm>
            <a:off x="902366" y="228371"/>
            <a:ext cx="2025313" cy="911940"/>
          </a:xfrm>
          <a:prstGeom prst="rect">
            <a:avLst/>
          </a:prstGeom>
          <a:noFill/>
          <a:ln cap="flat">
            <a:noFill/>
          </a:ln>
        </p:spPr>
      </p:pic>
      <p:sp>
        <p:nvSpPr>
          <p:cNvPr id="9" name="Picture Placeholder 16">
            <a:extLst>
              <a:ext uri="{FF2B5EF4-FFF2-40B4-BE49-F238E27FC236}">
                <a16:creationId xmlns:a16="http://schemas.microsoft.com/office/drawing/2014/main" id="{D1062A6E-F212-3E1E-9489-AF0D35C688AA}"/>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spTree>
    <p:extLst>
      <p:ext uri="{BB962C8B-B14F-4D97-AF65-F5344CB8AC3E}">
        <p14:creationId xmlns:p14="http://schemas.microsoft.com/office/powerpoint/2010/main" val="3640614464"/>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2" name="Slide Number Placeholder 4">
            <a:extLst>
              <a:ext uri="{FF2B5EF4-FFF2-40B4-BE49-F238E27FC236}">
                <a16:creationId xmlns:a16="http://schemas.microsoft.com/office/drawing/2014/main" id="{F8EA4360-3B31-E914-591E-AB7342AEE7B1}"/>
              </a:ext>
            </a:extLst>
          </p:cNvPr>
          <p:cNvSpPr txBox="1">
            <a:spLocks noGrp="1"/>
          </p:cNvSpPr>
          <p:nvPr>
            <p:ph type="sldNum" sz="quarter" idx="8"/>
          </p:nvPr>
        </p:nvSpPr>
        <p:spPr/>
        <p:txBody>
          <a:bodyPr/>
          <a:lstStyle>
            <a:lvl1pPr>
              <a:defRPr/>
            </a:lvl1pPr>
          </a:lstStyle>
          <a:p>
            <a:pPr lvl="0"/>
            <a:fld id="{D98451D5-FEF2-469C-B2E5-3400A3BAA310}" type="slidenum">
              <a:t>‹#›</a:t>
            </a:fld>
            <a:endParaRPr lang="en-US"/>
          </a:p>
        </p:txBody>
      </p:sp>
      <p:cxnSp>
        <p:nvCxnSpPr>
          <p:cNvPr id="3" name="Straight Connector 3">
            <a:extLst>
              <a:ext uri="{FF2B5EF4-FFF2-40B4-BE49-F238E27FC236}">
                <a16:creationId xmlns:a16="http://schemas.microsoft.com/office/drawing/2014/main" id="{E798FD70-83AB-07AC-7ADC-2D0A74CDC0E0}"/>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4" name="Footer Placeholder 1">
            <a:extLst>
              <a:ext uri="{FF2B5EF4-FFF2-40B4-BE49-F238E27FC236}">
                <a16:creationId xmlns:a16="http://schemas.microsoft.com/office/drawing/2014/main" id="{C7DDD722-36CD-B138-D2AD-5815D685DEAD}"/>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5" name="Group 5">
            <a:extLst>
              <a:ext uri="{FF2B5EF4-FFF2-40B4-BE49-F238E27FC236}">
                <a16:creationId xmlns:a16="http://schemas.microsoft.com/office/drawing/2014/main" id="{A8ABFCB7-C8DD-55CB-7556-5F6566CD5B7F}"/>
              </a:ext>
            </a:extLst>
          </p:cNvPr>
          <p:cNvGrpSpPr/>
          <p:nvPr/>
        </p:nvGrpSpPr>
        <p:grpSpPr>
          <a:xfrm>
            <a:off x="7191545" y="0"/>
            <a:ext cx="5000460" cy="1425988"/>
            <a:chOff x="7191545" y="0"/>
            <a:chExt cx="5000460" cy="1425988"/>
          </a:xfrm>
        </p:grpSpPr>
        <p:pic>
          <p:nvPicPr>
            <p:cNvPr id="6" name="Picture 6">
              <a:extLst>
                <a:ext uri="{FF2B5EF4-FFF2-40B4-BE49-F238E27FC236}">
                  <a16:creationId xmlns:a16="http://schemas.microsoft.com/office/drawing/2014/main" id="{C24A7802-B4A0-EC82-9109-176CD9DBF134}"/>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7" name="Group 7">
              <a:extLst>
                <a:ext uri="{FF2B5EF4-FFF2-40B4-BE49-F238E27FC236}">
                  <a16:creationId xmlns:a16="http://schemas.microsoft.com/office/drawing/2014/main" id="{26D9DBDB-3E10-A510-461E-4B588BA70C24}"/>
                </a:ext>
              </a:extLst>
            </p:cNvPr>
            <p:cNvGrpSpPr/>
            <p:nvPr/>
          </p:nvGrpSpPr>
          <p:grpSpPr>
            <a:xfrm>
              <a:off x="7191545" y="0"/>
              <a:ext cx="5000460" cy="1425988"/>
              <a:chOff x="7191545" y="0"/>
              <a:chExt cx="5000460" cy="1425988"/>
            </a:xfrm>
          </p:grpSpPr>
          <p:sp>
            <p:nvSpPr>
              <p:cNvPr id="8" name="Freeform 8">
                <a:extLst>
                  <a:ext uri="{FF2B5EF4-FFF2-40B4-BE49-F238E27FC236}">
                    <a16:creationId xmlns:a16="http://schemas.microsoft.com/office/drawing/2014/main" id="{24BFDC9C-41A5-021A-23B6-6406886963B7}"/>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9" name="Freeform 9">
                <a:extLst>
                  <a:ext uri="{FF2B5EF4-FFF2-40B4-BE49-F238E27FC236}">
                    <a16:creationId xmlns:a16="http://schemas.microsoft.com/office/drawing/2014/main" id="{03D8FDF9-1099-299B-73DD-643159E57561}"/>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Tree>
    <p:extLst>
      <p:ext uri="{BB962C8B-B14F-4D97-AF65-F5344CB8AC3E}">
        <p14:creationId xmlns:p14="http://schemas.microsoft.com/office/powerpoint/2010/main" val="2522170420"/>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7_Cover">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3D4D3AD5-8020-75E1-404E-38B97CAFE369}"/>
              </a:ext>
            </a:extLst>
          </p:cNvPr>
          <p:cNvSpPr/>
          <p:nvPr/>
        </p:nvSpPr>
        <p:spPr>
          <a:xfrm>
            <a:off x="902366" y="1294416"/>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7BE885E2-8795-09A1-AE73-5FFEEF342926}"/>
              </a:ext>
            </a:extLst>
          </p:cNvPr>
          <p:cNvSpPr txBox="1">
            <a:spLocks noGrp="1"/>
          </p:cNvSpPr>
          <p:nvPr>
            <p:ph type="title"/>
          </p:nvPr>
        </p:nvSpPr>
        <p:spPr>
          <a:xfrm>
            <a:off x="1413314" y="1561328"/>
            <a:ext cx="5194432" cy="1826340"/>
          </a:xfrm>
        </p:spPr>
        <p:txBody>
          <a:bodyPr anchor="b"/>
          <a:lstStyle>
            <a:lvl1pPr>
              <a:defRPr sz="4000">
                <a:solidFill>
                  <a:srgbClr val="444C55"/>
                </a:solidFill>
              </a:defRPr>
            </a:lvl1pPr>
          </a:lstStyle>
          <a:p>
            <a:pPr lvl="0"/>
            <a:r>
              <a:rPr lang="en-US"/>
              <a:t>Click to edit Master title style</a:t>
            </a:r>
          </a:p>
        </p:txBody>
      </p:sp>
      <p:sp>
        <p:nvSpPr>
          <p:cNvPr id="4" name="Subtitle 2">
            <a:extLst>
              <a:ext uri="{FF2B5EF4-FFF2-40B4-BE49-F238E27FC236}">
                <a16:creationId xmlns:a16="http://schemas.microsoft.com/office/drawing/2014/main" id="{2D52B739-C97A-4745-C032-4A839BE43001}"/>
              </a:ext>
            </a:extLst>
          </p:cNvPr>
          <p:cNvSpPr txBox="1">
            <a:spLocks noGrp="1"/>
          </p:cNvSpPr>
          <p:nvPr>
            <p:ph type="subTitle" idx="4294967295"/>
          </p:nvPr>
        </p:nvSpPr>
        <p:spPr>
          <a:xfrm>
            <a:off x="1413314" y="3766861"/>
            <a:ext cx="5194432" cy="986564"/>
          </a:xfrm>
        </p:spPr>
        <p:txBody>
          <a:bodyPr/>
          <a:lstStyle>
            <a:lvl1pPr marL="0" indent="0">
              <a:buNone/>
              <a:defRPr/>
            </a:lvl1pPr>
          </a:lstStyle>
          <a:p>
            <a:pPr lvl="0"/>
            <a:r>
              <a:rPr lang="en-US"/>
              <a:t>Click to edit Master subtitle style</a:t>
            </a:r>
          </a:p>
        </p:txBody>
      </p:sp>
      <p:sp>
        <p:nvSpPr>
          <p:cNvPr id="5" name="Picture Placeholder 21">
            <a:extLst>
              <a:ext uri="{FF2B5EF4-FFF2-40B4-BE49-F238E27FC236}">
                <a16:creationId xmlns:a16="http://schemas.microsoft.com/office/drawing/2014/main" id="{DD926148-216B-96BB-482F-055E9C7140D0}"/>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grpSp>
        <p:nvGrpSpPr>
          <p:cNvPr id="6" name="Group 26">
            <a:extLst>
              <a:ext uri="{FF2B5EF4-FFF2-40B4-BE49-F238E27FC236}">
                <a16:creationId xmlns:a16="http://schemas.microsoft.com/office/drawing/2014/main" id="{EAD18DD3-0667-4D80-4666-FC6632B99724}"/>
              </a:ext>
            </a:extLst>
          </p:cNvPr>
          <p:cNvGrpSpPr/>
          <p:nvPr/>
        </p:nvGrpSpPr>
        <p:grpSpPr>
          <a:xfrm>
            <a:off x="0" y="5020349"/>
            <a:ext cx="12191996" cy="1837651"/>
            <a:chOff x="0" y="5020348"/>
            <a:chExt cx="12191996" cy="1837651"/>
          </a:xfrm>
        </p:grpSpPr>
        <p:sp>
          <p:nvSpPr>
            <p:cNvPr id="7" name="Freeform 27">
              <a:extLst>
                <a:ext uri="{FF2B5EF4-FFF2-40B4-BE49-F238E27FC236}">
                  <a16:creationId xmlns:a16="http://schemas.microsoft.com/office/drawing/2014/main" id="{3D9AB586-8334-DFD8-5620-1F16BB3C0FCB}"/>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8" name="Freeform 28">
              <a:extLst>
                <a:ext uri="{FF2B5EF4-FFF2-40B4-BE49-F238E27FC236}">
                  <a16:creationId xmlns:a16="http://schemas.microsoft.com/office/drawing/2014/main" id="{1B0C6ED2-ED4B-C287-83BD-3592685915E9}"/>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9" name="Picture 29">
              <a:extLst>
                <a:ext uri="{FF2B5EF4-FFF2-40B4-BE49-F238E27FC236}">
                  <a16:creationId xmlns:a16="http://schemas.microsoft.com/office/drawing/2014/main" id="{DB5B2DF1-167C-AEFB-0105-0A1F5BE0CD33}"/>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1531582091"/>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7_Divider">
    <p:spTree>
      <p:nvGrpSpPr>
        <p:cNvPr id="1" name=""/>
        <p:cNvGrpSpPr/>
        <p:nvPr/>
      </p:nvGrpSpPr>
      <p:grpSpPr>
        <a:xfrm>
          <a:off x="0" y="0"/>
          <a:ext cx="0" cy="0"/>
          <a:chOff x="0" y="0"/>
          <a:chExt cx="0" cy="0"/>
        </a:xfrm>
      </p:grpSpPr>
      <p:grpSp>
        <p:nvGrpSpPr>
          <p:cNvPr id="2" name="Group 9">
            <a:extLst>
              <a:ext uri="{FF2B5EF4-FFF2-40B4-BE49-F238E27FC236}">
                <a16:creationId xmlns:a16="http://schemas.microsoft.com/office/drawing/2014/main" id="{43291AF0-7F5A-8468-F788-6CC282512C19}"/>
              </a:ext>
            </a:extLst>
          </p:cNvPr>
          <p:cNvGrpSpPr/>
          <p:nvPr/>
        </p:nvGrpSpPr>
        <p:grpSpPr>
          <a:xfrm>
            <a:off x="0" y="5020349"/>
            <a:ext cx="12191996" cy="1837651"/>
            <a:chOff x="0" y="5020348"/>
            <a:chExt cx="12191996" cy="1837651"/>
          </a:xfrm>
        </p:grpSpPr>
        <p:sp>
          <p:nvSpPr>
            <p:cNvPr id="3" name="Freeform 25">
              <a:extLst>
                <a:ext uri="{FF2B5EF4-FFF2-40B4-BE49-F238E27FC236}">
                  <a16:creationId xmlns:a16="http://schemas.microsoft.com/office/drawing/2014/main" id="{D8321F12-82E9-6F5A-FF8C-CFBC5A15C6CB}"/>
                </a:ext>
              </a:extLst>
            </p:cNvPr>
            <p:cNvSpPr/>
            <p:nvPr/>
          </p:nvSpPr>
          <p:spPr>
            <a:xfrm>
              <a:off x="0" y="5100267"/>
              <a:ext cx="7111371" cy="1757732"/>
            </a:xfrm>
            <a:custGeom>
              <a:avLst/>
              <a:gdLst>
                <a:gd name="f0" fmla="val 10800000"/>
                <a:gd name="f1" fmla="val 5400000"/>
                <a:gd name="f2" fmla="val 180"/>
                <a:gd name="f3" fmla="val w"/>
                <a:gd name="f4" fmla="val h"/>
                <a:gd name="f5" fmla="val 0"/>
                <a:gd name="f6" fmla="val 7111369"/>
                <a:gd name="f7" fmla="val 1757730"/>
                <a:gd name="f8" fmla="val 772954"/>
                <a:gd name="f9" fmla="val 2778"/>
                <a:gd name="f10" fmla="val 1769038"/>
                <a:gd name="f11" fmla="val 30799"/>
                <a:gd name="f12" fmla="val 2696750"/>
                <a:gd name="f13" fmla="val 267531"/>
                <a:gd name="f14" fmla="val 3590934"/>
                <a:gd name="f15" fmla="val 566046"/>
                <a:gd name="f16" fmla="val 4684008"/>
                <a:gd name="f17" fmla="val 930921"/>
                <a:gd name="f18" fmla="val 5690778"/>
                <a:gd name="f19" fmla="val 1324625"/>
                <a:gd name="f20" fmla="val 6700767"/>
                <a:gd name="f21" fmla="val 1636882"/>
                <a:gd name="f22" fmla="val 25690"/>
                <a:gd name="f23" fmla="val 2197"/>
                <a:gd name="f24" fmla="val 25414"/>
                <a:gd name="f25" fmla="val 114653"/>
                <a:gd name="f26" fmla="val 14905"/>
                <a:gd name="f27" fmla="val 227801"/>
                <a:gd name="f28" fmla="val 7857"/>
                <a:gd name="f29" fmla="val 341773"/>
                <a:gd name="f30" fmla="val 3976"/>
                <a:gd name="f31" fmla="val 486963"/>
                <a:gd name="f32" fmla="+- 0 0 968"/>
                <a:gd name="f33" fmla="val 630656"/>
                <a:gd name="f34" fmla="+- 0 0 1224"/>
                <a:gd name="f35" fmla="+- 0 0 -90"/>
                <a:gd name="f36" fmla="*/ f3 1 7111369"/>
                <a:gd name="f37" fmla="*/ f4 1 1757730"/>
                <a:gd name="f38" fmla="+- f7 0 f5"/>
                <a:gd name="f39" fmla="+- f6 0 f5"/>
                <a:gd name="f40" fmla="*/ f35 f0 1"/>
                <a:gd name="f41" fmla="*/ f39 1 7111369"/>
                <a:gd name="f42" fmla="*/ f38 1 1757730"/>
                <a:gd name="f43" fmla="*/ 772954 f39 1"/>
                <a:gd name="f44" fmla="*/ 2778 f38 1"/>
                <a:gd name="f45" fmla="*/ 3590934 f39 1"/>
                <a:gd name="f46" fmla="*/ 566046 f38 1"/>
                <a:gd name="f47" fmla="*/ 6700767 f39 1"/>
                <a:gd name="f48" fmla="*/ 1636882 f38 1"/>
                <a:gd name="f49" fmla="*/ 7111369 f39 1"/>
                <a:gd name="f50" fmla="*/ 1757730 f38 1"/>
                <a:gd name="f51" fmla="*/ 0 f39 1"/>
                <a:gd name="f52" fmla="*/ 25690 f38 1"/>
                <a:gd name="f53" fmla="*/ 2197 f39 1"/>
                <a:gd name="f54" fmla="*/ 25414 f38 1"/>
                <a:gd name="f55" fmla="*/ 341773 f39 1"/>
                <a:gd name="f56" fmla="*/ 3976 f38 1"/>
                <a:gd name="f57" fmla="*/ f40 1 f2"/>
                <a:gd name="f58" fmla="*/ f43 1 7111369"/>
                <a:gd name="f59" fmla="*/ f44 1 1757730"/>
                <a:gd name="f60" fmla="*/ f45 1 7111369"/>
                <a:gd name="f61" fmla="*/ f46 1 1757730"/>
                <a:gd name="f62" fmla="*/ f47 1 7111369"/>
                <a:gd name="f63" fmla="*/ f48 1 1757730"/>
                <a:gd name="f64" fmla="*/ f49 1 7111369"/>
                <a:gd name="f65" fmla="*/ f50 1 1757730"/>
                <a:gd name="f66" fmla="*/ f51 1 7111369"/>
                <a:gd name="f67" fmla="*/ f52 1 1757730"/>
                <a:gd name="f68" fmla="*/ f53 1 7111369"/>
                <a:gd name="f69" fmla="*/ f54 1 1757730"/>
                <a:gd name="f70" fmla="*/ f55 1 7111369"/>
                <a:gd name="f71" fmla="*/ f56 1 1757730"/>
                <a:gd name="f72" fmla="*/ f5 1 f41"/>
                <a:gd name="f73" fmla="*/ f6 1 f41"/>
                <a:gd name="f74" fmla="*/ f5 1 f42"/>
                <a:gd name="f75" fmla="*/ f7 1 f42"/>
                <a:gd name="f76" fmla="+- f57 0 f1"/>
                <a:gd name="f77" fmla="*/ f58 1 f41"/>
                <a:gd name="f78" fmla="*/ f59 1 f42"/>
                <a:gd name="f79" fmla="*/ f60 1 f41"/>
                <a:gd name="f80" fmla="*/ f61 1 f42"/>
                <a:gd name="f81" fmla="*/ f62 1 f41"/>
                <a:gd name="f82" fmla="*/ f63 1 f42"/>
                <a:gd name="f83" fmla="*/ f64 1 f41"/>
                <a:gd name="f84" fmla="*/ f65 1 f42"/>
                <a:gd name="f85" fmla="*/ f66 1 f41"/>
                <a:gd name="f86" fmla="*/ f67 1 f42"/>
                <a:gd name="f87" fmla="*/ f68 1 f41"/>
                <a:gd name="f88" fmla="*/ f69 1 f42"/>
                <a:gd name="f89" fmla="*/ f70 1 f41"/>
                <a:gd name="f90" fmla="*/ f71 1 f42"/>
                <a:gd name="f91" fmla="*/ f72 f36 1"/>
                <a:gd name="f92" fmla="*/ f73 f36 1"/>
                <a:gd name="f93" fmla="*/ f75 f37 1"/>
                <a:gd name="f94" fmla="*/ f74 f37 1"/>
                <a:gd name="f95" fmla="*/ f77 f36 1"/>
                <a:gd name="f96" fmla="*/ f78 f37 1"/>
                <a:gd name="f97" fmla="*/ f79 f36 1"/>
                <a:gd name="f98" fmla="*/ f80 f37 1"/>
                <a:gd name="f99" fmla="*/ f81 f36 1"/>
                <a:gd name="f100" fmla="*/ f82 f37 1"/>
                <a:gd name="f101" fmla="*/ f83 f36 1"/>
                <a:gd name="f102" fmla="*/ f84 f37 1"/>
                <a:gd name="f103" fmla="*/ f85 f36 1"/>
                <a:gd name="f104" fmla="*/ f86 f37 1"/>
                <a:gd name="f105" fmla="*/ f87 f36 1"/>
                <a:gd name="f106" fmla="*/ f88 f37 1"/>
                <a:gd name="f107" fmla="*/ f89 f36 1"/>
                <a:gd name="f108" fmla="*/ f90 f37 1"/>
              </a:gdLst>
              <a:ahLst/>
              <a:cxnLst>
                <a:cxn ang="3cd4">
                  <a:pos x="hc" y="t"/>
                </a:cxn>
                <a:cxn ang="0">
                  <a:pos x="r" y="vc"/>
                </a:cxn>
                <a:cxn ang="cd4">
                  <a:pos x="hc" y="b"/>
                </a:cxn>
                <a:cxn ang="cd2">
                  <a:pos x="l" y="vc"/>
                </a:cxn>
                <a:cxn ang="f76">
                  <a:pos x="f95" y="f96"/>
                </a:cxn>
                <a:cxn ang="f76">
                  <a:pos x="f97" y="f98"/>
                </a:cxn>
                <a:cxn ang="f76">
                  <a:pos x="f99" y="f100"/>
                </a:cxn>
                <a:cxn ang="f76">
                  <a:pos x="f101" y="f102"/>
                </a:cxn>
                <a:cxn ang="f76">
                  <a:pos x="f103" y="f102"/>
                </a:cxn>
                <a:cxn ang="f76">
                  <a:pos x="f103" y="f104"/>
                </a:cxn>
                <a:cxn ang="f76">
                  <a:pos x="f105" y="f106"/>
                </a:cxn>
                <a:cxn ang="f76">
                  <a:pos x="f107" y="f108"/>
                </a:cxn>
                <a:cxn ang="f76">
                  <a:pos x="f95" y="f96"/>
                </a:cxn>
              </a:cxnLst>
              <a:rect l="f91" t="f94" r="f92" b="f93"/>
              <a:pathLst>
                <a:path w="7111369" h="1757730">
                  <a:moveTo>
                    <a:pt x="f8" y="f9"/>
                  </a:moveTo>
                  <a:cubicBezTo>
                    <a:pt x="f10" y="f11"/>
                    <a:pt x="f12" y="f13"/>
                    <a:pt x="f14" y="f15"/>
                  </a:cubicBezTo>
                  <a:cubicBezTo>
                    <a:pt x="f16" y="f17"/>
                    <a:pt x="f18" y="f19"/>
                    <a:pt x="f20" y="f21"/>
                  </a:cubicBezTo>
                  <a:lnTo>
                    <a:pt x="f6" y="f7"/>
                  </a:lnTo>
                  <a:lnTo>
                    <a:pt x="f5" y="f7"/>
                  </a:lnTo>
                  <a:lnTo>
                    <a:pt x="f5" y="f22"/>
                  </a:lnTo>
                  <a:lnTo>
                    <a:pt x="f23" y="f24"/>
                  </a:lnTo>
                  <a:cubicBezTo>
                    <a:pt x="f25" y="f26"/>
                    <a:pt x="f27" y="f28"/>
                    <a:pt x="f29" y="f30"/>
                  </a:cubicBezTo>
                  <a:cubicBezTo>
                    <a:pt x="f31" y="f32"/>
                    <a:pt x="f33" y="f34"/>
                    <a:pt x="f8" y="f9"/>
                  </a:cubicBezTo>
                  <a:close/>
                </a:path>
              </a:pathLst>
            </a:cu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4" name="Freeform 19">
              <a:extLst>
                <a:ext uri="{FF2B5EF4-FFF2-40B4-BE49-F238E27FC236}">
                  <a16:creationId xmlns:a16="http://schemas.microsoft.com/office/drawing/2014/main" id="{6D537F16-765C-2258-62C3-4A4FA88F0795}"/>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5" name="Freeform 14">
              <a:extLst>
                <a:ext uri="{FF2B5EF4-FFF2-40B4-BE49-F238E27FC236}">
                  <a16:creationId xmlns:a16="http://schemas.microsoft.com/office/drawing/2014/main" id="{D1EBDBC5-92E3-F18E-045C-AFC168E7208D}"/>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6" name="Picture 20">
              <a:extLst>
                <a:ext uri="{FF2B5EF4-FFF2-40B4-BE49-F238E27FC236}">
                  <a16:creationId xmlns:a16="http://schemas.microsoft.com/office/drawing/2014/main" id="{305223EC-EAE3-C371-3519-4263130487B5}"/>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
        <p:nvSpPr>
          <p:cNvPr id="7" name="Title 10">
            <a:extLst>
              <a:ext uri="{FF2B5EF4-FFF2-40B4-BE49-F238E27FC236}">
                <a16:creationId xmlns:a16="http://schemas.microsoft.com/office/drawing/2014/main" id="{DE63758B-39C1-2E25-44F8-006A0CD80D61}"/>
              </a:ext>
            </a:extLst>
          </p:cNvPr>
          <p:cNvSpPr txBox="1">
            <a:spLocks noGrp="1"/>
          </p:cNvSpPr>
          <p:nvPr>
            <p:ph type="title"/>
          </p:nvPr>
        </p:nvSpPr>
        <p:spPr>
          <a:xfrm>
            <a:off x="1413305" y="701748"/>
            <a:ext cx="9365376" cy="2014679"/>
          </a:xfrm>
        </p:spPr>
        <p:txBody>
          <a:bodyPr anchor="b"/>
          <a:lstStyle>
            <a:lvl1pPr>
              <a:defRPr/>
            </a:lvl1pPr>
          </a:lstStyle>
          <a:p>
            <a:pPr lvl="0"/>
            <a:r>
              <a:rPr lang="en-US"/>
              <a:t>Click to edit Master title style</a:t>
            </a:r>
          </a:p>
        </p:txBody>
      </p:sp>
      <p:sp>
        <p:nvSpPr>
          <p:cNvPr id="8" name="Subtitle 2">
            <a:extLst>
              <a:ext uri="{FF2B5EF4-FFF2-40B4-BE49-F238E27FC236}">
                <a16:creationId xmlns:a16="http://schemas.microsoft.com/office/drawing/2014/main" id="{DFE739FF-5D1E-1FB7-3F0E-C97712956CE6}"/>
              </a:ext>
            </a:extLst>
          </p:cNvPr>
          <p:cNvSpPr txBox="1">
            <a:spLocks noGrp="1"/>
          </p:cNvSpPr>
          <p:nvPr>
            <p:ph type="subTitle" idx="4294967295"/>
          </p:nvPr>
        </p:nvSpPr>
        <p:spPr>
          <a:xfrm>
            <a:off x="1413305" y="3081637"/>
            <a:ext cx="9365376" cy="986564"/>
          </a:xfrm>
        </p:spPr>
        <p:txBody>
          <a:bodyPr/>
          <a:lstStyle>
            <a:lvl1pPr marL="0" indent="0">
              <a:buNone/>
              <a:defRPr/>
            </a:lvl1pPr>
          </a:lstStyle>
          <a:p>
            <a:pPr lvl="0"/>
            <a:r>
              <a:rPr lang="en-US"/>
              <a:t>Click to edit Master subtitle style</a:t>
            </a:r>
          </a:p>
        </p:txBody>
      </p:sp>
    </p:spTree>
    <p:extLst>
      <p:ext uri="{BB962C8B-B14F-4D97-AF65-F5344CB8AC3E}">
        <p14:creationId xmlns:p14="http://schemas.microsoft.com/office/powerpoint/2010/main" val="423484043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9281"/>
        <p:cNvGrpSpPr/>
        <p:nvPr/>
      </p:nvGrpSpPr>
      <p:grpSpPr>
        <a:xfrm>
          <a:off x="0" y="0"/>
          <a:ext cx="0" cy="0"/>
          <a:chOff x="0" y="0"/>
          <a:chExt cx="0" cy="0"/>
        </a:xfrm>
      </p:grpSpPr>
      <p:grpSp>
        <p:nvGrpSpPr>
          <p:cNvPr id="9282" name="Google Shape;9282;p1340"/>
          <p:cNvGrpSpPr/>
          <p:nvPr/>
        </p:nvGrpSpPr>
        <p:grpSpPr>
          <a:xfrm>
            <a:off x="0" y="0"/>
            <a:ext cx="12192000" cy="2148830"/>
            <a:chOff x="0" y="0"/>
            <a:chExt cx="12192000" cy="2148830"/>
          </a:xfrm>
        </p:grpSpPr>
        <p:sp>
          <p:nvSpPr>
            <p:cNvPr id="9283" name="Google Shape;9283;p134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284" name="Google Shape;9284;p134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9285" name="Google Shape;9285;p134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286" name="Google Shape;9286;p134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87" name="Google Shape;9287;p134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9288" name="Google Shape;9288;p134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289" name="Google Shape;9289;p134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E8FC4CD0-0D18-4F58-0719-C219A619AD8A}"/>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197E97C1-2BFE-B875-6BCD-44EC3EBA546E}"/>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333F2B5A-2A80-8916-8AEA-EA6B33CC7C66}"/>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5FA034BD-5A46-769A-8B61-DBA5873F224C}"/>
              </a:ext>
            </a:extLst>
          </p:cNvPr>
          <p:cNvSpPr txBox="1">
            <a:spLocks noGrp="1"/>
          </p:cNvSpPr>
          <p:nvPr>
            <p:ph type="sldNum" sz="quarter" idx="8"/>
          </p:nvPr>
        </p:nvSpPr>
        <p:spPr/>
        <p:txBody>
          <a:bodyPr/>
          <a:lstStyle>
            <a:lvl1pPr>
              <a:defRPr>
                <a:solidFill>
                  <a:srgbClr val="AFB3B9"/>
                </a:solidFill>
              </a:defRPr>
            </a:lvl1pPr>
          </a:lstStyle>
          <a:p>
            <a:pPr lvl="0"/>
            <a:fld id="{089B5B19-8E73-4012-8249-04E636BDA643}" type="slidenum">
              <a:t>‹#›</a:t>
            </a:fld>
            <a:endParaRPr lang="en-US"/>
          </a:p>
        </p:txBody>
      </p:sp>
      <p:cxnSp>
        <p:nvCxnSpPr>
          <p:cNvPr id="6" name="Straight Connector 7">
            <a:extLst>
              <a:ext uri="{FF2B5EF4-FFF2-40B4-BE49-F238E27FC236}">
                <a16:creationId xmlns:a16="http://schemas.microsoft.com/office/drawing/2014/main" id="{6EF347AF-C561-4B2B-B901-D2A0C15F80AB}"/>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E368F735-26C7-40FE-88CE-7653296DC614}"/>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FF3C88F7-282E-9B27-D65D-0F6441BCC866}"/>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819C5562-8337-9AD9-20E5-CA4D47BCFFBC}"/>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679AE138-049E-CCE1-9F05-7B67E3CDA098}"/>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13E1C8E9-C2FA-287C-4AA1-332A7A71FEE3}"/>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5FC323A2-22AB-8B26-5323-1FDEE07B04A9}"/>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DEA17B6D-D9AA-C051-E2F8-4A9EC0DAC449}"/>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3078927309"/>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2" name="Group 63">
            <a:extLst>
              <a:ext uri="{FF2B5EF4-FFF2-40B4-BE49-F238E27FC236}">
                <a16:creationId xmlns:a16="http://schemas.microsoft.com/office/drawing/2014/main" id="{D182D79C-FCB7-B458-9C2F-D758BA80B174}"/>
              </a:ext>
            </a:extLst>
          </p:cNvPr>
          <p:cNvGrpSpPr/>
          <p:nvPr/>
        </p:nvGrpSpPr>
        <p:grpSpPr>
          <a:xfrm>
            <a:off x="7191545" y="0"/>
            <a:ext cx="5000460" cy="1425988"/>
            <a:chOff x="7191545" y="0"/>
            <a:chExt cx="5000460" cy="1425988"/>
          </a:xfrm>
        </p:grpSpPr>
        <p:pic>
          <p:nvPicPr>
            <p:cNvPr id="3" name="Picture 64">
              <a:extLst>
                <a:ext uri="{FF2B5EF4-FFF2-40B4-BE49-F238E27FC236}">
                  <a16:creationId xmlns:a16="http://schemas.microsoft.com/office/drawing/2014/main" id="{56C75734-6983-0687-7CE7-7A82E7E81B08}"/>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65">
              <a:extLst>
                <a:ext uri="{FF2B5EF4-FFF2-40B4-BE49-F238E27FC236}">
                  <a16:creationId xmlns:a16="http://schemas.microsoft.com/office/drawing/2014/main" id="{B2D648A1-2646-0A3C-8CE1-518B0881D7AB}"/>
                </a:ext>
              </a:extLst>
            </p:cNvPr>
            <p:cNvGrpSpPr/>
            <p:nvPr/>
          </p:nvGrpSpPr>
          <p:grpSpPr>
            <a:xfrm>
              <a:off x="7191545" y="0"/>
              <a:ext cx="5000460" cy="1425988"/>
              <a:chOff x="7191545" y="0"/>
              <a:chExt cx="5000460" cy="1425988"/>
            </a:xfrm>
          </p:grpSpPr>
          <p:sp>
            <p:nvSpPr>
              <p:cNvPr id="5" name="Freeform 66">
                <a:extLst>
                  <a:ext uri="{FF2B5EF4-FFF2-40B4-BE49-F238E27FC236}">
                    <a16:creationId xmlns:a16="http://schemas.microsoft.com/office/drawing/2014/main" id="{A942DCD3-858B-A390-B948-A255517B4822}"/>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67">
                <a:extLst>
                  <a:ext uri="{FF2B5EF4-FFF2-40B4-BE49-F238E27FC236}">
                    <a16:creationId xmlns:a16="http://schemas.microsoft.com/office/drawing/2014/main" id="{8A6B8520-DBD8-FB37-2719-F0513943EC4C}"/>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5C3A6F6B-C812-223D-0CC6-CDE0D8C84540}"/>
              </a:ext>
            </a:extLst>
          </p:cNvPr>
          <p:cNvSpPr txBox="1">
            <a:spLocks noGrp="1"/>
          </p:cNvSpPr>
          <p:nvPr>
            <p:ph type="title"/>
          </p:nvPr>
        </p:nvSpPr>
        <p:spPr/>
        <p:txBody>
          <a:bodyPr/>
          <a:lstStyle>
            <a:lvl1pPr>
              <a:defRPr/>
            </a:lvl1pPr>
          </a:lstStyle>
          <a:p>
            <a:pPr lvl="0"/>
            <a:r>
              <a:rPr lang="en-US"/>
              <a:t>Click to edit Master title style</a:t>
            </a:r>
          </a:p>
        </p:txBody>
      </p:sp>
      <p:sp>
        <p:nvSpPr>
          <p:cNvPr id="8" name="Content Placeholder 2">
            <a:extLst>
              <a:ext uri="{FF2B5EF4-FFF2-40B4-BE49-F238E27FC236}">
                <a16:creationId xmlns:a16="http://schemas.microsoft.com/office/drawing/2014/main" id="{90B59762-FBFF-1CA7-E3B2-6DC49DA43511}"/>
              </a:ext>
            </a:extLst>
          </p:cNvPr>
          <p:cNvSpPr txBox="1">
            <a:spLocks noGrp="1"/>
          </p:cNvSpPr>
          <p:nvPr>
            <p:ph idx="1"/>
          </p:nvPr>
        </p:nvSpPr>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6">
            <a:extLst>
              <a:ext uri="{FF2B5EF4-FFF2-40B4-BE49-F238E27FC236}">
                <a16:creationId xmlns:a16="http://schemas.microsoft.com/office/drawing/2014/main" id="{E8511FC8-01A6-1960-FF3F-5611A3D2C50C}"/>
              </a:ext>
            </a:extLst>
          </p:cNvPr>
          <p:cNvSpPr txBox="1">
            <a:spLocks noGrp="1"/>
          </p:cNvSpPr>
          <p:nvPr>
            <p:ph type="sldNum" sz="quarter" idx="8"/>
          </p:nvPr>
        </p:nvSpPr>
        <p:spPr/>
        <p:txBody>
          <a:bodyPr/>
          <a:lstStyle>
            <a:lvl1pPr>
              <a:defRPr>
                <a:solidFill>
                  <a:srgbClr val="AFB3B9"/>
                </a:solidFill>
              </a:defRPr>
            </a:lvl1pPr>
          </a:lstStyle>
          <a:p>
            <a:pPr lvl="0"/>
            <a:fld id="{165B8B32-F289-4849-917C-7BE158E5C2DD}" type="slidenum">
              <a:t>‹#›</a:t>
            </a:fld>
            <a:endParaRPr lang="en-US"/>
          </a:p>
        </p:txBody>
      </p:sp>
      <p:cxnSp>
        <p:nvCxnSpPr>
          <p:cNvPr id="10" name="Straight Connector 7">
            <a:extLst>
              <a:ext uri="{FF2B5EF4-FFF2-40B4-BE49-F238E27FC236}">
                <a16:creationId xmlns:a16="http://schemas.microsoft.com/office/drawing/2014/main" id="{949E34B6-54EF-902B-47A4-7A990F7F259C}"/>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1" name="Footer Placeholder 5">
            <a:extLst>
              <a:ext uri="{FF2B5EF4-FFF2-40B4-BE49-F238E27FC236}">
                <a16:creationId xmlns:a16="http://schemas.microsoft.com/office/drawing/2014/main" id="{9DEA601F-CE9E-8F3E-BE4D-60B212B5D4D8}"/>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3637821962"/>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EF14CC-6276-6FE8-0867-49F00FE029DF}"/>
              </a:ext>
            </a:extLst>
          </p:cNvPr>
          <p:cNvSpPr txBox="1">
            <a:spLocks noGrp="1"/>
          </p:cNvSpPr>
          <p:nvPr>
            <p:ph type="title"/>
          </p:nvPr>
        </p:nvSpPr>
        <p:spPr/>
        <p:txBody>
          <a:bodyPr/>
          <a:lstStyle>
            <a:lvl1pPr>
              <a:defRPr/>
            </a:lvl1pPr>
          </a:lstStyle>
          <a:p>
            <a:pPr lvl="0"/>
            <a:r>
              <a:rPr lang="en-US"/>
              <a:t>Click to edit Master title style</a:t>
            </a:r>
          </a:p>
        </p:txBody>
      </p:sp>
      <p:sp>
        <p:nvSpPr>
          <p:cNvPr id="3" name="Content Placeholder 2">
            <a:extLst>
              <a:ext uri="{FF2B5EF4-FFF2-40B4-BE49-F238E27FC236}">
                <a16:creationId xmlns:a16="http://schemas.microsoft.com/office/drawing/2014/main" id="{85D046B0-2E68-767C-8847-BA9987C2E2EC}"/>
              </a:ext>
            </a:extLst>
          </p:cNvPr>
          <p:cNvSpPr txBox="1">
            <a:spLocks noGrp="1"/>
          </p:cNvSpPr>
          <p:nvPr>
            <p:ph idx="1"/>
          </p:nvPr>
        </p:nvSpPr>
        <p:spPr>
          <a:xfrm>
            <a:off x="609604" y="1825627"/>
            <a:ext cx="5410203" cy="4351336"/>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43">
            <a:extLst>
              <a:ext uri="{FF2B5EF4-FFF2-40B4-BE49-F238E27FC236}">
                <a16:creationId xmlns:a16="http://schemas.microsoft.com/office/drawing/2014/main" id="{B84C0F61-23F2-B64E-2224-42BF998EF4D6}"/>
              </a:ext>
            </a:extLst>
          </p:cNvPr>
          <p:cNvGrpSpPr/>
          <p:nvPr/>
        </p:nvGrpSpPr>
        <p:grpSpPr>
          <a:xfrm>
            <a:off x="7191545" y="0"/>
            <a:ext cx="5000460" cy="1425988"/>
            <a:chOff x="7191545" y="0"/>
            <a:chExt cx="5000460" cy="1425988"/>
          </a:xfrm>
        </p:grpSpPr>
        <p:pic>
          <p:nvPicPr>
            <p:cNvPr id="5" name="Picture 19">
              <a:extLst>
                <a:ext uri="{FF2B5EF4-FFF2-40B4-BE49-F238E27FC236}">
                  <a16:creationId xmlns:a16="http://schemas.microsoft.com/office/drawing/2014/main" id="{2F0EA0F6-EF3C-93D3-181F-42E41B1BA9FC}"/>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6" name="Group 42">
              <a:extLst>
                <a:ext uri="{FF2B5EF4-FFF2-40B4-BE49-F238E27FC236}">
                  <a16:creationId xmlns:a16="http://schemas.microsoft.com/office/drawing/2014/main" id="{7CCA392E-3671-B5FE-7D59-4358843AC0CC}"/>
                </a:ext>
              </a:extLst>
            </p:cNvPr>
            <p:cNvGrpSpPr/>
            <p:nvPr/>
          </p:nvGrpSpPr>
          <p:grpSpPr>
            <a:xfrm>
              <a:off x="7191545" y="0"/>
              <a:ext cx="5000460" cy="1425988"/>
              <a:chOff x="7191545" y="0"/>
              <a:chExt cx="5000460" cy="1425988"/>
            </a:xfrm>
          </p:grpSpPr>
          <p:sp>
            <p:nvSpPr>
              <p:cNvPr id="7" name="Freeform 41">
                <a:extLst>
                  <a:ext uri="{FF2B5EF4-FFF2-40B4-BE49-F238E27FC236}">
                    <a16:creationId xmlns:a16="http://schemas.microsoft.com/office/drawing/2014/main" id="{C0D08B5F-1B7B-9E96-7DBF-4E750860BC78}"/>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8" name="Freeform 39">
                <a:extLst>
                  <a:ext uri="{FF2B5EF4-FFF2-40B4-BE49-F238E27FC236}">
                    <a16:creationId xmlns:a16="http://schemas.microsoft.com/office/drawing/2014/main" id="{E0D9FD3E-11C9-9D55-AFF3-CC8902C81508}"/>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9" name="Content Placeholder 3">
            <a:extLst>
              <a:ext uri="{FF2B5EF4-FFF2-40B4-BE49-F238E27FC236}">
                <a16:creationId xmlns:a16="http://schemas.microsoft.com/office/drawing/2014/main" id="{156DA7FB-EB4A-59D7-CEE6-1575FB934974}"/>
              </a:ext>
            </a:extLst>
          </p:cNvPr>
          <p:cNvSpPr txBox="1">
            <a:spLocks noGrp="1"/>
          </p:cNvSpPr>
          <p:nvPr>
            <p:ph idx="2"/>
          </p:nvPr>
        </p:nvSpPr>
        <p:spPr>
          <a:xfrm>
            <a:off x="6172201" y="1825627"/>
            <a:ext cx="5410203" cy="4351336"/>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7">
            <a:extLst>
              <a:ext uri="{FF2B5EF4-FFF2-40B4-BE49-F238E27FC236}">
                <a16:creationId xmlns:a16="http://schemas.microsoft.com/office/drawing/2014/main" id="{6B80E493-3714-C880-D2A9-DA717D513972}"/>
              </a:ext>
            </a:extLst>
          </p:cNvPr>
          <p:cNvSpPr txBox="1">
            <a:spLocks noGrp="1"/>
          </p:cNvSpPr>
          <p:nvPr>
            <p:ph type="sldNum" sz="quarter" idx="8"/>
          </p:nvPr>
        </p:nvSpPr>
        <p:spPr>
          <a:xfrm>
            <a:off x="8839193" y="6356352"/>
            <a:ext cx="2743200" cy="365129"/>
          </a:xfrm>
        </p:spPr>
        <p:txBody>
          <a:bodyPr/>
          <a:lstStyle>
            <a:lvl1pPr>
              <a:defRPr/>
            </a:lvl1pPr>
          </a:lstStyle>
          <a:p>
            <a:pPr lvl="0"/>
            <a:fld id="{F08F0E69-3759-4DA8-B7D4-0C3E107CD644}" type="slidenum">
              <a:t>‹#›</a:t>
            </a:fld>
            <a:endParaRPr lang="en-US"/>
          </a:p>
        </p:txBody>
      </p:sp>
      <p:cxnSp>
        <p:nvCxnSpPr>
          <p:cNvPr id="11" name="Straight Connector 6">
            <a:extLst>
              <a:ext uri="{FF2B5EF4-FFF2-40B4-BE49-F238E27FC236}">
                <a16:creationId xmlns:a16="http://schemas.microsoft.com/office/drawing/2014/main" id="{69E61F45-1C8F-A9C0-43B6-A9189BE3BC78}"/>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2" name="Footer Placeholder 4">
            <a:extLst>
              <a:ext uri="{FF2B5EF4-FFF2-40B4-BE49-F238E27FC236}">
                <a16:creationId xmlns:a16="http://schemas.microsoft.com/office/drawing/2014/main" id="{F8F104F2-DC1D-63AC-4C73-F9188531E666}"/>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407584523"/>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 name="Group 24">
            <a:extLst>
              <a:ext uri="{FF2B5EF4-FFF2-40B4-BE49-F238E27FC236}">
                <a16:creationId xmlns:a16="http://schemas.microsoft.com/office/drawing/2014/main" id="{3B846700-B3EE-91C0-FCB2-B3EB395A349D}"/>
              </a:ext>
            </a:extLst>
          </p:cNvPr>
          <p:cNvGrpSpPr/>
          <p:nvPr/>
        </p:nvGrpSpPr>
        <p:grpSpPr>
          <a:xfrm>
            <a:off x="7191545" y="0"/>
            <a:ext cx="5000460" cy="1425988"/>
            <a:chOff x="7191545" y="0"/>
            <a:chExt cx="5000460" cy="1425988"/>
          </a:xfrm>
        </p:grpSpPr>
        <p:pic>
          <p:nvPicPr>
            <p:cNvPr id="3" name="Picture 25">
              <a:extLst>
                <a:ext uri="{FF2B5EF4-FFF2-40B4-BE49-F238E27FC236}">
                  <a16:creationId xmlns:a16="http://schemas.microsoft.com/office/drawing/2014/main" id="{CA44A2ED-AE05-5A95-F288-2A438D51DFDC}"/>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26">
              <a:extLst>
                <a:ext uri="{FF2B5EF4-FFF2-40B4-BE49-F238E27FC236}">
                  <a16:creationId xmlns:a16="http://schemas.microsoft.com/office/drawing/2014/main" id="{A99DA049-5E83-822F-8DDC-284DDF78F35C}"/>
                </a:ext>
              </a:extLst>
            </p:cNvPr>
            <p:cNvGrpSpPr/>
            <p:nvPr/>
          </p:nvGrpSpPr>
          <p:grpSpPr>
            <a:xfrm>
              <a:off x="7191545" y="0"/>
              <a:ext cx="5000460" cy="1425988"/>
              <a:chOff x="7191545" y="0"/>
              <a:chExt cx="5000460" cy="1425988"/>
            </a:xfrm>
          </p:grpSpPr>
          <p:sp>
            <p:nvSpPr>
              <p:cNvPr id="5" name="Freeform 27">
                <a:extLst>
                  <a:ext uri="{FF2B5EF4-FFF2-40B4-BE49-F238E27FC236}">
                    <a16:creationId xmlns:a16="http://schemas.microsoft.com/office/drawing/2014/main" id="{1200D143-CBA7-9A44-74F5-3EBBA0264E4E}"/>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28">
                <a:extLst>
                  <a:ext uri="{FF2B5EF4-FFF2-40B4-BE49-F238E27FC236}">
                    <a16:creationId xmlns:a16="http://schemas.microsoft.com/office/drawing/2014/main" id="{4160660F-EB7C-0126-D025-D65A73B74778}"/>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42C87477-6D32-BB9D-456B-427F20309D59}"/>
              </a:ext>
            </a:extLst>
          </p:cNvPr>
          <p:cNvSpPr txBox="1">
            <a:spLocks noGrp="1"/>
          </p:cNvSpPr>
          <p:nvPr>
            <p:ph type="title"/>
          </p:nvPr>
        </p:nvSpPr>
        <p:spPr/>
        <p:txBody>
          <a:bodyPr/>
          <a:lstStyle>
            <a:lvl1pPr>
              <a:defRPr/>
            </a:lvl1pPr>
          </a:lstStyle>
          <a:p>
            <a:pPr lvl="0"/>
            <a:r>
              <a:rPr lang="en-US"/>
              <a:t>Click to edit Master title style</a:t>
            </a:r>
          </a:p>
        </p:txBody>
      </p:sp>
      <p:sp>
        <p:nvSpPr>
          <p:cNvPr id="8" name="Text Placeholder 2">
            <a:extLst>
              <a:ext uri="{FF2B5EF4-FFF2-40B4-BE49-F238E27FC236}">
                <a16:creationId xmlns:a16="http://schemas.microsoft.com/office/drawing/2014/main" id="{FD92393E-C835-40B8-92E5-FE9BE480F188}"/>
              </a:ext>
            </a:extLst>
          </p:cNvPr>
          <p:cNvSpPr txBox="1">
            <a:spLocks noGrp="1"/>
          </p:cNvSpPr>
          <p:nvPr>
            <p:ph type="body" idx="1"/>
          </p:nvPr>
        </p:nvSpPr>
        <p:spPr>
          <a:xfrm>
            <a:off x="609604" y="1681160"/>
            <a:ext cx="5387973" cy="823910"/>
          </a:xfrm>
          <a:solidFill>
            <a:srgbClr val="F3F6FB"/>
          </a:solidFill>
        </p:spPr>
        <p:txBody>
          <a:bodyPr lIns="182880" tIns="0" rIns="182880" bIns="0" anchor="ctr"/>
          <a:lstStyle>
            <a:lvl1pPr marL="0" indent="0">
              <a:buNone/>
              <a:defRPr u="sng">
                <a:uFill>
                  <a:solidFill>
                    <a:srgbClr val="F58366"/>
                  </a:solidFill>
                </a:uFill>
              </a:defRPr>
            </a:lvl1pPr>
          </a:lstStyle>
          <a:p>
            <a:pPr lvl="0"/>
            <a:r>
              <a:rPr lang="en-US"/>
              <a:t>Click to edit Master text styles</a:t>
            </a:r>
          </a:p>
        </p:txBody>
      </p:sp>
      <p:sp>
        <p:nvSpPr>
          <p:cNvPr id="9" name="Content Placeholder 3">
            <a:extLst>
              <a:ext uri="{FF2B5EF4-FFF2-40B4-BE49-F238E27FC236}">
                <a16:creationId xmlns:a16="http://schemas.microsoft.com/office/drawing/2014/main" id="{680D8D6F-8D70-FF82-1232-1A46B3553DAC}"/>
              </a:ext>
            </a:extLst>
          </p:cNvPr>
          <p:cNvSpPr txBox="1">
            <a:spLocks noGrp="1"/>
          </p:cNvSpPr>
          <p:nvPr>
            <p:ph idx="2"/>
          </p:nvPr>
        </p:nvSpPr>
        <p:spPr>
          <a:xfrm>
            <a:off x="609604" y="2505072"/>
            <a:ext cx="5387973" cy="3684583"/>
          </a:xfrm>
          <a:solidFill>
            <a:srgbClr val="F3F6FB"/>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7D3EDBC2-188F-8CF2-F8DE-2C39A31F5594}"/>
              </a:ext>
            </a:extLst>
          </p:cNvPr>
          <p:cNvSpPr txBox="1">
            <a:spLocks noGrp="1"/>
          </p:cNvSpPr>
          <p:nvPr>
            <p:ph type="body" idx="3"/>
          </p:nvPr>
        </p:nvSpPr>
        <p:spPr>
          <a:xfrm>
            <a:off x="6172201" y="1681160"/>
            <a:ext cx="5410203" cy="823910"/>
          </a:xfrm>
          <a:solidFill>
            <a:srgbClr val="F3F6FB"/>
          </a:solidFill>
        </p:spPr>
        <p:txBody>
          <a:bodyPr lIns="182880" tIns="0" rIns="182880" bIns="0" anchor="ctr"/>
          <a:lstStyle>
            <a:lvl1pPr marL="0" indent="0">
              <a:buNone/>
              <a:defRPr u="sng">
                <a:uFill>
                  <a:solidFill>
                    <a:srgbClr val="F58366"/>
                  </a:solidFill>
                </a:uFill>
              </a:defRPr>
            </a:lvl1pPr>
          </a:lstStyle>
          <a:p>
            <a:pPr lvl="0"/>
            <a:r>
              <a:rPr lang="en-US"/>
              <a:t>Click to edit Master text styles</a:t>
            </a:r>
          </a:p>
        </p:txBody>
      </p:sp>
      <p:sp>
        <p:nvSpPr>
          <p:cNvPr id="11" name="Content Placeholder 5">
            <a:extLst>
              <a:ext uri="{FF2B5EF4-FFF2-40B4-BE49-F238E27FC236}">
                <a16:creationId xmlns:a16="http://schemas.microsoft.com/office/drawing/2014/main" id="{3EF14EE5-0DE1-C505-4BEB-60DEECC6EF78}"/>
              </a:ext>
            </a:extLst>
          </p:cNvPr>
          <p:cNvSpPr txBox="1">
            <a:spLocks noGrp="1"/>
          </p:cNvSpPr>
          <p:nvPr>
            <p:ph idx="4"/>
          </p:nvPr>
        </p:nvSpPr>
        <p:spPr>
          <a:xfrm>
            <a:off x="6172201" y="2505072"/>
            <a:ext cx="5410203" cy="3684583"/>
          </a:xfrm>
          <a:solidFill>
            <a:srgbClr val="F3F6FB"/>
          </a:solidFill>
        </p:spPr>
        <p:txBody>
          <a:bodyPr lIns="182880" tIns="0" rIns="182880" bIns="0"/>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9">
            <a:extLst>
              <a:ext uri="{FF2B5EF4-FFF2-40B4-BE49-F238E27FC236}">
                <a16:creationId xmlns:a16="http://schemas.microsoft.com/office/drawing/2014/main" id="{DACFD82D-A3E9-AD37-BEEB-12721E851950}"/>
              </a:ext>
            </a:extLst>
          </p:cNvPr>
          <p:cNvSpPr txBox="1">
            <a:spLocks noGrp="1"/>
          </p:cNvSpPr>
          <p:nvPr>
            <p:ph type="sldNum" sz="quarter" idx="8"/>
          </p:nvPr>
        </p:nvSpPr>
        <p:spPr/>
        <p:txBody>
          <a:bodyPr/>
          <a:lstStyle>
            <a:lvl1pPr>
              <a:defRPr/>
            </a:lvl1pPr>
          </a:lstStyle>
          <a:p>
            <a:pPr lvl="0"/>
            <a:fld id="{F62979F4-1930-425E-A48A-AD6D67964F71}" type="slidenum">
              <a:t>‹#›</a:t>
            </a:fld>
            <a:endParaRPr lang="en-US"/>
          </a:p>
        </p:txBody>
      </p:sp>
      <p:cxnSp>
        <p:nvCxnSpPr>
          <p:cNvPr id="13" name="Straight Connector 8">
            <a:extLst>
              <a:ext uri="{FF2B5EF4-FFF2-40B4-BE49-F238E27FC236}">
                <a16:creationId xmlns:a16="http://schemas.microsoft.com/office/drawing/2014/main" id="{C043D1E6-6CC1-547D-D8D2-859C1E9C8497}"/>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4" name="Footer Placeholder 7">
            <a:extLst>
              <a:ext uri="{FF2B5EF4-FFF2-40B4-BE49-F238E27FC236}">
                <a16:creationId xmlns:a16="http://schemas.microsoft.com/office/drawing/2014/main" id="{C5247BB0-0686-C37C-E924-70E15FA85EF7}"/>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3288891651"/>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6_Photo Slide">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C7FBC99D-265E-4098-6D00-68D0A3FDC537}"/>
              </a:ext>
            </a:extLst>
          </p:cNvPr>
          <p:cNvSpPr txBox="1">
            <a:spLocks noGrp="1"/>
          </p:cNvSpPr>
          <p:nvPr>
            <p:ph type="body" idx="4294967295"/>
          </p:nvPr>
        </p:nvSpPr>
        <p:spPr>
          <a:xfrm>
            <a:off x="457200" y="1146255"/>
            <a:ext cx="2350172" cy="2971800"/>
          </a:xfrm>
        </p:spPr>
        <p:txBody>
          <a:bodyPr/>
          <a:lstStyle>
            <a:lvl1pPr marL="0" indent="0">
              <a:buNone/>
              <a:defRPr/>
            </a:lvl1pPr>
          </a:lstStyle>
          <a:p>
            <a:pPr lvl="0"/>
            <a:r>
              <a:rPr lang="en-US"/>
              <a:t>Click to edit Master text styles</a:t>
            </a:r>
          </a:p>
        </p:txBody>
      </p:sp>
      <p:cxnSp>
        <p:nvCxnSpPr>
          <p:cNvPr id="3" name="Straight Connector 5">
            <a:extLst>
              <a:ext uri="{FF2B5EF4-FFF2-40B4-BE49-F238E27FC236}">
                <a16:creationId xmlns:a16="http://schemas.microsoft.com/office/drawing/2014/main" id="{4C60B376-5EF7-2B86-4CD4-87DDB0C2CDB4}"/>
              </a:ext>
            </a:extLst>
          </p:cNvPr>
          <p:cNvCxnSpPr/>
          <p:nvPr/>
        </p:nvCxnSpPr>
        <p:spPr>
          <a:xfrm>
            <a:off x="457201" y="947985"/>
            <a:ext cx="2350163" cy="0"/>
          </a:xfrm>
          <a:prstGeom prst="straightConnector1">
            <a:avLst/>
          </a:prstGeom>
          <a:noFill/>
          <a:ln w="31747" cap="flat">
            <a:solidFill>
              <a:srgbClr val="F58366"/>
            </a:solidFill>
            <a:prstDash val="solid"/>
            <a:miter/>
          </a:ln>
        </p:spPr>
      </p:cxnSp>
      <p:grpSp>
        <p:nvGrpSpPr>
          <p:cNvPr id="4" name="Group 2">
            <a:extLst>
              <a:ext uri="{FF2B5EF4-FFF2-40B4-BE49-F238E27FC236}">
                <a16:creationId xmlns:a16="http://schemas.microsoft.com/office/drawing/2014/main" id="{46A7D9F5-5AD7-BD66-2B72-D5019628EB97}"/>
              </a:ext>
            </a:extLst>
          </p:cNvPr>
          <p:cNvGrpSpPr/>
          <p:nvPr/>
        </p:nvGrpSpPr>
        <p:grpSpPr>
          <a:xfrm>
            <a:off x="1" y="5379425"/>
            <a:ext cx="2807363" cy="753895"/>
            <a:chOff x="0" y="5379424"/>
            <a:chExt cx="2807363" cy="753895"/>
          </a:xfrm>
        </p:grpSpPr>
        <p:sp>
          <p:nvSpPr>
            <p:cNvPr id="5" name="Freeform 21">
              <a:extLst>
                <a:ext uri="{FF2B5EF4-FFF2-40B4-BE49-F238E27FC236}">
                  <a16:creationId xmlns:a16="http://schemas.microsoft.com/office/drawing/2014/main" id="{23CCB8DF-5A56-5C86-2A9F-E2649F014DCE}"/>
                </a:ext>
              </a:extLst>
            </p:cNvPr>
            <p:cNvSpPr/>
            <p:nvPr/>
          </p:nvSpPr>
          <p:spPr>
            <a:xfrm>
              <a:off x="0" y="5532513"/>
              <a:ext cx="2807363" cy="600806"/>
            </a:xfrm>
            <a:custGeom>
              <a:avLst/>
              <a:gdLst>
                <a:gd name="f0" fmla="val 10800000"/>
                <a:gd name="f1" fmla="val 5400000"/>
                <a:gd name="f2" fmla="val 180"/>
                <a:gd name="f3" fmla="val w"/>
                <a:gd name="f4" fmla="val h"/>
                <a:gd name="f5" fmla="val 0"/>
                <a:gd name="f6" fmla="val 2807368"/>
                <a:gd name="f7" fmla="val 600807"/>
                <a:gd name="f8" fmla="val 429971"/>
                <a:gd name="f9" fmla="val 123998"/>
                <a:gd name="f10" fmla="val 1184765"/>
                <a:gd name="f11" fmla="val 325331"/>
                <a:gd name="f12" fmla="val 2014184"/>
                <a:gd name="f13" fmla="val 392492"/>
                <a:gd name="f14" fmla="val 2790212"/>
                <a:gd name="f15" fmla="val 235402"/>
                <a:gd name="f16" fmla="val 231522"/>
                <a:gd name="f17" fmla="val 566106"/>
                <a:gd name="f18" fmla="val 2593885"/>
                <a:gd name="f19" fmla="val 587498"/>
                <a:gd name="f20" fmla="val 1673646"/>
                <a:gd name="f21" fmla="val 651184"/>
                <a:gd name="f22" fmla="val 884869"/>
                <a:gd name="f23" fmla="val 479260"/>
                <a:gd name="f24" fmla="val 100844"/>
                <a:gd name="f25" fmla="val 222653"/>
                <a:gd name="f26" fmla="val 188389"/>
                <a:gd name="f27" fmla="+- 0 0 -90"/>
                <a:gd name="f28" fmla="*/ f3 1 2807368"/>
                <a:gd name="f29" fmla="*/ f4 1 600807"/>
                <a:gd name="f30" fmla="+- f7 0 f5"/>
                <a:gd name="f31" fmla="+- f6 0 f5"/>
                <a:gd name="f32" fmla="*/ f27 f0 1"/>
                <a:gd name="f33" fmla="*/ f31 1 2807368"/>
                <a:gd name="f34" fmla="*/ f30 1 600807"/>
                <a:gd name="f35" fmla="*/ 0 f31 1"/>
                <a:gd name="f36" fmla="*/ 0 f30 1"/>
                <a:gd name="f37" fmla="*/ 429971 f31 1"/>
                <a:gd name="f38" fmla="*/ 123998 f30 1"/>
                <a:gd name="f39" fmla="*/ 2790212 f31 1"/>
                <a:gd name="f40" fmla="*/ 235402 f30 1"/>
                <a:gd name="f41" fmla="*/ 2807368 f31 1"/>
                <a:gd name="f42" fmla="*/ 231522 f30 1"/>
                <a:gd name="f43" fmla="*/ 566106 f30 1"/>
                <a:gd name="f44" fmla="*/ 2593885 f31 1"/>
                <a:gd name="f45" fmla="*/ 587498 f30 1"/>
                <a:gd name="f46" fmla="*/ 100844 f31 1"/>
                <a:gd name="f47" fmla="*/ 222653 f30 1"/>
                <a:gd name="f48" fmla="*/ 188389 f30 1"/>
                <a:gd name="f49" fmla="*/ f32 1 f2"/>
                <a:gd name="f50" fmla="*/ f35 1 2807368"/>
                <a:gd name="f51" fmla="*/ f36 1 600807"/>
                <a:gd name="f52" fmla="*/ f37 1 2807368"/>
                <a:gd name="f53" fmla="*/ f38 1 600807"/>
                <a:gd name="f54" fmla="*/ f39 1 2807368"/>
                <a:gd name="f55" fmla="*/ f40 1 600807"/>
                <a:gd name="f56" fmla="*/ f41 1 2807368"/>
                <a:gd name="f57" fmla="*/ f42 1 600807"/>
                <a:gd name="f58" fmla="*/ f43 1 600807"/>
                <a:gd name="f59" fmla="*/ f44 1 2807368"/>
                <a:gd name="f60" fmla="*/ f45 1 600807"/>
                <a:gd name="f61" fmla="*/ f46 1 2807368"/>
                <a:gd name="f62" fmla="*/ f47 1 600807"/>
                <a:gd name="f63" fmla="*/ f48 1 600807"/>
                <a:gd name="f64" fmla="*/ f5 1 f33"/>
                <a:gd name="f65" fmla="*/ f6 1 f33"/>
                <a:gd name="f66" fmla="*/ f5 1 f34"/>
                <a:gd name="f67" fmla="*/ f7 1 f34"/>
                <a:gd name="f68" fmla="+- f49 0 f1"/>
                <a:gd name="f69" fmla="*/ f50 1 f33"/>
                <a:gd name="f70" fmla="*/ f51 1 f34"/>
                <a:gd name="f71" fmla="*/ f52 1 f33"/>
                <a:gd name="f72" fmla="*/ f53 1 f34"/>
                <a:gd name="f73" fmla="*/ f54 1 f33"/>
                <a:gd name="f74" fmla="*/ f55 1 f34"/>
                <a:gd name="f75" fmla="*/ f56 1 f33"/>
                <a:gd name="f76" fmla="*/ f57 1 f34"/>
                <a:gd name="f77" fmla="*/ f58 1 f34"/>
                <a:gd name="f78" fmla="*/ f59 1 f33"/>
                <a:gd name="f79" fmla="*/ f60 1 f34"/>
                <a:gd name="f80" fmla="*/ f61 1 f33"/>
                <a:gd name="f81" fmla="*/ f62 1 f34"/>
                <a:gd name="f82" fmla="*/ f63 1 f34"/>
                <a:gd name="f83" fmla="*/ f64 f28 1"/>
                <a:gd name="f84" fmla="*/ f65 f28 1"/>
                <a:gd name="f85" fmla="*/ f67 f29 1"/>
                <a:gd name="f86" fmla="*/ f66 f29 1"/>
                <a:gd name="f87" fmla="*/ f69 f28 1"/>
                <a:gd name="f88" fmla="*/ f70 f29 1"/>
                <a:gd name="f89" fmla="*/ f71 f28 1"/>
                <a:gd name="f90" fmla="*/ f72 f29 1"/>
                <a:gd name="f91" fmla="*/ f73 f28 1"/>
                <a:gd name="f92" fmla="*/ f74 f29 1"/>
                <a:gd name="f93" fmla="*/ f75 f28 1"/>
                <a:gd name="f94" fmla="*/ f76 f29 1"/>
                <a:gd name="f95" fmla="*/ f77 f29 1"/>
                <a:gd name="f96" fmla="*/ f78 f28 1"/>
                <a:gd name="f97" fmla="*/ f79 f29 1"/>
                <a:gd name="f98" fmla="*/ f80 f28 1"/>
                <a:gd name="f99" fmla="*/ f81 f29 1"/>
                <a:gd name="f100" fmla="*/ f82 f29 1"/>
              </a:gdLst>
              <a:ahLst/>
              <a:cxnLst>
                <a:cxn ang="3cd4">
                  <a:pos x="hc" y="t"/>
                </a:cxn>
                <a:cxn ang="0">
                  <a:pos x="r" y="vc"/>
                </a:cxn>
                <a:cxn ang="cd4">
                  <a:pos x="hc" y="b"/>
                </a:cxn>
                <a:cxn ang="cd2">
                  <a:pos x="l" y="vc"/>
                </a:cxn>
                <a:cxn ang="f68">
                  <a:pos x="f87" y="f88"/>
                </a:cxn>
                <a:cxn ang="f68">
                  <a:pos x="f89" y="f90"/>
                </a:cxn>
                <a:cxn ang="f68">
                  <a:pos x="f91" y="f92"/>
                </a:cxn>
                <a:cxn ang="f68">
                  <a:pos x="f93" y="f94"/>
                </a:cxn>
                <a:cxn ang="f68">
                  <a:pos x="f93" y="f95"/>
                </a:cxn>
                <a:cxn ang="f68">
                  <a:pos x="f96" y="f97"/>
                </a:cxn>
                <a:cxn ang="f68">
                  <a:pos x="f98" y="f99"/>
                </a:cxn>
                <a:cxn ang="f68">
                  <a:pos x="f87" y="f100"/>
                </a:cxn>
              </a:cxnLst>
              <a:rect l="f83" t="f86" r="f84" b="f85"/>
              <a:pathLst>
                <a:path w="2807368" h="600807">
                  <a:moveTo>
                    <a:pt x="f5" y="f5"/>
                  </a:moveTo>
                  <a:lnTo>
                    <a:pt x="f8" y="f9"/>
                  </a:lnTo>
                  <a:cubicBezTo>
                    <a:pt x="f10" y="f11"/>
                    <a:pt x="f12" y="f13"/>
                    <a:pt x="f14" y="f15"/>
                  </a:cubicBezTo>
                  <a:lnTo>
                    <a:pt x="f6" y="f16"/>
                  </a:lnTo>
                  <a:lnTo>
                    <a:pt x="f6" y="f17"/>
                  </a:lnTo>
                  <a:lnTo>
                    <a:pt x="f18" y="f19"/>
                  </a:lnTo>
                  <a:cubicBezTo>
                    <a:pt x="f20" y="f21"/>
                    <a:pt x="f22" y="f23"/>
                    <a:pt x="f24" y="f25"/>
                  </a:cubicBezTo>
                  <a:lnTo>
                    <a:pt x="f5" y="f26"/>
                  </a:ln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Freeform 19">
              <a:extLst>
                <a:ext uri="{FF2B5EF4-FFF2-40B4-BE49-F238E27FC236}">
                  <a16:creationId xmlns:a16="http://schemas.microsoft.com/office/drawing/2014/main" id="{0399A99A-9F65-52EB-2F95-CA072C9FC057}"/>
                </a:ext>
              </a:extLst>
            </p:cNvPr>
            <p:cNvSpPr/>
            <p:nvPr/>
          </p:nvSpPr>
          <p:spPr>
            <a:xfrm>
              <a:off x="0" y="5379424"/>
              <a:ext cx="2807363" cy="649800"/>
            </a:xfrm>
            <a:custGeom>
              <a:avLst/>
              <a:gdLst>
                <a:gd name="f0" fmla="val 10800000"/>
                <a:gd name="f1" fmla="val 5400000"/>
                <a:gd name="f2" fmla="val 180"/>
                <a:gd name="f3" fmla="val w"/>
                <a:gd name="f4" fmla="val h"/>
                <a:gd name="f5" fmla="val 0"/>
                <a:gd name="f6" fmla="val 2807368"/>
                <a:gd name="f7" fmla="val 649803"/>
                <a:gd name="f8" fmla="val 282676"/>
                <a:gd name="f9" fmla="val 70799"/>
                <a:gd name="f10" fmla="val 435964"/>
                <a:gd name="f11" fmla="val 106085"/>
                <a:gd name="f12" fmla="val 588770"/>
                <a:gd name="f13" fmla="val 137629"/>
                <a:gd name="f14" fmla="val 740881"/>
                <a:gd name="f15" fmla="val 163828"/>
                <a:gd name="f16" fmla="val 1362800"/>
                <a:gd name="f17" fmla="val 270912"/>
                <a:gd name="f18" fmla="val 2067879"/>
                <a:gd name="f19" fmla="val 253759"/>
                <a:gd name="f20" fmla="val 2706471"/>
                <a:gd name="f21" fmla="val 96397"/>
                <a:gd name="f22" fmla="val 67250"/>
                <a:gd name="f23" fmla="val 605551"/>
                <a:gd name="f24" fmla="val 2602685"/>
                <a:gd name="f25" fmla="val 629466"/>
                <a:gd name="f26" fmla="val 1684237"/>
                <a:gd name="f27" fmla="val 708219"/>
                <a:gd name="f28" fmla="val 893252"/>
                <a:gd name="f29" fmla="val 549395"/>
                <a:gd name="f30" fmla="val 105614"/>
                <a:gd name="f31" fmla="val 305882"/>
                <a:gd name="f32" fmla="val 271926"/>
                <a:gd name="f33" fmla="+- 0 0 -90"/>
                <a:gd name="f34" fmla="*/ f3 1 2807368"/>
                <a:gd name="f35" fmla="*/ f4 1 649803"/>
                <a:gd name="f36" fmla="+- f7 0 f5"/>
                <a:gd name="f37" fmla="+- f6 0 f5"/>
                <a:gd name="f38" fmla="*/ f33 f0 1"/>
                <a:gd name="f39" fmla="*/ f37 1 2807368"/>
                <a:gd name="f40" fmla="*/ f36 1 649803"/>
                <a:gd name="f41" fmla="*/ 0 f37 1"/>
                <a:gd name="f42" fmla="*/ 0 f36 1"/>
                <a:gd name="f43" fmla="*/ 282676 f37 1"/>
                <a:gd name="f44" fmla="*/ 70799 f36 1"/>
                <a:gd name="f45" fmla="*/ 740881 f37 1"/>
                <a:gd name="f46" fmla="*/ 163828 f36 1"/>
                <a:gd name="f47" fmla="*/ 2706471 f37 1"/>
                <a:gd name="f48" fmla="*/ 96397 f36 1"/>
                <a:gd name="f49" fmla="*/ 2807368 f37 1"/>
                <a:gd name="f50" fmla="*/ 67250 f36 1"/>
                <a:gd name="f51" fmla="*/ 605551 f36 1"/>
                <a:gd name="f52" fmla="*/ 2602685 f37 1"/>
                <a:gd name="f53" fmla="*/ 629466 f36 1"/>
                <a:gd name="f54" fmla="*/ 105614 f37 1"/>
                <a:gd name="f55" fmla="*/ 305882 f36 1"/>
                <a:gd name="f56" fmla="*/ 271926 f36 1"/>
                <a:gd name="f57" fmla="*/ f38 1 f2"/>
                <a:gd name="f58" fmla="*/ f41 1 2807368"/>
                <a:gd name="f59" fmla="*/ f42 1 649803"/>
                <a:gd name="f60" fmla="*/ f43 1 2807368"/>
                <a:gd name="f61" fmla="*/ f44 1 649803"/>
                <a:gd name="f62" fmla="*/ f45 1 2807368"/>
                <a:gd name="f63" fmla="*/ f46 1 649803"/>
                <a:gd name="f64" fmla="*/ f47 1 2807368"/>
                <a:gd name="f65" fmla="*/ f48 1 649803"/>
                <a:gd name="f66" fmla="*/ f49 1 2807368"/>
                <a:gd name="f67" fmla="*/ f50 1 649803"/>
                <a:gd name="f68" fmla="*/ f51 1 649803"/>
                <a:gd name="f69" fmla="*/ f52 1 2807368"/>
                <a:gd name="f70" fmla="*/ f53 1 649803"/>
                <a:gd name="f71" fmla="*/ f54 1 2807368"/>
                <a:gd name="f72" fmla="*/ f55 1 649803"/>
                <a:gd name="f73" fmla="*/ f56 1 649803"/>
                <a:gd name="f74" fmla="*/ f5 1 f39"/>
                <a:gd name="f75" fmla="*/ f6 1 f39"/>
                <a:gd name="f76" fmla="*/ f5 1 f40"/>
                <a:gd name="f77" fmla="*/ f7 1 f40"/>
                <a:gd name="f78" fmla="+- f57 0 f1"/>
                <a:gd name="f79" fmla="*/ f58 1 f39"/>
                <a:gd name="f80" fmla="*/ f59 1 f40"/>
                <a:gd name="f81" fmla="*/ f60 1 f39"/>
                <a:gd name="f82" fmla="*/ f61 1 f40"/>
                <a:gd name="f83" fmla="*/ f62 1 f39"/>
                <a:gd name="f84" fmla="*/ f63 1 f40"/>
                <a:gd name="f85" fmla="*/ f64 1 f39"/>
                <a:gd name="f86" fmla="*/ f65 1 f40"/>
                <a:gd name="f87" fmla="*/ f66 1 f39"/>
                <a:gd name="f88" fmla="*/ f67 1 f40"/>
                <a:gd name="f89" fmla="*/ f68 1 f40"/>
                <a:gd name="f90" fmla="*/ f69 1 f39"/>
                <a:gd name="f91" fmla="*/ f70 1 f40"/>
                <a:gd name="f92" fmla="*/ f71 1 f39"/>
                <a:gd name="f93" fmla="*/ f72 1 f40"/>
                <a:gd name="f94" fmla="*/ f73 1 f40"/>
                <a:gd name="f95" fmla="*/ f74 f34 1"/>
                <a:gd name="f96" fmla="*/ f75 f34 1"/>
                <a:gd name="f97" fmla="*/ f77 f35 1"/>
                <a:gd name="f98" fmla="*/ f76 f35 1"/>
                <a:gd name="f99" fmla="*/ f79 f34 1"/>
                <a:gd name="f100" fmla="*/ f80 f35 1"/>
                <a:gd name="f101" fmla="*/ f81 f34 1"/>
                <a:gd name="f102" fmla="*/ f82 f35 1"/>
                <a:gd name="f103" fmla="*/ f83 f34 1"/>
                <a:gd name="f104" fmla="*/ f84 f35 1"/>
                <a:gd name="f105" fmla="*/ f85 f34 1"/>
                <a:gd name="f106" fmla="*/ f86 f35 1"/>
                <a:gd name="f107" fmla="*/ f87 f34 1"/>
                <a:gd name="f108" fmla="*/ f88 f35 1"/>
                <a:gd name="f109" fmla="*/ f89 f35 1"/>
                <a:gd name="f110" fmla="*/ f90 f34 1"/>
                <a:gd name="f111" fmla="*/ f91 f35 1"/>
                <a:gd name="f112" fmla="*/ f92 f34 1"/>
                <a:gd name="f113" fmla="*/ f93 f35 1"/>
                <a:gd name="f114" fmla="*/ f94 f35 1"/>
              </a:gdLst>
              <a:ahLst/>
              <a:cxnLst>
                <a:cxn ang="3cd4">
                  <a:pos x="hc" y="t"/>
                </a:cxn>
                <a:cxn ang="0">
                  <a:pos x="r" y="vc"/>
                </a:cxn>
                <a:cxn ang="cd4">
                  <a:pos x="hc" y="b"/>
                </a:cxn>
                <a:cxn ang="cd2">
                  <a:pos x="l" y="vc"/>
                </a:cxn>
                <a:cxn ang="f78">
                  <a:pos x="f99" y="f100"/>
                </a:cxn>
                <a:cxn ang="f78">
                  <a:pos x="f101" y="f102"/>
                </a:cxn>
                <a:cxn ang="f78">
                  <a:pos x="f103" y="f104"/>
                </a:cxn>
                <a:cxn ang="f78">
                  <a:pos x="f105" y="f106"/>
                </a:cxn>
                <a:cxn ang="f78">
                  <a:pos x="f107" y="f108"/>
                </a:cxn>
                <a:cxn ang="f78">
                  <a:pos x="f107" y="f109"/>
                </a:cxn>
                <a:cxn ang="f78">
                  <a:pos x="f110" y="f111"/>
                </a:cxn>
                <a:cxn ang="f78">
                  <a:pos x="f112" y="f113"/>
                </a:cxn>
                <a:cxn ang="f78">
                  <a:pos x="f99" y="f114"/>
                </a:cxn>
              </a:cxnLst>
              <a:rect l="f95" t="f98" r="f96" b="f97"/>
              <a:pathLst>
                <a:path w="2807368" h="649803">
                  <a:moveTo>
                    <a:pt x="f5" y="f5"/>
                  </a:moveTo>
                  <a:lnTo>
                    <a:pt x="f8" y="f9"/>
                  </a:lnTo>
                  <a:cubicBezTo>
                    <a:pt x="f10" y="f11"/>
                    <a:pt x="f12" y="f13"/>
                    <a:pt x="f14" y="f15"/>
                  </a:cubicBezTo>
                  <a:cubicBezTo>
                    <a:pt x="f16" y="f17"/>
                    <a:pt x="f18" y="f19"/>
                    <a:pt x="f20" y="f21"/>
                  </a:cubicBezTo>
                  <a:lnTo>
                    <a:pt x="f6" y="f22"/>
                  </a:lnTo>
                  <a:lnTo>
                    <a:pt x="f6" y="f23"/>
                  </a:lnTo>
                  <a:lnTo>
                    <a:pt x="f24" y="f25"/>
                  </a:lnTo>
                  <a:cubicBezTo>
                    <a:pt x="f26" y="f27"/>
                    <a:pt x="f28" y="f29"/>
                    <a:pt x="f30" y="f31"/>
                  </a:cubicBezTo>
                  <a:lnTo>
                    <a:pt x="f5" y="f32"/>
                  </a:ln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grpSp>
      <p:sp>
        <p:nvSpPr>
          <p:cNvPr id="7" name="Picture Placeholder 6">
            <a:extLst>
              <a:ext uri="{FF2B5EF4-FFF2-40B4-BE49-F238E27FC236}">
                <a16:creationId xmlns:a16="http://schemas.microsoft.com/office/drawing/2014/main" id="{37D11633-4393-6380-A46F-9171FF52C7DB}"/>
              </a:ext>
            </a:extLst>
          </p:cNvPr>
          <p:cNvSpPr txBox="1">
            <a:spLocks noGrp="1"/>
          </p:cNvSpPr>
          <p:nvPr>
            <p:ph type="pic" idx="4294967295"/>
          </p:nvPr>
        </p:nvSpPr>
        <p:spPr>
          <a:xfrm>
            <a:off x="2807363" y="457200"/>
            <a:ext cx="8915400" cy="5943600"/>
          </a:xfrm>
        </p:spPr>
        <p:txBody>
          <a:bodyPr/>
          <a:lstStyle>
            <a:lvl1pPr>
              <a:defRPr/>
            </a:lvl1pPr>
          </a:lstStyle>
          <a:p>
            <a:pPr lvl="0"/>
            <a:endParaRPr lang="en-US"/>
          </a:p>
        </p:txBody>
      </p:sp>
      <p:pic>
        <p:nvPicPr>
          <p:cNvPr id="8" name="Picture 14">
            <a:extLst>
              <a:ext uri="{FF2B5EF4-FFF2-40B4-BE49-F238E27FC236}">
                <a16:creationId xmlns:a16="http://schemas.microsoft.com/office/drawing/2014/main" id="{E78CF002-1339-9695-657A-AB6188A9AF9A}"/>
              </a:ext>
            </a:extLst>
          </p:cNvPr>
          <p:cNvPicPr>
            <a:picLocks noChangeAspect="1"/>
          </p:cNvPicPr>
          <p:nvPr/>
        </p:nvPicPr>
        <p:blipFill>
          <a:blip r:embed="rId2"/>
          <a:srcRect/>
          <a:stretch>
            <a:fillRect/>
          </a:stretch>
        </p:blipFill>
        <p:spPr>
          <a:xfrm>
            <a:off x="513354" y="4385535"/>
            <a:ext cx="2025313" cy="911940"/>
          </a:xfrm>
          <a:prstGeom prst="rect">
            <a:avLst/>
          </a:prstGeom>
          <a:noFill/>
          <a:ln cap="flat">
            <a:noFill/>
          </a:ln>
        </p:spPr>
      </p:pic>
    </p:spTree>
    <p:extLst>
      <p:ext uri="{BB962C8B-B14F-4D97-AF65-F5344CB8AC3E}">
        <p14:creationId xmlns:p14="http://schemas.microsoft.com/office/powerpoint/2010/main" val="3124645229"/>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5_End">
    <p:spTree>
      <p:nvGrpSpPr>
        <p:cNvPr id="1" name=""/>
        <p:cNvGrpSpPr/>
        <p:nvPr/>
      </p:nvGrpSpPr>
      <p:grpSpPr>
        <a:xfrm>
          <a:off x="0" y="0"/>
          <a:ext cx="0" cy="0"/>
          <a:chOff x="0" y="0"/>
          <a:chExt cx="0" cy="0"/>
        </a:xfrm>
      </p:grpSpPr>
      <p:grpSp>
        <p:nvGrpSpPr>
          <p:cNvPr id="2" name="Group 41">
            <a:extLst>
              <a:ext uri="{FF2B5EF4-FFF2-40B4-BE49-F238E27FC236}">
                <a16:creationId xmlns:a16="http://schemas.microsoft.com/office/drawing/2014/main" id="{705C9D6F-4631-C93B-EC00-4130D872D19A}"/>
              </a:ext>
            </a:extLst>
          </p:cNvPr>
          <p:cNvGrpSpPr/>
          <p:nvPr/>
        </p:nvGrpSpPr>
        <p:grpSpPr>
          <a:xfrm>
            <a:off x="0" y="0"/>
            <a:ext cx="12191996" cy="2148830"/>
            <a:chOff x="0" y="0"/>
            <a:chExt cx="12191996" cy="2148830"/>
          </a:xfrm>
        </p:grpSpPr>
        <p:sp>
          <p:nvSpPr>
            <p:cNvPr id="3" name="Freeform 40">
              <a:extLst>
                <a:ext uri="{FF2B5EF4-FFF2-40B4-BE49-F238E27FC236}">
                  <a16:creationId xmlns:a16="http://schemas.microsoft.com/office/drawing/2014/main" id="{CC70AB23-6455-ADD3-5365-9DE12EE3507F}"/>
                </a:ext>
              </a:extLst>
            </p:cNvPr>
            <p:cNvSpPr/>
            <p:nvPr/>
          </p:nvSpPr>
          <p:spPr>
            <a:xfrm flipH="1">
              <a:off x="0" y="0"/>
              <a:ext cx="12191996" cy="2148830"/>
            </a:xfrm>
            <a:custGeom>
              <a:avLst/>
              <a:gdLst>
                <a:gd name="f0" fmla="val 10800000"/>
                <a:gd name="f1" fmla="val 5400000"/>
                <a:gd name="f2" fmla="val 180"/>
                <a:gd name="f3" fmla="val w"/>
                <a:gd name="f4" fmla="val h"/>
                <a:gd name="f5" fmla="val 0"/>
                <a:gd name="f6" fmla="val 12192000"/>
                <a:gd name="f7" fmla="val 2148830"/>
                <a:gd name="f8" fmla="val 2318293"/>
                <a:gd name="f9" fmla="val 2110341"/>
                <a:gd name="f10" fmla="val 1952334"/>
                <a:gd name="f11" fmla="val 920"/>
                <a:gd name="f12" fmla="val 1343499"/>
                <a:gd name="f13" fmla="val 23864"/>
                <a:gd name="f14" fmla="val 752130"/>
                <a:gd name="f15" fmla="val 152982"/>
                <a:gd name="f16" fmla="val 184205"/>
                <a:gd name="f17" fmla="val 435928"/>
                <a:gd name="f18" fmla="val 536864"/>
                <a:gd name="f19" fmla="val 554713"/>
                <a:gd name="f20" fmla="val 201115"/>
                <a:gd name="f21" fmla="val 452796"/>
                <a:gd name="f22" fmla="val 776357"/>
                <a:gd name="f23" fmla="val 187336"/>
                <a:gd name="f24" fmla="val 1349828"/>
                <a:gd name="f25" fmla="val 76760"/>
                <a:gd name="f26" fmla="val 1947588"/>
                <a:gd name="f27" fmla="val 66249"/>
                <a:gd name="f28" fmla="val 2962940"/>
                <a:gd name="f29" fmla="val 48421"/>
                <a:gd name="f30" fmla="val 3890218"/>
                <a:gd name="f31" fmla="val 291317"/>
                <a:gd name="f32" fmla="val 4778140"/>
                <a:gd name="f33" fmla="val 604018"/>
                <a:gd name="f34" fmla="val 7231510"/>
                <a:gd name="f35" fmla="val 1468126"/>
                <a:gd name="f36" fmla="val 9178927"/>
                <a:gd name="f37" fmla="val 2492024"/>
                <a:gd name="f38" fmla="val 11996242"/>
                <a:gd name="f39" fmla="val 2036894"/>
                <a:gd name="f40" fmla="val 2002266"/>
                <a:gd name="f41" fmla="val 1415250"/>
                <a:gd name="f42" fmla="val 12022971"/>
                <a:gd name="f43" fmla="val 1470801"/>
                <a:gd name="f44" fmla="val 10719696"/>
                <a:gd name="f45" fmla="val 1863939"/>
                <a:gd name="f46" fmla="val 9271154"/>
                <a:gd name="f47" fmla="val 1783804"/>
                <a:gd name="f48" fmla="val 7970940"/>
                <a:gd name="f49" fmla="val 1436986"/>
                <a:gd name="f50" fmla="val 6890984"/>
                <a:gd name="f51" fmla="val 1148958"/>
                <a:gd name="f52" fmla="val 5866930"/>
                <a:gd name="f53" fmla="val 767309"/>
                <a:gd name="f54" fmla="val 4800356"/>
                <a:gd name="f55" fmla="val 456582"/>
                <a:gd name="f56" fmla="val 4068903"/>
                <a:gd name="f57" fmla="val 243471"/>
                <a:gd name="f58" fmla="val 3348204"/>
                <a:gd name="f59" fmla="val 74251"/>
                <a:gd name="f60" fmla="val 2646880"/>
                <a:gd name="f61" fmla="val 17560"/>
                <a:gd name="f62" fmla="+- 0 0 -90"/>
                <a:gd name="f63" fmla="*/ f3 1 12192000"/>
                <a:gd name="f64" fmla="*/ f4 1 2148830"/>
                <a:gd name="f65" fmla="+- f7 0 f5"/>
                <a:gd name="f66" fmla="+- f6 0 f5"/>
                <a:gd name="f67" fmla="*/ f62 f0 1"/>
                <a:gd name="f68" fmla="*/ f66 1 12192000"/>
                <a:gd name="f69" fmla="*/ f65 1 2148830"/>
                <a:gd name="f70" fmla="*/ 2318293 f66 1"/>
                <a:gd name="f71" fmla="*/ 0 f65 1"/>
                <a:gd name="f72" fmla="*/ 2110341 f66 1"/>
                <a:gd name="f73" fmla="*/ 1952334 f66 1"/>
                <a:gd name="f74" fmla="*/ 920 f65 1"/>
                <a:gd name="f75" fmla="*/ 184205 f66 1"/>
                <a:gd name="f76" fmla="*/ 435928 f65 1"/>
                <a:gd name="f77" fmla="*/ 0 f66 1"/>
                <a:gd name="f78" fmla="*/ 536864 f65 1"/>
                <a:gd name="f79" fmla="*/ 554713 f65 1"/>
                <a:gd name="f80" fmla="*/ 201115 f66 1"/>
                <a:gd name="f81" fmla="*/ 452796 f65 1"/>
                <a:gd name="f82" fmla="*/ 1947588 f66 1"/>
                <a:gd name="f83" fmla="*/ 66249 f65 1"/>
                <a:gd name="f84" fmla="*/ 4778140 f66 1"/>
                <a:gd name="f85" fmla="*/ 604018 f65 1"/>
                <a:gd name="f86" fmla="*/ 11996242 f66 1"/>
                <a:gd name="f87" fmla="*/ 2036894 f65 1"/>
                <a:gd name="f88" fmla="*/ 12192000 f66 1"/>
                <a:gd name="f89" fmla="*/ 2002266 f65 1"/>
                <a:gd name="f90" fmla="*/ 1415250 f65 1"/>
                <a:gd name="f91" fmla="*/ 12022971 f66 1"/>
                <a:gd name="f92" fmla="*/ 1470801 f65 1"/>
                <a:gd name="f93" fmla="*/ 7970940 f66 1"/>
                <a:gd name="f94" fmla="*/ 1436986 f65 1"/>
                <a:gd name="f95" fmla="*/ 4800356 f66 1"/>
                <a:gd name="f96" fmla="*/ 456582 f65 1"/>
                <a:gd name="f97" fmla="*/ 2646880 f66 1"/>
                <a:gd name="f98" fmla="*/ 17560 f65 1"/>
                <a:gd name="f99" fmla="*/ f67 1 f2"/>
                <a:gd name="f100" fmla="*/ f70 1 12192000"/>
                <a:gd name="f101" fmla="*/ f71 1 2148830"/>
                <a:gd name="f102" fmla="*/ f72 1 12192000"/>
                <a:gd name="f103" fmla="*/ f73 1 12192000"/>
                <a:gd name="f104" fmla="*/ f74 1 2148830"/>
                <a:gd name="f105" fmla="*/ f75 1 12192000"/>
                <a:gd name="f106" fmla="*/ f76 1 2148830"/>
                <a:gd name="f107" fmla="*/ f77 1 12192000"/>
                <a:gd name="f108" fmla="*/ f78 1 2148830"/>
                <a:gd name="f109" fmla="*/ f79 1 2148830"/>
                <a:gd name="f110" fmla="*/ f80 1 12192000"/>
                <a:gd name="f111" fmla="*/ f81 1 2148830"/>
                <a:gd name="f112" fmla="*/ f82 1 12192000"/>
                <a:gd name="f113" fmla="*/ f83 1 2148830"/>
                <a:gd name="f114" fmla="*/ f84 1 12192000"/>
                <a:gd name="f115" fmla="*/ f85 1 2148830"/>
                <a:gd name="f116" fmla="*/ f86 1 12192000"/>
                <a:gd name="f117" fmla="*/ f87 1 2148830"/>
                <a:gd name="f118" fmla="*/ f88 1 12192000"/>
                <a:gd name="f119" fmla="*/ f89 1 2148830"/>
                <a:gd name="f120" fmla="*/ f90 1 2148830"/>
                <a:gd name="f121" fmla="*/ f91 1 12192000"/>
                <a:gd name="f122" fmla="*/ f92 1 2148830"/>
                <a:gd name="f123" fmla="*/ f93 1 12192000"/>
                <a:gd name="f124" fmla="*/ f94 1 2148830"/>
                <a:gd name="f125" fmla="*/ f95 1 12192000"/>
                <a:gd name="f126" fmla="*/ f96 1 2148830"/>
                <a:gd name="f127" fmla="*/ f97 1 12192000"/>
                <a:gd name="f128" fmla="*/ f98 1 2148830"/>
                <a:gd name="f129" fmla="*/ f5 1 f68"/>
                <a:gd name="f130" fmla="*/ f6 1 f68"/>
                <a:gd name="f131" fmla="*/ f5 1 f69"/>
                <a:gd name="f132" fmla="*/ f7 1 f69"/>
                <a:gd name="f133" fmla="+- f99 0 f1"/>
                <a:gd name="f134" fmla="*/ f100 1 f68"/>
                <a:gd name="f135" fmla="*/ f101 1 f69"/>
                <a:gd name="f136" fmla="*/ f102 1 f68"/>
                <a:gd name="f137" fmla="*/ f103 1 f68"/>
                <a:gd name="f138" fmla="*/ f104 1 f69"/>
                <a:gd name="f139" fmla="*/ f105 1 f68"/>
                <a:gd name="f140" fmla="*/ f106 1 f69"/>
                <a:gd name="f141" fmla="*/ f107 1 f68"/>
                <a:gd name="f142" fmla="*/ f108 1 f69"/>
                <a:gd name="f143" fmla="*/ f109 1 f69"/>
                <a:gd name="f144" fmla="*/ f110 1 f68"/>
                <a:gd name="f145" fmla="*/ f111 1 f69"/>
                <a:gd name="f146" fmla="*/ f112 1 f68"/>
                <a:gd name="f147" fmla="*/ f113 1 f69"/>
                <a:gd name="f148" fmla="*/ f114 1 f68"/>
                <a:gd name="f149" fmla="*/ f115 1 f69"/>
                <a:gd name="f150" fmla="*/ f116 1 f68"/>
                <a:gd name="f151" fmla="*/ f117 1 f69"/>
                <a:gd name="f152" fmla="*/ f118 1 f68"/>
                <a:gd name="f153" fmla="*/ f119 1 f69"/>
                <a:gd name="f154" fmla="*/ f120 1 f69"/>
                <a:gd name="f155" fmla="*/ f121 1 f68"/>
                <a:gd name="f156" fmla="*/ f122 1 f69"/>
                <a:gd name="f157" fmla="*/ f123 1 f68"/>
                <a:gd name="f158" fmla="*/ f124 1 f69"/>
                <a:gd name="f159" fmla="*/ f125 1 f68"/>
                <a:gd name="f160" fmla="*/ f126 1 f69"/>
                <a:gd name="f161" fmla="*/ f127 1 f68"/>
                <a:gd name="f162" fmla="*/ f128 1 f69"/>
                <a:gd name="f163" fmla="*/ f129 f63 1"/>
                <a:gd name="f164" fmla="*/ f130 f63 1"/>
                <a:gd name="f165" fmla="*/ f132 f64 1"/>
                <a:gd name="f166" fmla="*/ f131 f64 1"/>
                <a:gd name="f167" fmla="*/ f134 f63 1"/>
                <a:gd name="f168" fmla="*/ f135 f64 1"/>
                <a:gd name="f169" fmla="*/ f136 f63 1"/>
                <a:gd name="f170" fmla="*/ f137 f63 1"/>
                <a:gd name="f171" fmla="*/ f138 f64 1"/>
                <a:gd name="f172" fmla="*/ f139 f63 1"/>
                <a:gd name="f173" fmla="*/ f140 f64 1"/>
                <a:gd name="f174" fmla="*/ f141 f63 1"/>
                <a:gd name="f175" fmla="*/ f142 f64 1"/>
                <a:gd name="f176" fmla="*/ f143 f64 1"/>
                <a:gd name="f177" fmla="*/ f144 f63 1"/>
                <a:gd name="f178" fmla="*/ f145 f64 1"/>
                <a:gd name="f179" fmla="*/ f146 f63 1"/>
                <a:gd name="f180" fmla="*/ f147 f64 1"/>
                <a:gd name="f181" fmla="*/ f148 f63 1"/>
                <a:gd name="f182" fmla="*/ f149 f64 1"/>
                <a:gd name="f183" fmla="*/ f150 f63 1"/>
                <a:gd name="f184" fmla="*/ f151 f64 1"/>
                <a:gd name="f185" fmla="*/ f152 f63 1"/>
                <a:gd name="f186" fmla="*/ f153 f64 1"/>
                <a:gd name="f187" fmla="*/ f154 f64 1"/>
                <a:gd name="f188" fmla="*/ f155 f63 1"/>
                <a:gd name="f189" fmla="*/ f156 f64 1"/>
                <a:gd name="f190" fmla="*/ f157 f63 1"/>
                <a:gd name="f191" fmla="*/ f158 f64 1"/>
                <a:gd name="f192" fmla="*/ f159 f63 1"/>
                <a:gd name="f193" fmla="*/ f160 f64 1"/>
                <a:gd name="f194" fmla="*/ f161 f63 1"/>
                <a:gd name="f195" fmla="*/ f162 f64 1"/>
              </a:gdLst>
              <a:ahLst/>
              <a:cxnLst>
                <a:cxn ang="3cd4">
                  <a:pos x="hc" y="t"/>
                </a:cxn>
                <a:cxn ang="0">
                  <a:pos x="r" y="vc"/>
                </a:cxn>
                <a:cxn ang="cd4">
                  <a:pos x="hc" y="b"/>
                </a:cxn>
                <a:cxn ang="cd2">
                  <a:pos x="l" y="vc"/>
                </a:cxn>
                <a:cxn ang="f133">
                  <a:pos x="f167" y="f168"/>
                </a:cxn>
                <a:cxn ang="f133">
                  <a:pos x="f169" y="f168"/>
                </a:cxn>
                <a:cxn ang="f133">
                  <a:pos x="f170" y="f171"/>
                </a:cxn>
                <a:cxn ang="f133">
                  <a:pos x="f172" y="f173"/>
                </a:cxn>
                <a:cxn ang="f133">
                  <a:pos x="f174" y="f175"/>
                </a:cxn>
                <a:cxn ang="f133">
                  <a:pos x="f174" y="f176"/>
                </a:cxn>
                <a:cxn ang="f133">
                  <a:pos x="f177" y="f178"/>
                </a:cxn>
                <a:cxn ang="f133">
                  <a:pos x="f179" y="f180"/>
                </a:cxn>
                <a:cxn ang="f133">
                  <a:pos x="f181" y="f182"/>
                </a:cxn>
                <a:cxn ang="f133">
                  <a:pos x="f183" y="f184"/>
                </a:cxn>
                <a:cxn ang="f133">
                  <a:pos x="f185" y="f186"/>
                </a:cxn>
                <a:cxn ang="f133">
                  <a:pos x="f185" y="f187"/>
                </a:cxn>
                <a:cxn ang="f133">
                  <a:pos x="f188" y="f189"/>
                </a:cxn>
                <a:cxn ang="f133">
                  <a:pos x="f190" y="f191"/>
                </a:cxn>
                <a:cxn ang="f133">
                  <a:pos x="f192" y="f193"/>
                </a:cxn>
                <a:cxn ang="f133">
                  <a:pos x="f194" y="f195"/>
                </a:cxn>
              </a:cxnLst>
              <a:rect l="f163" t="f166" r="f164" b="f165"/>
              <a:pathLst>
                <a:path w="12192000" h="2148830">
                  <a:moveTo>
                    <a:pt x="f8" y="f5"/>
                  </a:moveTo>
                  <a:lnTo>
                    <a:pt x="f9" y="f5"/>
                  </a:lnTo>
                  <a:lnTo>
                    <a:pt x="f10" y="f11"/>
                  </a:lnTo>
                  <a:cubicBezTo>
                    <a:pt x="f12" y="f13"/>
                    <a:pt x="f14" y="f15"/>
                    <a:pt x="f16" y="f17"/>
                  </a:cubicBezTo>
                  <a:lnTo>
                    <a:pt x="f5" y="f18"/>
                  </a:lnTo>
                  <a:lnTo>
                    <a:pt x="f5" y="f19"/>
                  </a:lnTo>
                  <a:lnTo>
                    <a:pt x="f20" y="f21"/>
                  </a:lnTo>
                  <a:cubicBezTo>
                    <a:pt x="f22" y="f23"/>
                    <a:pt x="f24" y="f25"/>
                    <a:pt x="f26" y="f27"/>
                  </a:cubicBezTo>
                  <a:cubicBezTo>
                    <a:pt x="f28" y="f29"/>
                    <a:pt x="f30" y="f31"/>
                    <a:pt x="f32" y="f33"/>
                  </a:cubicBezTo>
                  <a:cubicBezTo>
                    <a:pt x="f34" y="f35"/>
                    <a:pt x="f36" y="f37"/>
                    <a:pt x="f38" y="f39"/>
                  </a:cubicBezTo>
                  <a:lnTo>
                    <a:pt x="f6" y="f40"/>
                  </a:lnTo>
                  <a:lnTo>
                    <a:pt x="f6" y="f41"/>
                  </a:lnTo>
                  <a:lnTo>
                    <a:pt x="f42" y="f43"/>
                  </a:lnTo>
                  <a:cubicBezTo>
                    <a:pt x="f44" y="f45"/>
                    <a:pt x="f46" y="f47"/>
                    <a:pt x="f48" y="f49"/>
                  </a:cubicBezTo>
                  <a:cubicBezTo>
                    <a:pt x="f50" y="f51"/>
                    <a:pt x="f52" y="f53"/>
                    <a:pt x="f54" y="f55"/>
                  </a:cubicBezTo>
                  <a:cubicBezTo>
                    <a:pt x="f56" y="f57"/>
                    <a:pt x="f58" y="f59"/>
                    <a:pt x="f60" y="f61"/>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4" name="Freeform 38">
              <a:extLst>
                <a:ext uri="{FF2B5EF4-FFF2-40B4-BE49-F238E27FC236}">
                  <a16:creationId xmlns:a16="http://schemas.microsoft.com/office/drawing/2014/main" id="{8EA2B74D-ACBD-482F-E6E3-1520D20F2567}"/>
                </a:ext>
              </a:extLst>
            </p:cNvPr>
            <p:cNvSpPr/>
            <p:nvPr/>
          </p:nvSpPr>
          <p:spPr>
            <a:xfrm flipH="1">
              <a:off x="0" y="0"/>
              <a:ext cx="12191996" cy="1992139"/>
            </a:xfrm>
            <a:custGeom>
              <a:avLst/>
              <a:gdLst>
                <a:gd name="f0" fmla="val 10800000"/>
                <a:gd name="f1" fmla="val 5400000"/>
                <a:gd name="f2" fmla="val 180"/>
                <a:gd name="f3" fmla="val w"/>
                <a:gd name="f4" fmla="val h"/>
                <a:gd name="f5" fmla="val 0"/>
                <a:gd name="f6" fmla="val 12192000"/>
                <a:gd name="f7" fmla="val 1992138"/>
                <a:gd name="f8" fmla="val 2724271"/>
                <a:gd name="f9" fmla="val 1788442"/>
                <a:gd name="f10" fmla="val 1635403"/>
                <a:gd name="f11" fmla="val 12925"/>
                <a:gd name="f12" fmla="val 1134241"/>
                <a:gd name="f13" fmla="val 70905"/>
                <a:gd name="f14" fmla="val 647221"/>
                <a:gd name="f15" fmla="val 207817"/>
                <a:gd name="f16" fmla="val 178220"/>
                <a:gd name="f17" fmla="val 451207"/>
                <a:gd name="f18" fmla="val 552718"/>
                <a:gd name="f19" fmla="val 570885"/>
                <a:gd name="f20" fmla="val 195368"/>
                <a:gd name="f21" fmla="val 467800"/>
                <a:gd name="f22" fmla="val 765758"/>
                <a:gd name="f23" fmla="val 193094"/>
                <a:gd name="f24" fmla="val 1336955"/>
                <a:gd name="f25" fmla="val 73179"/>
                <a:gd name="f26" fmla="val 1934073"/>
                <a:gd name="f27" fmla="val 52850"/>
                <a:gd name="f28" fmla="val 2948304"/>
                <a:gd name="f29" fmla="val 18310"/>
                <a:gd name="f30" fmla="val 3878878"/>
                <a:gd name="f31" fmla="val 245747"/>
                <a:gd name="f32" fmla="val 4771217"/>
                <a:gd name="f33" fmla="val 543645"/>
                <a:gd name="f34" fmla="val 7236913"/>
                <a:gd name="f35" fmla="val 1366709"/>
                <a:gd name="f36" fmla="val 9199689"/>
                <a:gd name="f37" fmla="val 2357774"/>
                <a:gd name="f38" fmla="val 12007222"/>
                <a:gd name="f39" fmla="val 1856729"/>
                <a:gd name="f40" fmla="val 1820900"/>
                <a:gd name="f41" fmla="val 897073"/>
                <a:gd name="f42" fmla="val 12062517"/>
                <a:gd name="f43" fmla="val 950128"/>
                <a:gd name="f44" fmla="val 10950292"/>
                <a:gd name="f45" fmla="val 1376478"/>
                <a:gd name="f46" fmla="val 9595706"/>
                <a:gd name="f47" fmla="val 1466451"/>
                <a:gd name="f48" fmla="val 8435105"/>
                <a:gd name="f49" fmla="val 1266613"/>
                <a:gd name="f50" fmla="val 6618389"/>
                <a:gd name="f51" fmla="val 953715"/>
                <a:gd name="f52" fmla="val 4735222"/>
                <a:gd name="f53" fmla="val 130088"/>
                <a:gd name="f54" fmla="val 2948502"/>
                <a:gd name="f55" fmla="val 20548"/>
                <a:gd name="f56" fmla="+- 0 0 -90"/>
                <a:gd name="f57" fmla="*/ f3 1 12192000"/>
                <a:gd name="f58" fmla="*/ f4 1 1992138"/>
                <a:gd name="f59" fmla="+- f7 0 f5"/>
                <a:gd name="f60" fmla="+- f6 0 f5"/>
                <a:gd name="f61" fmla="*/ f56 f0 1"/>
                <a:gd name="f62" fmla="*/ f60 1 12192000"/>
                <a:gd name="f63" fmla="*/ f59 1 1992138"/>
                <a:gd name="f64" fmla="*/ 2724271 f60 1"/>
                <a:gd name="f65" fmla="*/ 0 f59 1"/>
                <a:gd name="f66" fmla="*/ 1788442 f60 1"/>
                <a:gd name="f67" fmla="*/ 1635403 f60 1"/>
                <a:gd name="f68" fmla="*/ 12925 f59 1"/>
                <a:gd name="f69" fmla="*/ 178220 f60 1"/>
                <a:gd name="f70" fmla="*/ 451207 f59 1"/>
                <a:gd name="f71" fmla="*/ 0 f60 1"/>
                <a:gd name="f72" fmla="*/ 552718 f59 1"/>
                <a:gd name="f73" fmla="*/ 570885 f59 1"/>
                <a:gd name="f74" fmla="*/ 195368 f60 1"/>
                <a:gd name="f75" fmla="*/ 467800 f59 1"/>
                <a:gd name="f76" fmla="*/ 1934073 f60 1"/>
                <a:gd name="f77" fmla="*/ 52850 f59 1"/>
                <a:gd name="f78" fmla="*/ 4771217 f60 1"/>
                <a:gd name="f79" fmla="*/ 543645 f59 1"/>
                <a:gd name="f80" fmla="*/ 12007222 f60 1"/>
                <a:gd name="f81" fmla="*/ 1856729 f59 1"/>
                <a:gd name="f82" fmla="*/ 12192000 f60 1"/>
                <a:gd name="f83" fmla="*/ 1820900 f59 1"/>
                <a:gd name="f84" fmla="*/ 897073 f59 1"/>
                <a:gd name="f85" fmla="*/ 12062517 f60 1"/>
                <a:gd name="f86" fmla="*/ 950128 f59 1"/>
                <a:gd name="f87" fmla="*/ 8435105 f60 1"/>
                <a:gd name="f88" fmla="*/ 1266613 f59 1"/>
                <a:gd name="f89" fmla="*/ 2948502 f60 1"/>
                <a:gd name="f90" fmla="*/ 20548 f59 1"/>
                <a:gd name="f91" fmla="*/ f61 1 f2"/>
                <a:gd name="f92" fmla="*/ f64 1 12192000"/>
                <a:gd name="f93" fmla="*/ f65 1 1992138"/>
                <a:gd name="f94" fmla="*/ f66 1 12192000"/>
                <a:gd name="f95" fmla="*/ f67 1 12192000"/>
                <a:gd name="f96" fmla="*/ f68 1 1992138"/>
                <a:gd name="f97" fmla="*/ f69 1 12192000"/>
                <a:gd name="f98" fmla="*/ f70 1 1992138"/>
                <a:gd name="f99" fmla="*/ f71 1 12192000"/>
                <a:gd name="f100" fmla="*/ f72 1 1992138"/>
                <a:gd name="f101" fmla="*/ f73 1 1992138"/>
                <a:gd name="f102" fmla="*/ f74 1 12192000"/>
                <a:gd name="f103" fmla="*/ f75 1 1992138"/>
                <a:gd name="f104" fmla="*/ f76 1 12192000"/>
                <a:gd name="f105" fmla="*/ f77 1 1992138"/>
                <a:gd name="f106" fmla="*/ f78 1 12192000"/>
                <a:gd name="f107" fmla="*/ f79 1 1992138"/>
                <a:gd name="f108" fmla="*/ f80 1 12192000"/>
                <a:gd name="f109" fmla="*/ f81 1 1992138"/>
                <a:gd name="f110" fmla="*/ f82 1 12192000"/>
                <a:gd name="f111" fmla="*/ f83 1 1992138"/>
                <a:gd name="f112" fmla="*/ f84 1 1992138"/>
                <a:gd name="f113" fmla="*/ f85 1 12192000"/>
                <a:gd name="f114" fmla="*/ f86 1 1992138"/>
                <a:gd name="f115" fmla="*/ f87 1 12192000"/>
                <a:gd name="f116" fmla="*/ f88 1 1992138"/>
                <a:gd name="f117" fmla="*/ f89 1 12192000"/>
                <a:gd name="f118" fmla="*/ f90 1 1992138"/>
                <a:gd name="f119" fmla="*/ f5 1 f62"/>
                <a:gd name="f120" fmla="*/ f6 1 f62"/>
                <a:gd name="f121" fmla="*/ f5 1 f63"/>
                <a:gd name="f122" fmla="*/ f7 1 f63"/>
                <a:gd name="f123" fmla="+- f91 0 f1"/>
                <a:gd name="f124" fmla="*/ f92 1 f62"/>
                <a:gd name="f125" fmla="*/ f93 1 f63"/>
                <a:gd name="f126" fmla="*/ f94 1 f62"/>
                <a:gd name="f127" fmla="*/ f95 1 f62"/>
                <a:gd name="f128" fmla="*/ f96 1 f63"/>
                <a:gd name="f129" fmla="*/ f97 1 f62"/>
                <a:gd name="f130" fmla="*/ f98 1 f63"/>
                <a:gd name="f131" fmla="*/ f99 1 f62"/>
                <a:gd name="f132" fmla="*/ f100 1 f63"/>
                <a:gd name="f133" fmla="*/ f101 1 f63"/>
                <a:gd name="f134" fmla="*/ f102 1 f62"/>
                <a:gd name="f135" fmla="*/ f103 1 f63"/>
                <a:gd name="f136" fmla="*/ f104 1 f62"/>
                <a:gd name="f137" fmla="*/ f105 1 f63"/>
                <a:gd name="f138" fmla="*/ f106 1 f62"/>
                <a:gd name="f139" fmla="*/ f107 1 f63"/>
                <a:gd name="f140" fmla="*/ f108 1 f62"/>
                <a:gd name="f141" fmla="*/ f109 1 f63"/>
                <a:gd name="f142" fmla="*/ f110 1 f62"/>
                <a:gd name="f143" fmla="*/ f111 1 f63"/>
                <a:gd name="f144" fmla="*/ f112 1 f63"/>
                <a:gd name="f145" fmla="*/ f113 1 f62"/>
                <a:gd name="f146" fmla="*/ f114 1 f63"/>
                <a:gd name="f147" fmla="*/ f115 1 f62"/>
                <a:gd name="f148" fmla="*/ f116 1 f63"/>
                <a:gd name="f149" fmla="*/ f117 1 f62"/>
                <a:gd name="f150" fmla="*/ f118 1 f63"/>
                <a:gd name="f151" fmla="*/ f119 f57 1"/>
                <a:gd name="f152" fmla="*/ f120 f57 1"/>
                <a:gd name="f153" fmla="*/ f122 f58 1"/>
                <a:gd name="f154" fmla="*/ f121 f58 1"/>
                <a:gd name="f155" fmla="*/ f124 f57 1"/>
                <a:gd name="f156" fmla="*/ f125 f58 1"/>
                <a:gd name="f157" fmla="*/ f126 f57 1"/>
                <a:gd name="f158" fmla="*/ f127 f57 1"/>
                <a:gd name="f159" fmla="*/ f128 f58 1"/>
                <a:gd name="f160" fmla="*/ f129 f57 1"/>
                <a:gd name="f161" fmla="*/ f130 f58 1"/>
                <a:gd name="f162" fmla="*/ f131 f57 1"/>
                <a:gd name="f163" fmla="*/ f132 f58 1"/>
                <a:gd name="f164" fmla="*/ f133 f58 1"/>
                <a:gd name="f165" fmla="*/ f134 f57 1"/>
                <a:gd name="f166" fmla="*/ f135 f58 1"/>
                <a:gd name="f167" fmla="*/ f136 f57 1"/>
                <a:gd name="f168" fmla="*/ f137 f58 1"/>
                <a:gd name="f169" fmla="*/ f138 f57 1"/>
                <a:gd name="f170" fmla="*/ f139 f58 1"/>
                <a:gd name="f171" fmla="*/ f140 f57 1"/>
                <a:gd name="f172" fmla="*/ f141 f58 1"/>
                <a:gd name="f173" fmla="*/ f142 f57 1"/>
                <a:gd name="f174" fmla="*/ f143 f58 1"/>
                <a:gd name="f175" fmla="*/ f144 f58 1"/>
                <a:gd name="f176" fmla="*/ f145 f57 1"/>
                <a:gd name="f177" fmla="*/ f146 f58 1"/>
                <a:gd name="f178" fmla="*/ f147 f57 1"/>
                <a:gd name="f179" fmla="*/ f148 f58 1"/>
                <a:gd name="f180" fmla="*/ f149 f57 1"/>
                <a:gd name="f181" fmla="*/ f150 f58 1"/>
              </a:gdLst>
              <a:ahLst/>
              <a:cxnLst>
                <a:cxn ang="3cd4">
                  <a:pos x="hc" y="t"/>
                </a:cxn>
                <a:cxn ang="0">
                  <a:pos x="r" y="vc"/>
                </a:cxn>
                <a:cxn ang="cd4">
                  <a:pos x="hc" y="b"/>
                </a:cxn>
                <a:cxn ang="cd2">
                  <a:pos x="l" y="vc"/>
                </a:cxn>
                <a:cxn ang="f123">
                  <a:pos x="f155" y="f156"/>
                </a:cxn>
                <a:cxn ang="f123">
                  <a:pos x="f157" y="f156"/>
                </a:cxn>
                <a:cxn ang="f123">
                  <a:pos x="f158" y="f159"/>
                </a:cxn>
                <a:cxn ang="f123">
                  <a:pos x="f160" y="f161"/>
                </a:cxn>
                <a:cxn ang="f123">
                  <a:pos x="f162" y="f163"/>
                </a:cxn>
                <a:cxn ang="f123">
                  <a:pos x="f162" y="f164"/>
                </a:cxn>
                <a:cxn ang="f123">
                  <a:pos x="f165" y="f166"/>
                </a:cxn>
                <a:cxn ang="f123">
                  <a:pos x="f167" y="f168"/>
                </a:cxn>
                <a:cxn ang="f123">
                  <a:pos x="f169" y="f170"/>
                </a:cxn>
                <a:cxn ang="f123">
                  <a:pos x="f171" y="f172"/>
                </a:cxn>
                <a:cxn ang="f123">
                  <a:pos x="f173" y="f174"/>
                </a:cxn>
                <a:cxn ang="f123">
                  <a:pos x="f173" y="f175"/>
                </a:cxn>
                <a:cxn ang="f123">
                  <a:pos x="f176" y="f177"/>
                </a:cxn>
                <a:cxn ang="f123">
                  <a:pos x="f178" y="f179"/>
                </a:cxn>
                <a:cxn ang="f123">
                  <a:pos x="f180" y="f181"/>
                </a:cxn>
              </a:cxnLst>
              <a:rect l="f151" t="f154" r="f152" b="f153"/>
              <a:pathLst>
                <a:path w="12192000" h="1992138">
                  <a:moveTo>
                    <a:pt x="f8" y="f5"/>
                  </a:moveTo>
                  <a:lnTo>
                    <a:pt x="f9" y="f5"/>
                  </a:lnTo>
                  <a:lnTo>
                    <a:pt x="f10" y="f11"/>
                  </a:lnTo>
                  <a:cubicBezTo>
                    <a:pt x="f12" y="f13"/>
                    <a:pt x="f14" y="f15"/>
                    <a:pt x="f16" y="f17"/>
                  </a:cubicBezTo>
                  <a:lnTo>
                    <a:pt x="f5" y="f18"/>
                  </a:lnTo>
                  <a:lnTo>
                    <a:pt x="f5" y="f19"/>
                  </a:lnTo>
                  <a:lnTo>
                    <a:pt x="f20" y="f21"/>
                  </a:lnTo>
                  <a:cubicBezTo>
                    <a:pt x="f22" y="f23"/>
                    <a:pt x="f24" y="f25"/>
                    <a:pt x="f26" y="f27"/>
                  </a:cubicBezTo>
                  <a:cubicBezTo>
                    <a:pt x="f28" y="f29"/>
                    <a:pt x="f30" y="f31"/>
                    <a:pt x="f32" y="f33"/>
                  </a:cubicBezTo>
                  <a:cubicBezTo>
                    <a:pt x="f34" y="f35"/>
                    <a:pt x="f36" y="f37"/>
                    <a:pt x="f38" y="f39"/>
                  </a:cubicBezTo>
                  <a:lnTo>
                    <a:pt x="f6" y="f40"/>
                  </a:lnTo>
                  <a:lnTo>
                    <a:pt x="f6" y="f41"/>
                  </a:lnTo>
                  <a:lnTo>
                    <a:pt x="f42" y="f43"/>
                  </a:lnTo>
                  <a:cubicBezTo>
                    <a:pt x="f44" y="f45"/>
                    <a:pt x="f46" y="f47"/>
                    <a:pt x="f48" y="f49"/>
                  </a:cubicBezTo>
                  <a:cubicBezTo>
                    <a:pt x="f50" y="f51"/>
                    <a:pt x="f52" y="f53"/>
                    <a:pt x="f54" y="f55"/>
                  </a:cubicBezTo>
                  <a:close/>
                </a:path>
              </a:pathLst>
            </a:custGeom>
            <a:solidFill>
              <a:srgbClr val="00498F"/>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sp>
        <p:nvSpPr>
          <p:cNvPr id="5" name="Rectangle 3">
            <a:extLst>
              <a:ext uri="{FF2B5EF4-FFF2-40B4-BE49-F238E27FC236}">
                <a16:creationId xmlns:a16="http://schemas.microsoft.com/office/drawing/2014/main" id="{8FE7B524-8961-CD23-8478-AA09F8FBB750}"/>
              </a:ext>
            </a:extLst>
          </p:cNvPr>
          <p:cNvSpPr/>
          <p:nvPr/>
        </p:nvSpPr>
        <p:spPr>
          <a:xfrm>
            <a:off x="902366" y="1517694"/>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Content Placeholder 2">
            <a:extLst>
              <a:ext uri="{FF2B5EF4-FFF2-40B4-BE49-F238E27FC236}">
                <a16:creationId xmlns:a16="http://schemas.microsoft.com/office/drawing/2014/main" id="{5C31A108-EA04-86F6-697C-DF7A9C8CFAA3}"/>
              </a:ext>
            </a:extLst>
          </p:cNvPr>
          <p:cNvSpPr txBox="1">
            <a:spLocks noGrp="1"/>
          </p:cNvSpPr>
          <p:nvPr>
            <p:ph idx="4294967295"/>
          </p:nvPr>
        </p:nvSpPr>
        <p:spPr>
          <a:xfrm>
            <a:off x="1219197" y="3429001"/>
            <a:ext cx="5582649" cy="1413561"/>
          </a:xfrm>
        </p:spPr>
        <p:txBody>
          <a:bodyPr/>
          <a:lstStyle>
            <a:lvl1pPr marL="0" indent="0">
              <a:buNone/>
              <a:defRPr sz="2000"/>
            </a:lvl1pPr>
          </a:lstStyle>
          <a:p>
            <a:pPr lvl="0"/>
            <a:r>
              <a:rPr lang="en-US"/>
              <a:t>Click to edit Master text styles</a:t>
            </a:r>
          </a:p>
        </p:txBody>
      </p:sp>
      <p:sp>
        <p:nvSpPr>
          <p:cNvPr id="7" name="Title 11">
            <a:extLst>
              <a:ext uri="{FF2B5EF4-FFF2-40B4-BE49-F238E27FC236}">
                <a16:creationId xmlns:a16="http://schemas.microsoft.com/office/drawing/2014/main" id="{8580167E-3BBE-3DE3-4C39-3F1EA575AA5B}"/>
              </a:ext>
            </a:extLst>
          </p:cNvPr>
          <p:cNvSpPr txBox="1">
            <a:spLocks noGrp="1"/>
          </p:cNvSpPr>
          <p:nvPr>
            <p:ph type="title"/>
          </p:nvPr>
        </p:nvSpPr>
        <p:spPr>
          <a:xfrm>
            <a:off x="1219197" y="1887486"/>
            <a:ext cx="5582649" cy="1078260"/>
          </a:xfrm>
        </p:spPr>
        <p:txBody>
          <a:bodyPr/>
          <a:lstStyle>
            <a:lvl1pPr>
              <a:defRPr sz="6000"/>
            </a:lvl1pPr>
          </a:lstStyle>
          <a:p>
            <a:pPr lvl="0"/>
            <a:r>
              <a:rPr lang="en-US"/>
              <a:t>Thank you</a:t>
            </a:r>
          </a:p>
        </p:txBody>
      </p:sp>
      <p:pic>
        <p:nvPicPr>
          <p:cNvPr id="8" name="Picture 32">
            <a:extLst>
              <a:ext uri="{FF2B5EF4-FFF2-40B4-BE49-F238E27FC236}">
                <a16:creationId xmlns:a16="http://schemas.microsoft.com/office/drawing/2014/main" id="{03FB30FC-F86B-12E5-E9FA-0A797BA42822}"/>
              </a:ext>
            </a:extLst>
          </p:cNvPr>
          <p:cNvPicPr>
            <a:picLocks noChangeAspect="1"/>
          </p:cNvPicPr>
          <p:nvPr/>
        </p:nvPicPr>
        <p:blipFill>
          <a:blip r:embed="rId2"/>
          <a:srcRect/>
          <a:stretch>
            <a:fillRect/>
          </a:stretch>
        </p:blipFill>
        <p:spPr>
          <a:xfrm>
            <a:off x="902366" y="228371"/>
            <a:ext cx="2025313" cy="911940"/>
          </a:xfrm>
          <a:prstGeom prst="rect">
            <a:avLst/>
          </a:prstGeom>
          <a:noFill/>
          <a:ln cap="flat">
            <a:noFill/>
          </a:ln>
        </p:spPr>
      </p:pic>
      <p:sp>
        <p:nvSpPr>
          <p:cNvPr id="9" name="Picture Placeholder 16">
            <a:extLst>
              <a:ext uri="{FF2B5EF4-FFF2-40B4-BE49-F238E27FC236}">
                <a16:creationId xmlns:a16="http://schemas.microsoft.com/office/drawing/2014/main" id="{F48D3A78-4D34-AF9F-8166-D7D792CC9EB3}"/>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spTree>
    <p:extLst>
      <p:ext uri="{BB962C8B-B14F-4D97-AF65-F5344CB8AC3E}">
        <p14:creationId xmlns:p14="http://schemas.microsoft.com/office/powerpoint/2010/main" val="1158706249"/>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2" name="Slide Number Placeholder 4">
            <a:extLst>
              <a:ext uri="{FF2B5EF4-FFF2-40B4-BE49-F238E27FC236}">
                <a16:creationId xmlns:a16="http://schemas.microsoft.com/office/drawing/2014/main" id="{484231D1-DB07-F1C0-D703-41D013C6C5EB}"/>
              </a:ext>
            </a:extLst>
          </p:cNvPr>
          <p:cNvSpPr txBox="1">
            <a:spLocks noGrp="1"/>
          </p:cNvSpPr>
          <p:nvPr>
            <p:ph type="sldNum" sz="quarter" idx="8"/>
          </p:nvPr>
        </p:nvSpPr>
        <p:spPr/>
        <p:txBody>
          <a:bodyPr/>
          <a:lstStyle>
            <a:lvl1pPr>
              <a:defRPr/>
            </a:lvl1pPr>
          </a:lstStyle>
          <a:p>
            <a:pPr lvl="0"/>
            <a:fld id="{4F6C598E-7BCC-42F9-92F6-639B40E2AF49}" type="slidenum">
              <a:t>‹#›</a:t>
            </a:fld>
            <a:endParaRPr lang="en-US"/>
          </a:p>
        </p:txBody>
      </p:sp>
      <p:cxnSp>
        <p:nvCxnSpPr>
          <p:cNvPr id="3" name="Straight Connector 3">
            <a:extLst>
              <a:ext uri="{FF2B5EF4-FFF2-40B4-BE49-F238E27FC236}">
                <a16:creationId xmlns:a16="http://schemas.microsoft.com/office/drawing/2014/main" id="{3C42D2FA-CAED-7D30-DC20-27B49F59E12B}"/>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4" name="Footer Placeholder 1">
            <a:extLst>
              <a:ext uri="{FF2B5EF4-FFF2-40B4-BE49-F238E27FC236}">
                <a16:creationId xmlns:a16="http://schemas.microsoft.com/office/drawing/2014/main" id="{F34074A3-140C-7684-72A4-9A28A6EFF5D2}"/>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5" name="Group 5">
            <a:extLst>
              <a:ext uri="{FF2B5EF4-FFF2-40B4-BE49-F238E27FC236}">
                <a16:creationId xmlns:a16="http://schemas.microsoft.com/office/drawing/2014/main" id="{1A68AECF-11B3-B843-CCED-18F4D770F510}"/>
              </a:ext>
            </a:extLst>
          </p:cNvPr>
          <p:cNvGrpSpPr/>
          <p:nvPr/>
        </p:nvGrpSpPr>
        <p:grpSpPr>
          <a:xfrm>
            <a:off x="7191545" y="0"/>
            <a:ext cx="5000460" cy="1425988"/>
            <a:chOff x="7191545" y="0"/>
            <a:chExt cx="5000460" cy="1425988"/>
          </a:xfrm>
        </p:grpSpPr>
        <p:pic>
          <p:nvPicPr>
            <p:cNvPr id="6" name="Picture 6">
              <a:extLst>
                <a:ext uri="{FF2B5EF4-FFF2-40B4-BE49-F238E27FC236}">
                  <a16:creationId xmlns:a16="http://schemas.microsoft.com/office/drawing/2014/main" id="{ED9A739F-37B8-4E14-5DDD-F3D6DEB6E095}"/>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7" name="Group 7">
              <a:extLst>
                <a:ext uri="{FF2B5EF4-FFF2-40B4-BE49-F238E27FC236}">
                  <a16:creationId xmlns:a16="http://schemas.microsoft.com/office/drawing/2014/main" id="{960CE431-C736-D77F-9ADA-972EFFE5E461}"/>
                </a:ext>
              </a:extLst>
            </p:cNvPr>
            <p:cNvGrpSpPr/>
            <p:nvPr/>
          </p:nvGrpSpPr>
          <p:grpSpPr>
            <a:xfrm>
              <a:off x="7191545" y="0"/>
              <a:ext cx="5000460" cy="1425988"/>
              <a:chOff x="7191545" y="0"/>
              <a:chExt cx="5000460" cy="1425988"/>
            </a:xfrm>
          </p:grpSpPr>
          <p:sp>
            <p:nvSpPr>
              <p:cNvPr id="8" name="Freeform 8">
                <a:extLst>
                  <a:ext uri="{FF2B5EF4-FFF2-40B4-BE49-F238E27FC236}">
                    <a16:creationId xmlns:a16="http://schemas.microsoft.com/office/drawing/2014/main" id="{1587C6CE-5FE1-00FD-1E5B-43EA2A7069A8}"/>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9" name="Freeform 9">
                <a:extLst>
                  <a:ext uri="{FF2B5EF4-FFF2-40B4-BE49-F238E27FC236}">
                    <a16:creationId xmlns:a16="http://schemas.microsoft.com/office/drawing/2014/main" id="{19560387-219F-4FE8-6152-A5CD2830A5A9}"/>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Tree>
    <p:extLst>
      <p:ext uri="{BB962C8B-B14F-4D97-AF65-F5344CB8AC3E}">
        <p14:creationId xmlns:p14="http://schemas.microsoft.com/office/powerpoint/2010/main" val="4278083118"/>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 name="Group 21">
            <a:extLst>
              <a:ext uri="{FF2B5EF4-FFF2-40B4-BE49-F238E27FC236}">
                <a16:creationId xmlns:a16="http://schemas.microsoft.com/office/drawing/2014/main" id="{40989781-7D6D-9CA8-AEDF-AB0306D64456}"/>
              </a:ext>
            </a:extLst>
          </p:cNvPr>
          <p:cNvGrpSpPr/>
          <p:nvPr/>
        </p:nvGrpSpPr>
        <p:grpSpPr>
          <a:xfrm>
            <a:off x="7191545" y="0"/>
            <a:ext cx="5000460" cy="1425988"/>
            <a:chOff x="7191545" y="0"/>
            <a:chExt cx="5000460" cy="1425988"/>
          </a:xfrm>
        </p:grpSpPr>
        <p:pic>
          <p:nvPicPr>
            <p:cNvPr id="3" name="Picture 22">
              <a:extLst>
                <a:ext uri="{FF2B5EF4-FFF2-40B4-BE49-F238E27FC236}">
                  <a16:creationId xmlns:a16="http://schemas.microsoft.com/office/drawing/2014/main" id="{FD72BC36-70CF-FA85-4086-8D8C8FF82E52}"/>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23">
              <a:extLst>
                <a:ext uri="{FF2B5EF4-FFF2-40B4-BE49-F238E27FC236}">
                  <a16:creationId xmlns:a16="http://schemas.microsoft.com/office/drawing/2014/main" id="{192D92AA-EECF-48D1-A246-0A20A8841FD6}"/>
                </a:ext>
              </a:extLst>
            </p:cNvPr>
            <p:cNvGrpSpPr/>
            <p:nvPr/>
          </p:nvGrpSpPr>
          <p:grpSpPr>
            <a:xfrm>
              <a:off x="7191545" y="0"/>
              <a:ext cx="5000460" cy="1425988"/>
              <a:chOff x="7191545" y="0"/>
              <a:chExt cx="5000460" cy="1425988"/>
            </a:xfrm>
          </p:grpSpPr>
          <p:sp>
            <p:nvSpPr>
              <p:cNvPr id="5" name="Freeform 24">
                <a:extLst>
                  <a:ext uri="{FF2B5EF4-FFF2-40B4-BE49-F238E27FC236}">
                    <a16:creationId xmlns:a16="http://schemas.microsoft.com/office/drawing/2014/main" id="{E91875A4-2164-EC65-4B7C-DEABBEFE05F1}"/>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25">
                <a:extLst>
                  <a:ext uri="{FF2B5EF4-FFF2-40B4-BE49-F238E27FC236}">
                    <a16:creationId xmlns:a16="http://schemas.microsoft.com/office/drawing/2014/main" id="{9FCB7F9E-2497-A44E-22B7-2F998ECB0079}"/>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550E2D2F-CADD-364E-16A7-96FB191DE587}"/>
              </a:ext>
            </a:extLst>
          </p:cNvPr>
          <p:cNvSpPr txBox="1">
            <a:spLocks noGrp="1"/>
          </p:cNvSpPr>
          <p:nvPr>
            <p:ph type="title"/>
          </p:nvPr>
        </p:nvSpPr>
        <p:spPr/>
        <p:txBody>
          <a:bodyPr/>
          <a:lstStyle>
            <a:lvl1pPr>
              <a:defRPr/>
            </a:lvl1pPr>
          </a:lstStyle>
          <a:p>
            <a:pPr lvl="0"/>
            <a:r>
              <a:rPr lang="en-US"/>
              <a:t>Click to edit Master title style</a:t>
            </a:r>
          </a:p>
        </p:txBody>
      </p:sp>
      <p:sp>
        <p:nvSpPr>
          <p:cNvPr id="8" name="Slide Number Placeholder 5">
            <a:extLst>
              <a:ext uri="{FF2B5EF4-FFF2-40B4-BE49-F238E27FC236}">
                <a16:creationId xmlns:a16="http://schemas.microsoft.com/office/drawing/2014/main" id="{6D77C9D7-332E-27A4-A65C-335D0244A841}"/>
              </a:ext>
            </a:extLst>
          </p:cNvPr>
          <p:cNvSpPr txBox="1">
            <a:spLocks noGrp="1"/>
          </p:cNvSpPr>
          <p:nvPr>
            <p:ph type="sldNum" sz="quarter" idx="8"/>
          </p:nvPr>
        </p:nvSpPr>
        <p:spPr/>
        <p:txBody>
          <a:bodyPr/>
          <a:lstStyle>
            <a:lvl1pPr>
              <a:defRPr/>
            </a:lvl1pPr>
          </a:lstStyle>
          <a:p>
            <a:pPr lvl="0"/>
            <a:fld id="{7AC80A7A-9532-4F32-A666-0A35C3760606}" type="slidenum">
              <a:t>‹#›</a:t>
            </a:fld>
            <a:endParaRPr lang="en-US"/>
          </a:p>
        </p:txBody>
      </p:sp>
      <p:cxnSp>
        <p:nvCxnSpPr>
          <p:cNvPr id="9" name="Straight Connector 6">
            <a:extLst>
              <a:ext uri="{FF2B5EF4-FFF2-40B4-BE49-F238E27FC236}">
                <a16:creationId xmlns:a16="http://schemas.microsoft.com/office/drawing/2014/main" id="{04DCDE2B-33BC-3291-8B0B-6AD7DDDED66F}"/>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0" name="Footer Placeholder 2">
            <a:extLst>
              <a:ext uri="{FF2B5EF4-FFF2-40B4-BE49-F238E27FC236}">
                <a16:creationId xmlns:a16="http://schemas.microsoft.com/office/drawing/2014/main" id="{FB886E05-AB0C-EA84-1A78-F4B6CB7B8CC3}"/>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3319963391"/>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8_Cover">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996312C9-2E90-A50A-971C-F48BD2BA9569}"/>
              </a:ext>
            </a:extLst>
          </p:cNvPr>
          <p:cNvSpPr/>
          <p:nvPr/>
        </p:nvSpPr>
        <p:spPr>
          <a:xfrm>
            <a:off x="902366" y="1294416"/>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49C56925-71B3-3C0A-CA52-D315E866AED3}"/>
              </a:ext>
            </a:extLst>
          </p:cNvPr>
          <p:cNvSpPr txBox="1">
            <a:spLocks noGrp="1"/>
          </p:cNvSpPr>
          <p:nvPr>
            <p:ph type="title"/>
          </p:nvPr>
        </p:nvSpPr>
        <p:spPr>
          <a:xfrm>
            <a:off x="1413314" y="1561328"/>
            <a:ext cx="5194432" cy="1826340"/>
          </a:xfrm>
        </p:spPr>
        <p:txBody>
          <a:bodyPr anchor="b"/>
          <a:lstStyle>
            <a:lvl1pPr>
              <a:defRPr sz="4000">
                <a:solidFill>
                  <a:srgbClr val="444C55"/>
                </a:solidFill>
              </a:defRPr>
            </a:lvl1pPr>
          </a:lstStyle>
          <a:p>
            <a:pPr lvl="0"/>
            <a:r>
              <a:rPr lang="en-US"/>
              <a:t>Click to edit Master title style</a:t>
            </a:r>
          </a:p>
        </p:txBody>
      </p:sp>
      <p:sp>
        <p:nvSpPr>
          <p:cNvPr id="4" name="Subtitle 2">
            <a:extLst>
              <a:ext uri="{FF2B5EF4-FFF2-40B4-BE49-F238E27FC236}">
                <a16:creationId xmlns:a16="http://schemas.microsoft.com/office/drawing/2014/main" id="{7932C2C5-F3EA-1A01-91E4-24BA000107F4}"/>
              </a:ext>
            </a:extLst>
          </p:cNvPr>
          <p:cNvSpPr txBox="1">
            <a:spLocks noGrp="1"/>
          </p:cNvSpPr>
          <p:nvPr>
            <p:ph type="subTitle" idx="4294967295"/>
          </p:nvPr>
        </p:nvSpPr>
        <p:spPr>
          <a:xfrm>
            <a:off x="1413314" y="3766861"/>
            <a:ext cx="5194432" cy="986564"/>
          </a:xfrm>
        </p:spPr>
        <p:txBody>
          <a:bodyPr/>
          <a:lstStyle>
            <a:lvl1pPr marL="0" indent="0">
              <a:buNone/>
              <a:defRPr/>
            </a:lvl1pPr>
          </a:lstStyle>
          <a:p>
            <a:pPr lvl="0"/>
            <a:r>
              <a:rPr lang="en-US"/>
              <a:t>Click to edit Master subtitle style</a:t>
            </a:r>
          </a:p>
        </p:txBody>
      </p:sp>
      <p:sp>
        <p:nvSpPr>
          <p:cNvPr id="5" name="Picture Placeholder 21">
            <a:extLst>
              <a:ext uri="{FF2B5EF4-FFF2-40B4-BE49-F238E27FC236}">
                <a16:creationId xmlns:a16="http://schemas.microsoft.com/office/drawing/2014/main" id="{AEC63F13-04F9-334B-A91D-09ADF5263F40}"/>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grpSp>
        <p:nvGrpSpPr>
          <p:cNvPr id="6" name="Group 26">
            <a:extLst>
              <a:ext uri="{FF2B5EF4-FFF2-40B4-BE49-F238E27FC236}">
                <a16:creationId xmlns:a16="http://schemas.microsoft.com/office/drawing/2014/main" id="{C2DA979C-E077-3FD9-E3A3-4745D59249F8}"/>
              </a:ext>
            </a:extLst>
          </p:cNvPr>
          <p:cNvGrpSpPr/>
          <p:nvPr/>
        </p:nvGrpSpPr>
        <p:grpSpPr>
          <a:xfrm>
            <a:off x="0" y="5020349"/>
            <a:ext cx="12191996" cy="1837651"/>
            <a:chOff x="0" y="5020348"/>
            <a:chExt cx="12191996" cy="1837651"/>
          </a:xfrm>
        </p:grpSpPr>
        <p:sp>
          <p:nvSpPr>
            <p:cNvPr id="7" name="Freeform 27">
              <a:extLst>
                <a:ext uri="{FF2B5EF4-FFF2-40B4-BE49-F238E27FC236}">
                  <a16:creationId xmlns:a16="http://schemas.microsoft.com/office/drawing/2014/main" id="{275370C9-8ABA-7654-A9EA-E0CC1B15BD29}"/>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8" name="Freeform 28">
              <a:extLst>
                <a:ext uri="{FF2B5EF4-FFF2-40B4-BE49-F238E27FC236}">
                  <a16:creationId xmlns:a16="http://schemas.microsoft.com/office/drawing/2014/main" id="{578C7222-DDF2-2A46-DC4E-EDF4CE1B20D7}"/>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9" name="Picture 29">
              <a:extLst>
                <a:ext uri="{FF2B5EF4-FFF2-40B4-BE49-F238E27FC236}">
                  <a16:creationId xmlns:a16="http://schemas.microsoft.com/office/drawing/2014/main" id="{D3994D0F-D137-97DF-E76C-81573FA1852B}"/>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3529066699"/>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8_Divider">
    <p:spTree>
      <p:nvGrpSpPr>
        <p:cNvPr id="1" name=""/>
        <p:cNvGrpSpPr/>
        <p:nvPr/>
      </p:nvGrpSpPr>
      <p:grpSpPr>
        <a:xfrm>
          <a:off x="0" y="0"/>
          <a:ext cx="0" cy="0"/>
          <a:chOff x="0" y="0"/>
          <a:chExt cx="0" cy="0"/>
        </a:xfrm>
      </p:grpSpPr>
      <p:grpSp>
        <p:nvGrpSpPr>
          <p:cNvPr id="2" name="Group 9">
            <a:extLst>
              <a:ext uri="{FF2B5EF4-FFF2-40B4-BE49-F238E27FC236}">
                <a16:creationId xmlns:a16="http://schemas.microsoft.com/office/drawing/2014/main" id="{D2D4E83C-D23C-8DA4-C32A-75A90FF3C911}"/>
              </a:ext>
            </a:extLst>
          </p:cNvPr>
          <p:cNvGrpSpPr/>
          <p:nvPr/>
        </p:nvGrpSpPr>
        <p:grpSpPr>
          <a:xfrm>
            <a:off x="0" y="5020349"/>
            <a:ext cx="12191996" cy="1837651"/>
            <a:chOff x="0" y="5020348"/>
            <a:chExt cx="12191996" cy="1837651"/>
          </a:xfrm>
        </p:grpSpPr>
        <p:sp>
          <p:nvSpPr>
            <p:cNvPr id="3" name="Freeform 25">
              <a:extLst>
                <a:ext uri="{FF2B5EF4-FFF2-40B4-BE49-F238E27FC236}">
                  <a16:creationId xmlns:a16="http://schemas.microsoft.com/office/drawing/2014/main" id="{B9B0E4FD-86CE-E98D-F154-2B19828E30B6}"/>
                </a:ext>
              </a:extLst>
            </p:cNvPr>
            <p:cNvSpPr/>
            <p:nvPr/>
          </p:nvSpPr>
          <p:spPr>
            <a:xfrm>
              <a:off x="0" y="5100267"/>
              <a:ext cx="7111371" cy="1757732"/>
            </a:xfrm>
            <a:custGeom>
              <a:avLst/>
              <a:gdLst>
                <a:gd name="f0" fmla="val 10800000"/>
                <a:gd name="f1" fmla="val 5400000"/>
                <a:gd name="f2" fmla="val 180"/>
                <a:gd name="f3" fmla="val w"/>
                <a:gd name="f4" fmla="val h"/>
                <a:gd name="f5" fmla="val 0"/>
                <a:gd name="f6" fmla="val 7111369"/>
                <a:gd name="f7" fmla="val 1757730"/>
                <a:gd name="f8" fmla="val 772954"/>
                <a:gd name="f9" fmla="val 2778"/>
                <a:gd name="f10" fmla="val 1769038"/>
                <a:gd name="f11" fmla="val 30799"/>
                <a:gd name="f12" fmla="val 2696750"/>
                <a:gd name="f13" fmla="val 267531"/>
                <a:gd name="f14" fmla="val 3590934"/>
                <a:gd name="f15" fmla="val 566046"/>
                <a:gd name="f16" fmla="val 4684008"/>
                <a:gd name="f17" fmla="val 930921"/>
                <a:gd name="f18" fmla="val 5690778"/>
                <a:gd name="f19" fmla="val 1324625"/>
                <a:gd name="f20" fmla="val 6700767"/>
                <a:gd name="f21" fmla="val 1636882"/>
                <a:gd name="f22" fmla="val 25690"/>
                <a:gd name="f23" fmla="val 2197"/>
                <a:gd name="f24" fmla="val 25414"/>
                <a:gd name="f25" fmla="val 114653"/>
                <a:gd name="f26" fmla="val 14905"/>
                <a:gd name="f27" fmla="val 227801"/>
                <a:gd name="f28" fmla="val 7857"/>
                <a:gd name="f29" fmla="val 341773"/>
                <a:gd name="f30" fmla="val 3976"/>
                <a:gd name="f31" fmla="val 486963"/>
                <a:gd name="f32" fmla="+- 0 0 968"/>
                <a:gd name="f33" fmla="val 630656"/>
                <a:gd name="f34" fmla="+- 0 0 1224"/>
                <a:gd name="f35" fmla="+- 0 0 -90"/>
                <a:gd name="f36" fmla="*/ f3 1 7111369"/>
                <a:gd name="f37" fmla="*/ f4 1 1757730"/>
                <a:gd name="f38" fmla="+- f7 0 f5"/>
                <a:gd name="f39" fmla="+- f6 0 f5"/>
                <a:gd name="f40" fmla="*/ f35 f0 1"/>
                <a:gd name="f41" fmla="*/ f39 1 7111369"/>
                <a:gd name="f42" fmla="*/ f38 1 1757730"/>
                <a:gd name="f43" fmla="*/ 772954 f39 1"/>
                <a:gd name="f44" fmla="*/ 2778 f38 1"/>
                <a:gd name="f45" fmla="*/ 3590934 f39 1"/>
                <a:gd name="f46" fmla="*/ 566046 f38 1"/>
                <a:gd name="f47" fmla="*/ 6700767 f39 1"/>
                <a:gd name="f48" fmla="*/ 1636882 f38 1"/>
                <a:gd name="f49" fmla="*/ 7111369 f39 1"/>
                <a:gd name="f50" fmla="*/ 1757730 f38 1"/>
                <a:gd name="f51" fmla="*/ 0 f39 1"/>
                <a:gd name="f52" fmla="*/ 25690 f38 1"/>
                <a:gd name="f53" fmla="*/ 2197 f39 1"/>
                <a:gd name="f54" fmla="*/ 25414 f38 1"/>
                <a:gd name="f55" fmla="*/ 341773 f39 1"/>
                <a:gd name="f56" fmla="*/ 3976 f38 1"/>
                <a:gd name="f57" fmla="*/ f40 1 f2"/>
                <a:gd name="f58" fmla="*/ f43 1 7111369"/>
                <a:gd name="f59" fmla="*/ f44 1 1757730"/>
                <a:gd name="f60" fmla="*/ f45 1 7111369"/>
                <a:gd name="f61" fmla="*/ f46 1 1757730"/>
                <a:gd name="f62" fmla="*/ f47 1 7111369"/>
                <a:gd name="f63" fmla="*/ f48 1 1757730"/>
                <a:gd name="f64" fmla="*/ f49 1 7111369"/>
                <a:gd name="f65" fmla="*/ f50 1 1757730"/>
                <a:gd name="f66" fmla="*/ f51 1 7111369"/>
                <a:gd name="f67" fmla="*/ f52 1 1757730"/>
                <a:gd name="f68" fmla="*/ f53 1 7111369"/>
                <a:gd name="f69" fmla="*/ f54 1 1757730"/>
                <a:gd name="f70" fmla="*/ f55 1 7111369"/>
                <a:gd name="f71" fmla="*/ f56 1 1757730"/>
                <a:gd name="f72" fmla="*/ f5 1 f41"/>
                <a:gd name="f73" fmla="*/ f6 1 f41"/>
                <a:gd name="f74" fmla="*/ f5 1 f42"/>
                <a:gd name="f75" fmla="*/ f7 1 f42"/>
                <a:gd name="f76" fmla="+- f57 0 f1"/>
                <a:gd name="f77" fmla="*/ f58 1 f41"/>
                <a:gd name="f78" fmla="*/ f59 1 f42"/>
                <a:gd name="f79" fmla="*/ f60 1 f41"/>
                <a:gd name="f80" fmla="*/ f61 1 f42"/>
                <a:gd name="f81" fmla="*/ f62 1 f41"/>
                <a:gd name="f82" fmla="*/ f63 1 f42"/>
                <a:gd name="f83" fmla="*/ f64 1 f41"/>
                <a:gd name="f84" fmla="*/ f65 1 f42"/>
                <a:gd name="f85" fmla="*/ f66 1 f41"/>
                <a:gd name="f86" fmla="*/ f67 1 f42"/>
                <a:gd name="f87" fmla="*/ f68 1 f41"/>
                <a:gd name="f88" fmla="*/ f69 1 f42"/>
                <a:gd name="f89" fmla="*/ f70 1 f41"/>
                <a:gd name="f90" fmla="*/ f71 1 f42"/>
                <a:gd name="f91" fmla="*/ f72 f36 1"/>
                <a:gd name="f92" fmla="*/ f73 f36 1"/>
                <a:gd name="f93" fmla="*/ f75 f37 1"/>
                <a:gd name="f94" fmla="*/ f74 f37 1"/>
                <a:gd name="f95" fmla="*/ f77 f36 1"/>
                <a:gd name="f96" fmla="*/ f78 f37 1"/>
                <a:gd name="f97" fmla="*/ f79 f36 1"/>
                <a:gd name="f98" fmla="*/ f80 f37 1"/>
                <a:gd name="f99" fmla="*/ f81 f36 1"/>
                <a:gd name="f100" fmla="*/ f82 f37 1"/>
                <a:gd name="f101" fmla="*/ f83 f36 1"/>
                <a:gd name="f102" fmla="*/ f84 f37 1"/>
                <a:gd name="f103" fmla="*/ f85 f36 1"/>
                <a:gd name="f104" fmla="*/ f86 f37 1"/>
                <a:gd name="f105" fmla="*/ f87 f36 1"/>
                <a:gd name="f106" fmla="*/ f88 f37 1"/>
                <a:gd name="f107" fmla="*/ f89 f36 1"/>
                <a:gd name="f108" fmla="*/ f90 f37 1"/>
              </a:gdLst>
              <a:ahLst/>
              <a:cxnLst>
                <a:cxn ang="3cd4">
                  <a:pos x="hc" y="t"/>
                </a:cxn>
                <a:cxn ang="0">
                  <a:pos x="r" y="vc"/>
                </a:cxn>
                <a:cxn ang="cd4">
                  <a:pos x="hc" y="b"/>
                </a:cxn>
                <a:cxn ang="cd2">
                  <a:pos x="l" y="vc"/>
                </a:cxn>
                <a:cxn ang="f76">
                  <a:pos x="f95" y="f96"/>
                </a:cxn>
                <a:cxn ang="f76">
                  <a:pos x="f97" y="f98"/>
                </a:cxn>
                <a:cxn ang="f76">
                  <a:pos x="f99" y="f100"/>
                </a:cxn>
                <a:cxn ang="f76">
                  <a:pos x="f101" y="f102"/>
                </a:cxn>
                <a:cxn ang="f76">
                  <a:pos x="f103" y="f102"/>
                </a:cxn>
                <a:cxn ang="f76">
                  <a:pos x="f103" y="f104"/>
                </a:cxn>
                <a:cxn ang="f76">
                  <a:pos x="f105" y="f106"/>
                </a:cxn>
                <a:cxn ang="f76">
                  <a:pos x="f107" y="f108"/>
                </a:cxn>
                <a:cxn ang="f76">
                  <a:pos x="f95" y="f96"/>
                </a:cxn>
              </a:cxnLst>
              <a:rect l="f91" t="f94" r="f92" b="f93"/>
              <a:pathLst>
                <a:path w="7111369" h="1757730">
                  <a:moveTo>
                    <a:pt x="f8" y="f9"/>
                  </a:moveTo>
                  <a:cubicBezTo>
                    <a:pt x="f10" y="f11"/>
                    <a:pt x="f12" y="f13"/>
                    <a:pt x="f14" y="f15"/>
                  </a:cubicBezTo>
                  <a:cubicBezTo>
                    <a:pt x="f16" y="f17"/>
                    <a:pt x="f18" y="f19"/>
                    <a:pt x="f20" y="f21"/>
                  </a:cubicBezTo>
                  <a:lnTo>
                    <a:pt x="f6" y="f7"/>
                  </a:lnTo>
                  <a:lnTo>
                    <a:pt x="f5" y="f7"/>
                  </a:lnTo>
                  <a:lnTo>
                    <a:pt x="f5" y="f22"/>
                  </a:lnTo>
                  <a:lnTo>
                    <a:pt x="f23" y="f24"/>
                  </a:lnTo>
                  <a:cubicBezTo>
                    <a:pt x="f25" y="f26"/>
                    <a:pt x="f27" y="f28"/>
                    <a:pt x="f29" y="f30"/>
                  </a:cubicBezTo>
                  <a:cubicBezTo>
                    <a:pt x="f31" y="f32"/>
                    <a:pt x="f33" y="f34"/>
                    <a:pt x="f8" y="f9"/>
                  </a:cubicBezTo>
                  <a:close/>
                </a:path>
              </a:pathLst>
            </a:cu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4" name="Freeform 19">
              <a:extLst>
                <a:ext uri="{FF2B5EF4-FFF2-40B4-BE49-F238E27FC236}">
                  <a16:creationId xmlns:a16="http://schemas.microsoft.com/office/drawing/2014/main" id="{9D115483-458B-C5C8-BF17-73F63765DFC9}"/>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5" name="Freeform 14">
              <a:extLst>
                <a:ext uri="{FF2B5EF4-FFF2-40B4-BE49-F238E27FC236}">
                  <a16:creationId xmlns:a16="http://schemas.microsoft.com/office/drawing/2014/main" id="{342E36D9-93F9-9FBA-D10A-4C2836BAE4C0}"/>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6" name="Picture 20">
              <a:extLst>
                <a:ext uri="{FF2B5EF4-FFF2-40B4-BE49-F238E27FC236}">
                  <a16:creationId xmlns:a16="http://schemas.microsoft.com/office/drawing/2014/main" id="{A8963AA5-48B5-65E7-58E3-346BA1A99C5B}"/>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
        <p:nvSpPr>
          <p:cNvPr id="7" name="Title 10">
            <a:extLst>
              <a:ext uri="{FF2B5EF4-FFF2-40B4-BE49-F238E27FC236}">
                <a16:creationId xmlns:a16="http://schemas.microsoft.com/office/drawing/2014/main" id="{9438C86A-EBE3-74A2-74C8-2417155B3798}"/>
              </a:ext>
            </a:extLst>
          </p:cNvPr>
          <p:cNvSpPr txBox="1">
            <a:spLocks noGrp="1"/>
          </p:cNvSpPr>
          <p:nvPr>
            <p:ph type="title"/>
          </p:nvPr>
        </p:nvSpPr>
        <p:spPr>
          <a:xfrm>
            <a:off x="1413305" y="701748"/>
            <a:ext cx="9365376" cy="2014679"/>
          </a:xfrm>
        </p:spPr>
        <p:txBody>
          <a:bodyPr anchor="b"/>
          <a:lstStyle>
            <a:lvl1pPr>
              <a:defRPr/>
            </a:lvl1pPr>
          </a:lstStyle>
          <a:p>
            <a:pPr lvl="0"/>
            <a:r>
              <a:rPr lang="en-US"/>
              <a:t>Click to edit Master title style</a:t>
            </a:r>
          </a:p>
        </p:txBody>
      </p:sp>
      <p:sp>
        <p:nvSpPr>
          <p:cNvPr id="8" name="Subtitle 2">
            <a:extLst>
              <a:ext uri="{FF2B5EF4-FFF2-40B4-BE49-F238E27FC236}">
                <a16:creationId xmlns:a16="http://schemas.microsoft.com/office/drawing/2014/main" id="{D8188B27-5555-E9DD-6DA1-E23F6DE9A5D7}"/>
              </a:ext>
            </a:extLst>
          </p:cNvPr>
          <p:cNvSpPr txBox="1">
            <a:spLocks noGrp="1"/>
          </p:cNvSpPr>
          <p:nvPr>
            <p:ph type="subTitle" idx="4294967295"/>
          </p:nvPr>
        </p:nvSpPr>
        <p:spPr>
          <a:xfrm>
            <a:off x="1413305" y="3081637"/>
            <a:ext cx="9365376" cy="986564"/>
          </a:xfrm>
        </p:spPr>
        <p:txBody>
          <a:bodyPr/>
          <a:lstStyle>
            <a:lvl1pPr marL="0" indent="0">
              <a:buNone/>
              <a:defRPr/>
            </a:lvl1pPr>
          </a:lstStyle>
          <a:p>
            <a:pPr lvl="0"/>
            <a:r>
              <a:rPr lang="en-US"/>
              <a:t>Click to edit Master subtitle style</a:t>
            </a:r>
          </a:p>
        </p:txBody>
      </p:sp>
    </p:spTree>
    <p:extLst>
      <p:ext uri="{BB962C8B-B14F-4D97-AF65-F5344CB8AC3E}">
        <p14:creationId xmlns:p14="http://schemas.microsoft.com/office/powerpoint/2010/main" val="35183732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9290"/>
        <p:cNvGrpSpPr/>
        <p:nvPr/>
      </p:nvGrpSpPr>
      <p:grpSpPr>
        <a:xfrm>
          <a:off x="0" y="0"/>
          <a:ext cx="0" cy="0"/>
          <a:chOff x="0" y="0"/>
          <a:chExt cx="0" cy="0"/>
        </a:xfrm>
      </p:grpSpPr>
      <p:sp>
        <p:nvSpPr>
          <p:cNvPr id="9291" name="Google Shape;9291;p13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92" name="Google Shape;9292;p13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93" name="Google Shape;9293;p13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294" name="Google Shape;9294;p1341"/>
          <p:cNvGrpSpPr/>
          <p:nvPr/>
        </p:nvGrpSpPr>
        <p:grpSpPr>
          <a:xfrm>
            <a:off x="7191542" y="1"/>
            <a:ext cx="5000459" cy="1425992"/>
            <a:chOff x="7191542" y="1"/>
            <a:chExt cx="5000459" cy="1425992"/>
          </a:xfrm>
        </p:grpSpPr>
        <p:pic>
          <p:nvPicPr>
            <p:cNvPr id="9295" name="Google Shape;9295;p13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96" name="Google Shape;9296;p1341"/>
            <p:cNvGrpSpPr/>
            <p:nvPr/>
          </p:nvGrpSpPr>
          <p:grpSpPr>
            <a:xfrm>
              <a:off x="7191542" y="1"/>
              <a:ext cx="5000459" cy="1425992"/>
              <a:chOff x="7186272" y="0"/>
              <a:chExt cx="5005729" cy="1427495"/>
            </a:xfrm>
          </p:grpSpPr>
          <p:sp>
            <p:nvSpPr>
              <p:cNvPr id="9297" name="Google Shape;9297;p13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298" name="Google Shape;9298;p13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A6D9E6D3-EAAD-5D53-1E0A-2FF0AD197503}"/>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B5ABDEEF-19C1-1D48-A398-DDA2A957452A}"/>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AD75C2A5-6E37-66C7-18B9-F4ED8BF91AB3}"/>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0CBD4B26-EB07-B551-AB2F-580536A688F6}"/>
              </a:ext>
            </a:extLst>
          </p:cNvPr>
          <p:cNvSpPr txBox="1">
            <a:spLocks noGrp="1"/>
          </p:cNvSpPr>
          <p:nvPr>
            <p:ph type="sldNum" sz="quarter" idx="8"/>
          </p:nvPr>
        </p:nvSpPr>
        <p:spPr/>
        <p:txBody>
          <a:bodyPr/>
          <a:lstStyle>
            <a:lvl1pPr>
              <a:defRPr>
                <a:solidFill>
                  <a:srgbClr val="AFB3B9"/>
                </a:solidFill>
              </a:defRPr>
            </a:lvl1pPr>
          </a:lstStyle>
          <a:p>
            <a:pPr lvl="0"/>
            <a:fld id="{CB7C47C7-326A-4060-B988-604B3479DFD2}" type="slidenum">
              <a:t>‹#›</a:t>
            </a:fld>
            <a:endParaRPr lang="en-US"/>
          </a:p>
        </p:txBody>
      </p:sp>
      <p:cxnSp>
        <p:nvCxnSpPr>
          <p:cNvPr id="6" name="Straight Connector 7">
            <a:extLst>
              <a:ext uri="{FF2B5EF4-FFF2-40B4-BE49-F238E27FC236}">
                <a16:creationId xmlns:a16="http://schemas.microsoft.com/office/drawing/2014/main" id="{8E127808-A97F-A1B5-A33E-EB8DA2179557}"/>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EB7BC24E-E1BF-31E2-1E5F-0A936CC1DB87}"/>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483F72E5-0FA6-7742-A45A-0B8CC44A471B}"/>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93288599-7460-82D3-B0A4-22B011B819EF}"/>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114AD290-6314-63E9-8AF8-73BB757B4976}"/>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35AE2050-C7E0-D10B-D879-37E8C1229AEA}"/>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78A0D12A-EE45-FCA6-F430-88C9A3B4EE8B}"/>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B3A8441C-EFF0-640A-1B28-32E393D046B7}"/>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2892406676"/>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2" name="Group 63">
            <a:extLst>
              <a:ext uri="{FF2B5EF4-FFF2-40B4-BE49-F238E27FC236}">
                <a16:creationId xmlns:a16="http://schemas.microsoft.com/office/drawing/2014/main" id="{8A152FE2-36E9-4364-8317-BCC75D7A9730}"/>
              </a:ext>
            </a:extLst>
          </p:cNvPr>
          <p:cNvGrpSpPr/>
          <p:nvPr/>
        </p:nvGrpSpPr>
        <p:grpSpPr>
          <a:xfrm>
            <a:off x="7191545" y="0"/>
            <a:ext cx="5000460" cy="1425988"/>
            <a:chOff x="7191545" y="0"/>
            <a:chExt cx="5000460" cy="1425988"/>
          </a:xfrm>
        </p:grpSpPr>
        <p:pic>
          <p:nvPicPr>
            <p:cNvPr id="3" name="Picture 64">
              <a:extLst>
                <a:ext uri="{FF2B5EF4-FFF2-40B4-BE49-F238E27FC236}">
                  <a16:creationId xmlns:a16="http://schemas.microsoft.com/office/drawing/2014/main" id="{BCEDAEF0-E4D4-97B3-C3FC-167506AEC060}"/>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65">
              <a:extLst>
                <a:ext uri="{FF2B5EF4-FFF2-40B4-BE49-F238E27FC236}">
                  <a16:creationId xmlns:a16="http://schemas.microsoft.com/office/drawing/2014/main" id="{1ADF7792-1CEB-F4B6-B2D1-8DD8D8623AE0}"/>
                </a:ext>
              </a:extLst>
            </p:cNvPr>
            <p:cNvGrpSpPr/>
            <p:nvPr/>
          </p:nvGrpSpPr>
          <p:grpSpPr>
            <a:xfrm>
              <a:off x="7191545" y="0"/>
              <a:ext cx="5000460" cy="1425988"/>
              <a:chOff x="7191545" y="0"/>
              <a:chExt cx="5000460" cy="1425988"/>
            </a:xfrm>
          </p:grpSpPr>
          <p:sp>
            <p:nvSpPr>
              <p:cNvPr id="5" name="Freeform 66">
                <a:extLst>
                  <a:ext uri="{FF2B5EF4-FFF2-40B4-BE49-F238E27FC236}">
                    <a16:creationId xmlns:a16="http://schemas.microsoft.com/office/drawing/2014/main" id="{8E03C905-7EF8-90B6-E0A4-489F40994B00}"/>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67">
                <a:extLst>
                  <a:ext uri="{FF2B5EF4-FFF2-40B4-BE49-F238E27FC236}">
                    <a16:creationId xmlns:a16="http://schemas.microsoft.com/office/drawing/2014/main" id="{84E09879-76D7-56E7-10AE-CE01D49664CD}"/>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4B2CA081-DCF7-B395-2535-68656B53E872}"/>
              </a:ext>
            </a:extLst>
          </p:cNvPr>
          <p:cNvSpPr txBox="1">
            <a:spLocks noGrp="1"/>
          </p:cNvSpPr>
          <p:nvPr>
            <p:ph type="title"/>
          </p:nvPr>
        </p:nvSpPr>
        <p:spPr/>
        <p:txBody>
          <a:bodyPr/>
          <a:lstStyle>
            <a:lvl1pPr>
              <a:defRPr/>
            </a:lvl1pPr>
          </a:lstStyle>
          <a:p>
            <a:pPr lvl="0"/>
            <a:r>
              <a:rPr lang="en-US"/>
              <a:t>Click to edit Master title style</a:t>
            </a:r>
          </a:p>
        </p:txBody>
      </p:sp>
      <p:sp>
        <p:nvSpPr>
          <p:cNvPr id="8" name="Content Placeholder 2">
            <a:extLst>
              <a:ext uri="{FF2B5EF4-FFF2-40B4-BE49-F238E27FC236}">
                <a16:creationId xmlns:a16="http://schemas.microsoft.com/office/drawing/2014/main" id="{136ACC7C-BA7A-EF9C-4414-111759007CE5}"/>
              </a:ext>
            </a:extLst>
          </p:cNvPr>
          <p:cNvSpPr txBox="1">
            <a:spLocks noGrp="1"/>
          </p:cNvSpPr>
          <p:nvPr>
            <p:ph idx="1"/>
          </p:nvPr>
        </p:nvSpPr>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6">
            <a:extLst>
              <a:ext uri="{FF2B5EF4-FFF2-40B4-BE49-F238E27FC236}">
                <a16:creationId xmlns:a16="http://schemas.microsoft.com/office/drawing/2014/main" id="{7ECD10C0-0FEA-B5C2-6F75-5FA90C58AE2F}"/>
              </a:ext>
            </a:extLst>
          </p:cNvPr>
          <p:cNvSpPr txBox="1">
            <a:spLocks noGrp="1"/>
          </p:cNvSpPr>
          <p:nvPr>
            <p:ph type="sldNum" sz="quarter" idx="8"/>
          </p:nvPr>
        </p:nvSpPr>
        <p:spPr/>
        <p:txBody>
          <a:bodyPr/>
          <a:lstStyle>
            <a:lvl1pPr>
              <a:defRPr>
                <a:solidFill>
                  <a:srgbClr val="AFB3B9"/>
                </a:solidFill>
              </a:defRPr>
            </a:lvl1pPr>
          </a:lstStyle>
          <a:p>
            <a:pPr lvl="0"/>
            <a:fld id="{E1135A6A-9403-49C2-8A7E-F2547F0DA72C}" type="slidenum">
              <a:t>‹#›</a:t>
            </a:fld>
            <a:endParaRPr lang="en-US"/>
          </a:p>
        </p:txBody>
      </p:sp>
      <p:cxnSp>
        <p:nvCxnSpPr>
          <p:cNvPr id="10" name="Straight Connector 7">
            <a:extLst>
              <a:ext uri="{FF2B5EF4-FFF2-40B4-BE49-F238E27FC236}">
                <a16:creationId xmlns:a16="http://schemas.microsoft.com/office/drawing/2014/main" id="{2D9D842B-A846-DF2F-A5F3-4BBB1BBD79E9}"/>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1" name="Footer Placeholder 5">
            <a:extLst>
              <a:ext uri="{FF2B5EF4-FFF2-40B4-BE49-F238E27FC236}">
                <a16:creationId xmlns:a16="http://schemas.microsoft.com/office/drawing/2014/main" id="{B5ED0463-476B-D4EA-40A0-916BDAF45E4D}"/>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1936524224"/>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8AAE6A-A677-1153-BBBC-10311197C089}"/>
              </a:ext>
            </a:extLst>
          </p:cNvPr>
          <p:cNvSpPr txBox="1">
            <a:spLocks noGrp="1"/>
          </p:cNvSpPr>
          <p:nvPr>
            <p:ph type="title"/>
          </p:nvPr>
        </p:nvSpPr>
        <p:spPr/>
        <p:txBody>
          <a:bodyPr/>
          <a:lstStyle>
            <a:lvl1pPr>
              <a:defRPr/>
            </a:lvl1pPr>
          </a:lstStyle>
          <a:p>
            <a:pPr lvl="0"/>
            <a:r>
              <a:rPr lang="en-US"/>
              <a:t>Click to edit Master title style</a:t>
            </a:r>
          </a:p>
        </p:txBody>
      </p:sp>
      <p:sp>
        <p:nvSpPr>
          <p:cNvPr id="3" name="Content Placeholder 2">
            <a:extLst>
              <a:ext uri="{FF2B5EF4-FFF2-40B4-BE49-F238E27FC236}">
                <a16:creationId xmlns:a16="http://schemas.microsoft.com/office/drawing/2014/main" id="{3B855E6F-623E-C554-3A46-9875D6E45AA5}"/>
              </a:ext>
            </a:extLst>
          </p:cNvPr>
          <p:cNvSpPr txBox="1">
            <a:spLocks noGrp="1"/>
          </p:cNvSpPr>
          <p:nvPr>
            <p:ph idx="1"/>
          </p:nvPr>
        </p:nvSpPr>
        <p:spPr>
          <a:xfrm>
            <a:off x="609604" y="1825627"/>
            <a:ext cx="5410203" cy="4351336"/>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43">
            <a:extLst>
              <a:ext uri="{FF2B5EF4-FFF2-40B4-BE49-F238E27FC236}">
                <a16:creationId xmlns:a16="http://schemas.microsoft.com/office/drawing/2014/main" id="{E88C9807-211F-E3F6-B953-FF949F424613}"/>
              </a:ext>
            </a:extLst>
          </p:cNvPr>
          <p:cNvGrpSpPr/>
          <p:nvPr/>
        </p:nvGrpSpPr>
        <p:grpSpPr>
          <a:xfrm>
            <a:off x="7191545" y="0"/>
            <a:ext cx="5000460" cy="1425988"/>
            <a:chOff x="7191545" y="0"/>
            <a:chExt cx="5000460" cy="1425988"/>
          </a:xfrm>
        </p:grpSpPr>
        <p:pic>
          <p:nvPicPr>
            <p:cNvPr id="5" name="Picture 19">
              <a:extLst>
                <a:ext uri="{FF2B5EF4-FFF2-40B4-BE49-F238E27FC236}">
                  <a16:creationId xmlns:a16="http://schemas.microsoft.com/office/drawing/2014/main" id="{BEFB1B95-685A-FBD6-6094-3AB502ED4628}"/>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6" name="Group 42">
              <a:extLst>
                <a:ext uri="{FF2B5EF4-FFF2-40B4-BE49-F238E27FC236}">
                  <a16:creationId xmlns:a16="http://schemas.microsoft.com/office/drawing/2014/main" id="{28DA6993-F349-38B1-4A41-E1C5AC15D61F}"/>
                </a:ext>
              </a:extLst>
            </p:cNvPr>
            <p:cNvGrpSpPr/>
            <p:nvPr/>
          </p:nvGrpSpPr>
          <p:grpSpPr>
            <a:xfrm>
              <a:off x="7191545" y="0"/>
              <a:ext cx="5000460" cy="1425988"/>
              <a:chOff x="7191545" y="0"/>
              <a:chExt cx="5000460" cy="1425988"/>
            </a:xfrm>
          </p:grpSpPr>
          <p:sp>
            <p:nvSpPr>
              <p:cNvPr id="7" name="Freeform 41">
                <a:extLst>
                  <a:ext uri="{FF2B5EF4-FFF2-40B4-BE49-F238E27FC236}">
                    <a16:creationId xmlns:a16="http://schemas.microsoft.com/office/drawing/2014/main" id="{4F96628E-9883-920A-C136-D0B8EA6113B9}"/>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8" name="Freeform 39">
                <a:extLst>
                  <a:ext uri="{FF2B5EF4-FFF2-40B4-BE49-F238E27FC236}">
                    <a16:creationId xmlns:a16="http://schemas.microsoft.com/office/drawing/2014/main" id="{D84289F6-C802-6765-436C-13C0989CE190}"/>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9" name="Content Placeholder 3">
            <a:extLst>
              <a:ext uri="{FF2B5EF4-FFF2-40B4-BE49-F238E27FC236}">
                <a16:creationId xmlns:a16="http://schemas.microsoft.com/office/drawing/2014/main" id="{2DC28723-E4C1-5C78-0C65-82EB896E4AEA}"/>
              </a:ext>
            </a:extLst>
          </p:cNvPr>
          <p:cNvSpPr txBox="1">
            <a:spLocks noGrp="1"/>
          </p:cNvSpPr>
          <p:nvPr>
            <p:ph idx="2"/>
          </p:nvPr>
        </p:nvSpPr>
        <p:spPr>
          <a:xfrm>
            <a:off x="6172201" y="1825627"/>
            <a:ext cx="5410203" cy="4351336"/>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7">
            <a:extLst>
              <a:ext uri="{FF2B5EF4-FFF2-40B4-BE49-F238E27FC236}">
                <a16:creationId xmlns:a16="http://schemas.microsoft.com/office/drawing/2014/main" id="{FB636A8E-BEF3-5553-83EA-FD6B64271B3D}"/>
              </a:ext>
            </a:extLst>
          </p:cNvPr>
          <p:cNvSpPr txBox="1">
            <a:spLocks noGrp="1"/>
          </p:cNvSpPr>
          <p:nvPr>
            <p:ph type="sldNum" sz="quarter" idx="8"/>
          </p:nvPr>
        </p:nvSpPr>
        <p:spPr>
          <a:xfrm>
            <a:off x="8839193" y="6356352"/>
            <a:ext cx="2743200" cy="365129"/>
          </a:xfrm>
        </p:spPr>
        <p:txBody>
          <a:bodyPr/>
          <a:lstStyle>
            <a:lvl1pPr>
              <a:defRPr/>
            </a:lvl1pPr>
          </a:lstStyle>
          <a:p>
            <a:pPr lvl="0"/>
            <a:fld id="{8FAAB1F2-36CE-446B-B778-2E042D2B4A4D}" type="slidenum">
              <a:t>‹#›</a:t>
            </a:fld>
            <a:endParaRPr lang="en-US"/>
          </a:p>
        </p:txBody>
      </p:sp>
      <p:cxnSp>
        <p:nvCxnSpPr>
          <p:cNvPr id="11" name="Straight Connector 6">
            <a:extLst>
              <a:ext uri="{FF2B5EF4-FFF2-40B4-BE49-F238E27FC236}">
                <a16:creationId xmlns:a16="http://schemas.microsoft.com/office/drawing/2014/main" id="{D992C53E-CED0-2995-C4E0-F3CB465F9EA1}"/>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2" name="Footer Placeholder 4">
            <a:extLst>
              <a:ext uri="{FF2B5EF4-FFF2-40B4-BE49-F238E27FC236}">
                <a16:creationId xmlns:a16="http://schemas.microsoft.com/office/drawing/2014/main" id="{5925E6F5-92C4-6449-6E16-EAEEFA468105}"/>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1924542027"/>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 name="Group 24">
            <a:extLst>
              <a:ext uri="{FF2B5EF4-FFF2-40B4-BE49-F238E27FC236}">
                <a16:creationId xmlns:a16="http://schemas.microsoft.com/office/drawing/2014/main" id="{1B22071E-6CCA-3E8E-ECC7-90EF595E7135}"/>
              </a:ext>
            </a:extLst>
          </p:cNvPr>
          <p:cNvGrpSpPr/>
          <p:nvPr/>
        </p:nvGrpSpPr>
        <p:grpSpPr>
          <a:xfrm>
            <a:off x="7191545" y="0"/>
            <a:ext cx="5000460" cy="1425988"/>
            <a:chOff x="7191545" y="0"/>
            <a:chExt cx="5000460" cy="1425988"/>
          </a:xfrm>
        </p:grpSpPr>
        <p:pic>
          <p:nvPicPr>
            <p:cNvPr id="3" name="Picture 25">
              <a:extLst>
                <a:ext uri="{FF2B5EF4-FFF2-40B4-BE49-F238E27FC236}">
                  <a16:creationId xmlns:a16="http://schemas.microsoft.com/office/drawing/2014/main" id="{99390975-FD4C-6F07-4CDA-9820E06D58C0}"/>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26">
              <a:extLst>
                <a:ext uri="{FF2B5EF4-FFF2-40B4-BE49-F238E27FC236}">
                  <a16:creationId xmlns:a16="http://schemas.microsoft.com/office/drawing/2014/main" id="{1E0957B2-D36D-4F2D-0169-F33603177EC1}"/>
                </a:ext>
              </a:extLst>
            </p:cNvPr>
            <p:cNvGrpSpPr/>
            <p:nvPr/>
          </p:nvGrpSpPr>
          <p:grpSpPr>
            <a:xfrm>
              <a:off x="7191545" y="0"/>
              <a:ext cx="5000460" cy="1425988"/>
              <a:chOff x="7191545" y="0"/>
              <a:chExt cx="5000460" cy="1425988"/>
            </a:xfrm>
          </p:grpSpPr>
          <p:sp>
            <p:nvSpPr>
              <p:cNvPr id="5" name="Freeform 27">
                <a:extLst>
                  <a:ext uri="{FF2B5EF4-FFF2-40B4-BE49-F238E27FC236}">
                    <a16:creationId xmlns:a16="http://schemas.microsoft.com/office/drawing/2014/main" id="{10B98D3A-D832-8DEC-5F19-E779B6D9088D}"/>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28">
                <a:extLst>
                  <a:ext uri="{FF2B5EF4-FFF2-40B4-BE49-F238E27FC236}">
                    <a16:creationId xmlns:a16="http://schemas.microsoft.com/office/drawing/2014/main" id="{297E54C6-4DF9-9154-1900-E81A6D914FF7}"/>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EA1BF77C-7C8F-3FE1-C7E5-769D66A216EC}"/>
              </a:ext>
            </a:extLst>
          </p:cNvPr>
          <p:cNvSpPr txBox="1">
            <a:spLocks noGrp="1"/>
          </p:cNvSpPr>
          <p:nvPr>
            <p:ph type="title"/>
          </p:nvPr>
        </p:nvSpPr>
        <p:spPr/>
        <p:txBody>
          <a:bodyPr/>
          <a:lstStyle>
            <a:lvl1pPr>
              <a:defRPr/>
            </a:lvl1pPr>
          </a:lstStyle>
          <a:p>
            <a:pPr lvl="0"/>
            <a:r>
              <a:rPr lang="en-US"/>
              <a:t>Click to edit Master title style</a:t>
            </a:r>
          </a:p>
        </p:txBody>
      </p:sp>
      <p:sp>
        <p:nvSpPr>
          <p:cNvPr id="8" name="Text Placeholder 2">
            <a:extLst>
              <a:ext uri="{FF2B5EF4-FFF2-40B4-BE49-F238E27FC236}">
                <a16:creationId xmlns:a16="http://schemas.microsoft.com/office/drawing/2014/main" id="{BE20FC67-78F7-F409-FBDD-954FFB047CE4}"/>
              </a:ext>
            </a:extLst>
          </p:cNvPr>
          <p:cNvSpPr txBox="1">
            <a:spLocks noGrp="1"/>
          </p:cNvSpPr>
          <p:nvPr>
            <p:ph type="body" idx="1"/>
          </p:nvPr>
        </p:nvSpPr>
        <p:spPr>
          <a:xfrm>
            <a:off x="609604" y="1681160"/>
            <a:ext cx="5387973" cy="823910"/>
          </a:xfrm>
          <a:solidFill>
            <a:srgbClr val="F3F6FB"/>
          </a:solidFill>
        </p:spPr>
        <p:txBody>
          <a:bodyPr lIns="182880" tIns="0" rIns="182880" bIns="0" anchor="ctr"/>
          <a:lstStyle>
            <a:lvl1pPr marL="0" indent="0">
              <a:buNone/>
              <a:defRPr u="sng">
                <a:uFill>
                  <a:solidFill>
                    <a:srgbClr val="F58366"/>
                  </a:solidFill>
                </a:uFill>
              </a:defRPr>
            </a:lvl1pPr>
          </a:lstStyle>
          <a:p>
            <a:pPr lvl="0"/>
            <a:r>
              <a:rPr lang="en-US"/>
              <a:t>Click to edit Master text styles</a:t>
            </a:r>
          </a:p>
        </p:txBody>
      </p:sp>
      <p:sp>
        <p:nvSpPr>
          <p:cNvPr id="9" name="Content Placeholder 3">
            <a:extLst>
              <a:ext uri="{FF2B5EF4-FFF2-40B4-BE49-F238E27FC236}">
                <a16:creationId xmlns:a16="http://schemas.microsoft.com/office/drawing/2014/main" id="{E71E12D2-29A7-93EF-B22A-EFDA177FC18C}"/>
              </a:ext>
            </a:extLst>
          </p:cNvPr>
          <p:cNvSpPr txBox="1">
            <a:spLocks noGrp="1"/>
          </p:cNvSpPr>
          <p:nvPr>
            <p:ph idx="2"/>
          </p:nvPr>
        </p:nvSpPr>
        <p:spPr>
          <a:xfrm>
            <a:off x="609604" y="2505072"/>
            <a:ext cx="5387973" cy="3684583"/>
          </a:xfrm>
          <a:solidFill>
            <a:srgbClr val="F3F6FB"/>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5F35801B-9E49-2E5B-48CB-B68583B635D8}"/>
              </a:ext>
            </a:extLst>
          </p:cNvPr>
          <p:cNvSpPr txBox="1">
            <a:spLocks noGrp="1"/>
          </p:cNvSpPr>
          <p:nvPr>
            <p:ph type="body" idx="3"/>
          </p:nvPr>
        </p:nvSpPr>
        <p:spPr>
          <a:xfrm>
            <a:off x="6172201" y="1681160"/>
            <a:ext cx="5410203" cy="823910"/>
          </a:xfrm>
          <a:solidFill>
            <a:srgbClr val="F3F6FB"/>
          </a:solidFill>
        </p:spPr>
        <p:txBody>
          <a:bodyPr lIns="182880" tIns="0" rIns="182880" bIns="0" anchor="ctr"/>
          <a:lstStyle>
            <a:lvl1pPr marL="0" indent="0">
              <a:buNone/>
              <a:defRPr u="sng">
                <a:uFill>
                  <a:solidFill>
                    <a:srgbClr val="F58366"/>
                  </a:solidFill>
                </a:uFill>
              </a:defRPr>
            </a:lvl1pPr>
          </a:lstStyle>
          <a:p>
            <a:pPr lvl="0"/>
            <a:r>
              <a:rPr lang="en-US"/>
              <a:t>Click to edit Master text styles</a:t>
            </a:r>
          </a:p>
        </p:txBody>
      </p:sp>
      <p:sp>
        <p:nvSpPr>
          <p:cNvPr id="11" name="Content Placeholder 5">
            <a:extLst>
              <a:ext uri="{FF2B5EF4-FFF2-40B4-BE49-F238E27FC236}">
                <a16:creationId xmlns:a16="http://schemas.microsoft.com/office/drawing/2014/main" id="{8EB41A2B-382C-D9AC-8AEB-F3A68C6DF342}"/>
              </a:ext>
            </a:extLst>
          </p:cNvPr>
          <p:cNvSpPr txBox="1">
            <a:spLocks noGrp="1"/>
          </p:cNvSpPr>
          <p:nvPr>
            <p:ph idx="4"/>
          </p:nvPr>
        </p:nvSpPr>
        <p:spPr>
          <a:xfrm>
            <a:off x="6172201" y="2505072"/>
            <a:ext cx="5410203" cy="3684583"/>
          </a:xfrm>
          <a:solidFill>
            <a:srgbClr val="F3F6FB"/>
          </a:solidFill>
        </p:spPr>
        <p:txBody>
          <a:bodyPr lIns="182880" tIns="0" rIns="182880" bIns="0"/>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9">
            <a:extLst>
              <a:ext uri="{FF2B5EF4-FFF2-40B4-BE49-F238E27FC236}">
                <a16:creationId xmlns:a16="http://schemas.microsoft.com/office/drawing/2014/main" id="{E58B7385-D6DC-2972-4C9F-F1B569D6CE4C}"/>
              </a:ext>
            </a:extLst>
          </p:cNvPr>
          <p:cNvSpPr txBox="1">
            <a:spLocks noGrp="1"/>
          </p:cNvSpPr>
          <p:nvPr>
            <p:ph type="sldNum" sz="quarter" idx="8"/>
          </p:nvPr>
        </p:nvSpPr>
        <p:spPr/>
        <p:txBody>
          <a:bodyPr/>
          <a:lstStyle>
            <a:lvl1pPr>
              <a:defRPr/>
            </a:lvl1pPr>
          </a:lstStyle>
          <a:p>
            <a:pPr lvl="0"/>
            <a:fld id="{B8AFA3D7-8F8D-4F1E-9563-6788EBD175FE}" type="slidenum">
              <a:t>‹#›</a:t>
            </a:fld>
            <a:endParaRPr lang="en-US"/>
          </a:p>
        </p:txBody>
      </p:sp>
      <p:cxnSp>
        <p:nvCxnSpPr>
          <p:cNvPr id="13" name="Straight Connector 8">
            <a:extLst>
              <a:ext uri="{FF2B5EF4-FFF2-40B4-BE49-F238E27FC236}">
                <a16:creationId xmlns:a16="http://schemas.microsoft.com/office/drawing/2014/main" id="{4079D5E6-605B-C4D9-8325-13344F461356}"/>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4" name="Footer Placeholder 7">
            <a:extLst>
              <a:ext uri="{FF2B5EF4-FFF2-40B4-BE49-F238E27FC236}">
                <a16:creationId xmlns:a16="http://schemas.microsoft.com/office/drawing/2014/main" id="{AC48F6D9-DA5E-B1DB-4E32-9603BBAC2C83}"/>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3380198411"/>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7_Photo Slide">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DFA3D773-4576-9022-E219-69AD63C47FF0}"/>
              </a:ext>
            </a:extLst>
          </p:cNvPr>
          <p:cNvSpPr txBox="1">
            <a:spLocks noGrp="1"/>
          </p:cNvSpPr>
          <p:nvPr>
            <p:ph type="body" idx="4294967295"/>
          </p:nvPr>
        </p:nvSpPr>
        <p:spPr>
          <a:xfrm>
            <a:off x="457200" y="1146255"/>
            <a:ext cx="2350172" cy="2971800"/>
          </a:xfrm>
        </p:spPr>
        <p:txBody>
          <a:bodyPr/>
          <a:lstStyle>
            <a:lvl1pPr marL="0" indent="0">
              <a:buNone/>
              <a:defRPr/>
            </a:lvl1pPr>
          </a:lstStyle>
          <a:p>
            <a:pPr lvl="0"/>
            <a:r>
              <a:rPr lang="en-US"/>
              <a:t>Click to edit Master text styles</a:t>
            </a:r>
          </a:p>
        </p:txBody>
      </p:sp>
      <p:cxnSp>
        <p:nvCxnSpPr>
          <p:cNvPr id="3" name="Straight Connector 5">
            <a:extLst>
              <a:ext uri="{FF2B5EF4-FFF2-40B4-BE49-F238E27FC236}">
                <a16:creationId xmlns:a16="http://schemas.microsoft.com/office/drawing/2014/main" id="{9DA13D3D-3ACA-71A7-1219-8FECAF35FCE4}"/>
              </a:ext>
            </a:extLst>
          </p:cNvPr>
          <p:cNvCxnSpPr/>
          <p:nvPr/>
        </p:nvCxnSpPr>
        <p:spPr>
          <a:xfrm>
            <a:off x="457201" y="947985"/>
            <a:ext cx="2350163" cy="0"/>
          </a:xfrm>
          <a:prstGeom prst="straightConnector1">
            <a:avLst/>
          </a:prstGeom>
          <a:noFill/>
          <a:ln w="31747" cap="flat">
            <a:solidFill>
              <a:srgbClr val="F58366"/>
            </a:solidFill>
            <a:prstDash val="solid"/>
            <a:miter/>
          </a:ln>
        </p:spPr>
      </p:cxnSp>
      <p:grpSp>
        <p:nvGrpSpPr>
          <p:cNvPr id="4" name="Group 2">
            <a:extLst>
              <a:ext uri="{FF2B5EF4-FFF2-40B4-BE49-F238E27FC236}">
                <a16:creationId xmlns:a16="http://schemas.microsoft.com/office/drawing/2014/main" id="{AABEAB8B-FEB3-BB4C-18A1-239B4C09F65F}"/>
              </a:ext>
            </a:extLst>
          </p:cNvPr>
          <p:cNvGrpSpPr/>
          <p:nvPr/>
        </p:nvGrpSpPr>
        <p:grpSpPr>
          <a:xfrm>
            <a:off x="1" y="5379425"/>
            <a:ext cx="2807363" cy="753895"/>
            <a:chOff x="0" y="5379424"/>
            <a:chExt cx="2807363" cy="753895"/>
          </a:xfrm>
        </p:grpSpPr>
        <p:sp>
          <p:nvSpPr>
            <p:cNvPr id="5" name="Freeform 21">
              <a:extLst>
                <a:ext uri="{FF2B5EF4-FFF2-40B4-BE49-F238E27FC236}">
                  <a16:creationId xmlns:a16="http://schemas.microsoft.com/office/drawing/2014/main" id="{55A9BE53-B346-C9DD-D2C4-4369F92E959C}"/>
                </a:ext>
              </a:extLst>
            </p:cNvPr>
            <p:cNvSpPr/>
            <p:nvPr/>
          </p:nvSpPr>
          <p:spPr>
            <a:xfrm>
              <a:off x="0" y="5532513"/>
              <a:ext cx="2807363" cy="600806"/>
            </a:xfrm>
            <a:custGeom>
              <a:avLst/>
              <a:gdLst>
                <a:gd name="f0" fmla="val 10800000"/>
                <a:gd name="f1" fmla="val 5400000"/>
                <a:gd name="f2" fmla="val 180"/>
                <a:gd name="f3" fmla="val w"/>
                <a:gd name="f4" fmla="val h"/>
                <a:gd name="f5" fmla="val 0"/>
                <a:gd name="f6" fmla="val 2807368"/>
                <a:gd name="f7" fmla="val 600807"/>
                <a:gd name="f8" fmla="val 429971"/>
                <a:gd name="f9" fmla="val 123998"/>
                <a:gd name="f10" fmla="val 1184765"/>
                <a:gd name="f11" fmla="val 325331"/>
                <a:gd name="f12" fmla="val 2014184"/>
                <a:gd name="f13" fmla="val 392492"/>
                <a:gd name="f14" fmla="val 2790212"/>
                <a:gd name="f15" fmla="val 235402"/>
                <a:gd name="f16" fmla="val 231522"/>
                <a:gd name="f17" fmla="val 566106"/>
                <a:gd name="f18" fmla="val 2593885"/>
                <a:gd name="f19" fmla="val 587498"/>
                <a:gd name="f20" fmla="val 1673646"/>
                <a:gd name="f21" fmla="val 651184"/>
                <a:gd name="f22" fmla="val 884869"/>
                <a:gd name="f23" fmla="val 479260"/>
                <a:gd name="f24" fmla="val 100844"/>
                <a:gd name="f25" fmla="val 222653"/>
                <a:gd name="f26" fmla="val 188389"/>
                <a:gd name="f27" fmla="+- 0 0 -90"/>
                <a:gd name="f28" fmla="*/ f3 1 2807368"/>
                <a:gd name="f29" fmla="*/ f4 1 600807"/>
                <a:gd name="f30" fmla="+- f7 0 f5"/>
                <a:gd name="f31" fmla="+- f6 0 f5"/>
                <a:gd name="f32" fmla="*/ f27 f0 1"/>
                <a:gd name="f33" fmla="*/ f31 1 2807368"/>
                <a:gd name="f34" fmla="*/ f30 1 600807"/>
                <a:gd name="f35" fmla="*/ 0 f31 1"/>
                <a:gd name="f36" fmla="*/ 0 f30 1"/>
                <a:gd name="f37" fmla="*/ 429971 f31 1"/>
                <a:gd name="f38" fmla="*/ 123998 f30 1"/>
                <a:gd name="f39" fmla="*/ 2790212 f31 1"/>
                <a:gd name="f40" fmla="*/ 235402 f30 1"/>
                <a:gd name="f41" fmla="*/ 2807368 f31 1"/>
                <a:gd name="f42" fmla="*/ 231522 f30 1"/>
                <a:gd name="f43" fmla="*/ 566106 f30 1"/>
                <a:gd name="f44" fmla="*/ 2593885 f31 1"/>
                <a:gd name="f45" fmla="*/ 587498 f30 1"/>
                <a:gd name="f46" fmla="*/ 100844 f31 1"/>
                <a:gd name="f47" fmla="*/ 222653 f30 1"/>
                <a:gd name="f48" fmla="*/ 188389 f30 1"/>
                <a:gd name="f49" fmla="*/ f32 1 f2"/>
                <a:gd name="f50" fmla="*/ f35 1 2807368"/>
                <a:gd name="f51" fmla="*/ f36 1 600807"/>
                <a:gd name="f52" fmla="*/ f37 1 2807368"/>
                <a:gd name="f53" fmla="*/ f38 1 600807"/>
                <a:gd name="f54" fmla="*/ f39 1 2807368"/>
                <a:gd name="f55" fmla="*/ f40 1 600807"/>
                <a:gd name="f56" fmla="*/ f41 1 2807368"/>
                <a:gd name="f57" fmla="*/ f42 1 600807"/>
                <a:gd name="f58" fmla="*/ f43 1 600807"/>
                <a:gd name="f59" fmla="*/ f44 1 2807368"/>
                <a:gd name="f60" fmla="*/ f45 1 600807"/>
                <a:gd name="f61" fmla="*/ f46 1 2807368"/>
                <a:gd name="f62" fmla="*/ f47 1 600807"/>
                <a:gd name="f63" fmla="*/ f48 1 600807"/>
                <a:gd name="f64" fmla="*/ f5 1 f33"/>
                <a:gd name="f65" fmla="*/ f6 1 f33"/>
                <a:gd name="f66" fmla="*/ f5 1 f34"/>
                <a:gd name="f67" fmla="*/ f7 1 f34"/>
                <a:gd name="f68" fmla="+- f49 0 f1"/>
                <a:gd name="f69" fmla="*/ f50 1 f33"/>
                <a:gd name="f70" fmla="*/ f51 1 f34"/>
                <a:gd name="f71" fmla="*/ f52 1 f33"/>
                <a:gd name="f72" fmla="*/ f53 1 f34"/>
                <a:gd name="f73" fmla="*/ f54 1 f33"/>
                <a:gd name="f74" fmla="*/ f55 1 f34"/>
                <a:gd name="f75" fmla="*/ f56 1 f33"/>
                <a:gd name="f76" fmla="*/ f57 1 f34"/>
                <a:gd name="f77" fmla="*/ f58 1 f34"/>
                <a:gd name="f78" fmla="*/ f59 1 f33"/>
                <a:gd name="f79" fmla="*/ f60 1 f34"/>
                <a:gd name="f80" fmla="*/ f61 1 f33"/>
                <a:gd name="f81" fmla="*/ f62 1 f34"/>
                <a:gd name="f82" fmla="*/ f63 1 f34"/>
                <a:gd name="f83" fmla="*/ f64 f28 1"/>
                <a:gd name="f84" fmla="*/ f65 f28 1"/>
                <a:gd name="f85" fmla="*/ f67 f29 1"/>
                <a:gd name="f86" fmla="*/ f66 f29 1"/>
                <a:gd name="f87" fmla="*/ f69 f28 1"/>
                <a:gd name="f88" fmla="*/ f70 f29 1"/>
                <a:gd name="f89" fmla="*/ f71 f28 1"/>
                <a:gd name="f90" fmla="*/ f72 f29 1"/>
                <a:gd name="f91" fmla="*/ f73 f28 1"/>
                <a:gd name="f92" fmla="*/ f74 f29 1"/>
                <a:gd name="f93" fmla="*/ f75 f28 1"/>
                <a:gd name="f94" fmla="*/ f76 f29 1"/>
                <a:gd name="f95" fmla="*/ f77 f29 1"/>
                <a:gd name="f96" fmla="*/ f78 f28 1"/>
                <a:gd name="f97" fmla="*/ f79 f29 1"/>
                <a:gd name="f98" fmla="*/ f80 f28 1"/>
                <a:gd name="f99" fmla="*/ f81 f29 1"/>
                <a:gd name="f100" fmla="*/ f82 f29 1"/>
              </a:gdLst>
              <a:ahLst/>
              <a:cxnLst>
                <a:cxn ang="3cd4">
                  <a:pos x="hc" y="t"/>
                </a:cxn>
                <a:cxn ang="0">
                  <a:pos x="r" y="vc"/>
                </a:cxn>
                <a:cxn ang="cd4">
                  <a:pos x="hc" y="b"/>
                </a:cxn>
                <a:cxn ang="cd2">
                  <a:pos x="l" y="vc"/>
                </a:cxn>
                <a:cxn ang="f68">
                  <a:pos x="f87" y="f88"/>
                </a:cxn>
                <a:cxn ang="f68">
                  <a:pos x="f89" y="f90"/>
                </a:cxn>
                <a:cxn ang="f68">
                  <a:pos x="f91" y="f92"/>
                </a:cxn>
                <a:cxn ang="f68">
                  <a:pos x="f93" y="f94"/>
                </a:cxn>
                <a:cxn ang="f68">
                  <a:pos x="f93" y="f95"/>
                </a:cxn>
                <a:cxn ang="f68">
                  <a:pos x="f96" y="f97"/>
                </a:cxn>
                <a:cxn ang="f68">
                  <a:pos x="f98" y="f99"/>
                </a:cxn>
                <a:cxn ang="f68">
                  <a:pos x="f87" y="f100"/>
                </a:cxn>
              </a:cxnLst>
              <a:rect l="f83" t="f86" r="f84" b="f85"/>
              <a:pathLst>
                <a:path w="2807368" h="600807">
                  <a:moveTo>
                    <a:pt x="f5" y="f5"/>
                  </a:moveTo>
                  <a:lnTo>
                    <a:pt x="f8" y="f9"/>
                  </a:lnTo>
                  <a:cubicBezTo>
                    <a:pt x="f10" y="f11"/>
                    <a:pt x="f12" y="f13"/>
                    <a:pt x="f14" y="f15"/>
                  </a:cubicBezTo>
                  <a:lnTo>
                    <a:pt x="f6" y="f16"/>
                  </a:lnTo>
                  <a:lnTo>
                    <a:pt x="f6" y="f17"/>
                  </a:lnTo>
                  <a:lnTo>
                    <a:pt x="f18" y="f19"/>
                  </a:lnTo>
                  <a:cubicBezTo>
                    <a:pt x="f20" y="f21"/>
                    <a:pt x="f22" y="f23"/>
                    <a:pt x="f24" y="f25"/>
                  </a:cubicBezTo>
                  <a:lnTo>
                    <a:pt x="f5" y="f26"/>
                  </a:ln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Freeform 19">
              <a:extLst>
                <a:ext uri="{FF2B5EF4-FFF2-40B4-BE49-F238E27FC236}">
                  <a16:creationId xmlns:a16="http://schemas.microsoft.com/office/drawing/2014/main" id="{6E5E99BF-D5E4-4BB4-C57D-04E7CA05B39C}"/>
                </a:ext>
              </a:extLst>
            </p:cNvPr>
            <p:cNvSpPr/>
            <p:nvPr/>
          </p:nvSpPr>
          <p:spPr>
            <a:xfrm>
              <a:off x="0" y="5379424"/>
              <a:ext cx="2807363" cy="649800"/>
            </a:xfrm>
            <a:custGeom>
              <a:avLst/>
              <a:gdLst>
                <a:gd name="f0" fmla="val 10800000"/>
                <a:gd name="f1" fmla="val 5400000"/>
                <a:gd name="f2" fmla="val 180"/>
                <a:gd name="f3" fmla="val w"/>
                <a:gd name="f4" fmla="val h"/>
                <a:gd name="f5" fmla="val 0"/>
                <a:gd name="f6" fmla="val 2807368"/>
                <a:gd name="f7" fmla="val 649803"/>
                <a:gd name="f8" fmla="val 282676"/>
                <a:gd name="f9" fmla="val 70799"/>
                <a:gd name="f10" fmla="val 435964"/>
                <a:gd name="f11" fmla="val 106085"/>
                <a:gd name="f12" fmla="val 588770"/>
                <a:gd name="f13" fmla="val 137629"/>
                <a:gd name="f14" fmla="val 740881"/>
                <a:gd name="f15" fmla="val 163828"/>
                <a:gd name="f16" fmla="val 1362800"/>
                <a:gd name="f17" fmla="val 270912"/>
                <a:gd name="f18" fmla="val 2067879"/>
                <a:gd name="f19" fmla="val 253759"/>
                <a:gd name="f20" fmla="val 2706471"/>
                <a:gd name="f21" fmla="val 96397"/>
                <a:gd name="f22" fmla="val 67250"/>
                <a:gd name="f23" fmla="val 605551"/>
                <a:gd name="f24" fmla="val 2602685"/>
                <a:gd name="f25" fmla="val 629466"/>
                <a:gd name="f26" fmla="val 1684237"/>
                <a:gd name="f27" fmla="val 708219"/>
                <a:gd name="f28" fmla="val 893252"/>
                <a:gd name="f29" fmla="val 549395"/>
                <a:gd name="f30" fmla="val 105614"/>
                <a:gd name="f31" fmla="val 305882"/>
                <a:gd name="f32" fmla="val 271926"/>
                <a:gd name="f33" fmla="+- 0 0 -90"/>
                <a:gd name="f34" fmla="*/ f3 1 2807368"/>
                <a:gd name="f35" fmla="*/ f4 1 649803"/>
                <a:gd name="f36" fmla="+- f7 0 f5"/>
                <a:gd name="f37" fmla="+- f6 0 f5"/>
                <a:gd name="f38" fmla="*/ f33 f0 1"/>
                <a:gd name="f39" fmla="*/ f37 1 2807368"/>
                <a:gd name="f40" fmla="*/ f36 1 649803"/>
                <a:gd name="f41" fmla="*/ 0 f37 1"/>
                <a:gd name="f42" fmla="*/ 0 f36 1"/>
                <a:gd name="f43" fmla="*/ 282676 f37 1"/>
                <a:gd name="f44" fmla="*/ 70799 f36 1"/>
                <a:gd name="f45" fmla="*/ 740881 f37 1"/>
                <a:gd name="f46" fmla="*/ 163828 f36 1"/>
                <a:gd name="f47" fmla="*/ 2706471 f37 1"/>
                <a:gd name="f48" fmla="*/ 96397 f36 1"/>
                <a:gd name="f49" fmla="*/ 2807368 f37 1"/>
                <a:gd name="f50" fmla="*/ 67250 f36 1"/>
                <a:gd name="f51" fmla="*/ 605551 f36 1"/>
                <a:gd name="f52" fmla="*/ 2602685 f37 1"/>
                <a:gd name="f53" fmla="*/ 629466 f36 1"/>
                <a:gd name="f54" fmla="*/ 105614 f37 1"/>
                <a:gd name="f55" fmla="*/ 305882 f36 1"/>
                <a:gd name="f56" fmla="*/ 271926 f36 1"/>
                <a:gd name="f57" fmla="*/ f38 1 f2"/>
                <a:gd name="f58" fmla="*/ f41 1 2807368"/>
                <a:gd name="f59" fmla="*/ f42 1 649803"/>
                <a:gd name="f60" fmla="*/ f43 1 2807368"/>
                <a:gd name="f61" fmla="*/ f44 1 649803"/>
                <a:gd name="f62" fmla="*/ f45 1 2807368"/>
                <a:gd name="f63" fmla="*/ f46 1 649803"/>
                <a:gd name="f64" fmla="*/ f47 1 2807368"/>
                <a:gd name="f65" fmla="*/ f48 1 649803"/>
                <a:gd name="f66" fmla="*/ f49 1 2807368"/>
                <a:gd name="f67" fmla="*/ f50 1 649803"/>
                <a:gd name="f68" fmla="*/ f51 1 649803"/>
                <a:gd name="f69" fmla="*/ f52 1 2807368"/>
                <a:gd name="f70" fmla="*/ f53 1 649803"/>
                <a:gd name="f71" fmla="*/ f54 1 2807368"/>
                <a:gd name="f72" fmla="*/ f55 1 649803"/>
                <a:gd name="f73" fmla="*/ f56 1 649803"/>
                <a:gd name="f74" fmla="*/ f5 1 f39"/>
                <a:gd name="f75" fmla="*/ f6 1 f39"/>
                <a:gd name="f76" fmla="*/ f5 1 f40"/>
                <a:gd name="f77" fmla="*/ f7 1 f40"/>
                <a:gd name="f78" fmla="+- f57 0 f1"/>
                <a:gd name="f79" fmla="*/ f58 1 f39"/>
                <a:gd name="f80" fmla="*/ f59 1 f40"/>
                <a:gd name="f81" fmla="*/ f60 1 f39"/>
                <a:gd name="f82" fmla="*/ f61 1 f40"/>
                <a:gd name="f83" fmla="*/ f62 1 f39"/>
                <a:gd name="f84" fmla="*/ f63 1 f40"/>
                <a:gd name="f85" fmla="*/ f64 1 f39"/>
                <a:gd name="f86" fmla="*/ f65 1 f40"/>
                <a:gd name="f87" fmla="*/ f66 1 f39"/>
                <a:gd name="f88" fmla="*/ f67 1 f40"/>
                <a:gd name="f89" fmla="*/ f68 1 f40"/>
                <a:gd name="f90" fmla="*/ f69 1 f39"/>
                <a:gd name="f91" fmla="*/ f70 1 f40"/>
                <a:gd name="f92" fmla="*/ f71 1 f39"/>
                <a:gd name="f93" fmla="*/ f72 1 f40"/>
                <a:gd name="f94" fmla="*/ f73 1 f40"/>
                <a:gd name="f95" fmla="*/ f74 f34 1"/>
                <a:gd name="f96" fmla="*/ f75 f34 1"/>
                <a:gd name="f97" fmla="*/ f77 f35 1"/>
                <a:gd name="f98" fmla="*/ f76 f35 1"/>
                <a:gd name="f99" fmla="*/ f79 f34 1"/>
                <a:gd name="f100" fmla="*/ f80 f35 1"/>
                <a:gd name="f101" fmla="*/ f81 f34 1"/>
                <a:gd name="f102" fmla="*/ f82 f35 1"/>
                <a:gd name="f103" fmla="*/ f83 f34 1"/>
                <a:gd name="f104" fmla="*/ f84 f35 1"/>
                <a:gd name="f105" fmla="*/ f85 f34 1"/>
                <a:gd name="f106" fmla="*/ f86 f35 1"/>
                <a:gd name="f107" fmla="*/ f87 f34 1"/>
                <a:gd name="f108" fmla="*/ f88 f35 1"/>
                <a:gd name="f109" fmla="*/ f89 f35 1"/>
                <a:gd name="f110" fmla="*/ f90 f34 1"/>
                <a:gd name="f111" fmla="*/ f91 f35 1"/>
                <a:gd name="f112" fmla="*/ f92 f34 1"/>
                <a:gd name="f113" fmla="*/ f93 f35 1"/>
                <a:gd name="f114" fmla="*/ f94 f35 1"/>
              </a:gdLst>
              <a:ahLst/>
              <a:cxnLst>
                <a:cxn ang="3cd4">
                  <a:pos x="hc" y="t"/>
                </a:cxn>
                <a:cxn ang="0">
                  <a:pos x="r" y="vc"/>
                </a:cxn>
                <a:cxn ang="cd4">
                  <a:pos x="hc" y="b"/>
                </a:cxn>
                <a:cxn ang="cd2">
                  <a:pos x="l" y="vc"/>
                </a:cxn>
                <a:cxn ang="f78">
                  <a:pos x="f99" y="f100"/>
                </a:cxn>
                <a:cxn ang="f78">
                  <a:pos x="f101" y="f102"/>
                </a:cxn>
                <a:cxn ang="f78">
                  <a:pos x="f103" y="f104"/>
                </a:cxn>
                <a:cxn ang="f78">
                  <a:pos x="f105" y="f106"/>
                </a:cxn>
                <a:cxn ang="f78">
                  <a:pos x="f107" y="f108"/>
                </a:cxn>
                <a:cxn ang="f78">
                  <a:pos x="f107" y="f109"/>
                </a:cxn>
                <a:cxn ang="f78">
                  <a:pos x="f110" y="f111"/>
                </a:cxn>
                <a:cxn ang="f78">
                  <a:pos x="f112" y="f113"/>
                </a:cxn>
                <a:cxn ang="f78">
                  <a:pos x="f99" y="f114"/>
                </a:cxn>
              </a:cxnLst>
              <a:rect l="f95" t="f98" r="f96" b="f97"/>
              <a:pathLst>
                <a:path w="2807368" h="649803">
                  <a:moveTo>
                    <a:pt x="f5" y="f5"/>
                  </a:moveTo>
                  <a:lnTo>
                    <a:pt x="f8" y="f9"/>
                  </a:lnTo>
                  <a:cubicBezTo>
                    <a:pt x="f10" y="f11"/>
                    <a:pt x="f12" y="f13"/>
                    <a:pt x="f14" y="f15"/>
                  </a:cubicBezTo>
                  <a:cubicBezTo>
                    <a:pt x="f16" y="f17"/>
                    <a:pt x="f18" y="f19"/>
                    <a:pt x="f20" y="f21"/>
                  </a:cubicBezTo>
                  <a:lnTo>
                    <a:pt x="f6" y="f22"/>
                  </a:lnTo>
                  <a:lnTo>
                    <a:pt x="f6" y="f23"/>
                  </a:lnTo>
                  <a:lnTo>
                    <a:pt x="f24" y="f25"/>
                  </a:lnTo>
                  <a:cubicBezTo>
                    <a:pt x="f26" y="f27"/>
                    <a:pt x="f28" y="f29"/>
                    <a:pt x="f30" y="f31"/>
                  </a:cubicBezTo>
                  <a:lnTo>
                    <a:pt x="f5" y="f32"/>
                  </a:ln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grpSp>
      <p:sp>
        <p:nvSpPr>
          <p:cNvPr id="7" name="Picture Placeholder 6">
            <a:extLst>
              <a:ext uri="{FF2B5EF4-FFF2-40B4-BE49-F238E27FC236}">
                <a16:creationId xmlns:a16="http://schemas.microsoft.com/office/drawing/2014/main" id="{2FCADACD-CE67-CC47-8DB4-A111481F3CAA}"/>
              </a:ext>
            </a:extLst>
          </p:cNvPr>
          <p:cNvSpPr txBox="1">
            <a:spLocks noGrp="1"/>
          </p:cNvSpPr>
          <p:nvPr>
            <p:ph type="pic" idx="4294967295"/>
          </p:nvPr>
        </p:nvSpPr>
        <p:spPr>
          <a:xfrm>
            <a:off x="2807363" y="457200"/>
            <a:ext cx="8915400" cy="5943600"/>
          </a:xfrm>
        </p:spPr>
        <p:txBody>
          <a:bodyPr/>
          <a:lstStyle>
            <a:lvl1pPr>
              <a:defRPr/>
            </a:lvl1pPr>
          </a:lstStyle>
          <a:p>
            <a:pPr lvl="0"/>
            <a:endParaRPr lang="en-US"/>
          </a:p>
        </p:txBody>
      </p:sp>
      <p:pic>
        <p:nvPicPr>
          <p:cNvPr id="8" name="Picture 14">
            <a:extLst>
              <a:ext uri="{FF2B5EF4-FFF2-40B4-BE49-F238E27FC236}">
                <a16:creationId xmlns:a16="http://schemas.microsoft.com/office/drawing/2014/main" id="{A5F6A293-D30C-3C5F-54EF-F8D61C10C050}"/>
              </a:ext>
            </a:extLst>
          </p:cNvPr>
          <p:cNvPicPr>
            <a:picLocks noChangeAspect="1"/>
          </p:cNvPicPr>
          <p:nvPr/>
        </p:nvPicPr>
        <p:blipFill>
          <a:blip r:embed="rId2"/>
          <a:srcRect/>
          <a:stretch>
            <a:fillRect/>
          </a:stretch>
        </p:blipFill>
        <p:spPr>
          <a:xfrm>
            <a:off x="513354" y="4385535"/>
            <a:ext cx="2025313" cy="911940"/>
          </a:xfrm>
          <a:prstGeom prst="rect">
            <a:avLst/>
          </a:prstGeom>
          <a:noFill/>
          <a:ln cap="flat">
            <a:noFill/>
          </a:ln>
        </p:spPr>
      </p:pic>
    </p:spTree>
    <p:extLst>
      <p:ext uri="{BB962C8B-B14F-4D97-AF65-F5344CB8AC3E}">
        <p14:creationId xmlns:p14="http://schemas.microsoft.com/office/powerpoint/2010/main" val="2438900423"/>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51E94128-7E54-9ACA-9B4C-F579D46A3621}"/>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5D6CA9A9-1E29-774A-6B57-137DB118BEC7}"/>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035EACF8-D01D-0B28-9AF4-43EEBCF5A63F}"/>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3C2D49E0-09AF-278B-29A4-25DFDAC921CF}"/>
              </a:ext>
            </a:extLst>
          </p:cNvPr>
          <p:cNvSpPr txBox="1">
            <a:spLocks noGrp="1"/>
          </p:cNvSpPr>
          <p:nvPr>
            <p:ph type="sldNum" sz="quarter" idx="8"/>
          </p:nvPr>
        </p:nvSpPr>
        <p:spPr/>
        <p:txBody>
          <a:bodyPr/>
          <a:lstStyle>
            <a:lvl1pPr>
              <a:defRPr>
                <a:solidFill>
                  <a:srgbClr val="AFB3B9"/>
                </a:solidFill>
              </a:defRPr>
            </a:lvl1pPr>
          </a:lstStyle>
          <a:p>
            <a:pPr lvl="0"/>
            <a:fld id="{63D7C485-C2CC-49ED-9F0D-168AD2D273DB}" type="slidenum">
              <a:t>‹#›</a:t>
            </a:fld>
            <a:endParaRPr lang="en-US"/>
          </a:p>
        </p:txBody>
      </p:sp>
      <p:cxnSp>
        <p:nvCxnSpPr>
          <p:cNvPr id="6" name="Straight Connector 7">
            <a:extLst>
              <a:ext uri="{FF2B5EF4-FFF2-40B4-BE49-F238E27FC236}">
                <a16:creationId xmlns:a16="http://schemas.microsoft.com/office/drawing/2014/main" id="{7905372B-AA6A-63F6-EFAB-3C8FCE8A135C}"/>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42532CE1-5AE1-E3B2-A391-C5F7ECCF2992}"/>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53063C8B-F1A5-B468-9AFF-2A337D3DCEEF}"/>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D15AAC15-9C6F-60DC-5EE6-9786EBAB96D0}"/>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19D55D35-64ED-60FC-E7A3-4ACC95125505}"/>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5E233491-1377-EA30-7292-F514FDBCC538}"/>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75C5E85B-2019-D8F5-1BFD-9C06544DEF02}"/>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50D11308-FA0E-407A-7C2F-0B050DC6BBAF}"/>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3409957009"/>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6_End">
    <p:spTree>
      <p:nvGrpSpPr>
        <p:cNvPr id="1" name=""/>
        <p:cNvGrpSpPr/>
        <p:nvPr/>
      </p:nvGrpSpPr>
      <p:grpSpPr>
        <a:xfrm>
          <a:off x="0" y="0"/>
          <a:ext cx="0" cy="0"/>
          <a:chOff x="0" y="0"/>
          <a:chExt cx="0" cy="0"/>
        </a:xfrm>
      </p:grpSpPr>
      <p:grpSp>
        <p:nvGrpSpPr>
          <p:cNvPr id="2" name="Group 41">
            <a:extLst>
              <a:ext uri="{FF2B5EF4-FFF2-40B4-BE49-F238E27FC236}">
                <a16:creationId xmlns:a16="http://schemas.microsoft.com/office/drawing/2014/main" id="{5844F7A2-1B5B-58AF-661E-97126F8DF587}"/>
              </a:ext>
            </a:extLst>
          </p:cNvPr>
          <p:cNvGrpSpPr/>
          <p:nvPr/>
        </p:nvGrpSpPr>
        <p:grpSpPr>
          <a:xfrm>
            <a:off x="0" y="0"/>
            <a:ext cx="12191996" cy="2148830"/>
            <a:chOff x="0" y="0"/>
            <a:chExt cx="12191996" cy="2148830"/>
          </a:xfrm>
        </p:grpSpPr>
        <p:sp>
          <p:nvSpPr>
            <p:cNvPr id="3" name="Freeform 40">
              <a:extLst>
                <a:ext uri="{FF2B5EF4-FFF2-40B4-BE49-F238E27FC236}">
                  <a16:creationId xmlns:a16="http://schemas.microsoft.com/office/drawing/2014/main" id="{EACB96AD-8832-5D81-70CC-233A2E8DB724}"/>
                </a:ext>
              </a:extLst>
            </p:cNvPr>
            <p:cNvSpPr/>
            <p:nvPr/>
          </p:nvSpPr>
          <p:spPr>
            <a:xfrm flipH="1">
              <a:off x="0" y="0"/>
              <a:ext cx="12191996" cy="2148830"/>
            </a:xfrm>
            <a:custGeom>
              <a:avLst/>
              <a:gdLst>
                <a:gd name="f0" fmla="val 10800000"/>
                <a:gd name="f1" fmla="val 5400000"/>
                <a:gd name="f2" fmla="val 180"/>
                <a:gd name="f3" fmla="val w"/>
                <a:gd name="f4" fmla="val h"/>
                <a:gd name="f5" fmla="val 0"/>
                <a:gd name="f6" fmla="val 12192000"/>
                <a:gd name="f7" fmla="val 2148830"/>
                <a:gd name="f8" fmla="val 2318293"/>
                <a:gd name="f9" fmla="val 2110341"/>
                <a:gd name="f10" fmla="val 1952334"/>
                <a:gd name="f11" fmla="val 920"/>
                <a:gd name="f12" fmla="val 1343499"/>
                <a:gd name="f13" fmla="val 23864"/>
                <a:gd name="f14" fmla="val 752130"/>
                <a:gd name="f15" fmla="val 152982"/>
                <a:gd name="f16" fmla="val 184205"/>
                <a:gd name="f17" fmla="val 435928"/>
                <a:gd name="f18" fmla="val 536864"/>
                <a:gd name="f19" fmla="val 554713"/>
                <a:gd name="f20" fmla="val 201115"/>
                <a:gd name="f21" fmla="val 452796"/>
                <a:gd name="f22" fmla="val 776357"/>
                <a:gd name="f23" fmla="val 187336"/>
                <a:gd name="f24" fmla="val 1349828"/>
                <a:gd name="f25" fmla="val 76760"/>
                <a:gd name="f26" fmla="val 1947588"/>
                <a:gd name="f27" fmla="val 66249"/>
                <a:gd name="f28" fmla="val 2962940"/>
                <a:gd name="f29" fmla="val 48421"/>
                <a:gd name="f30" fmla="val 3890218"/>
                <a:gd name="f31" fmla="val 291317"/>
                <a:gd name="f32" fmla="val 4778140"/>
                <a:gd name="f33" fmla="val 604018"/>
                <a:gd name="f34" fmla="val 7231510"/>
                <a:gd name="f35" fmla="val 1468126"/>
                <a:gd name="f36" fmla="val 9178927"/>
                <a:gd name="f37" fmla="val 2492024"/>
                <a:gd name="f38" fmla="val 11996242"/>
                <a:gd name="f39" fmla="val 2036894"/>
                <a:gd name="f40" fmla="val 2002266"/>
                <a:gd name="f41" fmla="val 1415250"/>
                <a:gd name="f42" fmla="val 12022971"/>
                <a:gd name="f43" fmla="val 1470801"/>
                <a:gd name="f44" fmla="val 10719696"/>
                <a:gd name="f45" fmla="val 1863939"/>
                <a:gd name="f46" fmla="val 9271154"/>
                <a:gd name="f47" fmla="val 1783804"/>
                <a:gd name="f48" fmla="val 7970940"/>
                <a:gd name="f49" fmla="val 1436986"/>
                <a:gd name="f50" fmla="val 6890984"/>
                <a:gd name="f51" fmla="val 1148958"/>
                <a:gd name="f52" fmla="val 5866930"/>
                <a:gd name="f53" fmla="val 767309"/>
                <a:gd name="f54" fmla="val 4800356"/>
                <a:gd name="f55" fmla="val 456582"/>
                <a:gd name="f56" fmla="val 4068903"/>
                <a:gd name="f57" fmla="val 243471"/>
                <a:gd name="f58" fmla="val 3348204"/>
                <a:gd name="f59" fmla="val 74251"/>
                <a:gd name="f60" fmla="val 2646880"/>
                <a:gd name="f61" fmla="val 17560"/>
                <a:gd name="f62" fmla="+- 0 0 -90"/>
                <a:gd name="f63" fmla="*/ f3 1 12192000"/>
                <a:gd name="f64" fmla="*/ f4 1 2148830"/>
                <a:gd name="f65" fmla="+- f7 0 f5"/>
                <a:gd name="f66" fmla="+- f6 0 f5"/>
                <a:gd name="f67" fmla="*/ f62 f0 1"/>
                <a:gd name="f68" fmla="*/ f66 1 12192000"/>
                <a:gd name="f69" fmla="*/ f65 1 2148830"/>
                <a:gd name="f70" fmla="*/ 2318293 f66 1"/>
                <a:gd name="f71" fmla="*/ 0 f65 1"/>
                <a:gd name="f72" fmla="*/ 2110341 f66 1"/>
                <a:gd name="f73" fmla="*/ 1952334 f66 1"/>
                <a:gd name="f74" fmla="*/ 920 f65 1"/>
                <a:gd name="f75" fmla="*/ 184205 f66 1"/>
                <a:gd name="f76" fmla="*/ 435928 f65 1"/>
                <a:gd name="f77" fmla="*/ 0 f66 1"/>
                <a:gd name="f78" fmla="*/ 536864 f65 1"/>
                <a:gd name="f79" fmla="*/ 554713 f65 1"/>
                <a:gd name="f80" fmla="*/ 201115 f66 1"/>
                <a:gd name="f81" fmla="*/ 452796 f65 1"/>
                <a:gd name="f82" fmla="*/ 1947588 f66 1"/>
                <a:gd name="f83" fmla="*/ 66249 f65 1"/>
                <a:gd name="f84" fmla="*/ 4778140 f66 1"/>
                <a:gd name="f85" fmla="*/ 604018 f65 1"/>
                <a:gd name="f86" fmla="*/ 11996242 f66 1"/>
                <a:gd name="f87" fmla="*/ 2036894 f65 1"/>
                <a:gd name="f88" fmla="*/ 12192000 f66 1"/>
                <a:gd name="f89" fmla="*/ 2002266 f65 1"/>
                <a:gd name="f90" fmla="*/ 1415250 f65 1"/>
                <a:gd name="f91" fmla="*/ 12022971 f66 1"/>
                <a:gd name="f92" fmla="*/ 1470801 f65 1"/>
                <a:gd name="f93" fmla="*/ 7970940 f66 1"/>
                <a:gd name="f94" fmla="*/ 1436986 f65 1"/>
                <a:gd name="f95" fmla="*/ 4800356 f66 1"/>
                <a:gd name="f96" fmla="*/ 456582 f65 1"/>
                <a:gd name="f97" fmla="*/ 2646880 f66 1"/>
                <a:gd name="f98" fmla="*/ 17560 f65 1"/>
                <a:gd name="f99" fmla="*/ f67 1 f2"/>
                <a:gd name="f100" fmla="*/ f70 1 12192000"/>
                <a:gd name="f101" fmla="*/ f71 1 2148830"/>
                <a:gd name="f102" fmla="*/ f72 1 12192000"/>
                <a:gd name="f103" fmla="*/ f73 1 12192000"/>
                <a:gd name="f104" fmla="*/ f74 1 2148830"/>
                <a:gd name="f105" fmla="*/ f75 1 12192000"/>
                <a:gd name="f106" fmla="*/ f76 1 2148830"/>
                <a:gd name="f107" fmla="*/ f77 1 12192000"/>
                <a:gd name="f108" fmla="*/ f78 1 2148830"/>
                <a:gd name="f109" fmla="*/ f79 1 2148830"/>
                <a:gd name="f110" fmla="*/ f80 1 12192000"/>
                <a:gd name="f111" fmla="*/ f81 1 2148830"/>
                <a:gd name="f112" fmla="*/ f82 1 12192000"/>
                <a:gd name="f113" fmla="*/ f83 1 2148830"/>
                <a:gd name="f114" fmla="*/ f84 1 12192000"/>
                <a:gd name="f115" fmla="*/ f85 1 2148830"/>
                <a:gd name="f116" fmla="*/ f86 1 12192000"/>
                <a:gd name="f117" fmla="*/ f87 1 2148830"/>
                <a:gd name="f118" fmla="*/ f88 1 12192000"/>
                <a:gd name="f119" fmla="*/ f89 1 2148830"/>
                <a:gd name="f120" fmla="*/ f90 1 2148830"/>
                <a:gd name="f121" fmla="*/ f91 1 12192000"/>
                <a:gd name="f122" fmla="*/ f92 1 2148830"/>
                <a:gd name="f123" fmla="*/ f93 1 12192000"/>
                <a:gd name="f124" fmla="*/ f94 1 2148830"/>
                <a:gd name="f125" fmla="*/ f95 1 12192000"/>
                <a:gd name="f126" fmla="*/ f96 1 2148830"/>
                <a:gd name="f127" fmla="*/ f97 1 12192000"/>
                <a:gd name="f128" fmla="*/ f98 1 2148830"/>
                <a:gd name="f129" fmla="*/ f5 1 f68"/>
                <a:gd name="f130" fmla="*/ f6 1 f68"/>
                <a:gd name="f131" fmla="*/ f5 1 f69"/>
                <a:gd name="f132" fmla="*/ f7 1 f69"/>
                <a:gd name="f133" fmla="+- f99 0 f1"/>
                <a:gd name="f134" fmla="*/ f100 1 f68"/>
                <a:gd name="f135" fmla="*/ f101 1 f69"/>
                <a:gd name="f136" fmla="*/ f102 1 f68"/>
                <a:gd name="f137" fmla="*/ f103 1 f68"/>
                <a:gd name="f138" fmla="*/ f104 1 f69"/>
                <a:gd name="f139" fmla="*/ f105 1 f68"/>
                <a:gd name="f140" fmla="*/ f106 1 f69"/>
                <a:gd name="f141" fmla="*/ f107 1 f68"/>
                <a:gd name="f142" fmla="*/ f108 1 f69"/>
                <a:gd name="f143" fmla="*/ f109 1 f69"/>
                <a:gd name="f144" fmla="*/ f110 1 f68"/>
                <a:gd name="f145" fmla="*/ f111 1 f69"/>
                <a:gd name="f146" fmla="*/ f112 1 f68"/>
                <a:gd name="f147" fmla="*/ f113 1 f69"/>
                <a:gd name="f148" fmla="*/ f114 1 f68"/>
                <a:gd name="f149" fmla="*/ f115 1 f69"/>
                <a:gd name="f150" fmla="*/ f116 1 f68"/>
                <a:gd name="f151" fmla="*/ f117 1 f69"/>
                <a:gd name="f152" fmla="*/ f118 1 f68"/>
                <a:gd name="f153" fmla="*/ f119 1 f69"/>
                <a:gd name="f154" fmla="*/ f120 1 f69"/>
                <a:gd name="f155" fmla="*/ f121 1 f68"/>
                <a:gd name="f156" fmla="*/ f122 1 f69"/>
                <a:gd name="f157" fmla="*/ f123 1 f68"/>
                <a:gd name="f158" fmla="*/ f124 1 f69"/>
                <a:gd name="f159" fmla="*/ f125 1 f68"/>
                <a:gd name="f160" fmla="*/ f126 1 f69"/>
                <a:gd name="f161" fmla="*/ f127 1 f68"/>
                <a:gd name="f162" fmla="*/ f128 1 f69"/>
                <a:gd name="f163" fmla="*/ f129 f63 1"/>
                <a:gd name="f164" fmla="*/ f130 f63 1"/>
                <a:gd name="f165" fmla="*/ f132 f64 1"/>
                <a:gd name="f166" fmla="*/ f131 f64 1"/>
                <a:gd name="f167" fmla="*/ f134 f63 1"/>
                <a:gd name="f168" fmla="*/ f135 f64 1"/>
                <a:gd name="f169" fmla="*/ f136 f63 1"/>
                <a:gd name="f170" fmla="*/ f137 f63 1"/>
                <a:gd name="f171" fmla="*/ f138 f64 1"/>
                <a:gd name="f172" fmla="*/ f139 f63 1"/>
                <a:gd name="f173" fmla="*/ f140 f64 1"/>
                <a:gd name="f174" fmla="*/ f141 f63 1"/>
                <a:gd name="f175" fmla="*/ f142 f64 1"/>
                <a:gd name="f176" fmla="*/ f143 f64 1"/>
                <a:gd name="f177" fmla="*/ f144 f63 1"/>
                <a:gd name="f178" fmla="*/ f145 f64 1"/>
                <a:gd name="f179" fmla="*/ f146 f63 1"/>
                <a:gd name="f180" fmla="*/ f147 f64 1"/>
                <a:gd name="f181" fmla="*/ f148 f63 1"/>
                <a:gd name="f182" fmla="*/ f149 f64 1"/>
                <a:gd name="f183" fmla="*/ f150 f63 1"/>
                <a:gd name="f184" fmla="*/ f151 f64 1"/>
                <a:gd name="f185" fmla="*/ f152 f63 1"/>
                <a:gd name="f186" fmla="*/ f153 f64 1"/>
                <a:gd name="f187" fmla="*/ f154 f64 1"/>
                <a:gd name="f188" fmla="*/ f155 f63 1"/>
                <a:gd name="f189" fmla="*/ f156 f64 1"/>
                <a:gd name="f190" fmla="*/ f157 f63 1"/>
                <a:gd name="f191" fmla="*/ f158 f64 1"/>
                <a:gd name="f192" fmla="*/ f159 f63 1"/>
                <a:gd name="f193" fmla="*/ f160 f64 1"/>
                <a:gd name="f194" fmla="*/ f161 f63 1"/>
                <a:gd name="f195" fmla="*/ f162 f64 1"/>
              </a:gdLst>
              <a:ahLst/>
              <a:cxnLst>
                <a:cxn ang="3cd4">
                  <a:pos x="hc" y="t"/>
                </a:cxn>
                <a:cxn ang="0">
                  <a:pos x="r" y="vc"/>
                </a:cxn>
                <a:cxn ang="cd4">
                  <a:pos x="hc" y="b"/>
                </a:cxn>
                <a:cxn ang="cd2">
                  <a:pos x="l" y="vc"/>
                </a:cxn>
                <a:cxn ang="f133">
                  <a:pos x="f167" y="f168"/>
                </a:cxn>
                <a:cxn ang="f133">
                  <a:pos x="f169" y="f168"/>
                </a:cxn>
                <a:cxn ang="f133">
                  <a:pos x="f170" y="f171"/>
                </a:cxn>
                <a:cxn ang="f133">
                  <a:pos x="f172" y="f173"/>
                </a:cxn>
                <a:cxn ang="f133">
                  <a:pos x="f174" y="f175"/>
                </a:cxn>
                <a:cxn ang="f133">
                  <a:pos x="f174" y="f176"/>
                </a:cxn>
                <a:cxn ang="f133">
                  <a:pos x="f177" y="f178"/>
                </a:cxn>
                <a:cxn ang="f133">
                  <a:pos x="f179" y="f180"/>
                </a:cxn>
                <a:cxn ang="f133">
                  <a:pos x="f181" y="f182"/>
                </a:cxn>
                <a:cxn ang="f133">
                  <a:pos x="f183" y="f184"/>
                </a:cxn>
                <a:cxn ang="f133">
                  <a:pos x="f185" y="f186"/>
                </a:cxn>
                <a:cxn ang="f133">
                  <a:pos x="f185" y="f187"/>
                </a:cxn>
                <a:cxn ang="f133">
                  <a:pos x="f188" y="f189"/>
                </a:cxn>
                <a:cxn ang="f133">
                  <a:pos x="f190" y="f191"/>
                </a:cxn>
                <a:cxn ang="f133">
                  <a:pos x="f192" y="f193"/>
                </a:cxn>
                <a:cxn ang="f133">
                  <a:pos x="f194" y="f195"/>
                </a:cxn>
              </a:cxnLst>
              <a:rect l="f163" t="f166" r="f164" b="f165"/>
              <a:pathLst>
                <a:path w="12192000" h="2148830">
                  <a:moveTo>
                    <a:pt x="f8" y="f5"/>
                  </a:moveTo>
                  <a:lnTo>
                    <a:pt x="f9" y="f5"/>
                  </a:lnTo>
                  <a:lnTo>
                    <a:pt x="f10" y="f11"/>
                  </a:lnTo>
                  <a:cubicBezTo>
                    <a:pt x="f12" y="f13"/>
                    <a:pt x="f14" y="f15"/>
                    <a:pt x="f16" y="f17"/>
                  </a:cubicBezTo>
                  <a:lnTo>
                    <a:pt x="f5" y="f18"/>
                  </a:lnTo>
                  <a:lnTo>
                    <a:pt x="f5" y="f19"/>
                  </a:lnTo>
                  <a:lnTo>
                    <a:pt x="f20" y="f21"/>
                  </a:lnTo>
                  <a:cubicBezTo>
                    <a:pt x="f22" y="f23"/>
                    <a:pt x="f24" y="f25"/>
                    <a:pt x="f26" y="f27"/>
                  </a:cubicBezTo>
                  <a:cubicBezTo>
                    <a:pt x="f28" y="f29"/>
                    <a:pt x="f30" y="f31"/>
                    <a:pt x="f32" y="f33"/>
                  </a:cubicBezTo>
                  <a:cubicBezTo>
                    <a:pt x="f34" y="f35"/>
                    <a:pt x="f36" y="f37"/>
                    <a:pt x="f38" y="f39"/>
                  </a:cubicBezTo>
                  <a:lnTo>
                    <a:pt x="f6" y="f40"/>
                  </a:lnTo>
                  <a:lnTo>
                    <a:pt x="f6" y="f41"/>
                  </a:lnTo>
                  <a:lnTo>
                    <a:pt x="f42" y="f43"/>
                  </a:lnTo>
                  <a:cubicBezTo>
                    <a:pt x="f44" y="f45"/>
                    <a:pt x="f46" y="f47"/>
                    <a:pt x="f48" y="f49"/>
                  </a:cubicBezTo>
                  <a:cubicBezTo>
                    <a:pt x="f50" y="f51"/>
                    <a:pt x="f52" y="f53"/>
                    <a:pt x="f54" y="f55"/>
                  </a:cubicBezTo>
                  <a:cubicBezTo>
                    <a:pt x="f56" y="f57"/>
                    <a:pt x="f58" y="f59"/>
                    <a:pt x="f60" y="f61"/>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4" name="Freeform 38">
              <a:extLst>
                <a:ext uri="{FF2B5EF4-FFF2-40B4-BE49-F238E27FC236}">
                  <a16:creationId xmlns:a16="http://schemas.microsoft.com/office/drawing/2014/main" id="{B36B150E-64A7-EAA1-10B2-27689982D46A}"/>
                </a:ext>
              </a:extLst>
            </p:cNvPr>
            <p:cNvSpPr/>
            <p:nvPr/>
          </p:nvSpPr>
          <p:spPr>
            <a:xfrm flipH="1">
              <a:off x="0" y="0"/>
              <a:ext cx="12191996" cy="1992139"/>
            </a:xfrm>
            <a:custGeom>
              <a:avLst/>
              <a:gdLst>
                <a:gd name="f0" fmla="val 10800000"/>
                <a:gd name="f1" fmla="val 5400000"/>
                <a:gd name="f2" fmla="val 180"/>
                <a:gd name="f3" fmla="val w"/>
                <a:gd name="f4" fmla="val h"/>
                <a:gd name="f5" fmla="val 0"/>
                <a:gd name="f6" fmla="val 12192000"/>
                <a:gd name="f7" fmla="val 1992138"/>
                <a:gd name="f8" fmla="val 2724271"/>
                <a:gd name="f9" fmla="val 1788442"/>
                <a:gd name="f10" fmla="val 1635403"/>
                <a:gd name="f11" fmla="val 12925"/>
                <a:gd name="f12" fmla="val 1134241"/>
                <a:gd name="f13" fmla="val 70905"/>
                <a:gd name="f14" fmla="val 647221"/>
                <a:gd name="f15" fmla="val 207817"/>
                <a:gd name="f16" fmla="val 178220"/>
                <a:gd name="f17" fmla="val 451207"/>
                <a:gd name="f18" fmla="val 552718"/>
                <a:gd name="f19" fmla="val 570885"/>
                <a:gd name="f20" fmla="val 195368"/>
                <a:gd name="f21" fmla="val 467800"/>
                <a:gd name="f22" fmla="val 765758"/>
                <a:gd name="f23" fmla="val 193094"/>
                <a:gd name="f24" fmla="val 1336955"/>
                <a:gd name="f25" fmla="val 73179"/>
                <a:gd name="f26" fmla="val 1934073"/>
                <a:gd name="f27" fmla="val 52850"/>
                <a:gd name="f28" fmla="val 2948304"/>
                <a:gd name="f29" fmla="val 18310"/>
                <a:gd name="f30" fmla="val 3878878"/>
                <a:gd name="f31" fmla="val 245747"/>
                <a:gd name="f32" fmla="val 4771217"/>
                <a:gd name="f33" fmla="val 543645"/>
                <a:gd name="f34" fmla="val 7236913"/>
                <a:gd name="f35" fmla="val 1366709"/>
                <a:gd name="f36" fmla="val 9199689"/>
                <a:gd name="f37" fmla="val 2357774"/>
                <a:gd name="f38" fmla="val 12007222"/>
                <a:gd name="f39" fmla="val 1856729"/>
                <a:gd name="f40" fmla="val 1820900"/>
                <a:gd name="f41" fmla="val 897073"/>
                <a:gd name="f42" fmla="val 12062517"/>
                <a:gd name="f43" fmla="val 950128"/>
                <a:gd name="f44" fmla="val 10950292"/>
                <a:gd name="f45" fmla="val 1376478"/>
                <a:gd name="f46" fmla="val 9595706"/>
                <a:gd name="f47" fmla="val 1466451"/>
                <a:gd name="f48" fmla="val 8435105"/>
                <a:gd name="f49" fmla="val 1266613"/>
                <a:gd name="f50" fmla="val 6618389"/>
                <a:gd name="f51" fmla="val 953715"/>
                <a:gd name="f52" fmla="val 4735222"/>
                <a:gd name="f53" fmla="val 130088"/>
                <a:gd name="f54" fmla="val 2948502"/>
                <a:gd name="f55" fmla="val 20548"/>
                <a:gd name="f56" fmla="+- 0 0 -90"/>
                <a:gd name="f57" fmla="*/ f3 1 12192000"/>
                <a:gd name="f58" fmla="*/ f4 1 1992138"/>
                <a:gd name="f59" fmla="+- f7 0 f5"/>
                <a:gd name="f60" fmla="+- f6 0 f5"/>
                <a:gd name="f61" fmla="*/ f56 f0 1"/>
                <a:gd name="f62" fmla="*/ f60 1 12192000"/>
                <a:gd name="f63" fmla="*/ f59 1 1992138"/>
                <a:gd name="f64" fmla="*/ 2724271 f60 1"/>
                <a:gd name="f65" fmla="*/ 0 f59 1"/>
                <a:gd name="f66" fmla="*/ 1788442 f60 1"/>
                <a:gd name="f67" fmla="*/ 1635403 f60 1"/>
                <a:gd name="f68" fmla="*/ 12925 f59 1"/>
                <a:gd name="f69" fmla="*/ 178220 f60 1"/>
                <a:gd name="f70" fmla="*/ 451207 f59 1"/>
                <a:gd name="f71" fmla="*/ 0 f60 1"/>
                <a:gd name="f72" fmla="*/ 552718 f59 1"/>
                <a:gd name="f73" fmla="*/ 570885 f59 1"/>
                <a:gd name="f74" fmla="*/ 195368 f60 1"/>
                <a:gd name="f75" fmla="*/ 467800 f59 1"/>
                <a:gd name="f76" fmla="*/ 1934073 f60 1"/>
                <a:gd name="f77" fmla="*/ 52850 f59 1"/>
                <a:gd name="f78" fmla="*/ 4771217 f60 1"/>
                <a:gd name="f79" fmla="*/ 543645 f59 1"/>
                <a:gd name="f80" fmla="*/ 12007222 f60 1"/>
                <a:gd name="f81" fmla="*/ 1856729 f59 1"/>
                <a:gd name="f82" fmla="*/ 12192000 f60 1"/>
                <a:gd name="f83" fmla="*/ 1820900 f59 1"/>
                <a:gd name="f84" fmla="*/ 897073 f59 1"/>
                <a:gd name="f85" fmla="*/ 12062517 f60 1"/>
                <a:gd name="f86" fmla="*/ 950128 f59 1"/>
                <a:gd name="f87" fmla="*/ 8435105 f60 1"/>
                <a:gd name="f88" fmla="*/ 1266613 f59 1"/>
                <a:gd name="f89" fmla="*/ 2948502 f60 1"/>
                <a:gd name="f90" fmla="*/ 20548 f59 1"/>
                <a:gd name="f91" fmla="*/ f61 1 f2"/>
                <a:gd name="f92" fmla="*/ f64 1 12192000"/>
                <a:gd name="f93" fmla="*/ f65 1 1992138"/>
                <a:gd name="f94" fmla="*/ f66 1 12192000"/>
                <a:gd name="f95" fmla="*/ f67 1 12192000"/>
                <a:gd name="f96" fmla="*/ f68 1 1992138"/>
                <a:gd name="f97" fmla="*/ f69 1 12192000"/>
                <a:gd name="f98" fmla="*/ f70 1 1992138"/>
                <a:gd name="f99" fmla="*/ f71 1 12192000"/>
                <a:gd name="f100" fmla="*/ f72 1 1992138"/>
                <a:gd name="f101" fmla="*/ f73 1 1992138"/>
                <a:gd name="f102" fmla="*/ f74 1 12192000"/>
                <a:gd name="f103" fmla="*/ f75 1 1992138"/>
                <a:gd name="f104" fmla="*/ f76 1 12192000"/>
                <a:gd name="f105" fmla="*/ f77 1 1992138"/>
                <a:gd name="f106" fmla="*/ f78 1 12192000"/>
                <a:gd name="f107" fmla="*/ f79 1 1992138"/>
                <a:gd name="f108" fmla="*/ f80 1 12192000"/>
                <a:gd name="f109" fmla="*/ f81 1 1992138"/>
                <a:gd name="f110" fmla="*/ f82 1 12192000"/>
                <a:gd name="f111" fmla="*/ f83 1 1992138"/>
                <a:gd name="f112" fmla="*/ f84 1 1992138"/>
                <a:gd name="f113" fmla="*/ f85 1 12192000"/>
                <a:gd name="f114" fmla="*/ f86 1 1992138"/>
                <a:gd name="f115" fmla="*/ f87 1 12192000"/>
                <a:gd name="f116" fmla="*/ f88 1 1992138"/>
                <a:gd name="f117" fmla="*/ f89 1 12192000"/>
                <a:gd name="f118" fmla="*/ f90 1 1992138"/>
                <a:gd name="f119" fmla="*/ f5 1 f62"/>
                <a:gd name="f120" fmla="*/ f6 1 f62"/>
                <a:gd name="f121" fmla="*/ f5 1 f63"/>
                <a:gd name="f122" fmla="*/ f7 1 f63"/>
                <a:gd name="f123" fmla="+- f91 0 f1"/>
                <a:gd name="f124" fmla="*/ f92 1 f62"/>
                <a:gd name="f125" fmla="*/ f93 1 f63"/>
                <a:gd name="f126" fmla="*/ f94 1 f62"/>
                <a:gd name="f127" fmla="*/ f95 1 f62"/>
                <a:gd name="f128" fmla="*/ f96 1 f63"/>
                <a:gd name="f129" fmla="*/ f97 1 f62"/>
                <a:gd name="f130" fmla="*/ f98 1 f63"/>
                <a:gd name="f131" fmla="*/ f99 1 f62"/>
                <a:gd name="f132" fmla="*/ f100 1 f63"/>
                <a:gd name="f133" fmla="*/ f101 1 f63"/>
                <a:gd name="f134" fmla="*/ f102 1 f62"/>
                <a:gd name="f135" fmla="*/ f103 1 f63"/>
                <a:gd name="f136" fmla="*/ f104 1 f62"/>
                <a:gd name="f137" fmla="*/ f105 1 f63"/>
                <a:gd name="f138" fmla="*/ f106 1 f62"/>
                <a:gd name="f139" fmla="*/ f107 1 f63"/>
                <a:gd name="f140" fmla="*/ f108 1 f62"/>
                <a:gd name="f141" fmla="*/ f109 1 f63"/>
                <a:gd name="f142" fmla="*/ f110 1 f62"/>
                <a:gd name="f143" fmla="*/ f111 1 f63"/>
                <a:gd name="f144" fmla="*/ f112 1 f63"/>
                <a:gd name="f145" fmla="*/ f113 1 f62"/>
                <a:gd name="f146" fmla="*/ f114 1 f63"/>
                <a:gd name="f147" fmla="*/ f115 1 f62"/>
                <a:gd name="f148" fmla="*/ f116 1 f63"/>
                <a:gd name="f149" fmla="*/ f117 1 f62"/>
                <a:gd name="f150" fmla="*/ f118 1 f63"/>
                <a:gd name="f151" fmla="*/ f119 f57 1"/>
                <a:gd name="f152" fmla="*/ f120 f57 1"/>
                <a:gd name="f153" fmla="*/ f122 f58 1"/>
                <a:gd name="f154" fmla="*/ f121 f58 1"/>
                <a:gd name="f155" fmla="*/ f124 f57 1"/>
                <a:gd name="f156" fmla="*/ f125 f58 1"/>
                <a:gd name="f157" fmla="*/ f126 f57 1"/>
                <a:gd name="f158" fmla="*/ f127 f57 1"/>
                <a:gd name="f159" fmla="*/ f128 f58 1"/>
                <a:gd name="f160" fmla="*/ f129 f57 1"/>
                <a:gd name="f161" fmla="*/ f130 f58 1"/>
                <a:gd name="f162" fmla="*/ f131 f57 1"/>
                <a:gd name="f163" fmla="*/ f132 f58 1"/>
                <a:gd name="f164" fmla="*/ f133 f58 1"/>
                <a:gd name="f165" fmla="*/ f134 f57 1"/>
                <a:gd name="f166" fmla="*/ f135 f58 1"/>
                <a:gd name="f167" fmla="*/ f136 f57 1"/>
                <a:gd name="f168" fmla="*/ f137 f58 1"/>
                <a:gd name="f169" fmla="*/ f138 f57 1"/>
                <a:gd name="f170" fmla="*/ f139 f58 1"/>
                <a:gd name="f171" fmla="*/ f140 f57 1"/>
                <a:gd name="f172" fmla="*/ f141 f58 1"/>
                <a:gd name="f173" fmla="*/ f142 f57 1"/>
                <a:gd name="f174" fmla="*/ f143 f58 1"/>
                <a:gd name="f175" fmla="*/ f144 f58 1"/>
                <a:gd name="f176" fmla="*/ f145 f57 1"/>
                <a:gd name="f177" fmla="*/ f146 f58 1"/>
                <a:gd name="f178" fmla="*/ f147 f57 1"/>
                <a:gd name="f179" fmla="*/ f148 f58 1"/>
                <a:gd name="f180" fmla="*/ f149 f57 1"/>
                <a:gd name="f181" fmla="*/ f150 f58 1"/>
              </a:gdLst>
              <a:ahLst/>
              <a:cxnLst>
                <a:cxn ang="3cd4">
                  <a:pos x="hc" y="t"/>
                </a:cxn>
                <a:cxn ang="0">
                  <a:pos x="r" y="vc"/>
                </a:cxn>
                <a:cxn ang="cd4">
                  <a:pos x="hc" y="b"/>
                </a:cxn>
                <a:cxn ang="cd2">
                  <a:pos x="l" y="vc"/>
                </a:cxn>
                <a:cxn ang="f123">
                  <a:pos x="f155" y="f156"/>
                </a:cxn>
                <a:cxn ang="f123">
                  <a:pos x="f157" y="f156"/>
                </a:cxn>
                <a:cxn ang="f123">
                  <a:pos x="f158" y="f159"/>
                </a:cxn>
                <a:cxn ang="f123">
                  <a:pos x="f160" y="f161"/>
                </a:cxn>
                <a:cxn ang="f123">
                  <a:pos x="f162" y="f163"/>
                </a:cxn>
                <a:cxn ang="f123">
                  <a:pos x="f162" y="f164"/>
                </a:cxn>
                <a:cxn ang="f123">
                  <a:pos x="f165" y="f166"/>
                </a:cxn>
                <a:cxn ang="f123">
                  <a:pos x="f167" y="f168"/>
                </a:cxn>
                <a:cxn ang="f123">
                  <a:pos x="f169" y="f170"/>
                </a:cxn>
                <a:cxn ang="f123">
                  <a:pos x="f171" y="f172"/>
                </a:cxn>
                <a:cxn ang="f123">
                  <a:pos x="f173" y="f174"/>
                </a:cxn>
                <a:cxn ang="f123">
                  <a:pos x="f173" y="f175"/>
                </a:cxn>
                <a:cxn ang="f123">
                  <a:pos x="f176" y="f177"/>
                </a:cxn>
                <a:cxn ang="f123">
                  <a:pos x="f178" y="f179"/>
                </a:cxn>
                <a:cxn ang="f123">
                  <a:pos x="f180" y="f181"/>
                </a:cxn>
              </a:cxnLst>
              <a:rect l="f151" t="f154" r="f152" b="f153"/>
              <a:pathLst>
                <a:path w="12192000" h="1992138">
                  <a:moveTo>
                    <a:pt x="f8" y="f5"/>
                  </a:moveTo>
                  <a:lnTo>
                    <a:pt x="f9" y="f5"/>
                  </a:lnTo>
                  <a:lnTo>
                    <a:pt x="f10" y="f11"/>
                  </a:lnTo>
                  <a:cubicBezTo>
                    <a:pt x="f12" y="f13"/>
                    <a:pt x="f14" y="f15"/>
                    <a:pt x="f16" y="f17"/>
                  </a:cubicBezTo>
                  <a:lnTo>
                    <a:pt x="f5" y="f18"/>
                  </a:lnTo>
                  <a:lnTo>
                    <a:pt x="f5" y="f19"/>
                  </a:lnTo>
                  <a:lnTo>
                    <a:pt x="f20" y="f21"/>
                  </a:lnTo>
                  <a:cubicBezTo>
                    <a:pt x="f22" y="f23"/>
                    <a:pt x="f24" y="f25"/>
                    <a:pt x="f26" y="f27"/>
                  </a:cubicBezTo>
                  <a:cubicBezTo>
                    <a:pt x="f28" y="f29"/>
                    <a:pt x="f30" y="f31"/>
                    <a:pt x="f32" y="f33"/>
                  </a:cubicBezTo>
                  <a:cubicBezTo>
                    <a:pt x="f34" y="f35"/>
                    <a:pt x="f36" y="f37"/>
                    <a:pt x="f38" y="f39"/>
                  </a:cubicBezTo>
                  <a:lnTo>
                    <a:pt x="f6" y="f40"/>
                  </a:lnTo>
                  <a:lnTo>
                    <a:pt x="f6" y="f41"/>
                  </a:lnTo>
                  <a:lnTo>
                    <a:pt x="f42" y="f43"/>
                  </a:lnTo>
                  <a:cubicBezTo>
                    <a:pt x="f44" y="f45"/>
                    <a:pt x="f46" y="f47"/>
                    <a:pt x="f48" y="f49"/>
                  </a:cubicBezTo>
                  <a:cubicBezTo>
                    <a:pt x="f50" y="f51"/>
                    <a:pt x="f52" y="f53"/>
                    <a:pt x="f54" y="f55"/>
                  </a:cubicBezTo>
                  <a:close/>
                </a:path>
              </a:pathLst>
            </a:custGeom>
            <a:solidFill>
              <a:srgbClr val="00498F"/>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sp>
        <p:nvSpPr>
          <p:cNvPr id="5" name="Rectangle 3">
            <a:extLst>
              <a:ext uri="{FF2B5EF4-FFF2-40B4-BE49-F238E27FC236}">
                <a16:creationId xmlns:a16="http://schemas.microsoft.com/office/drawing/2014/main" id="{37A93E21-A9EE-E777-4B58-175B7AA18E04}"/>
              </a:ext>
            </a:extLst>
          </p:cNvPr>
          <p:cNvSpPr/>
          <p:nvPr/>
        </p:nvSpPr>
        <p:spPr>
          <a:xfrm>
            <a:off x="902366" y="1517694"/>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Content Placeholder 2">
            <a:extLst>
              <a:ext uri="{FF2B5EF4-FFF2-40B4-BE49-F238E27FC236}">
                <a16:creationId xmlns:a16="http://schemas.microsoft.com/office/drawing/2014/main" id="{EE87F7A0-D97B-E92C-B7AF-5346E1AD238B}"/>
              </a:ext>
            </a:extLst>
          </p:cNvPr>
          <p:cNvSpPr txBox="1">
            <a:spLocks noGrp="1"/>
          </p:cNvSpPr>
          <p:nvPr>
            <p:ph idx="4294967295"/>
          </p:nvPr>
        </p:nvSpPr>
        <p:spPr>
          <a:xfrm>
            <a:off x="1219197" y="3429001"/>
            <a:ext cx="5582649" cy="1413561"/>
          </a:xfrm>
        </p:spPr>
        <p:txBody>
          <a:bodyPr/>
          <a:lstStyle>
            <a:lvl1pPr marL="0" indent="0">
              <a:buNone/>
              <a:defRPr sz="2000"/>
            </a:lvl1pPr>
          </a:lstStyle>
          <a:p>
            <a:pPr lvl="0"/>
            <a:r>
              <a:rPr lang="en-US"/>
              <a:t>Click to edit Master text styles</a:t>
            </a:r>
          </a:p>
        </p:txBody>
      </p:sp>
      <p:sp>
        <p:nvSpPr>
          <p:cNvPr id="7" name="Title 11">
            <a:extLst>
              <a:ext uri="{FF2B5EF4-FFF2-40B4-BE49-F238E27FC236}">
                <a16:creationId xmlns:a16="http://schemas.microsoft.com/office/drawing/2014/main" id="{EA423476-2E52-C553-30EE-204F58177117}"/>
              </a:ext>
            </a:extLst>
          </p:cNvPr>
          <p:cNvSpPr txBox="1">
            <a:spLocks noGrp="1"/>
          </p:cNvSpPr>
          <p:nvPr>
            <p:ph type="title"/>
          </p:nvPr>
        </p:nvSpPr>
        <p:spPr>
          <a:xfrm>
            <a:off x="1219197" y="1887486"/>
            <a:ext cx="5582649" cy="1078260"/>
          </a:xfrm>
        </p:spPr>
        <p:txBody>
          <a:bodyPr/>
          <a:lstStyle>
            <a:lvl1pPr>
              <a:defRPr sz="6000"/>
            </a:lvl1pPr>
          </a:lstStyle>
          <a:p>
            <a:pPr lvl="0"/>
            <a:r>
              <a:rPr lang="en-US"/>
              <a:t>Thank you</a:t>
            </a:r>
          </a:p>
        </p:txBody>
      </p:sp>
      <p:pic>
        <p:nvPicPr>
          <p:cNvPr id="8" name="Picture 32">
            <a:extLst>
              <a:ext uri="{FF2B5EF4-FFF2-40B4-BE49-F238E27FC236}">
                <a16:creationId xmlns:a16="http://schemas.microsoft.com/office/drawing/2014/main" id="{2EF8C0AF-9430-AF4F-BC64-2A830E865A86}"/>
              </a:ext>
            </a:extLst>
          </p:cNvPr>
          <p:cNvPicPr>
            <a:picLocks noChangeAspect="1"/>
          </p:cNvPicPr>
          <p:nvPr/>
        </p:nvPicPr>
        <p:blipFill>
          <a:blip r:embed="rId2"/>
          <a:srcRect/>
          <a:stretch>
            <a:fillRect/>
          </a:stretch>
        </p:blipFill>
        <p:spPr>
          <a:xfrm>
            <a:off x="902366" y="228371"/>
            <a:ext cx="2025313" cy="911940"/>
          </a:xfrm>
          <a:prstGeom prst="rect">
            <a:avLst/>
          </a:prstGeom>
          <a:noFill/>
          <a:ln cap="flat">
            <a:noFill/>
          </a:ln>
        </p:spPr>
      </p:pic>
      <p:sp>
        <p:nvSpPr>
          <p:cNvPr id="9" name="Picture Placeholder 16">
            <a:extLst>
              <a:ext uri="{FF2B5EF4-FFF2-40B4-BE49-F238E27FC236}">
                <a16:creationId xmlns:a16="http://schemas.microsoft.com/office/drawing/2014/main" id="{ACD540CC-2573-D65C-2401-EAF20D5CEFCF}"/>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spTree>
    <p:extLst>
      <p:ext uri="{BB962C8B-B14F-4D97-AF65-F5344CB8AC3E}">
        <p14:creationId xmlns:p14="http://schemas.microsoft.com/office/powerpoint/2010/main" val="4273703209"/>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2" name="Slide Number Placeholder 4">
            <a:extLst>
              <a:ext uri="{FF2B5EF4-FFF2-40B4-BE49-F238E27FC236}">
                <a16:creationId xmlns:a16="http://schemas.microsoft.com/office/drawing/2014/main" id="{1AB5953B-1342-0641-28E7-C5B6220D903F}"/>
              </a:ext>
            </a:extLst>
          </p:cNvPr>
          <p:cNvSpPr txBox="1">
            <a:spLocks noGrp="1"/>
          </p:cNvSpPr>
          <p:nvPr>
            <p:ph type="sldNum" sz="quarter" idx="8"/>
          </p:nvPr>
        </p:nvSpPr>
        <p:spPr/>
        <p:txBody>
          <a:bodyPr/>
          <a:lstStyle>
            <a:lvl1pPr>
              <a:defRPr/>
            </a:lvl1pPr>
          </a:lstStyle>
          <a:p>
            <a:pPr lvl="0"/>
            <a:fld id="{074623A3-9138-4B4B-9DE3-C39CEBFAF9A3}" type="slidenum">
              <a:t>‹#›</a:t>
            </a:fld>
            <a:endParaRPr lang="en-US"/>
          </a:p>
        </p:txBody>
      </p:sp>
      <p:cxnSp>
        <p:nvCxnSpPr>
          <p:cNvPr id="3" name="Straight Connector 3">
            <a:extLst>
              <a:ext uri="{FF2B5EF4-FFF2-40B4-BE49-F238E27FC236}">
                <a16:creationId xmlns:a16="http://schemas.microsoft.com/office/drawing/2014/main" id="{B4384DE2-8912-7354-F1A7-76E4062100DD}"/>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4" name="Footer Placeholder 1">
            <a:extLst>
              <a:ext uri="{FF2B5EF4-FFF2-40B4-BE49-F238E27FC236}">
                <a16:creationId xmlns:a16="http://schemas.microsoft.com/office/drawing/2014/main" id="{40A0884F-6E53-2353-8982-946E575FC634}"/>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5" name="Group 5">
            <a:extLst>
              <a:ext uri="{FF2B5EF4-FFF2-40B4-BE49-F238E27FC236}">
                <a16:creationId xmlns:a16="http://schemas.microsoft.com/office/drawing/2014/main" id="{EBA9CC06-B5B2-9E82-488C-AA683C25E088}"/>
              </a:ext>
            </a:extLst>
          </p:cNvPr>
          <p:cNvGrpSpPr/>
          <p:nvPr/>
        </p:nvGrpSpPr>
        <p:grpSpPr>
          <a:xfrm>
            <a:off x="7191545" y="0"/>
            <a:ext cx="5000460" cy="1425988"/>
            <a:chOff x="7191545" y="0"/>
            <a:chExt cx="5000460" cy="1425988"/>
          </a:xfrm>
        </p:grpSpPr>
        <p:pic>
          <p:nvPicPr>
            <p:cNvPr id="6" name="Picture 6">
              <a:extLst>
                <a:ext uri="{FF2B5EF4-FFF2-40B4-BE49-F238E27FC236}">
                  <a16:creationId xmlns:a16="http://schemas.microsoft.com/office/drawing/2014/main" id="{4A0A76FB-FA48-BC55-EF8B-3E2DB5910039}"/>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7" name="Group 7">
              <a:extLst>
                <a:ext uri="{FF2B5EF4-FFF2-40B4-BE49-F238E27FC236}">
                  <a16:creationId xmlns:a16="http://schemas.microsoft.com/office/drawing/2014/main" id="{CD465909-3B08-B653-2D50-8E431963866D}"/>
                </a:ext>
              </a:extLst>
            </p:cNvPr>
            <p:cNvGrpSpPr/>
            <p:nvPr/>
          </p:nvGrpSpPr>
          <p:grpSpPr>
            <a:xfrm>
              <a:off x="7191545" y="0"/>
              <a:ext cx="5000460" cy="1425988"/>
              <a:chOff x="7191545" y="0"/>
              <a:chExt cx="5000460" cy="1425988"/>
            </a:xfrm>
          </p:grpSpPr>
          <p:sp>
            <p:nvSpPr>
              <p:cNvPr id="8" name="Freeform 8">
                <a:extLst>
                  <a:ext uri="{FF2B5EF4-FFF2-40B4-BE49-F238E27FC236}">
                    <a16:creationId xmlns:a16="http://schemas.microsoft.com/office/drawing/2014/main" id="{CB8A85EF-8124-D6F7-022B-BB39F1473CC4}"/>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9" name="Freeform 9">
                <a:extLst>
                  <a:ext uri="{FF2B5EF4-FFF2-40B4-BE49-F238E27FC236}">
                    <a16:creationId xmlns:a16="http://schemas.microsoft.com/office/drawing/2014/main" id="{DF4CEE5C-E95A-CA66-60D7-72E075DA0323}"/>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Tree>
    <p:extLst>
      <p:ext uri="{BB962C8B-B14F-4D97-AF65-F5344CB8AC3E}">
        <p14:creationId xmlns:p14="http://schemas.microsoft.com/office/powerpoint/2010/main" val="778483058"/>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 name="Group 21">
            <a:extLst>
              <a:ext uri="{FF2B5EF4-FFF2-40B4-BE49-F238E27FC236}">
                <a16:creationId xmlns:a16="http://schemas.microsoft.com/office/drawing/2014/main" id="{76FE24B1-DF2B-29B6-82A7-D32089FFCFEB}"/>
              </a:ext>
            </a:extLst>
          </p:cNvPr>
          <p:cNvGrpSpPr/>
          <p:nvPr/>
        </p:nvGrpSpPr>
        <p:grpSpPr>
          <a:xfrm>
            <a:off x="7191545" y="0"/>
            <a:ext cx="5000460" cy="1425988"/>
            <a:chOff x="7191545" y="0"/>
            <a:chExt cx="5000460" cy="1425988"/>
          </a:xfrm>
        </p:grpSpPr>
        <p:pic>
          <p:nvPicPr>
            <p:cNvPr id="3" name="Picture 22">
              <a:extLst>
                <a:ext uri="{FF2B5EF4-FFF2-40B4-BE49-F238E27FC236}">
                  <a16:creationId xmlns:a16="http://schemas.microsoft.com/office/drawing/2014/main" id="{94A28CAC-BE4D-8014-A612-3F17A2C42006}"/>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23">
              <a:extLst>
                <a:ext uri="{FF2B5EF4-FFF2-40B4-BE49-F238E27FC236}">
                  <a16:creationId xmlns:a16="http://schemas.microsoft.com/office/drawing/2014/main" id="{7143422B-23C4-68E1-EFA6-6397BE865087}"/>
                </a:ext>
              </a:extLst>
            </p:cNvPr>
            <p:cNvGrpSpPr/>
            <p:nvPr/>
          </p:nvGrpSpPr>
          <p:grpSpPr>
            <a:xfrm>
              <a:off x="7191545" y="0"/>
              <a:ext cx="5000460" cy="1425988"/>
              <a:chOff x="7191545" y="0"/>
              <a:chExt cx="5000460" cy="1425988"/>
            </a:xfrm>
          </p:grpSpPr>
          <p:sp>
            <p:nvSpPr>
              <p:cNvPr id="5" name="Freeform 24">
                <a:extLst>
                  <a:ext uri="{FF2B5EF4-FFF2-40B4-BE49-F238E27FC236}">
                    <a16:creationId xmlns:a16="http://schemas.microsoft.com/office/drawing/2014/main" id="{17C10843-1F86-556B-CB1C-3F8D8CBD4814}"/>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25">
                <a:extLst>
                  <a:ext uri="{FF2B5EF4-FFF2-40B4-BE49-F238E27FC236}">
                    <a16:creationId xmlns:a16="http://schemas.microsoft.com/office/drawing/2014/main" id="{D4A309B9-4CF1-B2A3-77EE-98E45547A042}"/>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BED8D0A1-F28A-C6FC-2751-ECA19B52B19E}"/>
              </a:ext>
            </a:extLst>
          </p:cNvPr>
          <p:cNvSpPr txBox="1">
            <a:spLocks noGrp="1"/>
          </p:cNvSpPr>
          <p:nvPr>
            <p:ph type="title"/>
          </p:nvPr>
        </p:nvSpPr>
        <p:spPr/>
        <p:txBody>
          <a:bodyPr/>
          <a:lstStyle>
            <a:lvl1pPr>
              <a:defRPr/>
            </a:lvl1pPr>
          </a:lstStyle>
          <a:p>
            <a:pPr lvl="0"/>
            <a:r>
              <a:rPr lang="en-US"/>
              <a:t>Click to edit Master title style</a:t>
            </a:r>
          </a:p>
        </p:txBody>
      </p:sp>
      <p:sp>
        <p:nvSpPr>
          <p:cNvPr id="8" name="Slide Number Placeholder 5">
            <a:extLst>
              <a:ext uri="{FF2B5EF4-FFF2-40B4-BE49-F238E27FC236}">
                <a16:creationId xmlns:a16="http://schemas.microsoft.com/office/drawing/2014/main" id="{497863A8-D5ED-FA08-863E-54F00AB25E99}"/>
              </a:ext>
            </a:extLst>
          </p:cNvPr>
          <p:cNvSpPr txBox="1">
            <a:spLocks noGrp="1"/>
          </p:cNvSpPr>
          <p:nvPr>
            <p:ph type="sldNum" sz="quarter" idx="8"/>
          </p:nvPr>
        </p:nvSpPr>
        <p:spPr/>
        <p:txBody>
          <a:bodyPr/>
          <a:lstStyle>
            <a:lvl1pPr>
              <a:defRPr/>
            </a:lvl1pPr>
          </a:lstStyle>
          <a:p>
            <a:pPr lvl="0"/>
            <a:fld id="{295AD72A-E5CA-4697-957E-0FA45B9C2AD7}" type="slidenum">
              <a:t>‹#›</a:t>
            </a:fld>
            <a:endParaRPr lang="en-US"/>
          </a:p>
        </p:txBody>
      </p:sp>
      <p:cxnSp>
        <p:nvCxnSpPr>
          <p:cNvPr id="9" name="Straight Connector 6">
            <a:extLst>
              <a:ext uri="{FF2B5EF4-FFF2-40B4-BE49-F238E27FC236}">
                <a16:creationId xmlns:a16="http://schemas.microsoft.com/office/drawing/2014/main" id="{C2A2E234-B6D0-87A7-F07E-F9C0263E11C0}"/>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0" name="Footer Placeholder 2">
            <a:extLst>
              <a:ext uri="{FF2B5EF4-FFF2-40B4-BE49-F238E27FC236}">
                <a16:creationId xmlns:a16="http://schemas.microsoft.com/office/drawing/2014/main" id="{6774C66D-4DB2-8A2C-924A-13E6782293CD}"/>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1559220024"/>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8_Photo Slide">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E88BBB99-E3BF-B886-2A62-DA7DF0AE7C58}"/>
              </a:ext>
            </a:extLst>
          </p:cNvPr>
          <p:cNvSpPr txBox="1">
            <a:spLocks noGrp="1"/>
          </p:cNvSpPr>
          <p:nvPr>
            <p:ph type="body" idx="4294967295"/>
          </p:nvPr>
        </p:nvSpPr>
        <p:spPr>
          <a:xfrm>
            <a:off x="457200" y="1146255"/>
            <a:ext cx="2350172" cy="2971800"/>
          </a:xfrm>
        </p:spPr>
        <p:txBody>
          <a:bodyPr/>
          <a:lstStyle>
            <a:lvl1pPr marL="0" indent="0">
              <a:buNone/>
              <a:defRPr/>
            </a:lvl1pPr>
          </a:lstStyle>
          <a:p>
            <a:pPr lvl="0"/>
            <a:r>
              <a:rPr lang="en-US"/>
              <a:t>Click to edit Master text styles</a:t>
            </a:r>
          </a:p>
        </p:txBody>
      </p:sp>
      <p:cxnSp>
        <p:nvCxnSpPr>
          <p:cNvPr id="3" name="Straight Connector 5">
            <a:extLst>
              <a:ext uri="{FF2B5EF4-FFF2-40B4-BE49-F238E27FC236}">
                <a16:creationId xmlns:a16="http://schemas.microsoft.com/office/drawing/2014/main" id="{C2F99081-A43B-3A81-6A3A-3745F8FCBB70}"/>
              </a:ext>
            </a:extLst>
          </p:cNvPr>
          <p:cNvCxnSpPr/>
          <p:nvPr/>
        </p:nvCxnSpPr>
        <p:spPr>
          <a:xfrm>
            <a:off x="457201" y="947985"/>
            <a:ext cx="2350163" cy="0"/>
          </a:xfrm>
          <a:prstGeom prst="straightConnector1">
            <a:avLst/>
          </a:prstGeom>
          <a:noFill/>
          <a:ln w="31747" cap="flat">
            <a:solidFill>
              <a:srgbClr val="F58366"/>
            </a:solidFill>
            <a:prstDash val="solid"/>
            <a:miter/>
          </a:ln>
        </p:spPr>
      </p:cxnSp>
      <p:grpSp>
        <p:nvGrpSpPr>
          <p:cNvPr id="4" name="Group 2">
            <a:extLst>
              <a:ext uri="{FF2B5EF4-FFF2-40B4-BE49-F238E27FC236}">
                <a16:creationId xmlns:a16="http://schemas.microsoft.com/office/drawing/2014/main" id="{BC6A4522-1EF2-4E5D-FF03-0D200BF8F6F6}"/>
              </a:ext>
            </a:extLst>
          </p:cNvPr>
          <p:cNvGrpSpPr/>
          <p:nvPr/>
        </p:nvGrpSpPr>
        <p:grpSpPr>
          <a:xfrm>
            <a:off x="1" y="5379425"/>
            <a:ext cx="2807363" cy="753895"/>
            <a:chOff x="0" y="5379424"/>
            <a:chExt cx="2807363" cy="753895"/>
          </a:xfrm>
        </p:grpSpPr>
        <p:sp>
          <p:nvSpPr>
            <p:cNvPr id="5" name="Freeform 21">
              <a:extLst>
                <a:ext uri="{FF2B5EF4-FFF2-40B4-BE49-F238E27FC236}">
                  <a16:creationId xmlns:a16="http://schemas.microsoft.com/office/drawing/2014/main" id="{EEBC1867-8E3C-7C97-65C8-54C015D8F9F9}"/>
                </a:ext>
              </a:extLst>
            </p:cNvPr>
            <p:cNvSpPr/>
            <p:nvPr/>
          </p:nvSpPr>
          <p:spPr>
            <a:xfrm>
              <a:off x="0" y="5532513"/>
              <a:ext cx="2807363" cy="600806"/>
            </a:xfrm>
            <a:custGeom>
              <a:avLst/>
              <a:gdLst>
                <a:gd name="f0" fmla="val 10800000"/>
                <a:gd name="f1" fmla="val 5400000"/>
                <a:gd name="f2" fmla="val 180"/>
                <a:gd name="f3" fmla="val w"/>
                <a:gd name="f4" fmla="val h"/>
                <a:gd name="f5" fmla="val 0"/>
                <a:gd name="f6" fmla="val 2807368"/>
                <a:gd name="f7" fmla="val 600807"/>
                <a:gd name="f8" fmla="val 429971"/>
                <a:gd name="f9" fmla="val 123998"/>
                <a:gd name="f10" fmla="val 1184765"/>
                <a:gd name="f11" fmla="val 325331"/>
                <a:gd name="f12" fmla="val 2014184"/>
                <a:gd name="f13" fmla="val 392492"/>
                <a:gd name="f14" fmla="val 2790212"/>
                <a:gd name="f15" fmla="val 235402"/>
                <a:gd name="f16" fmla="val 231522"/>
                <a:gd name="f17" fmla="val 566106"/>
                <a:gd name="f18" fmla="val 2593885"/>
                <a:gd name="f19" fmla="val 587498"/>
                <a:gd name="f20" fmla="val 1673646"/>
                <a:gd name="f21" fmla="val 651184"/>
                <a:gd name="f22" fmla="val 884869"/>
                <a:gd name="f23" fmla="val 479260"/>
                <a:gd name="f24" fmla="val 100844"/>
                <a:gd name="f25" fmla="val 222653"/>
                <a:gd name="f26" fmla="val 188389"/>
                <a:gd name="f27" fmla="+- 0 0 -90"/>
                <a:gd name="f28" fmla="*/ f3 1 2807368"/>
                <a:gd name="f29" fmla="*/ f4 1 600807"/>
                <a:gd name="f30" fmla="+- f7 0 f5"/>
                <a:gd name="f31" fmla="+- f6 0 f5"/>
                <a:gd name="f32" fmla="*/ f27 f0 1"/>
                <a:gd name="f33" fmla="*/ f31 1 2807368"/>
                <a:gd name="f34" fmla="*/ f30 1 600807"/>
                <a:gd name="f35" fmla="*/ 0 f31 1"/>
                <a:gd name="f36" fmla="*/ 0 f30 1"/>
                <a:gd name="f37" fmla="*/ 429971 f31 1"/>
                <a:gd name="f38" fmla="*/ 123998 f30 1"/>
                <a:gd name="f39" fmla="*/ 2790212 f31 1"/>
                <a:gd name="f40" fmla="*/ 235402 f30 1"/>
                <a:gd name="f41" fmla="*/ 2807368 f31 1"/>
                <a:gd name="f42" fmla="*/ 231522 f30 1"/>
                <a:gd name="f43" fmla="*/ 566106 f30 1"/>
                <a:gd name="f44" fmla="*/ 2593885 f31 1"/>
                <a:gd name="f45" fmla="*/ 587498 f30 1"/>
                <a:gd name="f46" fmla="*/ 100844 f31 1"/>
                <a:gd name="f47" fmla="*/ 222653 f30 1"/>
                <a:gd name="f48" fmla="*/ 188389 f30 1"/>
                <a:gd name="f49" fmla="*/ f32 1 f2"/>
                <a:gd name="f50" fmla="*/ f35 1 2807368"/>
                <a:gd name="f51" fmla="*/ f36 1 600807"/>
                <a:gd name="f52" fmla="*/ f37 1 2807368"/>
                <a:gd name="f53" fmla="*/ f38 1 600807"/>
                <a:gd name="f54" fmla="*/ f39 1 2807368"/>
                <a:gd name="f55" fmla="*/ f40 1 600807"/>
                <a:gd name="f56" fmla="*/ f41 1 2807368"/>
                <a:gd name="f57" fmla="*/ f42 1 600807"/>
                <a:gd name="f58" fmla="*/ f43 1 600807"/>
                <a:gd name="f59" fmla="*/ f44 1 2807368"/>
                <a:gd name="f60" fmla="*/ f45 1 600807"/>
                <a:gd name="f61" fmla="*/ f46 1 2807368"/>
                <a:gd name="f62" fmla="*/ f47 1 600807"/>
                <a:gd name="f63" fmla="*/ f48 1 600807"/>
                <a:gd name="f64" fmla="*/ f5 1 f33"/>
                <a:gd name="f65" fmla="*/ f6 1 f33"/>
                <a:gd name="f66" fmla="*/ f5 1 f34"/>
                <a:gd name="f67" fmla="*/ f7 1 f34"/>
                <a:gd name="f68" fmla="+- f49 0 f1"/>
                <a:gd name="f69" fmla="*/ f50 1 f33"/>
                <a:gd name="f70" fmla="*/ f51 1 f34"/>
                <a:gd name="f71" fmla="*/ f52 1 f33"/>
                <a:gd name="f72" fmla="*/ f53 1 f34"/>
                <a:gd name="f73" fmla="*/ f54 1 f33"/>
                <a:gd name="f74" fmla="*/ f55 1 f34"/>
                <a:gd name="f75" fmla="*/ f56 1 f33"/>
                <a:gd name="f76" fmla="*/ f57 1 f34"/>
                <a:gd name="f77" fmla="*/ f58 1 f34"/>
                <a:gd name="f78" fmla="*/ f59 1 f33"/>
                <a:gd name="f79" fmla="*/ f60 1 f34"/>
                <a:gd name="f80" fmla="*/ f61 1 f33"/>
                <a:gd name="f81" fmla="*/ f62 1 f34"/>
                <a:gd name="f82" fmla="*/ f63 1 f34"/>
                <a:gd name="f83" fmla="*/ f64 f28 1"/>
                <a:gd name="f84" fmla="*/ f65 f28 1"/>
                <a:gd name="f85" fmla="*/ f67 f29 1"/>
                <a:gd name="f86" fmla="*/ f66 f29 1"/>
                <a:gd name="f87" fmla="*/ f69 f28 1"/>
                <a:gd name="f88" fmla="*/ f70 f29 1"/>
                <a:gd name="f89" fmla="*/ f71 f28 1"/>
                <a:gd name="f90" fmla="*/ f72 f29 1"/>
                <a:gd name="f91" fmla="*/ f73 f28 1"/>
                <a:gd name="f92" fmla="*/ f74 f29 1"/>
                <a:gd name="f93" fmla="*/ f75 f28 1"/>
                <a:gd name="f94" fmla="*/ f76 f29 1"/>
                <a:gd name="f95" fmla="*/ f77 f29 1"/>
                <a:gd name="f96" fmla="*/ f78 f28 1"/>
                <a:gd name="f97" fmla="*/ f79 f29 1"/>
                <a:gd name="f98" fmla="*/ f80 f28 1"/>
                <a:gd name="f99" fmla="*/ f81 f29 1"/>
                <a:gd name="f100" fmla="*/ f82 f29 1"/>
              </a:gdLst>
              <a:ahLst/>
              <a:cxnLst>
                <a:cxn ang="3cd4">
                  <a:pos x="hc" y="t"/>
                </a:cxn>
                <a:cxn ang="0">
                  <a:pos x="r" y="vc"/>
                </a:cxn>
                <a:cxn ang="cd4">
                  <a:pos x="hc" y="b"/>
                </a:cxn>
                <a:cxn ang="cd2">
                  <a:pos x="l" y="vc"/>
                </a:cxn>
                <a:cxn ang="f68">
                  <a:pos x="f87" y="f88"/>
                </a:cxn>
                <a:cxn ang="f68">
                  <a:pos x="f89" y="f90"/>
                </a:cxn>
                <a:cxn ang="f68">
                  <a:pos x="f91" y="f92"/>
                </a:cxn>
                <a:cxn ang="f68">
                  <a:pos x="f93" y="f94"/>
                </a:cxn>
                <a:cxn ang="f68">
                  <a:pos x="f93" y="f95"/>
                </a:cxn>
                <a:cxn ang="f68">
                  <a:pos x="f96" y="f97"/>
                </a:cxn>
                <a:cxn ang="f68">
                  <a:pos x="f98" y="f99"/>
                </a:cxn>
                <a:cxn ang="f68">
                  <a:pos x="f87" y="f100"/>
                </a:cxn>
              </a:cxnLst>
              <a:rect l="f83" t="f86" r="f84" b="f85"/>
              <a:pathLst>
                <a:path w="2807368" h="600807">
                  <a:moveTo>
                    <a:pt x="f5" y="f5"/>
                  </a:moveTo>
                  <a:lnTo>
                    <a:pt x="f8" y="f9"/>
                  </a:lnTo>
                  <a:cubicBezTo>
                    <a:pt x="f10" y="f11"/>
                    <a:pt x="f12" y="f13"/>
                    <a:pt x="f14" y="f15"/>
                  </a:cubicBezTo>
                  <a:lnTo>
                    <a:pt x="f6" y="f16"/>
                  </a:lnTo>
                  <a:lnTo>
                    <a:pt x="f6" y="f17"/>
                  </a:lnTo>
                  <a:lnTo>
                    <a:pt x="f18" y="f19"/>
                  </a:lnTo>
                  <a:cubicBezTo>
                    <a:pt x="f20" y="f21"/>
                    <a:pt x="f22" y="f23"/>
                    <a:pt x="f24" y="f25"/>
                  </a:cubicBezTo>
                  <a:lnTo>
                    <a:pt x="f5" y="f26"/>
                  </a:ln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Freeform 19">
              <a:extLst>
                <a:ext uri="{FF2B5EF4-FFF2-40B4-BE49-F238E27FC236}">
                  <a16:creationId xmlns:a16="http://schemas.microsoft.com/office/drawing/2014/main" id="{30972C98-8670-3856-4377-07B9739A84FA}"/>
                </a:ext>
              </a:extLst>
            </p:cNvPr>
            <p:cNvSpPr/>
            <p:nvPr/>
          </p:nvSpPr>
          <p:spPr>
            <a:xfrm>
              <a:off x="0" y="5379424"/>
              <a:ext cx="2807363" cy="649800"/>
            </a:xfrm>
            <a:custGeom>
              <a:avLst/>
              <a:gdLst>
                <a:gd name="f0" fmla="val 10800000"/>
                <a:gd name="f1" fmla="val 5400000"/>
                <a:gd name="f2" fmla="val 180"/>
                <a:gd name="f3" fmla="val w"/>
                <a:gd name="f4" fmla="val h"/>
                <a:gd name="f5" fmla="val 0"/>
                <a:gd name="f6" fmla="val 2807368"/>
                <a:gd name="f7" fmla="val 649803"/>
                <a:gd name="f8" fmla="val 282676"/>
                <a:gd name="f9" fmla="val 70799"/>
                <a:gd name="f10" fmla="val 435964"/>
                <a:gd name="f11" fmla="val 106085"/>
                <a:gd name="f12" fmla="val 588770"/>
                <a:gd name="f13" fmla="val 137629"/>
                <a:gd name="f14" fmla="val 740881"/>
                <a:gd name="f15" fmla="val 163828"/>
                <a:gd name="f16" fmla="val 1362800"/>
                <a:gd name="f17" fmla="val 270912"/>
                <a:gd name="f18" fmla="val 2067879"/>
                <a:gd name="f19" fmla="val 253759"/>
                <a:gd name="f20" fmla="val 2706471"/>
                <a:gd name="f21" fmla="val 96397"/>
                <a:gd name="f22" fmla="val 67250"/>
                <a:gd name="f23" fmla="val 605551"/>
                <a:gd name="f24" fmla="val 2602685"/>
                <a:gd name="f25" fmla="val 629466"/>
                <a:gd name="f26" fmla="val 1684237"/>
                <a:gd name="f27" fmla="val 708219"/>
                <a:gd name="f28" fmla="val 893252"/>
                <a:gd name="f29" fmla="val 549395"/>
                <a:gd name="f30" fmla="val 105614"/>
                <a:gd name="f31" fmla="val 305882"/>
                <a:gd name="f32" fmla="val 271926"/>
                <a:gd name="f33" fmla="+- 0 0 -90"/>
                <a:gd name="f34" fmla="*/ f3 1 2807368"/>
                <a:gd name="f35" fmla="*/ f4 1 649803"/>
                <a:gd name="f36" fmla="+- f7 0 f5"/>
                <a:gd name="f37" fmla="+- f6 0 f5"/>
                <a:gd name="f38" fmla="*/ f33 f0 1"/>
                <a:gd name="f39" fmla="*/ f37 1 2807368"/>
                <a:gd name="f40" fmla="*/ f36 1 649803"/>
                <a:gd name="f41" fmla="*/ 0 f37 1"/>
                <a:gd name="f42" fmla="*/ 0 f36 1"/>
                <a:gd name="f43" fmla="*/ 282676 f37 1"/>
                <a:gd name="f44" fmla="*/ 70799 f36 1"/>
                <a:gd name="f45" fmla="*/ 740881 f37 1"/>
                <a:gd name="f46" fmla="*/ 163828 f36 1"/>
                <a:gd name="f47" fmla="*/ 2706471 f37 1"/>
                <a:gd name="f48" fmla="*/ 96397 f36 1"/>
                <a:gd name="f49" fmla="*/ 2807368 f37 1"/>
                <a:gd name="f50" fmla="*/ 67250 f36 1"/>
                <a:gd name="f51" fmla="*/ 605551 f36 1"/>
                <a:gd name="f52" fmla="*/ 2602685 f37 1"/>
                <a:gd name="f53" fmla="*/ 629466 f36 1"/>
                <a:gd name="f54" fmla="*/ 105614 f37 1"/>
                <a:gd name="f55" fmla="*/ 305882 f36 1"/>
                <a:gd name="f56" fmla="*/ 271926 f36 1"/>
                <a:gd name="f57" fmla="*/ f38 1 f2"/>
                <a:gd name="f58" fmla="*/ f41 1 2807368"/>
                <a:gd name="f59" fmla="*/ f42 1 649803"/>
                <a:gd name="f60" fmla="*/ f43 1 2807368"/>
                <a:gd name="f61" fmla="*/ f44 1 649803"/>
                <a:gd name="f62" fmla="*/ f45 1 2807368"/>
                <a:gd name="f63" fmla="*/ f46 1 649803"/>
                <a:gd name="f64" fmla="*/ f47 1 2807368"/>
                <a:gd name="f65" fmla="*/ f48 1 649803"/>
                <a:gd name="f66" fmla="*/ f49 1 2807368"/>
                <a:gd name="f67" fmla="*/ f50 1 649803"/>
                <a:gd name="f68" fmla="*/ f51 1 649803"/>
                <a:gd name="f69" fmla="*/ f52 1 2807368"/>
                <a:gd name="f70" fmla="*/ f53 1 649803"/>
                <a:gd name="f71" fmla="*/ f54 1 2807368"/>
                <a:gd name="f72" fmla="*/ f55 1 649803"/>
                <a:gd name="f73" fmla="*/ f56 1 649803"/>
                <a:gd name="f74" fmla="*/ f5 1 f39"/>
                <a:gd name="f75" fmla="*/ f6 1 f39"/>
                <a:gd name="f76" fmla="*/ f5 1 f40"/>
                <a:gd name="f77" fmla="*/ f7 1 f40"/>
                <a:gd name="f78" fmla="+- f57 0 f1"/>
                <a:gd name="f79" fmla="*/ f58 1 f39"/>
                <a:gd name="f80" fmla="*/ f59 1 f40"/>
                <a:gd name="f81" fmla="*/ f60 1 f39"/>
                <a:gd name="f82" fmla="*/ f61 1 f40"/>
                <a:gd name="f83" fmla="*/ f62 1 f39"/>
                <a:gd name="f84" fmla="*/ f63 1 f40"/>
                <a:gd name="f85" fmla="*/ f64 1 f39"/>
                <a:gd name="f86" fmla="*/ f65 1 f40"/>
                <a:gd name="f87" fmla="*/ f66 1 f39"/>
                <a:gd name="f88" fmla="*/ f67 1 f40"/>
                <a:gd name="f89" fmla="*/ f68 1 f40"/>
                <a:gd name="f90" fmla="*/ f69 1 f39"/>
                <a:gd name="f91" fmla="*/ f70 1 f40"/>
                <a:gd name="f92" fmla="*/ f71 1 f39"/>
                <a:gd name="f93" fmla="*/ f72 1 f40"/>
                <a:gd name="f94" fmla="*/ f73 1 f40"/>
                <a:gd name="f95" fmla="*/ f74 f34 1"/>
                <a:gd name="f96" fmla="*/ f75 f34 1"/>
                <a:gd name="f97" fmla="*/ f77 f35 1"/>
                <a:gd name="f98" fmla="*/ f76 f35 1"/>
                <a:gd name="f99" fmla="*/ f79 f34 1"/>
                <a:gd name="f100" fmla="*/ f80 f35 1"/>
                <a:gd name="f101" fmla="*/ f81 f34 1"/>
                <a:gd name="f102" fmla="*/ f82 f35 1"/>
                <a:gd name="f103" fmla="*/ f83 f34 1"/>
                <a:gd name="f104" fmla="*/ f84 f35 1"/>
                <a:gd name="f105" fmla="*/ f85 f34 1"/>
                <a:gd name="f106" fmla="*/ f86 f35 1"/>
                <a:gd name="f107" fmla="*/ f87 f34 1"/>
                <a:gd name="f108" fmla="*/ f88 f35 1"/>
                <a:gd name="f109" fmla="*/ f89 f35 1"/>
                <a:gd name="f110" fmla="*/ f90 f34 1"/>
                <a:gd name="f111" fmla="*/ f91 f35 1"/>
                <a:gd name="f112" fmla="*/ f92 f34 1"/>
                <a:gd name="f113" fmla="*/ f93 f35 1"/>
                <a:gd name="f114" fmla="*/ f94 f35 1"/>
              </a:gdLst>
              <a:ahLst/>
              <a:cxnLst>
                <a:cxn ang="3cd4">
                  <a:pos x="hc" y="t"/>
                </a:cxn>
                <a:cxn ang="0">
                  <a:pos x="r" y="vc"/>
                </a:cxn>
                <a:cxn ang="cd4">
                  <a:pos x="hc" y="b"/>
                </a:cxn>
                <a:cxn ang="cd2">
                  <a:pos x="l" y="vc"/>
                </a:cxn>
                <a:cxn ang="f78">
                  <a:pos x="f99" y="f100"/>
                </a:cxn>
                <a:cxn ang="f78">
                  <a:pos x="f101" y="f102"/>
                </a:cxn>
                <a:cxn ang="f78">
                  <a:pos x="f103" y="f104"/>
                </a:cxn>
                <a:cxn ang="f78">
                  <a:pos x="f105" y="f106"/>
                </a:cxn>
                <a:cxn ang="f78">
                  <a:pos x="f107" y="f108"/>
                </a:cxn>
                <a:cxn ang="f78">
                  <a:pos x="f107" y="f109"/>
                </a:cxn>
                <a:cxn ang="f78">
                  <a:pos x="f110" y="f111"/>
                </a:cxn>
                <a:cxn ang="f78">
                  <a:pos x="f112" y="f113"/>
                </a:cxn>
                <a:cxn ang="f78">
                  <a:pos x="f99" y="f114"/>
                </a:cxn>
              </a:cxnLst>
              <a:rect l="f95" t="f98" r="f96" b="f97"/>
              <a:pathLst>
                <a:path w="2807368" h="649803">
                  <a:moveTo>
                    <a:pt x="f5" y="f5"/>
                  </a:moveTo>
                  <a:lnTo>
                    <a:pt x="f8" y="f9"/>
                  </a:lnTo>
                  <a:cubicBezTo>
                    <a:pt x="f10" y="f11"/>
                    <a:pt x="f12" y="f13"/>
                    <a:pt x="f14" y="f15"/>
                  </a:cubicBezTo>
                  <a:cubicBezTo>
                    <a:pt x="f16" y="f17"/>
                    <a:pt x="f18" y="f19"/>
                    <a:pt x="f20" y="f21"/>
                  </a:cubicBezTo>
                  <a:lnTo>
                    <a:pt x="f6" y="f22"/>
                  </a:lnTo>
                  <a:lnTo>
                    <a:pt x="f6" y="f23"/>
                  </a:lnTo>
                  <a:lnTo>
                    <a:pt x="f24" y="f25"/>
                  </a:lnTo>
                  <a:cubicBezTo>
                    <a:pt x="f26" y="f27"/>
                    <a:pt x="f28" y="f29"/>
                    <a:pt x="f30" y="f31"/>
                  </a:cubicBezTo>
                  <a:lnTo>
                    <a:pt x="f5" y="f32"/>
                  </a:ln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grpSp>
      <p:sp>
        <p:nvSpPr>
          <p:cNvPr id="7" name="Picture Placeholder 6">
            <a:extLst>
              <a:ext uri="{FF2B5EF4-FFF2-40B4-BE49-F238E27FC236}">
                <a16:creationId xmlns:a16="http://schemas.microsoft.com/office/drawing/2014/main" id="{DBE7695A-E7F8-5C5C-05AF-C867B9E45BDD}"/>
              </a:ext>
            </a:extLst>
          </p:cNvPr>
          <p:cNvSpPr txBox="1">
            <a:spLocks noGrp="1"/>
          </p:cNvSpPr>
          <p:nvPr>
            <p:ph type="pic" idx="4294967295"/>
          </p:nvPr>
        </p:nvSpPr>
        <p:spPr>
          <a:xfrm>
            <a:off x="2807363" y="457200"/>
            <a:ext cx="8915400" cy="5943600"/>
          </a:xfrm>
        </p:spPr>
        <p:txBody>
          <a:bodyPr/>
          <a:lstStyle>
            <a:lvl1pPr>
              <a:defRPr/>
            </a:lvl1pPr>
          </a:lstStyle>
          <a:p>
            <a:pPr lvl="0"/>
            <a:endParaRPr lang="en-US"/>
          </a:p>
        </p:txBody>
      </p:sp>
      <p:pic>
        <p:nvPicPr>
          <p:cNvPr id="8" name="Picture 14">
            <a:extLst>
              <a:ext uri="{FF2B5EF4-FFF2-40B4-BE49-F238E27FC236}">
                <a16:creationId xmlns:a16="http://schemas.microsoft.com/office/drawing/2014/main" id="{2A9D4EBC-2A05-CF59-9620-50EE0514754E}"/>
              </a:ext>
            </a:extLst>
          </p:cNvPr>
          <p:cNvPicPr>
            <a:picLocks noChangeAspect="1"/>
          </p:cNvPicPr>
          <p:nvPr/>
        </p:nvPicPr>
        <p:blipFill>
          <a:blip r:embed="rId2"/>
          <a:srcRect/>
          <a:stretch>
            <a:fillRect/>
          </a:stretch>
        </p:blipFill>
        <p:spPr>
          <a:xfrm>
            <a:off x="513354" y="4385535"/>
            <a:ext cx="2025313" cy="911940"/>
          </a:xfrm>
          <a:prstGeom prst="rect">
            <a:avLst/>
          </a:prstGeom>
          <a:noFill/>
          <a:ln cap="flat">
            <a:noFill/>
          </a:ln>
        </p:spPr>
      </p:pic>
    </p:spTree>
    <p:extLst>
      <p:ext uri="{BB962C8B-B14F-4D97-AF65-F5344CB8AC3E}">
        <p14:creationId xmlns:p14="http://schemas.microsoft.com/office/powerpoint/2010/main" val="172480006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Quotation">
  <p:cSld name="Quotation 2">
    <p:spTree>
      <p:nvGrpSpPr>
        <p:cNvPr id="1" name="Shape 9299"/>
        <p:cNvGrpSpPr/>
        <p:nvPr/>
      </p:nvGrpSpPr>
      <p:grpSpPr>
        <a:xfrm>
          <a:off x="0" y="0"/>
          <a:ext cx="0" cy="0"/>
          <a:chOff x="0" y="0"/>
          <a:chExt cx="0" cy="0"/>
        </a:xfrm>
      </p:grpSpPr>
      <p:sp>
        <p:nvSpPr>
          <p:cNvPr id="9300" name="Google Shape;9300;p134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301" name="Google Shape;9301;p134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302" name="Google Shape;9302;p134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03" name="Google Shape;9303;p13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04" name="Google Shape;9304;p13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05" name="Google Shape;9305;p13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306" name="Google Shape;9306;p1342"/>
          <p:cNvGrpSpPr/>
          <p:nvPr/>
        </p:nvGrpSpPr>
        <p:grpSpPr>
          <a:xfrm>
            <a:off x="7191542" y="1"/>
            <a:ext cx="5000459" cy="1425992"/>
            <a:chOff x="7191542" y="1"/>
            <a:chExt cx="5000459" cy="1425992"/>
          </a:xfrm>
        </p:grpSpPr>
        <p:pic>
          <p:nvPicPr>
            <p:cNvPr id="9307" name="Google Shape;9307;p13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08" name="Google Shape;9308;p1342"/>
            <p:cNvGrpSpPr/>
            <p:nvPr/>
          </p:nvGrpSpPr>
          <p:grpSpPr>
            <a:xfrm>
              <a:off x="7191542" y="1"/>
              <a:ext cx="5000459" cy="1425992"/>
              <a:chOff x="7186272" y="0"/>
              <a:chExt cx="5005729" cy="1427495"/>
            </a:xfrm>
          </p:grpSpPr>
          <p:sp>
            <p:nvSpPr>
              <p:cNvPr id="9309" name="Google Shape;9309;p13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310" name="Google Shape;9310;p13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311" name="Google Shape;9311;p134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9E58F922-ACA8-C186-1B21-9572A4A8F3EC}"/>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5D965473-9151-BD05-9C2B-93C4D29F61B9}"/>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9070A3B8-C69B-6E5F-A1D5-0B23081EADDE}"/>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A44896FC-1961-870D-C729-80E305CC4F2E}"/>
              </a:ext>
            </a:extLst>
          </p:cNvPr>
          <p:cNvSpPr txBox="1">
            <a:spLocks noGrp="1"/>
          </p:cNvSpPr>
          <p:nvPr>
            <p:ph type="sldNum" sz="quarter" idx="8"/>
          </p:nvPr>
        </p:nvSpPr>
        <p:spPr/>
        <p:txBody>
          <a:bodyPr/>
          <a:lstStyle>
            <a:lvl1pPr>
              <a:defRPr>
                <a:solidFill>
                  <a:srgbClr val="AFB3B9"/>
                </a:solidFill>
              </a:defRPr>
            </a:lvl1pPr>
          </a:lstStyle>
          <a:p>
            <a:pPr lvl="0"/>
            <a:fld id="{0A8F4575-0810-4D2C-9DB4-B084829FE07A}" type="slidenum">
              <a:t>‹#›</a:t>
            </a:fld>
            <a:endParaRPr lang="en-US"/>
          </a:p>
        </p:txBody>
      </p:sp>
      <p:cxnSp>
        <p:nvCxnSpPr>
          <p:cNvPr id="6" name="Straight Connector 7">
            <a:extLst>
              <a:ext uri="{FF2B5EF4-FFF2-40B4-BE49-F238E27FC236}">
                <a16:creationId xmlns:a16="http://schemas.microsoft.com/office/drawing/2014/main" id="{ECDBBD4A-8C5D-65FF-BA24-2FB0729940EB}"/>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AFD9D045-D8AA-A373-D585-54BAC4B6FC04}"/>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2680A019-8BB0-82FD-7349-46D24AEEA4E1}"/>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D1E338BE-50A1-FF4A-D9EA-3FD2476952E5}"/>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A0DA71C2-7291-2F4E-179C-E1E6F09AEE16}"/>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715684A0-EC72-DD54-DFB5-CC5E9007B17F}"/>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D678C349-0F0B-85DC-18B2-17F4B757110A}"/>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12726F46-4703-9ACA-4EC0-FDA98A1D4026}"/>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1660124515"/>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2" name="Group 63">
            <a:extLst>
              <a:ext uri="{FF2B5EF4-FFF2-40B4-BE49-F238E27FC236}">
                <a16:creationId xmlns:a16="http://schemas.microsoft.com/office/drawing/2014/main" id="{F0F93155-1A49-1D93-7D0E-2C39C7968DCD}"/>
              </a:ext>
            </a:extLst>
          </p:cNvPr>
          <p:cNvGrpSpPr/>
          <p:nvPr/>
        </p:nvGrpSpPr>
        <p:grpSpPr>
          <a:xfrm>
            <a:off x="7191545" y="0"/>
            <a:ext cx="5000460" cy="1425988"/>
            <a:chOff x="7191545" y="0"/>
            <a:chExt cx="5000460" cy="1425988"/>
          </a:xfrm>
        </p:grpSpPr>
        <p:pic>
          <p:nvPicPr>
            <p:cNvPr id="3" name="Picture 64">
              <a:extLst>
                <a:ext uri="{FF2B5EF4-FFF2-40B4-BE49-F238E27FC236}">
                  <a16:creationId xmlns:a16="http://schemas.microsoft.com/office/drawing/2014/main" id="{BCEF61CF-81D4-C345-6215-122984CD0548}"/>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65">
              <a:extLst>
                <a:ext uri="{FF2B5EF4-FFF2-40B4-BE49-F238E27FC236}">
                  <a16:creationId xmlns:a16="http://schemas.microsoft.com/office/drawing/2014/main" id="{B997E4DD-EA64-DFAC-6B07-7A260CA822EE}"/>
                </a:ext>
              </a:extLst>
            </p:cNvPr>
            <p:cNvGrpSpPr/>
            <p:nvPr/>
          </p:nvGrpSpPr>
          <p:grpSpPr>
            <a:xfrm>
              <a:off x="7191545" y="0"/>
              <a:ext cx="5000460" cy="1425988"/>
              <a:chOff x="7191545" y="0"/>
              <a:chExt cx="5000460" cy="1425988"/>
            </a:xfrm>
          </p:grpSpPr>
          <p:sp>
            <p:nvSpPr>
              <p:cNvPr id="5" name="Freeform 66">
                <a:extLst>
                  <a:ext uri="{FF2B5EF4-FFF2-40B4-BE49-F238E27FC236}">
                    <a16:creationId xmlns:a16="http://schemas.microsoft.com/office/drawing/2014/main" id="{C1F7DF95-EAD5-F41A-6DD4-5BC6C14257CC}"/>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67">
                <a:extLst>
                  <a:ext uri="{FF2B5EF4-FFF2-40B4-BE49-F238E27FC236}">
                    <a16:creationId xmlns:a16="http://schemas.microsoft.com/office/drawing/2014/main" id="{D805A6F8-470D-9E68-507E-E19583634FFE}"/>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01E2B58D-B1A5-7931-E7BC-C9563BD43BDB}"/>
              </a:ext>
            </a:extLst>
          </p:cNvPr>
          <p:cNvSpPr txBox="1">
            <a:spLocks noGrp="1"/>
          </p:cNvSpPr>
          <p:nvPr>
            <p:ph type="title"/>
          </p:nvPr>
        </p:nvSpPr>
        <p:spPr/>
        <p:txBody>
          <a:bodyPr/>
          <a:lstStyle>
            <a:lvl1pPr>
              <a:defRPr/>
            </a:lvl1pPr>
          </a:lstStyle>
          <a:p>
            <a:pPr lvl="0"/>
            <a:r>
              <a:rPr lang="en-US"/>
              <a:t>Click to edit Master title style</a:t>
            </a:r>
          </a:p>
        </p:txBody>
      </p:sp>
      <p:sp>
        <p:nvSpPr>
          <p:cNvPr id="8" name="Content Placeholder 2">
            <a:extLst>
              <a:ext uri="{FF2B5EF4-FFF2-40B4-BE49-F238E27FC236}">
                <a16:creationId xmlns:a16="http://schemas.microsoft.com/office/drawing/2014/main" id="{CC19BDC2-C1FD-75E0-7363-2008946342FF}"/>
              </a:ext>
            </a:extLst>
          </p:cNvPr>
          <p:cNvSpPr txBox="1">
            <a:spLocks noGrp="1"/>
          </p:cNvSpPr>
          <p:nvPr>
            <p:ph idx="1"/>
          </p:nvPr>
        </p:nvSpPr>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6">
            <a:extLst>
              <a:ext uri="{FF2B5EF4-FFF2-40B4-BE49-F238E27FC236}">
                <a16:creationId xmlns:a16="http://schemas.microsoft.com/office/drawing/2014/main" id="{06B251E0-4970-51AE-CE7B-367805D5D535}"/>
              </a:ext>
            </a:extLst>
          </p:cNvPr>
          <p:cNvSpPr txBox="1">
            <a:spLocks noGrp="1"/>
          </p:cNvSpPr>
          <p:nvPr>
            <p:ph type="sldNum" sz="quarter" idx="8"/>
          </p:nvPr>
        </p:nvSpPr>
        <p:spPr/>
        <p:txBody>
          <a:bodyPr/>
          <a:lstStyle>
            <a:lvl1pPr>
              <a:defRPr>
                <a:solidFill>
                  <a:srgbClr val="AFB3B9"/>
                </a:solidFill>
              </a:defRPr>
            </a:lvl1pPr>
          </a:lstStyle>
          <a:p>
            <a:pPr lvl="0"/>
            <a:fld id="{C247E6FA-CC08-4CC1-910D-8B477485D2BB}" type="slidenum">
              <a:t>‹#›</a:t>
            </a:fld>
            <a:endParaRPr lang="en-US"/>
          </a:p>
        </p:txBody>
      </p:sp>
      <p:cxnSp>
        <p:nvCxnSpPr>
          <p:cNvPr id="10" name="Straight Connector 7">
            <a:extLst>
              <a:ext uri="{FF2B5EF4-FFF2-40B4-BE49-F238E27FC236}">
                <a16:creationId xmlns:a16="http://schemas.microsoft.com/office/drawing/2014/main" id="{ABC7AEAD-B6D1-AEBC-38B6-FB63C9C18EDB}"/>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1" name="Footer Placeholder 5">
            <a:extLst>
              <a:ext uri="{FF2B5EF4-FFF2-40B4-BE49-F238E27FC236}">
                <a16:creationId xmlns:a16="http://schemas.microsoft.com/office/drawing/2014/main" id="{A26AEF00-22A0-0221-2DDF-28D12A765F83}"/>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3348854103"/>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820AE8-DD64-0DCD-EB62-9F5FC91173FB}"/>
              </a:ext>
            </a:extLst>
          </p:cNvPr>
          <p:cNvSpPr txBox="1">
            <a:spLocks noGrp="1"/>
          </p:cNvSpPr>
          <p:nvPr>
            <p:ph type="title"/>
          </p:nvPr>
        </p:nvSpPr>
        <p:spPr/>
        <p:txBody>
          <a:bodyPr/>
          <a:lstStyle>
            <a:lvl1pPr>
              <a:defRPr/>
            </a:lvl1pPr>
          </a:lstStyle>
          <a:p>
            <a:pPr lvl="0"/>
            <a:r>
              <a:rPr lang="en-US"/>
              <a:t>Click to edit Master title style</a:t>
            </a:r>
          </a:p>
        </p:txBody>
      </p:sp>
      <p:sp>
        <p:nvSpPr>
          <p:cNvPr id="3" name="Content Placeholder 2">
            <a:extLst>
              <a:ext uri="{FF2B5EF4-FFF2-40B4-BE49-F238E27FC236}">
                <a16:creationId xmlns:a16="http://schemas.microsoft.com/office/drawing/2014/main" id="{ED8D16E4-FF83-FDC0-4E95-F410194884C0}"/>
              </a:ext>
            </a:extLst>
          </p:cNvPr>
          <p:cNvSpPr txBox="1">
            <a:spLocks noGrp="1"/>
          </p:cNvSpPr>
          <p:nvPr>
            <p:ph idx="1"/>
          </p:nvPr>
        </p:nvSpPr>
        <p:spPr>
          <a:xfrm>
            <a:off x="609604" y="1825627"/>
            <a:ext cx="5410203" cy="4351336"/>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43">
            <a:extLst>
              <a:ext uri="{FF2B5EF4-FFF2-40B4-BE49-F238E27FC236}">
                <a16:creationId xmlns:a16="http://schemas.microsoft.com/office/drawing/2014/main" id="{339AD8B0-7F4F-3C2E-8377-F57BC5005BBA}"/>
              </a:ext>
            </a:extLst>
          </p:cNvPr>
          <p:cNvGrpSpPr/>
          <p:nvPr/>
        </p:nvGrpSpPr>
        <p:grpSpPr>
          <a:xfrm>
            <a:off x="7191545" y="0"/>
            <a:ext cx="5000460" cy="1425988"/>
            <a:chOff x="7191545" y="0"/>
            <a:chExt cx="5000460" cy="1425988"/>
          </a:xfrm>
        </p:grpSpPr>
        <p:pic>
          <p:nvPicPr>
            <p:cNvPr id="5" name="Picture 19">
              <a:extLst>
                <a:ext uri="{FF2B5EF4-FFF2-40B4-BE49-F238E27FC236}">
                  <a16:creationId xmlns:a16="http://schemas.microsoft.com/office/drawing/2014/main" id="{86DF47A6-156E-80FF-EA58-76C8F8C5C948}"/>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6" name="Group 42">
              <a:extLst>
                <a:ext uri="{FF2B5EF4-FFF2-40B4-BE49-F238E27FC236}">
                  <a16:creationId xmlns:a16="http://schemas.microsoft.com/office/drawing/2014/main" id="{C10235C0-C608-01BE-C33D-B003D264FAE2}"/>
                </a:ext>
              </a:extLst>
            </p:cNvPr>
            <p:cNvGrpSpPr/>
            <p:nvPr/>
          </p:nvGrpSpPr>
          <p:grpSpPr>
            <a:xfrm>
              <a:off x="7191545" y="0"/>
              <a:ext cx="5000460" cy="1425988"/>
              <a:chOff x="7191545" y="0"/>
              <a:chExt cx="5000460" cy="1425988"/>
            </a:xfrm>
          </p:grpSpPr>
          <p:sp>
            <p:nvSpPr>
              <p:cNvPr id="7" name="Freeform 41">
                <a:extLst>
                  <a:ext uri="{FF2B5EF4-FFF2-40B4-BE49-F238E27FC236}">
                    <a16:creationId xmlns:a16="http://schemas.microsoft.com/office/drawing/2014/main" id="{54EFE5A1-857E-14B0-7D2C-C337C02B54B2}"/>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8" name="Freeform 39">
                <a:extLst>
                  <a:ext uri="{FF2B5EF4-FFF2-40B4-BE49-F238E27FC236}">
                    <a16:creationId xmlns:a16="http://schemas.microsoft.com/office/drawing/2014/main" id="{37B4BFF8-7BF1-6AFF-D7B1-70177F2B794B}"/>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9" name="Content Placeholder 3">
            <a:extLst>
              <a:ext uri="{FF2B5EF4-FFF2-40B4-BE49-F238E27FC236}">
                <a16:creationId xmlns:a16="http://schemas.microsoft.com/office/drawing/2014/main" id="{C056A911-439D-9AD0-29FD-62E1B5433683}"/>
              </a:ext>
            </a:extLst>
          </p:cNvPr>
          <p:cNvSpPr txBox="1">
            <a:spLocks noGrp="1"/>
          </p:cNvSpPr>
          <p:nvPr>
            <p:ph idx="2"/>
          </p:nvPr>
        </p:nvSpPr>
        <p:spPr>
          <a:xfrm>
            <a:off x="6172201" y="1825627"/>
            <a:ext cx="5410203" cy="4351336"/>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7">
            <a:extLst>
              <a:ext uri="{FF2B5EF4-FFF2-40B4-BE49-F238E27FC236}">
                <a16:creationId xmlns:a16="http://schemas.microsoft.com/office/drawing/2014/main" id="{FFB83AFD-B22E-C098-D38C-AAC2EFAD678C}"/>
              </a:ext>
            </a:extLst>
          </p:cNvPr>
          <p:cNvSpPr txBox="1">
            <a:spLocks noGrp="1"/>
          </p:cNvSpPr>
          <p:nvPr>
            <p:ph type="sldNum" sz="quarter" idx="8"/>
          </p:nvPr>
        </p:nvSpPr>
        <p:spPr>
          <a:xfrm>
            <a:off x="8839193" y="6356352"/>
            <a:ext cx="2743200" cy="365129"/>
          </a:xfrm>
        </p:spPr>
        <p:txBody>
          <a:bodyPr/>
          <a:lstStyle>
            <a:lvl1pPr>
              <a:defRPr/>
            </a:lvl1pPr>
          </a:lstStyle>
          <a:p>
            <a:pPr lvl="0"/>
            <a:fld id="{519CE8CE-B4CA-4F35-A056-E4E0A2956E40}" type="slidenum">
              <a:t>‹#›</a:t>
            </a:fld>
            <a:endParaRPr lang="en-US"/>
          </a:p>
        </p:txBody>
      </p:sp>
      <p:cxnSp>
        <p:nvCxnSpPr>
          <p:cNvPr id="11" name="Straight Connector 6">
            <a:extLst>
              <a:ext uri="{FF2B5EF4-FFF2-40B4-BE49-F238E27FC236}">
                <a16:creationId xmlns:a16="http://schemas.microsoft.com/office/drawing/2014/main" id="{7E944977-2674-7301-934E-FB2F58D36B26}"/>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2" name="Footer Placeholder 4">
            <a:extLst>
              <a:ext uri="{FF2B5EF4-FFF2-40B4-BE49-F238E27FC236}">
                <a16:creationId xmlns:a16="http://schemas.microsoft.com/office/drawing/2014/main" id="{E5ED77ED-B52C-F72D-A4EC-3540E15860E3}"/>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525308778"/>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 name="Group 24">
            <a:extLst>
              <a:ext uri="{FF2B5EF4-FFF2-40B4-BE49-F238E27FC236}">
                <a16:creationId xmlns:a16="http://schemas.microsoft.com/office/drawing/2014/main" id="{5DFB50CE-3A1C-E050-D2A2-1DCA9980B60F}"/>
              </a:ext>
            </a:extLst>
          </p:cNvPr>
          <p:cNvGrpSpPr/>
          <p:nvPr/>
        </p:nvGrpSpPr>
        <p:grpSpPr>
          <a:xfrm>
            <a:off x="7191545" y="0"/>
            <a:ext cx="5000460" cy="1425988"/>
            <a:chOff x="7191545" y="0"/>
            <a:chExt cx="5000460" cy="1425988"/>
          </a:xfrm>
        </p:grpSpPr>
        <p:pic>
          <p:nvPicPr>
            <p:cNvPr id="3" name="Picture 25">
              <a:extLst>
                <a:ext uri="{FF2B5EF4-FFF2-40B4-BE49-F238E27FC236}">
                  <a16:creationId xmlns:a16="http://schemas.microsoft.com/office/drawing/2014/main" id="{0F395C89-FAD4-9307-FE8A-2E818A17B182}"/>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26">
              <a:extLst>
                <a:ext uri="{FF2B5EF4-FFF2-40B4-BE49-F238E27FC236}">
                  <a16:creationId xmlns:a16="http://schemas.microsoft.com/office/drawing/2014/main" id="{B47BBFDA-0791-830A-DDFC-99C56B4497DD}"/>
                </a:ext>
              </a:extLst>
            </p:cNvPr>
            <p:cNvGrpSpPr/>
            <p:nvPr/>
          </p:nvGrpSpPr>
          <p:grpSpPr>
            <a:xfrm>
              <a:off x="7191545" y="0"/>
              <a:ext cx="5000460" cy="1425988"/>
              <a:chOff x="7191545" y="0"/>
              <a:chExt cx="5000460" cy="1425988"/>
            </a:xfrm>
          </p:grpSpPr>
          <p:sp>
            <p:nvSpPr>
              <p:cNvPr id="5" name="Freeform 27">
                <a:extLst>
                  <a:ext uri="{FF2B5EF4-FFF2-40B4-BE49-F238E27FC236}">
                    <a16:creationId xmlns:a16="http://schemas.microsoft.com/office/drawing/2014/main" id="{A0CA3EF4-635C-21AB-66C9-6B0F5CD36457}"/>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28">
                <a:extLst>
                  <a:ext uri="{FF2B5EF4-FFF2-40B4-BE49-F238E27FC236}">
                    <a16:creationId xmlns:a16="http://schemas.microsoft.com/office/drawing/2014/main" id="{D9F38C25-9294-15ED-B974-C0CAE71981F6}"/>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685DD15A-B865-0A25-FC92-E078A0C48495}"/>
              </a:ext>
            </a:extLst>
          </p:cNvPr>
          <p:cNvSpPr txBox="1">
            <a:spLocks noGrp="1"/>
          </p:cNvSpPr>
          <p:nvPr>
            <p:ph type="title"/>
          </p:nvPr>
        </p:nvSpPr>
        <p:spPr/>
        <p:txBody>
          <a:bodyPr/>
          <a:lstStyle>
            <a:lvl1pPr>
              <a:defRPr/>
            </a:lvl1pPr>
          </a:lstStyle>
          <a:p>
            <a:pPr lvl="0"/>
            <a:r>
              <a:rPr lang="en-US"/>
              <a:t>Click to edit Master title style</a:t>
            </a:r>
          </a:p>
        </p:txBody>
      </p:sp>
      <p:sp>
        <p:nvSpPr>
          <p:cNvPr id="8" name="Text Placeholder 2">
            <a:extLst>
              <a:ext uri="{FF2B5EF4-FFF2-40B4-BE49-F238E27FC236}">
                <a16:creationId xmlns:a16="http://schemas.microsoft.com/office/drawing/2014/main" id="{2BE6B81E-8FCE-1B44-987D-B86F812281C7}"/>
              </a:ext>
            </a:extLst>
          </p:cNvPr>
          <p:cNvSpPr txBox="1">
            <a:spLocks noGrp="1"/>
          </p:cNvSpPr>
          <p:nvPr>
            <p:ph type="body" idx="1"/>
          </p:nvPr>
        </p:nvSpPr>
        <p:spPr>
          <a:xfrm>
            <a:off x="609604" y="1681160"/>
            <a:ext cx="5387973" cy="823910"/>
          </a:xfrm>
          <a:solidFill>
            <a:srgbClr val="F3F6FB"/>
          </a:solidFill>
        </p:spPr>
        <p:txBody>
          <a:bodyPr lIns="182880" tIns="0" rIns="182880" bIns="0" anchor="ctr"/>
          <a:lstStyle>
            <a:lvl1pPr marL="0" indent="0">
              <a:buNone/>
              <a:defRPr u="sng">
                <a:uFill>
                  <a:solidFill>
                    <a:srgbClr val="F58366"/>
                  </a:solidFill>
                </a:uFill>
              </a:defRPr>
            </a:lvl1pPr>
          </a:lstStyle>
          <a:p>
            <a:pPr lvl="0"/>
            <a:r>
              <a:rPr lang="en-US"/>
              <a:t>Click to edit Master text styles</a:t>
            </a:r>
          </a:p>
        </p:txBody>
      </p:sp>
      <p:sp>
        <p:nvSpPr>
          <p:cNvPr id="9" name="Content Placeholder 3">
            <a:extLst>
              <a:ext uri="{FF2B5EF4-FFF2-40B4-BE49-F238E27FC236}">
                <a16:creationId xmlns:a16="http://schemas.microsoft.com/office/drawing/2014/main" id="{DB1E3F31-E62C-D354-4147-C7F1771EABFB}"/>
              </a:ext>
            </a:extLst>
          </p:cNvPr>
          <p:cNvSpPr txBox="1">
            <a:spLocks noGrp="1"/>
          </p:cNvSpPr>
          <p:nvPr>
            <p:ph idx="2"/>
          </p:nvPr>
        </p:nvSpPr>
        <p:spPr>
          <a:xfrm>
            <a:off x="609604" y="2505072"/>
            <a:ext cx="5387973" cy="3684583"/>
          </a:xfrm>
          <a:solidFill>
            <a:srgbClr val="F3F6FB"/>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C2CB52D7-5E72-EE0B-196A-D1C0C89F0F81}"/>
              </a:ext>
            </a:extLst>
          </p:cNvPr>
          <p:cNvSpPr txBox="1">
            <a:spLocks noGrp="1"/>
          </p:cNvSpPr>
          <p:nvPr>
            <p:ph type="body" idx="3"/>
          </p:nvPr>
        </p:nvSpPr>
        <p:spPr>
          <a:xfrm>
            <a:off x="6172201" y="1681160"/>
            <a:ext cx="5410203" cy="823910"/>
          </a:xfrm>
          <a:solidFill>
            <a:srgbClr val="F3F6FB"/>
          </a:solidFill>
        </p:spPr>
        <p:txBody>
          <a:bodyPr lIns="182880" tIns="0" rIns="182880" bIns="0" anchor="ctr"/>
          <a:lstStyle>
            <a:lvl1pPr marL="0" indent="0">
              <a:buNone/>
              <a:defRPr u="sng">
                <a:uFill>
                  <a:solidFill>
                    <a:srgbClr val="F58366"/>
                  </a:solidFill>
                </a:uFill>
              </a:defRPr>
            </a:lvl1pPr>
          </a:lstStyle>
          <a:p>
            <a:pPr lvl="0"/>
            <a:r>
              <a:rPr lang="en-US"/>
              <a:t>Click to edit Master text styles</a:t>
            </a:r>
          </a:p>
        </p:txBody>
      </p:sp>
      <p:sp>
        <p:nvSpPr>
          <p:cNvPr id="11" name="Content Placeholder 5">
            <a:extLst>
              <a:ext uri="{FF2B5EF4-FFF2-40B4-BE49-F238E27FC236}">
                <a16:creationId xmlns:a16="http://schemas.microsoft.com/office/drawing/2014/main" id="{ADC83C30-2062-367C-BD9D-4D8B9EA92198}"/>
              </a:ext>
            </a:extLst>
          </p:cNvPr>
          <p:cNvSpPr txBox="1">
            <a:spLocks noGrp="1"/>
          </p:cNvSpPr>
          <p:nvPr>
            <p:ph idx="4"/>
          </p:nvPr>
        </p:nvSpPr>
        <p:spPr>
          <a:xfrm>
            <a:off x="6172201" y="2505072"/>
            <a:ext cx="5410203" cy="3684583"/>
          </a:xfrm>
          <a:solidFill>
            <a:srgbClr val="F3F6FB"/>
          </a:solidFill>
        </p:spPr>
        <p:txBody>
          <a:bodyPr lIns="182880" tIns="0" rIns="182880" bIns="0"/>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9">
            <a:extLst>
              <a:ext uri="{FF2B5EF4-FFF2-40B4-BE49-F238E27FC236}">
                <a16:creationId xmlns:a16="http://schemas.microsoft.com/office/drawing/2014/main" id="{6665397E-9B14-1EFE-9FEB-7BEEC37596B1}"/>
              </a:ext>
            </a:extLst>
          </p:cNvPr>
          <p:cNvSpPr txBox="1">
            <a:spLocks noGrp="1"/>
          </p:cNvSpPr>
          <p:nvPr>
            <p:ph type="sldNum" sz="quarter" idx="8"/>
          </p:nvPr>
        </p:nvSpPr>
        <p:spPr/>
        <p:txBody>
          <a:bodyPr/>
          <a:lstStyle>
            <a:lvl1pPr>
              <a:defRPr/>
            </a:lvl1pPr>
          </a:lstStyle>
          <a:p>
            <a:pPr lvl="0"/>
            <a:fld id="{648EE941-0901-401D-9C6D-8CCC9C4C68EF}" type="slidenum">
              <a:t>‹#›</a:t>
            </a:fld>
            <a:endParaRPr lang="en-US"/>
          </a:p>
        </p:txBody>
      </p:sp>
      <p:cxnSp>
        <p:nvCxnSpPr>
          <p:cNvPr id="13" name="Straight Connector 8">
            <a:extLst>
              <a:ext uri="{FF2B5EF4-FFF2-40B4-BE49-F238E27FC236}">
                <a16:creationId xmlns:a16="http://schemas.microsoft.com/office/drawing/2014/main" id="{DA9F46F0-C978-D293-8BEA-91DF5192ED2F}"/>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4" name="Footer Placeholder 7">
            <a:extLst>
              <a:ext uri="{FF2B5EF4-FFF2-40B4-BE49-F238E27FC236}">
                <a16:creationId xmlns:a16="http://schemas.microsoft.com/office/drawing/2014/main" id="{9B0F4741-D3CF-DB8C-C5B1-52A18FF2B56C}"/>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1225250421"/>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 name="Group 21">
            <a:extLst>
              <a:ext uri="{FF2B5EF4-FFF2-40B4-BE49-F238E27FC236}">
                <a16:creationId xmlns:a16="http://schemas.microsoft.com/office/drawing/2014/main" id="{D9724CD3-5B78-0409-3709-4F80FFE57947}"/>
              </a:ext>
            </a:extLst>
          </p:cNvPr>
          <p:cNvGrpSpPr/>
          <p:nvPr/>
        </p:nvGrpSpPr>
        <p:grpSpPr>
          <a:xfrm>
            <a:off x="7191545" y="0"/>
            <a:ext cx="5000460" cy="1425988"/>
            <a:chOff x="7191545" y="0"/>
            <a:chExt cx="5000460" cy="1425988"/>
          </a:xfrm>
        </p:grpSpPr>
        <p:pic>
          <p:nvPicPr>
            <p:cNvPr id="3" name="Picture 22">
              <a:extLst>
                <a:ext uri="{FF2B5EF4-FFF2-40B4-BE49-F238E27FC236}">
                  <a16:creationId xmlns:a16="http://schemas.microsoft.com/office/drawing/2014/main" id="{4E42C6C4-31B9-67DE-10A9-E86AA30D9801}"/>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23">
              <a:extLst>
                <a:ext uri="{FF2B5EF4-FFF2-40B4-BE49-F238E27FC236}">
                  <a16:creationId xmlns:a16="http://schemas.microsoft.com/office/drawing/2014/main" id="{76DF61FC-253C-8F44-3AA0-4B36AE4EB94D}"/>
                </a:ext>
              </a:extLst>
            </p:cNvPr>
            <p:cNvGrpSpPr/>
            <p:nvPr/>
          </p:nvGrpSpPr>
          <p:grpSpPr>
            <a:xfrm>
              <a:off x="7191545" y="0"/>
              <a:ext cx="5000460" cy="1425988"/>
              <a:chOff x="7191545" y="0"/>
              <a:chExt cx="5000460" cy="1425988"/>
            </a:xfrm>
          </p:grpSpPr>
          <p:sp>
            <p:nvSpPr>
              <p:cNvPr id="5" name="Freeform 24">
                <a:extLst>
                  <a:ext uri="{FF2B5EF4-FFF2-40B4-BE49-F238E27FC236}">
                    <a16:creationId xmlns:a16="http://schemas.microsoft.com/office/drawing/2014/main" id="{2D9070EA-4D66-8BF7-2E9C-B653EC46AC28}"/>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25">
                <a:extLst>
                  <a:ext uri="{FF2B5EF4-FFF2-40B4-BE49-F238E27FC236}">
                    <a16:creationId xmlns:a16="http://schemas.microsoft.com/office/drawing/2014/main" id="{AA371901-1EC4-E6CC-74CB-55B9D39BE492}"/>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647C9B26-DEA2-0181-C66B-06D4EEF34854}"/>
              </a:ext>
            </a:extLst>
          </p:cNvPr>
          <p:cNvSpPr txBox="1">
            <a:spLocks noGrp="1"/>
          </p:cNvSpPr>
          <p:nvPr>
            <p:ph type="title"/>
          </p:nvPr>
        </p:nvSpPr>
        <p:spPr/>
        <p:txBody>
          <a:bodyPr/>
          <a:lstStyle>
            <a:lvl1pPr>
              <a:defRPr/>
            </a:lvl1pPr>
          </a:lstStyle>
          <a:p>
            <a:pPr lvl="0"/>
            <a:r>
              <a:rPr lang="en-US"/>
              <a:t>Click to edit Master title style</a:t>
            </a:r>
          </a:p>
        </p:txBody>
      </p:sp>
      <p:sp>
        <p:nvSpPr>
          <p:cNvPr id="8" name="Slide Number Placeholder 5">
            <a:extLst>
              <a:ext uri="{FF2B5EF4-FFF2-40B4-BE49-F238E27FC236}">
                <a16:creationId xmlns:a16="http://schemas.microsoft.com/office/drawing/2014/main" id="{EB8A79A1-D59B-D397-D44A-6E0AC58026F5}"/>
              </a:ext>
            </a:extLst>
          </p:cNvPr>
          <p:cNvSpPr txBox="1">
            <a:spLocks noGrp="1"/>
          </p:cNvSpPr>
          <p:nvPr>
            <p:ph type="sldNum" sz="quarter" idx="8"/>
          </p:nvPr>
        </p:nvSpPr>
        <p:spPr/>
        <p:txBody>
          <a:bodyPr/>
          <a:lstStyle>
            <a:lvl1pPr>
              <a:defRPr/>
            </a:lvl1pPr>
          </a:lstStyle>
          <a:p>
            <a:pPr lvl="0"/>
            <a:fld id="{A8A36DD1-5479-4D96-8077-A0274BD0B19A}" type="slidenum">
              <a:t>‹#›</a:t>
            </a:fld>
            <a:endParaRPr lang="en-US"/>
          </a:p>
        </p:txBody>
      </p:sp>
      <p:cxnSp>
        <p:nvCxnSpPr>
          <p:cNvPr id="9" name="Straight Connector 6">
            <a:extLst>
              <a:ext uri="{FF2B5EF4-FFF2-40B4-BE49-F238E27FC236}">
                <a16:creationId xmlns:a16="http://schemas.microsoft.com/office/drawing/2014/main" id="{885D49B1-EF11-6112-FC14-8D3208BE6C6A}"/>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0" name="Footer Placeholder 2">
            <a:extLst>
              <a:ext uri="{FF2B5EF4-FFF2-40B4-BE49-F238E27FC236}">
                <a16:creationId xmlns:a16="http://schemas.microsoft.com/office/drawing/2014/main" id="{D32237D2-7E3A-1B23-05EF-446978292C6D}"/>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138538618"/>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7_End">
    <p:spTree>
      <p:nvGrpSpPr>
        <p:cNvPr id="1" name=""/>
        <p:cNvGrpSpPr/>
        <p:nvPr/>
      </p:nvGrpSpPr>
      <p:grpSpPr>
        <a:xfrm>
          <a:off x="0" y="0"/>
          <a:ext cx="0" cy="0"/>
          <a:chOff x="0" y="0"/>
          <a:chExt cx="0" cy="0"/>
        </a:xfrm>
      </p:grpSpPr>
      <p:grpSp>
        <p:nvGrpSpPr>
          <p:cNvPr id="2" name="Group 41">
            <a:extLst>
              <a:ext uri="{FF2B5EF4-FFF2-40B4-BE49-F238E27FC236}">
                <a16:creationId xmlns:a16="http://schemas.microsoft.com/office/drawing/2014/main" id="{68CA9325-6495-C267-4801-3E56858FD471}"/>
              </a:ext>
            </a:extLst>
          </p:cNvPr>
          <p:cNvGrpSpPr/>
          <p:nvPr/>
        </p:nvGrpSpPr>
        <p:grpSpPr>
          <a:xfrm>
            <a:off x="0" y="0"/>
            <a:ext cx="12191996" cy="2148830"/>
            <a:chOff x="0" y="0"/>
            <a:chExt cx="12191996" cy="2148830"/>
          </a:xfrm>
        </p:grpSpPr>
        <p:sp>
          <p:nvSpPr>
            <p:cNvPr id="3" name="Freeform 40">
              <a:extLst>
                <a:ext uri="{FF2B5EF4-FFF2-40B4-BE49-F238E27FC236}">
                  <a16:creationId xmlns:a16="http://schemas.microsoft.com/office/drawing/2014/main" id="{FC94656B-13F0-F265-5EC0-F33729709147}"/>
                </a:ext>
              </a:extLst>
            </p:cNvPr>
            <p:cNvSpPr/>
            <p:nvPr/>
          </p:nvSpPr>
          <p:spPr>
            <a:xfrm flipH="1">
              <a:off x="0" y="0"/>
              <a:ext cx="12191996" cy="2148830"/>
            </a:xfrm>
            <a:custGeom>
              <a:avLst/>
              <a:gdLst>
                <a:gd name="f0" fmla="val 10800000"/>
                <a:gd name="f1" fmla="val 5400000"/>
                <a:gd name="f2" fmla="val 180"/>
                <a:gd name="f3" fmla="val w"/>
                <a:gd name="f4" fmla="val h"/>
                <a:gd name="f5" fmla="val 0"/>
                <a:gd name="f6" fmla="val 12192000"/>
                <a:gd name="f7" fmla="val 2148830"/>
                <a:gd name="f8" fmla="val 2318293"/>
                <a:gd name="f9" fmla="val 2110341"/>
                <a:gd name="f10" fmla="val 1952334"/>
                <a:gd name="f11" fmla="val 920"/>
                <a:gd name="f12" fmla="val 1343499"/>
                <a:gd name="f13" fmla="val 23864"/>
                <a:gd name="f14" fmla="val 752130"/>
                <a:gd name="f15" fmla="val 152982"/>
                <a:gd name="f16" fmla="val 184205"/>
                <a:gd name="f17" fmla="val 435928"/>
                <a:gd name="f18" fmla="val 536864"/>
                <a:gd name="f19" fmla="val 554713"/>
                <a:gd name="f20" fmla="val 201115"/>
                <a:gd name="f21" fmla="val 452796"/>
                <a:gd name="f22" fmla="val 776357"/>
                <a:gd name="f23" fmla="val 187336"/>
                <a:gd name="f24" fmla="val 1349828"/>
                <a:gd name="f25" fmla="val 76760"/>
                <a:gd name="f26" fmla="val 1947588"/>
                <a:gd name="f27" fmla="val 66249"/>
                <a:gd name="f28" fmla="val 2962940"/>
                <a:gd name="f29" fmla="val 48421"/>
                <a:gd name="f30" fmla="val 3890218"/>
                <a:gd name="f31" fmla="val 291317"/>
                <a:gd name="f32" fmla="val 4778140"/>
                <a:gd name="f33" fmla="val 604018"/>
                <a:gd name="f34" fmla="val 7231510"/>
                <a:gd name="f35" fmla="val 1468126"/>
                <a:gd name="f36" fmla="val 9178927"/>
                <a:gd name="f37" fmla="val 2492024"/>
                <a:gd name="f38" fmla="val 11996242"/>
                <a:gd name="f39" fmla="val 2036894"/>
                <a:gd name="f40" fmla="val 2002266"/>
                <a:gd name="f41" fmla="val 1415250"/>
                <a:gd name="f42" fmla="val 12022971"/>
                <a:gd name="f43" fmla="val 1470801"/>
                <a:gd name="f44" fmla="val 10719696"/>
                <a:gd name="f45" fmla="val 1863939"/>
                <a:gd name="f46" fmla="val 9271154"/>
                <a:gd name="f47" fmla="val 1783804"/>
                <a:gd name="f48" fmla="val 7970940"/>
                <a:gd name="f49" fmla="val 1436986"/>
                <a:gd name="f50" fmla="val 6890984"/>
                <a:gd name="f51" fmla="val 1148958"/>
                <a:gd name="f52" fmla="val 5866930"/>
                <a:gd name="f53" fmla="val 767309"/>
                <a:gd name="f54" fmla="val 4800356"/>
                <a:gd name="f55" fmla="val 456582"/>
                <a:gd name="f56" fmla="val 4068903"/>
                <a:gd name="f57" fmla="val 243471"/>
                <a:gd name="f58" fmla="val 3348204"/>
                <a:gd name="f59" fmla="val 74251"/>
                <a:gd name="f60" fmla="val 2646880"/>
                <a:gd name="f61" fmla="val 17560"/>
                <a:gd name="f62" fmla="+- 0 0 -90"/>
                <a:gd name="f63" fmla="*/ f3 1 12192000"/>
                <a:gd name="f64" fmla="*/ f4 1 2148830"/>
                <a:gd name="f65" fmla="+- f7 0 f5"/>
                <a:gd name="f66" fmla="+- f6 0 f5"/>
                <a:gd name="f67" fmla="*/ f62 f0 1"/>
                <a:gd name="f68" fmla="*/ f66 1 12192000"/>
                <a:gd name="f69" fmla="*/ f65 1 2148830"/>
                <a:gd name="f70" fmla="*/ 2318293 f66 1"/>
                <a:gd name="f71" fmla="*/ 0 f65 1"/>
                <a:gd name="f72" fmla="*/ 2110341 f66 1"/>
                <a:gd name="f73" fmla="*/ 1952334 f66 1"/>
                <a:gd name="f74" fmla="*/ 920 f65 1"/>
                <a:gd name="f75" fmla="*/ 184205 f66 1"/>
                <a:gd name="f76" fmla="*/ 435928 f65 1"/>
                <a:gd name="f77" fmla="*/ 0 f66 1"/>
                <a:gd name="f78" fmla="*/ 536864 f65 1"/>
                <a:gd name="f79" fmla="*/ 554713 f65 1"/>
                <a:gd name="f80" fmla="*/ 201115 f66 1"/>
                <a:gd name="f81" fmla="*/ 452796 f65 1"/>
                <a:gd name="f82" fmla="*/ 1947588 f66 1"/>
                <a:gd name="f83" fmla="*/ 66249 f65 1"/>
                <a:gd name="f84" fmla="*/ 4778140 f66 1"/>
                <a:gd name="f85" fmla="*/ 604018 f65 1"/>
                <a:gd name="f86" fmla="*/ 11996242 f66 1"/>
                <a:gd name="f87" fmla="*/ 2036894 f65 1"/>
                <a:gd name="f88" fmla="*/ 12192000 f66 1"/>
                <a:gd name="f89" fmla="*/ 2002266 f65 1"/>
                <a:gd name="f90" fmla="*/ 1415250 f65 1"/>
                <a:gd name="f91" fmla="*/ 12022971 f66 1"/>
                <a:gd name="f92" fmla="*/ 1470801 f65 1"/>
                <a:gd name="f93" fmla="*/ 7970940 f66 1"/>
                <a:gd name="f94" fmla="*/ 1436986 f65 1"/>
                <a:gd name="f95" fmla="*/ 4800356 f66 1"/>
                <a:gd name="f96" fmla="*/ 456582 f65 1"/>
                <a:gd name="f97" fmla="*/ 2646880 f66 1"/>
                <a:gd name="f98" fmla="*/ 17560 f65 1"/>
                <a:gd name="f99" fmla="*/ f67 1 f2"/>
                <a:gd name="f100" fmla="*/ f70 1 12192000"/>
                <a:gd name="f101" fmla="*/ f71 1 2148830"/>
                <a:gd name="f102" fmla="*/ f72 1 12192000"/>
                <a:gd name="f103" fmla="*/ f73 1 12192000"/>
                <a:gd name="f104" fmla="*/ f74 1 2148830"/>
                <a:gd name="f105" fmla="*/ f75 1 12192000"/>
                <a:gd name="f106" fmla="*/ f76 1 2148830"/>
                <a:gd name="f107" fmla="*/ f77 1 12192000"/>
                <a:gd name="f108" fmla="*/ f78 1 2148830"/>
                <a:gd name="f109" fmla="*/ f79 1 2148830"/>
                <a:gd name="f110" fmla="*/ f80 1 12192000"/>
                <a:gd name="f111" fmla="*/ f81 1 2148830"/>
                <a:gd name="f112" fmla="*/ f82 1 12192000"/>
                <a:gd name="f113" fmla="*/ f83 1 2148830"/>
                <a:gd name="f114" fmla="*/ f84 1 12192000"/>
                <a:gd name="f115" fmla="*/ f85 1 2148830"/>
                <a:gd name="f116" fmla="*/ f86 1 12192000"/>
                <a:gd name="f117" fmla="*/ f87 1 2148830"/>
                <a:gd name="f118" fmla="*/ f88 1 12192000"/>
                <a:gd name="f119" fmla="*/ f89 1 2148830"/>
                <a:gd name="f120" fmla="*/ f90 1 2148830"/>
                <a:gd name="f121" fmla="*/ f91 1 12192000"/>
                <a:gd name="f122" fmla="*/ f92 1 2148830"/>
                <a:gd name="f123" fmla="*/ f93 1 12192000"/>
                <a:gd name="f124" fmla="*/ f94 1 2148830"/>
                <a:gd name="f125" fmla="*/ f95 1 12192000"/>
                <a:gd name="f126" fmla="*/ f96 1 2148830"/>
                <a:gd name="f127" fmla="*/ f97 1 12192000"/>
                <a:gd name="f128" fmla="*/ f98 1 2148830"/>
                <a:gd name="f129" fmla="*/ f5 1 f68"/>
                <a:gd name="f130" fmla="*/ f6 1 f68"/>
                <a:gd name="f131" fmla="*/ f5 1 f69"/>
                <a:gd name="f132" fmla="*/ f7 1 f69"/>
                <a:gd name="f133" fmla="+- f99 0 f1"/>
                <a:gd name="f134" fmla="*/ f100 1 f68"/>
                <a:gd name="f135" fmla="*/ f101 1 f69"/>
                <a:gd name="f136" fmla="*/ f102 1 f68"/>
                <a:gd name="f137" fmla="*/ f103 1 f68"/>
                <a:gd name="f138" fmla="*/ f104 1 f69"/>
                <a:gd name="f139" fmla="*/ f105 1 f68"/>
                <a:gd name="f140" fmla="*/ f106 1 f69"/>
                <a:gd name="f141" fmla="*/ f107 1 f68"/>
                <a:gd name="f142" fmla="*/ f108 1 f69"/>
                <a:gd name="f143" fmla="*/ f109 1 f69"/>
                <a:gd name="f144" fmla="*/ f110 1 f68"/>
                <a:gd name="f145" fmla="*/ f111 1 f69"/>
                <a:gd name="f146" fmla="*/ f112 1 f68"/>
                <a:gd name="f147" fmla="*/ f113 1 f69"/>
                <a:gd name="f148" fmla="*/ f114 1 f68"/>
                <a:gd name="f149" fmla="*/ f115 1 f69"/>
                <a:gd name="f150" fmla="*/ f116 1 f68"/>
                <a:gd name="f151" fmla="*/ f117 1 f69"/>
                <a:gd name="f152" fmla="*/ f118 1 f68"/>
                <a:gd name="f153" fmla="*/ f119 1 f69"/>
                <a:gd name="f154" fmla="*/ f120 1 f69"/>
                <a:gd name="f155" fmla="*/ f121 1 f68"/>
                <a:gd name="f156" fmla="*/ f122 1 f69"/>
                <a:gd name="f157" fmla="*/ f123 1 f68"/>
                <a:gd name="f158" fmla="*/ f124 1 f69"/>
                <a:gd name="f159" fmla="*/ f125 1 f68"/>
                <a:gd name="f160" fmla="*/ f126 1 f69"/>
                <a:gd name="f161" fmla="*/ f127 1 f68"/>
                <a:gd name="f162" fmla="*/ f128 1 f69"/>
                <a:gd name="f163" fmla="*/ f129 f63 1"/>
                <a:gd name="f164" fmla="*/ f130 f63 1"/>
                <a:gd name="f165" fmla="*/ f132 f64 1"/>
                <a:gd name="f166" fmla="*/ f131 f64 1"/>
                <a:gd name="f167" fmla="*/ f134 f63 1"/>
                <a:gd name="f168" fmla="*/ f135 f64 1"/>
                <a:gd name="f169" fmla="*/ f136 f63 1"/>
                <a:gd name="f170" fmla="*/ f137 f63 1"/>
                <a:gd name="f171" fmla="*/ f138 f64 1"/>
                <a:gd name="f172" fmla="*/ f139 f63 1"/>
                <a:gd name="f173" fmla="*/ f140 f64 1"/>
                <a:gd name="f174" fmla="*/ f141 f63 1"/>
                <a:gd name="f175" fmla="*/ f142 f64 1"/>
                <a:gd name="f176" fmla="*/ f143 f64 1"/>
                <a:gd name="f177" fmla="*/ f144 f63 1"/>
                <a:gd name="f178" fmla="*/ f145 f64 1"/>
                <a:gd name="f179" fmla="*/ f146 f63 1"/>
                <a:gd name="f180" fmla="*/ f147 f64 1"/>
                <a:gd name="f181" fmla="*/ f148 f63 1"/>
                <a:gd name="f182" fmla="*/ f149 f64 1"/>
                <a:gd name="f183" fmla="*/ f150 f63 1"/>
                <a:gd name="f184" fmla="*/ f151 f64 1"/>
                <a:gd name="f185" fmla="*/ f152 f63 1"/>
                <a:gd name="f186" fmla="*/ f153 f64 1"/>
                <a:gd name="f187" fmla="*/ f154 f64 1"/>
                <a:gd name="f188" fmla="*/ f155 f63 1"/>
                <a:gd name="f189" fmla="*/ f156 f64 1"/>
                <a:gd name="f190" fmla="*/ f157 f63 1"/>
                <a:gd name="f191" fmla="*/ f158 f64 1"/>
                <a:gd name="f192" fmla="*/ f159 f63 1"/>
                <a:gd name="f193" fmla="*/ f160 f64 1"/>
                <a:gd name="f194" fmla="*/ f161 f63 1"/>
                <a:gd name="f195" fmla="*/ f162 f64 1"/>
              </a:gdLst>
              <a:ahLst/>
              <a:cxnLst>
                <a:cxn ang="3cd4">
                  <a:pos x="hc" y="t"/>
                </a:cxn>
                <a:cxn ang="0">
                  <a:pos x="r" y="vc"/>
                </a:cxn>
                <a:cxn ang="cd4">
                  <a:pos x="hc" y="b"/>
                </a:cxn>
                <a:cxn ang="cd2">
                  <a:pos x="l" y="vc"/>
                </a:cxn>
                <a:cxn ang="f133">
                  <a:pos x="f167" y="f168"/>
                </a:cxn>
                <a:cxn ang="f133">
                  <a:pos x="f169" y="f168"/>
                </a:cxn>
                <a:cxn ang="f133">
                  <a:pos x="f170" y="f171"/>
                </a:cxn>
                <a:cxn ang="f133">
                  <a:pos x="f172" y="f173"/>
                </a:cxn>
                <a:cxn ang="f133">
                  <a:pos x="f174" y="f175"/>
                </a:cxn>
                <a:cxn ang="f133">
                  <a:pos x="f174" y="f176"/>
                </a:cxn>
                <a:cxn ang="f133">
                  <a:pos x="f177" y="f178"/>
                </a:cxn>
                <a:cxn ang="f133">
                  <a:pos x="f179" y="f180"/>
                </a:cxn>
                <a:cxn ang="f133">
                  <a:pos x="f181" y="f182"/>
                </a:cxn>
                <a:cxn ang="f133">
                  <a:pos x="f183" y="f184"/>
                </a:cxn>
                <a:cxn ang="f133">
                  <a:pos x="f185" y="f186"/>
                </a:cxn>
                <a:cxn ang="f133">
                  <a:pos x="f185" y="f187"/>
                </a:cxn>
                <a:cxn ang="f133">
                  <a:pos x="f188" y="f189"/>
                </a:cxn>
                <a:cxn ang="f133">
                  <a:pos x="f190" y="f191"/>
                </a:cxn>
                <a:cxn ang="f133">
                  <a:pos x="f192" y="f193"/>
                </a:cxn>
                <a:cxn ang="f133">
                  <a:pos x="f194" y="f195"/>
                </a:cxn>
              </a:cxnLst>
              <a:rect l="f163" t="f166" r="f164" b="f165"/>
              <a:pathLst>
                <a:path w="12192000" h="2148830">
                  <a:moveTo>
                    <a:pt x="f8" y="f5"/>
                  </a:moveTo>
                  <a:lnTo>
                    <a:pt x="f9" y="f5"/>
                  </a:lnTo>
                  <a:lnTo>
                    <a:pt x="f10" y="f11"/>
                  </a:lnTo>
                  <a:cubicBezTo>
                    <a:pt x="f12" y="f13"/>
                    <a:pt x="f14" y="f15"/>
                    <a:pt x="f16" y="f17"/>
                  </a:cubicBezTo>
                  <a:lnTo>
                    <a:pt x="f5" y="f18"/>
                  </a:lnTo>
                  <a:lnTo>
                    <a:pt x="f5" y="f19"/>
                  </a:lnTo>
                  <a:lnTo>
                    <a:pt x="f20" y="f21"/>
                  </a:lnTo>
                  <a:cubicBezTo>
                    <a:pt x="f22" y="f23"/>
                    <a:pt x="f24" y="f25"/>
                    <a:pt x="f26" y="f27"/>
                  </a:cubicBezTo>
                  <a:cubicBezTo>
                    <a:pt x="f28" y="f29"/>
                    <a:pt x="f30" y="f31"/>
                    <a:pt x="f32" y="f33"/>
                  </a:cubicBezTo>
                  <a:cubicBezTo>
                    <a:pt x="f34" y="f35"/>
                    <a:pt x="f36" y="f37"/>
                    <a:pt x="f38" y="f39"/>
                  </a:cubicBezTo>
                  <a:lnTo>
                    <a:pt x="f6" y="f40"/>
                  </a:lnTo>
                  <a:lnTo>
                    <a:pt x="f6" y="f41"/>
                  </a:lnTo>
                  <a:lnTo>
                    <a:pt x="f42" y="f43"/>
                  </a:lnTo>
                  <a:cubicBezTo>
                    <a:pt x="f44" y="f45"/>
                    <a:pt x="f46" y="f47"/>
                    <a:pt x="f48" y="f49"/>
                  </a:cubicBezTo>
                  <a:cubicBezTo>
                    <a:pt x="f50" y="f51"/>
                    <a:pt x="f52" y="f53"/>
                    <a:pt x="f54" y="f55"/>
                  </a:cubicBezTo>
                  <a:cubicBezTo>
                    <a:pt x="f56" y="f57"/>
                    <a:pt x="f58" y="f59"/>
                    <a:pt x="f60" y="f61"/>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4" name="Freeform 38">
              <a:extLst>
                <a:ext uri="{FF2B5EF4-FFF2-40B4-BE49-F238E27FC236}">
                  <a16:creationId xmlns:a16="http://schemas.microsoft.com/office/drawing/2014/main" id="{4D5BF747-EF47-6A03-D6F0-349C197EC703}"/>
                </a:ext>
              </a:extLst>
            </p:cNvPr>
            <p:cNvSpPr/>
            <p:nvPr/>
          </p:nvSpPr>
          <p:spPr>
            <a:xfrm flipH="1">
              <a:off x="0" y="0"/>
              <a:ext cx="12191996" cy="1992139"/>
            </a:xfrm>
            <a:custGeom>
              <a:avLst/>
              <a:gdLst>
                <a:gd name="f0" fmla="val 10800000"/>
                <a:gd name="f1" fmla="val 5400000"/>
                <a:gd name="f2" fmla="val 180"/>
                <a:gd name="f3" fmla="val w"/>
                <a:gd name="f4" fmla="val h"/>
                <a:gd name="f5" fmla="val 0"/>
                <a:gd name="f6" fmla="val 12192000"/>
                <a:gd name="f7" fmla="val 1992138"/>
                <a:gd name="f8" fmla="val 2724271"/>
                <a:gd name="f9" fmla="val 1788442"/>
                <a:gd name="f10" fmla="val 1635403"/>
                <a:gd name="f11" fmla="val 12925"/>
                <a:gd name="f12" fmla="val 1134241"/>
                <a:gd name="f13" fmla="val 70905"/>
                <a:gd name="f14" fmla="val 647221"/>
                <a:gd name="f15" fmla="val 207817"/>
                <a:gd name="f16" fmla="val 178220"/>
                <a:gd name="f17" fmla="val 451207"/>
                <a:gd name="f18" fmla="val 552718"/>
                <a:gd name="f19" fmla="val 570885"/>
                <a:gd name="f20" fmla="val 195368"/>
                <a:gd name="f21" fmla="val 467800"/>
                <a:gd name="f22" fmla="val 765758"/>
                <a:gd name="f23" fmla="val 193094"/>
                <a:gd name="f24" fmla="val 1336955"/>
                <a:gd name="f25" fmla="val 73179"/>
                <a:gd name="f26" fmla="val 1934073"/>
                <a:gd name="f27" fmla="val 52850"/>
                <a:gd name="f28" fmla="val 2948304"/>
                <a:gd name="f29" fmla="val 18310"/>
                <a:gd name="f30" fmla="val 3878878"/>
                <a:gd name="f31" fmla="val 245747"/>
                <a:gd name="f32" fmla="val 4771217"/>
                <a:gd name="f33" fmla="val 543645"/>
                <a:gd name="f34" fmla="val 7236913"/>
                <a:gd name="f35" fmla="val 1366709"/>
                <a:gd name="f36" fmla="val 9199689"/>
                <a:gd name="f37" fmla="val 2357774"/>
                <a:gd name="f38" fmla="val 12007222"/>
                <a:gd name="f39" fmla="val 1856729"/>
                <a:gd name="f40" fmla="val 1820900"/>
                <a:gd name="f41" fmla="val 897073"/>
                <a:gd name="f42" fmla="val 12062517"/>
                <a:gd name="f43" fmla="val 950128"/>
                <a:gd name="f44" fmla="val 10950292"/>
                <a:gd name="f45" fmla="val 1376478"/>
                <a:gd name="f46" fmla="val 9595706"/>
                <a:gd name="f47" fmla="val 1466451"/>
                <a:gd name="f48" fmla="val 8435105"/>
                <a:gd name="f49" fmla="val 1266613"/>
                <a:gd name="f50" fmla="val 6618389"/>
                <a:gd name="f51" fmla="val 953715"/>
                <a:gd name="f52" fmla="val 4735222"/>
                <a:gd name="f53" fmla="val 130088"/>
                <a:gd name="f54" fmla="val 2948502"/>
                <a:gd name="f55" fmla="val 20548"/>
                <a:gd name="f56" fmla="+- 0 0 -90"/>
                <a:gd name="f57" fmla="*/ f3 1 12192000"/>
                <a:gd name="f58" fmla="*/ f4 1 1992138"/>
                <a:gd name="f59" fmla="+- f7 0 f5"/>
                <a:gd name="f60" fmla="+- f6 0 f5"/>
                <a:gd name="f61" fmla="*/ f56 f0 1"/>
                <a:gd name="f62" fmla="*/ f60 1 12192000"/>
                <a:gd name="f63" fmla="*/ f59 1 1992138"/>
                <a:gd name="f64" fmla="*/ 2724271 f60 1"/>
                <a:gd name="f65" fmla="*/ 0 f59 1"/>
                <a:gd name="f66" fmla="*/ 1788442 f60 1"/>
                <a:gd name="f67" fmla="*/ 1635403 f60 1"/>
                <a:gd name="f68" fmla="*/ 12925 f59 1"/>
                <a:gd name="f69" fmla="*/ 178220 f60 1"/>
                <a:gd name="f70" fmla="*/ 451207 f59 1"/>
                <a:gd name="f71" fmla="*/ 0 f60 1"/>
                <a:gd name="f72" fmla="*/ 552718 f59 1"/>
                <a:gd name="f73" fmla="*/ 570885 f59 1"/>
                <a:gd name="f74" fmla="*/ 195368 f60 1"/>
                <a:gd name="f75" fmla="*/ 467800 f59 1"/>
                <a:gd name="f76" fmla="*/ 1934073 f60 1"/>
                <a:gd name="f77" fmla="*/ 52850 f59 1"/>
                <a:gd name="f78" fmla="*/ 4771217 f60 1"/>
                <a:gd name="f79" fmla="*/ 543645 f59 1"/>
                <a:gd name="f80" fmla="*/ 12007222 f60 1"/>
                <a:gd name="f81" fmla="*/ 1856729 f59 1"/>
                <a:gd name="f82" fmla="*/ 12192000 f60 1"/>
                <a:gd name="f83" fmla="*/ 1820900 f59 1"/>
                <a:gd name="f84" fmla="*/ 897073 f59 1"/>
                <a:gd name="f85" fmla="*/ 12062517 f60 1"/>
                <a:gd name="f86" fmla="*/ 950128 f59 1"/>
                <a:gd name="f87" fmla="*/ 8435105 f60 1"/>
                <a:gd name="f88" fmla="*/ 1266613 f59 1"/>
                <a:gd name="f89" fmla="*/ 2948502 f60 1"/>
                <a:gd name="f90" fmla="*/ 20548 f59 1"/>
                <a:gd name="f91" fmla="*/ f61 1 f2"/>
                <a:gd name="f92" fmla="*/ f64 1 12192000"/>
                <a:gd name="f93" fmla="*/ f65 1 1992138"/>
                <a:gd name="f94" fmla="*/ f66 1 12192000"/>
                <a:gd name="f95" fmla="*/ f67 1 12192000"/>
                <a:gd name="f96" fmla="*/ f68 1 1992138"/>
                <a:gd name="f97" fmla="*/ f69 1 12192000"/>
                <a:gd name="f98" fmla="*/ f70 1 1992138"/>
                <a:gd name="f99" fmla="*/ f71 1 12192000"/>
                <a:gd name="f100" fmla="*/ f72 1 1992138"/>
                <a:gd name="f101" fmla="*/ f73 1 1992138"/>
                <a:gd name="f102" fmla="*/ f74 1 12192000"/>
                <a:gd name="f103" fmla="*/ f75 1 1992138"/>
                <a:gd name="f104" fmla="*/ f76 1 12192000"/>
                <a:gd name="f105" fmla="*/ f77 1 1992138"/>
                <a:gd name="f106" fmla="*/ f78 1 12192000"/>
                <a:gd name="f107" fmla="*/ f79 1 1992138"/>
                <a:gd name="f108" fmla="*/ f80 1 12192000"/>
                <a:gd name="f109" fmla="*/ f81 1 1992138"/>
                <a:gd name="f110" fmla="*/ f82 1 12192000"/>
                <a:gd name="f111" fmla="*/ f83 1 1992138"/>
                <a:gd name="f112" fmla="*/ f84 1 1992138"/>
                <a:gd name="f113" fmla="*/ f85 1 12192000"/>
                <a:gd name="f114" fmla="*/ f86 1 1992138"/>
                <a:gd name="f115" fmla="*/ f87 1 12192000"/>
                <a:gd name="f116" fmla="*/ f88 1 1992138"/>
                <a:gd name="f117" fmla="*/ f89 1 12192000"/>
                <a:gd name="f118" fmla="*/ f90 1 1992138"/>
                <a:gd name="f119" fmla="*/ f5 1 f62"/>
                <a:gd name="f120" fmla="*/ f6 1 f62"/>
                <a:gd name="f121" fmla="*/ f5 1 f63"/>
                <a:gd name="f122" fmla="*/ f7 1 f63"/>
                <a:gd name="f123" fmla="+- f91 0 f1"/>
                <a:gd name="f124" fmla="*/ f92 1 f62"/>
                <a:gd name="f125" fmla="*/ f93 1 f63"/>
                <a:gd name="f126" fmla="*/ f94 1 f62"/>
                <a:gd name="f127" fmla="*/ f95 1 f62"/>
                <a:gd name="f128" fmla="*/ f96 1 f63"/>
                <a:gd name="f129" fmla="*/ f97 1 f62"/>
                <a:gd name="f130" fmla="*/ f98 1 f63"/>
                <a:gd name="f131" fmla="*/ f99 1 f62"/>
                <a:gd name="f132" fmla="*/ f100 1 f63"/>
                <a:gd name="f133" fmla="*/ f101 1 f63"/>
                <a:gd name="f134" fmla="*/ f102 1 f62"/>
                <a:gd name="f135" fmla="*/ f103 1 f63"/>
                <a:gd name="f136" fmla="*/ f104 1 f62"/>
                <a:gd name="f137" fmla="*/ f105 1 f63"/>
                <a:gd name="f138" fmla="*/ f106 1 f62"/>
                <a:gd name="f139" fmla="*/ f107 1 f63"/>
                <a:gd name="f140" fmla="*/ f108 1 f62"/>
                <a:gd name="f141" fmla="*/ f109 1 f63"/>
                <a:gd name="f142" fmla="*/ f110 1 f62"/>
                <a:gd name="f143" fmla="*/ f111 1 f63"/>
                <a:gd name="f144" fmla="*/ f112 1 f63"/>
                <a:gd name="f145" fmla="*/ f113 1 f62"/>
                <a:gd name="f146" fmla="*/ f114 1 f63"/>
                <a:gd name="f147" fmla="*/ f115 1 f62"/>
                <a:gd name="f148" fmla="*/ f116 1 f63"/>
                <a:gd name="f149" fmla="*/ f117 1 f62"/>
                <a:gd name="f150" fmla="*/ f118 1 f63"/>
                <a:gd name="f151" fmla="*/ f119 f57 1"/>
                <a:gd name="f152" fmla="*/ f120 f57 1"/>
                <a:gd name="f153" fmla="*/ f122 f58 1"/>
                <a:gd name="f154" fmla="*/ f121 f58 1"/>
                <a:gd name="f155" fmla="*/ f124 f57 1"/>
                <a:gd name="f156" fmla="*/ f125 f58 1"/>
                <a:gd name="f157" fmla="*/ f126 f57 1"/>
                <a:gd name="f158" fmla="*/ f127 f57 1"/>
                <a:gd name="f159" fmla="*/ f128 f58 1"/>
                <a:gd name="f160" fmla="*/ f129 f57 1"/>
                <a:gd name="f161" fmla="*/ f130 f58 1"/>
                <a:gd name="f162" fmla="*/ f131 f57 1"/>
                <a:gd name="f163" fmla="*/ f132 f58 1"/>
                <a:gd name="f164" fmla="*/ f133 f58 1"/>
                <a:gd name="f165" fmla="*/ f134 f57 1"/>
                <a:gd name="f166" fmla="*/ f135 f58 1"/>
                <a:gd name="f167" fmla="*/ f136 f57 1"/>
                <a:gd name="f168" fmla="*/ f137 f58 1"/>
                <a:gd name="f169" fmla="*/ f138 f57 1"/>
                <a:gd name="f170" fmla="*/ f139 f58 1"/>
                <a:gd name="f171" fmla="*/ f140 f57 1"/>
                <a:gd name="f172" fmla="*/ f141 f58 1"/>
                <a:gd name="f173" fmla="*/ f142 f57 1"/>
                <a:gd name="f174" fmla="*/ f143 f58 1"/>
                <a:gd name="f175" fmla="*/ f144 f58 1"/>
                <a:gd name="f176" fmla="*/ f145 f57 1"/>
                <a:gd name="f177" fmla="*/ f146 f58 1"/>
                <a:gd name="f178" fmla="*/ f147 f57 1"/>
                <a:gd name="f179" fmla="*/ f148 f58 1"/>
                <a:gd name="f180" fmla="*/ f149 f57 1"/>
                <a:gd name="f181" fmla="*/ f150 f58 1"/>
              </a:gdLst>
              <a:ahLst/>
              <a:cxnLst>
                <a:cxn ang="3cd4">
                  <a:pos x="hc" y="t"/>
                </a:cxn>
                <a:cxn ang="0">
                  <a:pos x="r" y="vc"/>
                </a:cxn>
                <a:cxn ang="cd4">
                  <a:pos x="hc" y="b"/>
                </a:cxn>
                <a:cxn ang="cd2">
                  <a:pos x="l" y="vc"/>
                </a:cxn>
                <a:cxn ang="f123">
                  <a:pos x="f155" y="f156"/>
                </a:cxn>
                <a:cxn ang="f123">
                  <a:pos x="f157" y="f156"/>
                </a:cxn>
                <a:cxn ang="f123">
                  <a:pos x="f158" y="f159"/>
                </a:cxn>
                <a:cxn ang="f123">
                  <a:pos x="f160" y="f161"/>
                </a:cxn>
                <a:cxn ang="f123">
                  <a:pos x="f162" y="f163"/>
                </a:cxn>
                <a:cxn ang="f123">
                  <a:pos x="f162" y="f164"/>
                </a:cxn>
                <a:cxn ang="f123">
                  <a:pos x="f165" y="f166"/>
                </a:cxn>
                <a:cxn ang="f123">
                  <a:pos x="f167" y="f168"/>
                </a:cxn>
                <a:cxn ang="f123">
                  <a:pos x="f169" y="f170"/>
                </a:cxn>
                <a:cxn ang="f123">
                  <a:pos x="f171" y="f172"/>
                </a:cxn>
                <a:cxn ang="f123">
                  <a:pos x="f173" y="f174"/>
                </a:cxn>
                <a:cxn ang="f123">
                  <a:pos x="f173" y="f175"/>
                </a:cxn>
                <a:cxn ang="f123">
                  <a:pos x="f176" y="f177"/>
                </a:cxn>
                <a:cxn ang="f123">
                  <a:pos x="f178" y="f179"/>
                </a:cxn>
                <a:cxn ang="f123">
                  <a:pos x="f180" y="f181"/>
                </a:cxn>
              </a:cxnLst>
              <a:rect l="f151" t="f154" r="f152" b="f153"/>
              <a:pathLst>
                <a:path w="12192000" h="1992138">
                  <a:moveTo>
                    <a:pt x="f8" y="f5"/>
                  </a:moveTo>
                  <a:lnTo>
                    <a:pt x="f9" y="f5"/>
                  </a:lnTo>
                  <a:lnTo>
                    <a:pt x="f10" y="f11"/>
                  </a:lnTo>
                  <a:cubicBezTo>
                    <a:pt x="f12" y="f13"/>
                    <a:pt x="f14" y="f15"/>
                    <a:pt x="f16" y="f17"/>
                  </a:cubicBezTo>
                  <a:lnTo>
                    <a:pt x="f5" y="f18"/>
                  </a:lnTo>
                  <a:lnTo>
                    <a:pt x="f5" y="f19"/>
                  </a:lnTo>
                  <a:lnTo>
                    <a:pt x="f20" y="f21"/>
                  </a:lnTo>
                  <a:cubicBezTo>
                    <a:pt x="f22" y="f23"/>
                    <a:pt x="f24" y="f25"/>
                    <a:pt x="f26" y="f27"/>
                  </a:cubicBezTo>
                  <a:cubicBezTo>
                    <a:pt x="f28" y="f29"/>
                    <a:pt x="f30" y="f31"/>
                    <a:pt x="f32" y="f33"/>
                  </a:cubicBezTo>
                  <a:cubicBezTo>
                    <a:pt x="f34" y="f35"/>
                    <a:pt x="f36" y="f37"/>
                    <a:pt x="f38" y="f39"/>
                  </a:cubicBezTo>
                  <a:lnTo>
                    <a:pt x="f6" y="f40"/>
                  </a:lnTo>
                  <a:lnTo>
                    <a:pt x="f6" y="f41"/>
                  </a:lnTo>
                  <a:lnTo>
                    <a:pt x="f42" y="f43"/>
                  </a:lnTo>
                  <a:cubicBezTo>
                    <a:pt x="f44" y="f45"/>
                    <a:pt x="f46" y="f47"/>
                    <a:pt x="f48" y="f49"/>
                  </a:cubicBezTo>
                  <a:cubicBezTo>
                    <a:pt x="f50" y="f51"/>
                    <a:pt x="f52" y="f53"/>
                    <a:pt x="f54" y="f55"/>
                  </a:cubicBezTo>
                  <a:close/>
                </a:path>
              </a:pathLst>
            </a:custGeom>
            <a:solidFill>
              <a:srgbClr val="00498F"/>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sp>
        <p:nvSpPr>
          <p:cNvPr id="5" name="Rectangle 3">
            <a:extLst>
              <a:ext uri="{FF2B5EF4-FFF2-40B4-BE49-F238E27FC236}">
                <a16:creationId xmlns:a16="http://schemas.microsoft.com/office/drawing/2014/main" id="{087CB1DF-FBB6-878F-BBE0-AF15A4A6F635}"/>
              </a:ext>
            </a:extLst>
          </p:cNvPr>
          <p:cNvSpPr/>
          <p:nvPr/>
        </p:nvSpPr>
        <p:spPr>
          <a:xfrm>
            <a:off x="902366" y="1517694"/>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Content Placeholder 2">
            <a:extLst>
              <a:ext uri="{FF2B5EF4-FFF2-40B4-BE49-F238E27FC236}">
                <a16:creationId xmlns:a16="http://schemas.microsoft.com/office/drawing/2014/main" id="{E7B11E2C-C237-753C-8FF0-EC79161B712A}"/>
              </a:ext>
            </a:extLst>
          </p:cNvPr>
          <p:cNvSpPr txBox="1">
            <a:spLocks noGrp="1"/>
          </p:cNvSpPr>
          <p:nvPr>
            <p:ph idx="4294967295"/>
          </p:nvPr>
        </p:nvSpPr>
        <p:spPr>
          <a:xfrm>
            <a:off x="1219197" y="3429001"/>
            <a:ext cx="5582649" cy="1413561"/>
          </a:xfrm>
        </p:spPr>
        <p:txBody>
          <a:bodyPr/>
          <a:lstStyle>
            <a:lvl1pPr marL="0" indent="0">
              <a:buNone/>
              <a:defRPr sz="2000"/>
            </a:lvl1pPr>
          </a:lstStyle>
          <a:p>
            <a:pPr lvl="0"/>
            <a:r>
              <a:rPr lang="en-US"/>
              <a:t>Click to edit Master text styles</a:t>
            </a:r>
          </a:p>
        </p:txBody>
      </p:sp>
      <p:sp>
        <p:nvSpPr>
          <p:cNvPr id="7" name="Title 11">
            <a:extLst>
              <a:ext uri="{FF2B5EF4-FFF2-40B4-BE49-F238E27FC236}">
                <a16:creationId xmlns:a16="http://schemas.microsoft.com/office/drawing/2014/main" id="{643E340A-91BC-7978-CB83-1F00D0910687}"/>
              </a:ext>
            </a:extLst>
          </p:cNvPr>
          <p:cNvSpPr txBox="1">
            <a:spLocks noGrp="1"/>
          </p:cNvSpPr>
          <p:nvPr>
            <p:ph type="title"/>
          </p:nvPr>
        </p:nvSpPr>
        <p:spPr>
          <a:xfrm>
            <a:off x="1219197" y="1887486"/>
            <a:ext cx="5582649" cy="1078260"/>
          </a:xfrm>
        </p:spPr>
        <p:txBody>
          <a:bodyPr/>
          <a:lstStyle>
            <a:lvl1pPr>
              <a:defRPr sz="6000"/>
            </a:lvl1pPr>
          </a:lstStyle>
          <a:p>
            <a:pPr lvl="0"/>
            <a:r>
              <a:rPr lang="en-US"/>
              <a:t>Thank you</a:t>
            </a:r>
          </a:p>
        </p:txBody>
      </p:sp>
      <p:pic>
        <p:nvPicPr>
          <p:cNvPr id="8" name="Picture 32">
            <a:extLst>
              <a:ext uri="{FF2B5EF4-FFF2-40B4-BE49-F238E27FC236}">
                <a16:creationId xmlns:a16="http://schemas.microsoft.com/office/drawing/2014/main" id="{F66DD94C-128B-F0C7-2294-57AC073EADF9}"/>
              </a:ext>
            </a:extLst>
          </p:cNvPr>
          <p:cNvPicPr>
            <a:picLocks noChangeAspect="1"/>
          </p:cNvPicPr>
          <p:nvPr/>
        </p:nvPicPr>
        <p:blipFill>
          <a:blip r:embed="rId2"/>
          <a:srcRect/>
          <a:stretch>
            <a:fillRect/>
          </a:stretch>
        </p:blipFill>
        <p:spPr>
          <a:xfrm>
            <a:off x="902366" y="228371"/>
            <a:ext cx="2025313" cy="911940"/>
          </a:xfrm>
          <a:prstGeom prst="rect">
            <a:avLst/>
          </a:prstGeom>
          <a:noFill/>
          <a:ln cap="flat">
            <a:noFill/>
          </a:ln>
        </p:spPr>
      </p:pic>
      <p:sp>
        <p:nvSpPr>
          <p:cNvPr id="9" name="Picture Placeholder 16">
            <a:extLst>
              <a:ext uri="{FF2B5EF4-FFF2-40B4-BE49-F238E27FC236}">
                <a16:creationId xmlns:a16="http://schemas.microsoft.com/office/drawing/2014/main" id="{AE3FB580-9F54-25E0-9EA7-B73EC527D649}"/>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spTree>
    <p:extLst>
      <p:ext uri="{BB962C8B-B14F-4D97-AF65-F5344CB8AC3E}">
        <p14:creationId xmlns:p14="http://schemas.microsoft.com/office/powerpoint/2010/main" val="2898286756"/>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2" name="Slide Number Placeholder 4">
            <a:extLst>
              <a:ext uri="{FF2B5EF4-FFF2-40B4-BE49-F238E27FC236}">
                <a16:creationId xmlns:a16="http://schemas.microsoft.com/office/drawing/2014/main" id="{F31AD31E-D26C-FF99-8401-D30E6DC33AA3}"/>
              </a:ext>
            </a:extLst>
          </p:cNvPr>
          <p:cNvSpPr txBox="1">
            <a:spLocks noGrp="1"/>
          </p:cNvSpPr>
          <p:nvPr>
            <p:ph type="sldNum" sz="quarter" idx="8"/>
          </p:nvPr>
        </p:nvSpPr>
        <p:spPr/>
        <p:txBody>
          <a:bodyPr/>
          <a:lstStyle>
            <a:lvl1pPr>
              <a:defRPr/>
            </a:lvl1pPr>
          </a:lstStyle>
          <a:p>
            <a:pPr lvl="0"/>
            <a:fld id="{5F713417-C264-4F3E-A8E9-3F0BD48056AB}" type="slidenum">
              <a:t>‹#›</a:t>
            </a:fld>
            <a:endParaRPr lang="en-US"/>
          </a:p>
        </p:txBody>
      </p:sp>
      <p:cxnSp>
        <p:nvCxnSpPr>
          <p:cNvPr id="3" name="Straight Connector 3">
            <a:extLst>
              <a:ext uri="{FF2B5EF4-FFF2-40B4-BE49-F238E27FC236}">
                <a16:creationId xmlns:a16="http://schemas.microsoft.com/office/drawing/2014/main" id="{A0C12D90-C4C3-30B5-5864-11BC5871A8FB}"/>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4" name="Footer Placeholder 1">
            <a:extLst>
              <a:ext uri="{FF2B5EF4-FFF2-40B4-BE49-F238E27FC236}">
                <a16:creationId xmlns:a16="http://schemas.microsoft.com/office/drawing/2014/main" id="{5154F9BD-2BFB-811F-14CB-F2E540C216D0}"/>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5" name="Group 5">
            <a:extLst>
              <a:ext uri="{FF2B5EF4-FFF2-40B4-BE49-F238E27FC236}">
                <a16:creationId xmlns:a16="http://schemas.microsoft.com/office/drawing/2014/main" id="{5DC4BE9F-9EF8-8E80-BD7D-A92FDBE8A8C5}"/>
              </a:ext>
            </a:extLst>
          </p:cNvPr>
          <p:cNvGrpSpPr/>
          <p:nvPr/>
        </p:nvGrpSpPr>
        <p:grpSpPr>
          <a:xfrm>
            <a:off x="7191545" y="0"/>
            <a:ext cx="5000460" cy="1425988"/>
            <a:chOff x="7191545" y="0"/>
            <a:chExt cx="5000460" cy="1425988"/>
          </a:xfrm>
        </p:grpSpPr>
        <p:pic>
          <p:nvPicPr>
            <p:cNvPr id="6" name="Picture 6">
              <a:extLst>
                <a:ext uri="{FF2B5EF4-FFF2-40B4-BE49-F238E27FC236}">
                  <a16:creationId xmlns:a16="http://schemas.microsoft.com/office/drawing/2014/main" id="{A5960B6D-D1C7-E787-538A-AC059AB7B1E8}"/>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7" name="Group 7">
              <a:extLst>
                <a:ext uri="{FF2B5EF4-FFF2-40B4-BE49-F238E27FC236}">
                  <a16:creationId xmlns:a16="http://schemas.microsoft.com/office/drawing/2014/main" id="{5B35699B-CA8F-8A6F-C722-AB0A49D623A6}"/>
                </a:ext>
              </a:extLst>
            </p:cNvPr>
            <p:cNvGrpSpPr/>
            <p:nvPr/>
          </p:nvGrpSpPr>
          <p:grpSpPr>
            <a:xfrm>
              <a:off x="7191545" y="0"/>
              <a:ext cx="5000460" cy="1425988"/>
              <a:chOff x="7191545" y="0"/>
              <a:chExt cx="5000460" cy="1425988"/>
            </a:xfrm>
          </p:grpSpPr>
          <p:sp>
            <p:nvSpPr>
              <p:cNvPr id="8" name="Freeform 8">
                <a:extLst>
                  <a:ext uri="{FF2B5EF4-FFF2-40B4-BE49-F238E27FC236}">
                    <a16:creationId xmlns:a16="http://schemas.microsoft.com/office/drawing/2014/main" id="{CF9FF652-90C4-0C49-B900-34FF14690C61}"/>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9" name="Freeform 9">
                <a:extLst>
                  <a:ext uri="{FF2B5EF4-FFF2-40B4-BE49-F238E27FC236}">
                    <a16:creationId xmlns:a16="http://schemas.microsoft.com/office/drawing/2014/main" id="{47F572DE-B79E-FC08-27ED-A7B25E137126}"/>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Tree>
    <p:extLst>
      <p:ext uri="{BB962C8B-B14F-4D97-AF65-F5344CB8AC3E}">
        <p14:creationId xmlns:p14="http://schemas.microsoft.com/office/powerpoint/2010/main" val="582452083"/>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1162BF40-1DC6-DBBB-91E1-D746C2835D37}"/>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BFBCE242-B729-F8E7-74C0-179489BCBD9A}"/>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94BD9ABE-4D4D-D066-80C2-7EE4FE8A5870}"/>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04E75BAE-C474-8B23-6E08-C11C2970F182}"/>
              </a:ext>
            </a:extLst>
          </p:cNvPr>
          <p:cNvSpPr txBox="1">
            <a:spLocks noGrp="1"/>
          </p:cNvSpPr>
          <p:nvPr>
            <p:ph type="sldNum" sz="quarter" idx="8"/>
          </p:nvPr>
        </p:nvSpPr>
        <p:spPr/>
        <p:txBody>
          <a:bodyPr/>
          <a:lstStyle>
            <a:lvl1pPr>
              <a:defRPr>
                <a:solidFill>
                  <a:srgbClr val="AFB3B9"/>
                </a:solidFill>
              </a:defRPr>
            </a:lvl1pPr>
          </a:lstStyle>
          <a:p>
            <a:pPr lvl="0"/>
            <a:fld id="{F8118FA6-B895-4897-A75C-F8286CDCCBAB}" type="slidenum">
              <a:t>‹#›</a:t>
            </a:fld>
            <a:endParaRPr lang="en-US"/>
          </a:p>
        </p:txBody>
      </p:sp>
      <p:cxnSp>
        <p:nvCxnSpPr>
          <p:cNvPr id="6" name="Straight Connector 7">
            <a:extLst>
              <a:ext uri="{FF2B5EF4-FFF2-40B4-BE49-F238E27FC236}">
                <a16:creationId xmlns:a16="http://schemas.microsoft.com/office/drawing/2014/main" id="{0126856B-88A8-A192-4638-F9749A3D6629}"/>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8E91114A-2E29-E81D-CC3A-E7B8E3BD27EE}"/>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1FA9C8FD-59FF-8C11-4693-F46C55415672}"/>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700B7B19-FE6F-4535-D615-70158E442E63}"/>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96C75512-6878-B894-343E-EAC6055058EC}"/>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FD0B3645-E266-729E-F8EF-2E021372C9C7}"/>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D445978F-ACA0-3D9E-24A8-D5D3D3103680}"/>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9F955736-1518-F7D8-876B-02C3ED436500}"/>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2792777755"/>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9_Cover">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AD06B694-CCC0-5237-F5A0-1DAB0A3EE9C0}"/>
              </a:ext>
            </a:extLst>
          </p:cNvPr>
          <p:cNvSpPr/>
          <p:nvPr/>
        </p:nvSpPr>
        <p:spPr>
          <a:xfrm>
            <a:off x="902366" y="1294416"/>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0E9D88C3-585A-1013-AC13-04BD1FE78ADD}"/>
              </a:ext>
            </a:extLst>
          </p:cNvPr>
          <p:cNvSpPr txBox="1">
            <a:spLocks noGrp="1"/>
          </p:cNvSpPr>
          <p:nvPr>
            <p:ph type="title"/>
          </p:nvPr>
        </p:nvSpPr>
        <p:spPr>
          <a:xfrm>
            <a:off x="1413314" y="1561328"/>
            <a:ext cx="5194432" cy="1826340"/>
          </a:xfrm>
        </p:spPr>
        <p:txBody>
          <a:bodyPr anchor="b"/>
          <a:lstStyle>
            <a:lvl1pPr>
              <a:defRPr sz="4000">
                <a:solidFill>
                  <a:srgbClr val="444C55"/>
                </a:solidFill>
              </a:defRPr>
            </a:lvl1pPr>
          </a:lstStyle>
          <a:p>
            <a:pPr lvl="0"/>
            <a:r>
              <a:rPr lang="en-US"/>
              <a:t>Click to edit Master title style</a:t>
            </a:r>
          </a:p>
        </p:txBody>
      </p:sp>
      <p:sp>
        <p:nvSpPr>
          <p:cNvPr id="4" name="Subtitle 2">
            <a:extLst>
              <a:ext uri="{FF2B5EF4-FFF2-40B4-BE49-F238E27FC236}">
                <a16:creationId xmlns:a16="http://schemas.microsoft.com/office/drawing/2014/main" id="{13A4B93E-6F6D-FE9C-9A2B-9B7E33C39E77}"/>
              </a:ext>
            </a:extLst>
          </p:cNvPr>
          <p:cNvSpPr txBox="1">
            <a:spLocks noGrp="1"/>
          </p:cNvSpPr>
          <p:nvPr>
            <p:ph type="subTitle" idx="4294967295"/>
          </p:nvPr>
        </p:nvSpPr>
        <p:spPr>
          <a:xfrm>
            <a:off x="1413314" y="3766861"/>
            <a:ext cx="5194432" cy="986564"/>
          </a:xfrm>
        </p:spPr>
        <p:txBody>
          <a:bodyPr/>
          <a:lstStyle>
            <a:lvl1pPr marL="0" indent="0">
              <a:buNone/>
              <a:defRPr/>
            </a:lvl1pPr>
          </a:lstStyle>
          <a:p>
            <a:pPr lvl="0"/>
            <a:r>
              <a:rPr lang="en-US"/>
              <a:t>Click to edit Master subtitle style</a:t>
            </a:r>
          </a:p>
        </p:txBody>
      </p:sp>
      <p:sp>
        <p:nvSpPr>
          <p:cNvPr id="5" name="Picture Placeholder 21">
            <a:extLst>
              <a:ext uri="{FF2B5EF4-FFF2-40B4-BE49-F238E27FC236}">
                <a16:creationId xmlns:a16="http://schemas.microsoft.com/office/drawing/2014/main" id="{9E8C133C-5D98-491A-3E81-A1DA81C09EC1}"/>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grpSp>
        <p:nvGrpSpPr>
          <p:cNvPr id="6" name="Group 26">
            <a:extLst>
              <a:ext uri="{FF2B5EF4-FFF2-40B4-BE49-F238E27FC236}">
                <a16:creationId xmlns:a16="http://schemas.microsoft.com/office/drawing/2014/main" id="{7BB66CB4-B85D-A418-FD1D-4E5A33605D13}"/>
              </a:ext>
            </a:extLst>
          </p:cNvPr>
          <p:cNvGrpSpPr/>
          <p:nvPr/>
        </p:nvGrpSpPr>
        <p:grpSpPr>
          <a:xfrm>
            <a:off x="0" y="5020349"/>
            <a:ext cx="12191996" cy="1837651"/>
            <a:chOff x="0" y="5020348"/>
            <a:chExt cx="12191996" cy="1837651"/>
          </a:xfrm>
        </p:grpSpPr>
        <p:sp>
          <p:nvSpPr>
            <p:cNvPr id="7" name="Freeform 27">
              <a:extLst>
                <a:ext uri="{FF2B5EF4-FFF2-40B4-BE49-F238E27FC236}">
                  <a16:creationId xmlns:a16="http://schemas.microsoft.com/office/drawing/2014/main" id="{B8F691A6-7F23-CDA8-308E-2A9623F14A1A}"/>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8" name="Freeform 28">
              <a:extLst>
                <a:ext uri="{FF2B5EF4-FFF2-40B4-BE49-F238E27FC236}">
                  <a16:creationId xmlns:a16="http://schemas.microsoft.com/office/drawing/2014/main" id="{2EE16BB2-A4A1-3B90-FD9D-2543D9147EBC}"/>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9" name="Picture 29">
              <a:extLst>
                <a:ext uri="{FF2B5EF4-FFF2-40B4-BE49-F238E27FC236}">
                  <a16:creationId xmlns:a16="http://schemas.microsoft.com/office/drawing/2014/main" id="{2AD813A4-A221-7769-5181-FD362D6590A0}"/>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3751463698"/>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9_Divider">
    <p:spTree>
      <p:nvGrpSpPr>
        <p:cNvPr id="1" name=""/>
        <p:cNvGrpSpPr/>
        <p:nvPr/>
      </p:nvGrpSpPr>
      <p:grpSpPr>
        <a:xfrm>
          <a:off x="0" y="0"/>
          <a:ext cx="0" cy="0"/>
          <a:chOff x="0" y="0"/>
          <a:chExt cx="0" cy="0"/>
        </a:xfrm>
      </p:grpSpPr>
      <p:grpSp>
        <p:nvGrpSpPr>
          <p:cNvPr id="2" name="Group 9">
            <a:extLst>
              <a:ext uri="{FF2B5EF4-FFF2-40B4-BE49-F238E27FC236}">
                <a16:creationId xmlns:a16="http://schemas.microsoft.com/office/drawing/2014/main" id="{9E93CAB8-0A31-E308-1D0B-90F9099C7A5C}"/>
              </a:ext>
            </a:extLst>
          </p:cNvPr>
          <p:cNvGrpSpPr/>
          <p:nvPr/>
        </p:nvGrpSpPr>
        <p:grpSpPr>
          <a:xfrm>
            <a:off x="0" y="5020349"/>
            <a:ext cx="12191996" cy="1837651"/>
            <a:chOff x="0" y="5020348"/>
            <a:chExt cx="12191996" cy="1837651"/>
          </a:xfrm>
        </p:grpSpPr>
        <p:sp>
          <p:nvSpPr>
            <p:cNvPr id="3" name="Freeform 25">
              <a:extLst>
                <a:ext uri="{FF2B5EF4-FFF2-40B4-BE49-F238E27FC236}">
                  <a16:creationId xmlns:a16="http://schemas.microsoft.com/office/drawing/2014/main" id="{5C9AC418-A4CC-BCE0-4E7D-E00CC7B115C4}"/>
                </a:ext>
              </a:extLst>
            </p:cNvPr>
            <p:cNvSpPr/>
            <p:nvPr/>
          </p:nvSpPr>
          <p:spPr>
            <a:xfrm>
              <a:off x="0" y="5100267"/>
              <a:ext cx="7111371" cy="1757732"/>
            </a:xfrm>
            <a:custGeom>
              <a:avLst/>
              <a:gdLst>
                <a:gd name="f0" fmla="val 10800000"/>
                <a:gd name="f1" fmla="val 5400000"/>
                <a:gd name="f2" fmla="val 180"/>
                <a:gd name="f3" fmla="val w"/>
                <a:gd name="f4" fmla="val h"/>
                <a:gd name="f5" fmla="val 0"/>
                <a:gd name="f6" fmla="val 7111369"/>
                <a:gd name="f7" fmla="val 1757730"/>
                <a:gd name="f8" fmla="val 772954"/>
                <a:gd name="f9" fmla="val 2778"/>
                <a:gd name="f10" fmla="val 1769038"/>
                <a:gd name="f11" fmla="val 30799"/>
                <a:gd name="f12" fmla="val 2696750"/>
                <a:gd name="f13" fmla="val 267531"/>
                <a:gd name="f14" fmla="val 3590934"/>
                <a:gd name="f15" fmla="val 566046"/>
                <a:gd name="f16" fmla="val 4684008"/>
                <a:gd name="f17" fmla="val 930921"/>
                <a:gd name="f18" fmla="val 5690778"/>
                <a:gd name="f19" fmla="val 1324625"/>
                <a:gd name="f20" fmla="val 6700767"/>
                <a:gd name="f21" fmla="val 1636882"/>
                <a:gd name="f22" fmla="val 25690"/>
                <a:gd name="f23" fmla="val 2197"/>
                <a:gd name="f24" fmla="val 25414"/>
                <a:gd name="f25" fmla="val 114653"/>
                <a:gd name="f26" fmla="val 14905"/>
                <a:gd name="f27" fmla="val 227801"/>
                <a:gd name="f28" fmla="val 7857"/>
                <a:gd name="f29" fmla="val 341773"/>
                <a:gd name="f30" fmla="val 3976"/>
                <a:gd name="f31" fmla="val 486963"/>
                <a:gd name="f32" fmla="+- 0 0 968"/>
                <a:gd name="f33" fmla="val 630656"/>
                <a:gd name="f34" fmla="+- 0 0 1224"/>
                <a:gd name="f35" fmla="+- 0 0 -90"/>
                <a:gd name="f36" fmla="*/ f3 1 7111369"/>
                <a:gd name="f37" fmla="*/ f4 1 1757730"/>
                <a:gd name="f38" fmla="+- f7 0 f5"/>
                <a:gd name="f39" fmla="+- f6 0 f5"/>
                <a:gd name="f40" fmla="*/ f35 f0 1"/>
                <a:gd name="f41" fmla="*/ f39 1 7111369"/>
                <a:gd name="f42" fmla="*/ f38 1 1757730"/>
                <a:gd name="f43" fmla="*/ 772954 f39 1"/>
                <a:gd name="f44" fmla="*/ 2778 f38 1"/>
                <a:gd name="f45" fmla="*/ 3590934 f39 1"/>
                <a:gd name="f46" fmla="*/ 566046 f38 1"/>
                <a:gd name="f47" fmla="*/ 6700767 f39 1"/>
                <a:gd name="f48" fmla="*/ 1636882 f38 1"/>
                <a:gd name="f49" fmla="*/ 7111369 f39 1"/>
                <a:gd name="f50" fmla="*/ 1757730 f38 1"/>
                <a:gd name="f51" fmla="*/ 0 f39 1"/>
                <a:gd name="f52" fmla="*/ 25690 f38 1"/>
                <a:gd name="f53" fmla="*/ 2197 f39 1"/>
                <a:gd name="f54" fmla="*/ 25414 f38 1"/>
                <a:gd name="f55" fmla="*/ 341773 f39 1"/>
                <a:gd name="f56" fmla="*/ 3976 f38 1"/>
                <a:gd name="f57" fmla="*/ f40 1 f2"/>
                <a:gd name="f58" fmla="*/ f43 1 7111369"/>
                <a:gd name="f59" fmla="*/ f44 1 1757730"/>
                <a:gd name="f60" fmla="*/ f45 1 7111369"/>
                <a:gd name="f61" fmla="*/ f46 1 1757730"/>
                <a:gd name="f62" fmla="*/ f47 1 7111369"/>
                <a:gd name="f63" fmla="*/ f48 1 1757730"/>
                <a:gd name="f64" fmla="*/ f49 1 7111369"/>
                <a:gd name="f65" fmla="*/ f50 1 1757730"/>
                <a:gd name="f66" fmla="*/ f51 1 7111369"/>
                <a:gd name="f67" fmla="*/ f52 1 1757730"/>
                <a:gd name="f68" fmla="*/ f53 1 7111369"/>
                <a:gd name="f69" fmla="*/ f54 1 1757730"/>
                <a:gd name="f70" fmla="*/ f55 1 7111369"/>
                <a:gd name="f71" fmla="*/ f56 1 1757730"/>
                <a:gd name="f72" fmla="*/ f5 1 f41"/>
                <a:gd name="f73" fmla="*/ f6 1 f41"/>
                <a:gd name="f74" fmla="*/ f5 1 f42"/>
                <a:gd name="f75" fmla="*/ f7 1 f42"/>
                <a:gd name="f76" fmla="+- f57 0 f1"/>
                <a:gd name="f77" fmla="*/ f58 1 f41"/>
                <a:gd name="f78" fmla="*/ f59 1 f42"/>
                <a:gd name="f79" fmla="*/ f60 1 f41"/>
                <a:gd name="f80" fmla="*/ f61 1 f42"/>
                <a:gd name="f81" fmla="*/ f62 1 f41"/>
                <a:gd name="f82" fmla="*/ f63 1 f42"/>
                <a:gd name="f83" fmla="*/ f64 1 f41"/>
                <a:gd name="f84" fmla="*/ f65 1 f42"/>
                <a:gd name="f85" fmla="*/ f66 1 f41"/>
                <a:gd name="f86" fmla="*/ f67 1 f42"/>
                <a:gd name="f87" fmla="*/ f68 1 f41"/>
                <a:gd name="f88" fmla="*/ f69 1 f42"/>
                <a:gd name="f89" fmla="*/ f70 1 f41"/>
                <a:gd name="f90" fmla="*/ f71 1 f42"/>
                <a:gd name="f91" fmla="*/ f72 f36 1"/>
                <a:gd name="f92" fmla="*/ f73 f36 1"/>
                <a:gd name="f93" fmla="*/ f75 f37 1"/>
                <a:gd name="f94" fmla="*/ f74 f37 1"/>
                <a:gd name="f95" fmla="*/ f77 f36 1"/>
                <a:gd name="f96" fmla="*/ f78 f37 1"/>
                <a:gd name="f97" fmla="*/ f79 f36 1"/>
                <a:gd name="f98" fmla="*/ f80 f37 1"/>
                <a:gd name="f99" fmla="*/ f81 f36 1"/>
                <a:gd name="f100" fmla="*/ f82 f37 1"/>
                <a:gd name="f101" fmla="*/ f83 f36 1"/>
                <a:gd name="f102" fmla="*/ f84 f37 1"/>
                <a:gd name="f103" fmla="*/ f85 f36 1"/>
                <a:gd name="f104" fmla="*/ f86 f37 1"/>
                <a:gd name="f105" fmla="*/ f87 f36 1"/>
                <a:gd name="f106" fmla="*/ f88 f37 1"/>
                <a:gd name="f107" fmla="*/ f89 f36 1"/>
                <a:gd name="f108" fmla="*/ f90 f37 1"/>
              </a:gdLst>
              <a:ahLst/>
              <a:cxnLst>
                <a:cxn ang="3cd4">
                  <a:pos x="hc" y="t"/>
                </a:cxn>
                <a:cxn ang="0">
                  <a:pos x="r" y="vc"/>
                </a:cxn>
                <a:cxn ang="cd4">
                  <a:pos x="hc" y="b"/>
                </a:cxn>
                <a:cxn ang="cd2">
                  <a:pos x="l" y="vc"/>
                </a:cxn>
                <a:cxn ang="f76">
                  <a:pos x="f95" y="f96"/>
                </a:cxn>
                <a:cxn ang="f76">
                  <a:pos x="f97" y="f98"/>
                </a:cxn>
                <a:cxn ang="f76">
                  <a:pos x="f99" y="f100"/>
                </a:cxn>
                <a:cxn ang="f76">
                  <a:pos x="f101" y="f102"/>
                </a:cxn>
                <a:cxn ang="f76">
                  <a:pos x="f103" y="f102"/>
                </a:cxn>
                <a:cxn ang="f76">
                  <a:pos x="f103" y="f104"/>
                </a:cxn>
                <a:cxn ang="f76">
                  <a:pos x="f105" y="f106"/>
                </a:cxn>
                <a:cxn ang="f76">
                  <a:pos x="f107" y="f108"/>
                </a:cxn>
                <a:cxn ang="f76">
                  <a:pos x="f95" y="f96"/>
                </a:cxn>
              </a:cxnLst>
              <a:rect l="f91" t="f94" r="f92" b="f93"/>
              <a:pathLst>
                <a:path w="7111369" h="1757730">
                  <a:moveTo>
                    <a:pt x="f8" y="f9"/>
                  </a:moveTo>
                  <a:cubicBezTo>
                    <a:pt x="f10" y="f11"/>
                    <a:pt x="f12" y="f13"/>
                    <a:pt x="f14" y="f15"/>
                  </a:cubicBezTo>
                  <a:cubicBezTo>
                    <a:pt x="f16" y="f17"/>
                    <a:pt x="f18" y="f19"/>
                    <a:pt x="f20" y="f21"/>
                  </a:cubicBezTo>
                  <a:lnTo>
                    <a:pt x="f6" y="f7"/>
                  </a:lnTo>
                  <a:lnTo>
                    <a:pt x="f5" y="f7"/>
                  </a:lnTo>
                  <a:lnTo>
                    <a:pt x="f5" y="f22"/>
                  </a:lnTo>
                  <a:lnTo>
                    <a:pt x="f23" y="f24"/>
                  </a:lnTo>
                  <a:cubicBezTo>
                    <a:pt x="f25" y="f26"/>
                    <a:pt x="f27" y="f28"/>
                    <a:pt x="f29" y="f30"/>
                  </a:cubicBezTo>
                  <a:cubicBezTo>
                    <a:pt x="f31" y="f32"/>
                    <a:pt x="f33" y="f34"/>
                    <a:pt x="f8" y="f9"/>
                  </a:cubicBezTo>
                  <a:close/>
                </a:path>
              </a:pathLst>
            </a:cu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4" name="Freeform 19">
              <a:extLst>
                <a:ext uri="{FF2B5EF4-FFF2-40B4-BE49-F238E27FC236}">
                  <a16:creationId xmlns:a16="http://schemas.microsoft.com/office/drawing/2014/main" id="{02C578D4-FF76-815F-2AD4-B2A033FBC226}"/>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5" name="Freeform 14">
              <a:extLst>
                <a:ext uri="{FF2B5EF4-FFF2-40B4-BE49-F238E27FC236}">
                  <a16:creationId xmlns:a16="http://schemas.microsoft.com/office/drawing/2014/main" id="{D399EB7B-B458-AF19-320C-49D17A8B56E6}"/>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6" name="Picture 20">
              <a:extLst>
                <a:ext uri="{FF2B5EF4-FFF2-40B4-BE49-F238E27FC236}">
                  <a16:creationId xmlns:a16="http://schemas.microsoft.com/office/drawing/2014/main" id="{5FED1D08-05C6-340A-10EA-7775FA41DEC3}"/>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
        <p:nvSpPr>
          <p:cNvPr id="7" name="Title 10">
            <a:extLst>
              <a:ext uri="{FF2B5EF4-FFF2-40B4-BE49-F238E27FC236}">
                <a16:creationId xmlns:a16="http://schemas.microsoft.com/office/drawing/2014/main" id="{6AFD228C-825F-0F89-9EC1-6E465793F0B3}"/>
              </a:ext>
            </a:extLst>
          </p:cNvPr>
          <p:cNvSpPr txBox="1">
            <a:spLocks noGrp="1"/>
          </p:cNvSpPr>
          <p:nvPr>
            <p:ph type="title"/>
          </p:nvPr>
        </p:nvSpPr>
        <p:spPr>
          <a:xfrm>
            <a:off x="1413305" y="701748"/>
            <a:ext cx="9365376" cy="2014679"/>
          </a:xfrm>
        </p:spPr>
        <p:txBody>
          <a:bodyPr anchor="b"/>
          <a:lstStyle>
            <a:lvl1pPr>
              <a:defRPr/>
            </a:lvl1pPr>
          </a:lstStyle>
          <a:p>
            <a:pPr lvl="0"/>
            <a:r>
              <a:rPr lang="en-US"/>
              <a:t>Click to edit Master title style</a:t>
            </a:r>
          </a:p>
        </p:txBody>
      </p:sp>
      <p:sp>
        <p:nvSpPr>
          <p:cNvPr id="8" name="Subtitle 2">
            <a:extLst>
              <a:ext uri="{FF2B5EF4-FFF2-40B4-BE49-F238E27FC236}">
                <a16:creationId xmlns:a16="http://schemas.microsoft.com/office/drawing/2014/main" id="{8342B23F-B77A-6E36-B7FF-9D1BA426CFC6}"/>
              </a:ext>
            </a:extLst>
          </p:cNvPr>
          <p:cNvSpPr txBox="1">
            <a:spLocks noGrp="1"/>
          </p:cNvSpPr>
          <p:nvPr>
            <p:ph type="subTitle" idx="4294967295"/>
          </p:nvPr>
        </p:nvSpPr>
        <p:spPr>
          <a:xfrm>
            <a:off x="1413305" y="3081637"/>
            <a:ext cx="9365376" cy="986564"/>
          </a:xfrm>
        </p:spPr>
        <p:txBody>
          <a:bodyPr/>
          <a:lstStyle>
            <a:lvl1pPr marL="0" indent="0">
              <a:buNone/>
              <a:defRPr/>
            </a:lvl1pPr>
          </a:lstStyle>
          <a:p>
            <a:pPr lvl="0"/>
            <a:r>
              <a:rPr lang="en-US"/>
              <a:t>Click to edit Master subtitle style</a:t>
            </a:r>
          </a:p>
        </p:txBody>
      </p:sp>
    </p:spTree>
    <p:extLst>
      <p:ext uri="{BB962C8B-B14F-4D97-AF65-F5344CB8AC3E}">
        <p14:creationId xmlns:p14="http://schemas.microsoft.com/office/powerpoint/2010/main" val="82901138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Cover">
  <p:cSld name="Cover 2 2">
    <p:spTree>
      <p:nvGrpSpPr>
        <p:cNvPr id="1" name="Shape 9312"/>
        <p:cNvGrpSpPr/>
        <p:nvPr/>
      </p:nvGrpSpPr>
      <p:grpSpPr>
        <a:xfrm>
          <a:off x="0" y="0"/>
          <a:ext cx="0" cy="0"/>
          <a:chOff x="0" y="0"/>
          <a:chExt cx="0" cy="0"/>
        </a:xfrm>
      </p:grpSpPr>
      <p:sp>
        <p:nvSpPr>
          <p:cNvPr id="9313" name="Google Shape;9313;p134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314" name="Google Shape;9314;p134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315" name="Google Shape;9315;p134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316" name="Google Shape;9316;p1343"/>
          <p:cNvSpPr>
            <a:spLocks noGrp="1"/>
          </p:cNvSpPr>
          <p:nvPr>
            <p:ph type="pic" idx="2"/>
          </p:nvPr>
        </p:nvSpPr>
        <p:spPr>
          <a:xfrm>
            <a:off x="7118684" y="233915"/>
            <a:ext cx="5073316" cy="5943600"/>
          </a:xfrm>
          <a:prstGeom prst="rect">
            <a:avLst/>
          </a:prstGeom>
          <a:noFill/>
          <a:ln>
            <a:noFill/>
          </a:ln>
        </p:spPr>
      </p:sp>
      <p:grpSp>
        <p:nvGrpSpPr>
          <p:cNvPr id="9317" name="Google Shape;9317;p1343"/>
          <p:cNvGrpSpPr/>
          <p:nvPr/>
        </p:nvGrpSpPr>
        <p:grpSpPr>
          <a:xfrm>
            <a:off x="0" y="5020348"/>
            <a:ext cx="12192000" cy="1837653"/>
            <a:chOff x="0" y="5020348"/>
            <a:chExt cx="12192000" cy="1837653"/>
          </a:xfrm>
        </p:grpSpPr>
        <p:sp>
          <p:nvSpPr>
            <p:cNvPr id="9318" name="Google Shape;9318;p134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319" name="Google Shape;9319;p134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320" name="Google Shape;9320;p134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9_Photo Slide">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5E00B86E-89E3-900C-E15A-BAAE11C1F1BE}"/>
              </a:ext>
            </a:extLst>
          </p:cNvPr>
          <p:cNvSpPr txBox="1">
            <a:spLocks noGrp="1"/>
          </p:cNvSpPr>
          <p:nvPr>
            <p:ph type="body" idx="4294967295"/>
          </p:nvPr>
        </p:nvSpPr>
        <p:spPr>
          <a:xfrm>
            <a:off x="457200" y="1146255"/>
            <a:ext cx="2350172" cy="2971800"/>
          </a:xfrm>
        </p:spPr>
        <p:txBody>
          <a:bodyPr/>
          <a:lstStyle>
            <a:lvl1pPr marL="0" indent="0">
              <a:buNone/>
              <a:defRPr/>
            </a:lvl1pPr>
          </a:lstStyle>
          <a:p>
            <a:pPr lvl="0"/>
            <a:r>
              <a:rPr lang="en-US"/>
              <a:t>Click to edit Master text styles</a:t>
            </a:r>
          </a:p>
        </p:txBody>
      </p:sp>
      <p:cxnSp>
        <p:nvCxnSpPr>
          <p:cNvPr id="3" name="Straight Connector 5">
            <a:extLst>
              <a:ext uri="{FF2B5EF4-FFF2-40B4-BE49-F238E27FC236}">
                <a16:creationId xmlns:a16="http://schemas.microsoft.com/office/drawing/2014/main" id="{AA2953C6-4AC4-62A0-9524-0B5CD41D90D6}"/>
              </a:ext>
            </a:extLst>
          </p:cNvPr>
          <p:cNvCxnSpPr/>
          <p:nvPr/>
        </p:nvCxnSpPr>
        <p:spPr>
          <a:xfrm>
            <a:off x="457201" y="947985"/>
            <a:ext cx="2350163" cy="0"/>
          </a:xfrm>
          <a:prstGeom prst="straightConnector1">
            <a:avLst/>
          </a:prstGeom>
          <a:noFill/>
          <a:ln w="31747" cap="flat">
            <a:solidFill>
              <a:srgbClr val="F58366"/>
            </a:solidFill>
            <a:prstDash val="solid"/>
            <a:miter/>
          </a:ln>
        </p:spPr>
      </p:cxnSp>
      <p:grpSp>
        <p:nvGrpSpPr>
          <p:cNvPr id="4" name="Group 2">
            <a:extLst>
              <a:ext uri="{FF2B5EF4-FFF2-40B4-BE49-F238E27FC236}">
                <a16:creationId xmlns:a16="http://schemas.microsoft.com/office/drawing/2014/main" id="{183BFDE9-415F-111A-AB34-CB42B4E2A968}"/>
              </a:ext>
            </a:extLst>
          </p:cNvPr>
          <p:cNvGrpSpPr/>
          <p:nvPr/>
        </p:nvGrpSpPr>
        <p:grpSpPr>
          <a:xfrm>
            <a:off x="1" y="5379425"/>
            <a:ext cx="2807363" cy="753895"/>
            <a:chOff x="0" y="5379424"/>
            <a:chExt cx="2807363" cy="753895"/>
          </a:xfrm>
        </p:grpSpPr>
        <p:sp>
          <p:nvSpPr>
            <p:cNvPr id="5" name="Freeform 21">
              <a:extLst>
                <a:ext uri="{FF2B5EF4-FFF2-40B4-BE49-F238E27FC236}">
                  <a16:creationId xmlns:a16="http://schemas.microsoft.com/office/drawing/2014/main" id="{1F202962-30A2-B760-0400-1C35677D4672}"/>
                </a:ext>
              </a:extLst>
            </p:cNvPr>
            <p:cNvSpPr/>
            <p:nvPr/>
          </p:nvSpPr>
          <p:spPr>
            <a:xfrm>
              <a:off x="0" y="5532513"/>
              <a:ext cx="2807363" cy="600806"/>
            </a:xfrm>
            <a:custGeom>
              <a:avLst/>
              <a:gdLst>
                <a:gd name="f0" fmla="val 10800000"/>
                <a:gd name="f1" fmla="val 5400000"/>
                <a:gd name="f2" fmla="val 180"/>
                <a:gd name="f3" fmla="val w"/>
                <a:gd name="f4" fmla="val h"/>
                <a:gd name="f5" fmla="val 0"/>
                <a:gd name="f6" fmla="val 2807368"/>
                <a:gd name="f7" fmla="val 600807"/>
                <a:gd name="f8" fmla="val 429971"/>
                <a:gd name="f9" fmla="val 123998"/>
                <a:gd name="f10" fmla="val 1184765"/>
                <a:gd name="f11" fmla="val 325331"/>
                <a:gd name="f12" fmla="val 2014184"/>
                <a:gd name="f13" fmla="val 392492"/>
                <a:gd name="f14" fmla="val 2790212"/>
                <a:gd name="f15" fmla="val 235402"/>
                <a:gd name="f16" fmla="val 231522"/>
                <a:gd name="f17" fmla="val 566106"/>
                <a:gd name="f18" fmla="val 2593885"/>
                <a:gd name="f19" fmla="val 587498"/>
                <a:gd name="f20" fmla="val 1673646"/>
                <a:gd name="f21" fmla="val 651184"/>
                <a:gd name="f22" fmla="val 884869"/>
                <a:gd name="f23" fmla="val 479260"/>
                <a:gd name="f24" fmla="val 100844"/>
                <a:gd name="f25" fmla="val 222653"/>
                <a:gd name="f26" fmla="val 188389"/>
                <a:gd name="f27" fmla="+- 0 0 -90"/>
                <a:gd name="f28" fmla="*/ f3 1 2807368"/>
                <a:gd name="f29" fmla="*/ f4 1 600807"/>
                <a:gd name="f30" fmla="+- f7 0 f5"/>
                <a:gd name="f31" fmla="+- f6 0 f5"/>
                <a:gd name="f32" fmla="*/ f27 f0 1"/>
                <a:gd name="f33" fmla="*/ f31 1 2807368"/>
                <a:gd name="f34" fmla="*/ f30 1 600807"/>
                <a:gd name="f35" fmla="*/ 0 f31 1"/>
                <a:gd name="f36" fmla="*/ 0 f30 1"/>
                <a:gd name="f37" fmla="*/ 429971 f31 1"/>
                <a:gd name="f38" fmla="*/ 123998 f30 1"/>
                <a:gd name="f39" fmla="*/ 2790212 f31 1"/>
                <a:gd name="f40" fmla="*/ 235402 f30 1"/>
                <a:gd name="f41" fmla="*/ 2807368 f31 1"/>
                <a:gd name="f42" fmla="*/ 231522 f30 1"/>
                <a:gd name="f43" fmla="*/ 566106 f30 1"/>
                <a:gd name="f44" fmla="*/ 2593885 f31 1"/>
                <a:gd name="f45" fmla="*/ 587498 f30 1"/>
                <a:gd name="f46" fmla="*/ 100844 f31 1"/>
                <a:gd name="f47" fmla="*/ 222653 f30 1"/>
                <a:gd name="f48" fmla="*/ 188389 f30 1"/>
                <a:gd name="f49" fmla="*/ f32 1 f2"/>
                <a:gd name="f50" fmla="*/ f35 1 2807368"/>
                <a:gd name="f51" fmla="*/ f36 1 600807"/>
                <a:gd name="f52" fmla="*/ f37 1 2807368"/>
                <a:gd name="f53" fmla="*/ f38 1 600807"/>
                <a:gd name="f54" fmla="*/ f39 1 2807368"/>
                <a:gd name="f55" fmla="*/ f40 1 600807"/>
                <a:gd name="f56" fmla="*/ f41 1 2807368"/>
                <a:gd name="f57" fmla="*/ f42 1 600807"/>
                <a:gd name="f58" fmla="*/ f43 1 600807"/>
                <a:gd name="f59" fmla="*/ f44 1 2807368"/>
                <a:gd name="f60" fmla="*/ f45 1 600807"/>
                <a:gd name="f61" fmla="*/ f46 1 2807368"/>
                <a:gd name="f62" fmla="*/ f47 1 600807"/>
                <a:gd name="f63" fmla="*/ f48 1 600807"/>
                <a:gd name="f64" fmla="*/ f5 1 f33"/>
                <a:gd name="f65" fmla="*/ f6 1 f33"/>
                <a:gd name="f66" fmla="*/ f5 1 f34"/>
                <a:gd name="f67" fmla="*/ f7 1 f34"/>
                <a:gd name="f68" fmla="+- f49 0 f1"/>
                <a:gd name="f69" fmla="*/ f50 1 f33"/>
                <a:gd name="f70" fmla="*/ f51 1 f34"/>
                <a:gd name="f71" fmla="*/ f52 1 f33"/>
                <a:gd name="f72" fmla="*/ f53 1 f34"/>
                <a:gd name="f73" fmla="*/ f54 1 f33"/>
                <a:gd name="f74" fmla="*/ f55 1 f34"/>
                <a:gd name="f75" fmla="*/ f56 1 f33"/>
                <a:gd name="f76" fmla="*/ f57 1 f34"/>
                <a:gd name="f77" fmla="*/ f58 1 f34"/>
                <a:gd name="f78" fmla="*/ f59 1 f33"/>
                <a:gd name="f79" fmla="*/ f60 1 f34"/>
                <a:gd name="f80" fmla="*/ f61 1 f33"/>
                <a:gd name="f81" fmla="*/ f62 1 f34"/>
                <a:gd name="f82" fmla="*/ f63 1 f34"/>
                <a:gd name="f83" fmla="*/ f64 f28 1"/>
                <a:gd name="f84" fmla="*/ f65 f28 1"/>
                <a:gd name="f85" fmla="*/ f67 f29 1"/>
                <a:gd name="f86" fmla="*/ f66 f29 1"/>
                <a:gd name="f87" fmla="*/ f69 f28 1"/>
                <a:gd name="f88" fmla="*/ f70 f29 1"/>
                <a:gd name="f89" fmla="*/ f71 f28 1"/>
                <a:gd name="f90" fmla="*/ f72 f29 1"/>
                <a:gd name="f91" fmla="*/ f73 f28 1"/>
                <a:gd name="f92" fmla="*/ f74 f29 1"/>
                <a:gd name="f93" fmla="*/ f75 f28 1"/>
                <a:gd name="f94" fmla="*/ f76 f29 1"/>
                <a:gd name="f95" fmla="*/ f77 f29 1"/>
                <a:gd name="f96" fmla="*/ f78 f28 1"/>
                <a:gd name="f97" fmla="*/ f79 f29 1"/>
                <a:gd name="f98" fmla="*/ f80 f28 1"/>
                <a:gd name="f99" fmla="*/ f81 f29 1"/>
                <a:gd name="f100" fmla="*/ f82 f29 1"/>
              </a:gdLst>
              <a:ahLst/>
              <a:cxnLst>
                <a:cxn ang="3cd4">
                  <a:pos x="hc" y="t"/>
                </a:cxn>
                <a:cxn ang="0">
                  <a:pos x="r" y="vc"/>
                </a:cxn>
                <a:cxn ang="cd4">
                  <a:pos x="hc" y="b"/>
                </a:cxn>
                <a:cxn ang="cd2">
                  <a:pos x="l" y="vc"/>
                </a:cxn>
                <a:cxn ang="f68">
                  <a:pos x="f87" y="f88"/>
                </a:cxn>
                <a:cxn ang="f68">
                  <a:pos x="f89" y="f90"/>
                </a:cxn>
                <a:cxn ang="f68">
                  <a:pos x="f91" y="f92"/>
                </a:cxn>
                <a:cxn ang="f68">
                  <a:pos x="f93" y="f94"/>
                </a:cxn>
                <a:cxn ang="f68">
                  <a:pos x="f93" y="f95"/>
                </a:cxn>
                <a:cxn ang="f68">
                  <a:pos x="f96" y="f97"/>
                </a:cxn>
                <a:cxn ang="f68">
                  <a:pos x="f98" y="f99"/>
                </a:cxn>
                <a:cxn ang="f68">
                  <a:pos x="f87" y="f100"/>
                </a:cxn>
              </a:cxnLst>
              <a:rect l="f83" t="f86" r="f84" b="f85"/>
              <a:pathLst>
                <a:path w="2807368" h="600807">
                  <a:moveTo>
                    <a:pt x="f5" y="f5"/>
                  </a:moveTo>
                  <a:lnTo>
                    <a:pt x="f8" y="f9"/>
                  </a:lnTo>
                  <a:cubicBezTo>
                    <a:pt x="f10" y="f11"/>
                    <a:pt x="f12" y="f13"/>
                    <a:pt x="f14" y="f15"/>
                  </a:cubicBezTo>
                  <a:lnTo>
                    <a:pt x="f6" y="f16"/>
                  </a:lnTo>
                  <a:lnTo>
                    <a:pt x="f6" y="f17"/>
                  </a:lnTo>
                  <a:lnTo>
                    <a:pt x="f18" y="f19"/>
                  </a:lnTo>
                  <a:cubicBezTo>
                    <a:pt x="f20" y="f21"/>
                    <a:pt x="f22" y="f23"/>
                    <a:pt x="f24" y="f25"/>
                  </a:cubicBezTo>
                  <a:lnTo>
                    <a:pt x="f5" y="f26"/>
                  </a:ln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Freeform 19">
              <a:extLst>
                <a:ext uri="{FF2B5EF4-FFF2-40B4-BE49-F238E27FC236}">
                  <a16:creationId xmlns:a16="http://schemas.microsoft.com/office/drawing/2014/main" id="{2F801D3C-627D-D544-2765-4063893D43C7}"/>
                </a:ext>
              </a:extLst>
            </p:cNvPr>
            <p:cNvSpPr/>
            <p:nvPr/>
          </p:nvSpPr>
          <p:spPr>
            <a:xfrm>
              <a:off x="0" y="5379424"/>
              <a:ext cx="2807363" cy="649800"/>
            </a:xfrm>
            <a:custGeom>
              <a:avLst/>
              <a:gdLst>
                <a:gd name="f0" fmla="val 10800000"/>
                <a:gd name="f1" fmla="val 5400000"/>
                <a:gd name="f2" fmla="val 180"/>
                <a:gd name="f3" fmla="val w"/>
                <a:gd name="f4" fmla="val h"/>
                <a:gd name="f5" fmla="val 0"/>
                <a:gd name="f6" fmla="val 2807368"/>
                <a:gd name="f7" fmla="val 649803"/>
                <a:gd name="f8" fmla="val 282676"/>
                <a:gd name="f9" fmla="val 70799"/>
                <a:gd name="f10" fmla="val 435964"/>
                <a:gd name="f11" fmla="val 106085"/>
                <a:gd name="f12" fmla="val 588770"/>
                <a:gd name="f13" fmla="val 137629"/>
                <a:gd name="f14" fmla="val 740881"/>
                <a:gd name="f15" fmla="val 163828"/>
                <a:gd name="f16" fmla="val 1362800"/>
                <a:gd name="f17" fmla="val 270912"/>
                <a:gd name="f18" fmla="val 2067879"/>
                <a:gd name="f19" fmla="val 253759"/>
                <a:gd name="f20" fmla="val 2706471"/>
                <a:gd name="f21" fmla="val 96397"/>
                <a:gd name="f22" fmla="val 67250"/>
                <a:gd name="f23" fmla="val 605551"/>
                <a:gd name="f24" fmla="val 2602685"/>
                <a:gd name="f25" fmla="val 629466"/>
                <a:gd name="f26" fmla="val 1684237"/>
                <a:gd name="f27" fmla="val 708219"/>
                <a:gd name="f28" fmla="val 893252"/>
                <a:gd name="f29" fmla="val 549395"/>
                <a:gd name="f30" fmla="val 105614"/>
                <a:gd name="f31" fmla="val 305882"/>
                <a:gd name="f32" fmla="val 271926"/>
                <a:gd name="f33" fmla="+- 0 0 -90"/>
                <a:gd name="f34" fmla="*/ f3 1 2807368"/>
                <a:gd name="f35" fmla="*/ f4 1 649803"/>
                <a:gd name="f36" fmla="+- f7 0 f5"/>
                <a:gd name="f37" fmla="+- f6 0 f5"/>
                <a:gd name="f38" fmla="*/ f33 f0 1"/>
                <a:gd name="f39" fmla="*/ f37 1 2807368"/>
                <a:gd name="f40" fmla="*/ f36 1 649803"/>
                <a:gd name="f41" fmla="*/ 0 f37 1"/>
                <a:gd name="f42" fmla="*/ 0 f36 1"/>
                <a:gd name="f43" fmla="*/ 282676 f37 1"/>
                <a:gd name="f44" fmla="*/ 70799 f36 1"/>
                <a:gd name="f45" fmla="*/ 740881 f37 1"/>
                <a:gd name="f46" fmla="*/ 163828 f36 1"/>
                <a:gd name="f47" fmla="*/ 2706471 f37 1"/>
                <a:gd name="f48" fmla="*/ 96397 f36 1"/>
                <a:gd name="f49" fmla="*/ 2807368 f37 1"/>
                <a:gd name="f50" fmla="*/ 67250 f36 1"/>
                <a:gd name="f51" fmla="*/ 605551 f36 1"/>
                <a:gd name="f52" fmla="*/ 2602685 f37 1"/>
                <a:gd name="f53" fmla="*/ 629466 f36 1"/>
                <a:gd name="f54" fmla="*/ 105614 f37 1"/>
                <a:gd name="f55" fmla="*/ 305882 f36 1"/>
                <a:gd name="f56" fmla="*/ 271926 f36 1"/>
                <a:gd name="f57" fmla="*/ f38 1 f2"/>
                <a:gd name="f58" fmla="*/ f41 1 2807368"/>
                <a:gd name="f59" fmla="*/ f42 1 649803"/>
                <a:gd name="f60" fmla="*/ f43 1 2807368"/>
                <a:gd name="f61" fmla="*/ f44 1 649803"/>
                <a:gd name="f62" fmla="*/ f45 1 2807368"/>
                <a:gd name="f63" fmla="*/ f46 1 649803"/>
                <a:gd name="f64" fmla="*/ f47 1 2807368"/>
                <a:gd name="f65" fmla="*/ f48 1 649803"/>
                <a:gd name="f66" fmla="*/ f49 1 2807368"/>
                <a:gd name="f67" fmla="*/ f50 1 649803"/>
                <a:gd name="f68" fmla="*/ f51 1 649803"/>
                <a:gd name="f69" fmla="*/ f52 1 2807368"/>
                <a:gd name="f70" fmla="*/ f53 1 649803"/>
                <a:gd name="f71" fmla="*/ f54 1 2807368"/>
                <a:gd name="f72" fmla="*/ f55 1 649803"/>
                <a:gd name="f73" fmla="*/ f56 1 649803"/>
                <a:gd name="f74" fmla="*/ f5 1 f39"/>
                <a:gd name="f75" fmla="*/ f6 1 f39"/>
                <a:gd name="f76" fmla="*/ f5 1 f40"/>
                <a:gd name="f77" fmla="*/ f7 1 f40"/>
                <a:gd name="f78" fmla="+- f57 0 f1"/>
                <a:gd name="f79" fmla="*/ f58 1 f39"/>
                <a:gd name="f80" fmla="*/ f59 1 f40"/>
                <a:gd name="f81" fmla="*/ f60 1 f39"/>
                <a:gd name="f82" fmla="*/ f61 1 f40"/>
                <a:gd name="f83" fmla="*/ f62 1 f39"/>
                <a:gd name="f84" fmla="*/ f63 1 f40"/>
                <a:gd name="f85" fmla="*/ f64 1 f39"/>
                <a:gd name="f86" fmla="*/ f65 1 f40"/>
                <a:gd name="f87" fmla="*/ f66 1 f39"/>
                <a:gd name="f88" fmla="*/ f67 1 f40"/>
                <a:gd name="f89" fmla="*/ f68 1 f40"/>
                <a:gd name="f90" fmla="*/ f69 1 f39"/>
                <a:gd name="f91" fmla="*/ f70 1 f40"/>
                <a:gd name="f92" fmla="*/ f71 1 f39"/>
                <a:gd name="f93" fmla="*/ f72 1 f40"/>
                <a:gd name="f94" fmla="*/ f73 1 f40"/>
                <a:gd name="f95" fmla="*/ f74 f34 1"/>
                <a:gd name="f96" fmla="*/ f75 f34 1"/>
                <a:gd name="f97" fmla="*/ f77 f35 1"/>
                <a:gd name="f98" fmla="*/ f76 f35 1"/>
                <a:gd name="f99" fmla="*/ f79 f34 1"/>
                <a:gd name="f100" fmla="*/ f80 f35 1"/>
                <a:gd name="f101" fmla="*/ f81 f34 1"/>
                <a:gd name="f102" fmla="*/ f82 f35 1"/>
                <a:gd name="f103" fmla="*/ f83 f34 1"/>
                <a:gd name="f104" fmla="*/ f84 f35 1"/>
                <a:gd name="f105" fmla="*/ f85 f34 1"/>
                <a:gd name="f106" fmla="*/ f86 f35 1"/>
                <a:gd name="f107" fmla="*/ f87 f34 1"/>
                <a:gd name="f108" fmla="*/ f88 f35 1"/>
                <a:gd name="f109" fmla="*/ f89 f35 1"/>
                <a:gd name="f110" fmla="*/ f90 f34 1"/>
                <a:gd name="f111" fmla="*/ f91 f35 1"/>
                <a:gd name="f112" fmla="*/ f92 f34 1"/>
                <a:gd name="f113" fmla="*/ f93 f35 1"/>
                <a:gd name="f114" fmla="*/ f94 f35 1"/>
              </a:gdLst>
              <a:ahLst/>
              <a:cxnLst>
                <a:cxn ang="3cd4">
                  <a:pos x="hc" y="t"/>
                </a:cxn>
                <a:cxn ang="0">
                  <a:pos x="r" y="vc"/>
                </a:cxn>
                <a:cxn ang="cd4">
                  <a:pos x="hc" y="b"/>
                </a:cxn>
                <a:cxn ang="cd2">
                  <a:pos x="l" y="vc"/>
                </a:cxn>
                <a:cxn ang="f78">
                  <a:pos x="f99" y="f100"/>
                </a:cxn>
                <a:cxn ang="f78">
                  <a:pos x="f101" y="f102"/>
                </a:cxn>
                <a:cxn ang="f78">
                  <a:pos x="f103" y="f104"/>
                </a:cxn>
                <a:cxn ang="f78">
                  <a:pos x="f105" y="f106"/>
                </a:cxn>
                <a:cxn ang="f78">
                  <a:pos x="f107" y="f108"/>
                </a:cxn>
                <a:cxn ang="f78">
                  <a:pos x="f107" y="f109"/>
                </a:cxn>
                <a:cxn ang="f78">
                  <a:pos x="f110" y="f111"/>
                </a:cxn>
                <a:cxn ang="f78">
                  <a:pos x="f112" y="f113"/>
                </a:cxn>
                <a:cxn ang="f78">
                  <a:pos x="f99" y="f114"/>
                </a:cxn>
              </a:cxnLst>
              <a:rect l="f95" t="f98" r="f96" b="f97"/>
              <a:pathLst>
                <a:path w="2807368" h="649803">
                  <a:moveTo>
                    <a:pt x="f5" y="f5"/>
                  </a:moveTo>
                  <a:lnTo>
                    <a:pt x="f8" y="f9"/>
                  </a:lnTo>
                  <a:cubicBezTo>
                    <a:pt x="f10" y="f11"/>
                    <a:pt x="f12" y="f13"/>
                    <a:pt x="f14" y="f15"/>
                  </a:cubicBezTo>
                  <a:cubicBezTo>
                    <a:pt x="f16" y="f17"/>
                    <a:pt x="f18" y="f19"/>
                    <a:pt x="f20" y="f21"/>
                  </a:cubicBezTo>
                  <a:lnTo>
                    <a:pt x="f6" y="f22"/>
                  </a:lnTo>
                  <a:lnTo>
                    <a:pt x="f6" y="f23"/>
                  </a:lnTo>
                  <a:lnTo>
                    <a:pt x="f24" y="f25"/>
                  </a:lnTo>
                  <a:cubicBezTo>
                    <a:pt x="f26" y="f27"/>
                    <a:pt x="f28" y="f29"/>
                    <a:pt x="f30" y="f31"/>
                  </a:cubicBezTo>
                  <a:lnTo>
                    <a:pt x="f5" y="f32"/>
                  </a:ln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grpSp>
      <p:sp>
        <p:nvSpPr>
          <p:cNvPr id="7" name="Picture Placeholder 6">
            <a:extLst>
              <a:ext uri="{FF2B5EF4-FFF2-40B4-BE49-F238E27FC236}">
                <a16:creationId xmlns:a16="http://schemas.microsoft.com/office/drawing/2014/main" id="{A2B139E5-1507-37A2-7FC7-099F809D293E}"/>
              </a:ext>
            </a:extLst>
          </p:cNvPr>
          <p:cNvSpPr txBox="1">
            <a:spLocks noGrp="1"/>
          </p:cNvSpPr>
          <p:nvPr>
            <p:ph type="pic" idx="4294967295"/>
          </p:nvPr>
        </p:nvSpPr>
        <p:spPr>
          <a:xfrm>
            <a:off x="2807363" y="457200"/>
            <a:ext cx="8915400" cy="5943600"/>
          </a:xfrm>
        </p:spPr>
        <p:txBody>
          <a:bodyPr/>
          <a:lstStyle>
            <a:lvl1pPr>
              <a:defRPr/>
            </a:lvl1pPr>
          </a:lstStyle>
          <a:p>
            <a:pPr lvl="0"/>
            <a:endParaRPr lang="en-US"/>
          </a:p>
        </p:txBody>
      </p:sp>
      <p:pic>
        <p:nvPicPr>
          <p:cNvPr id="8" name="Picture 14">
            <a:extLst>
              <a:ext uri="{FF2B5EF4-FFF2-40B4-BE49-F238E27FC236}">
                <a16:creationId xmlns:a16="http://schemas.microsoft.com/office/drawing/2014/main" id="{B69F57C8-7523-7446-F190-AA4DBD981130}"/>
              </a:ext>
            </a:extLst>
          </p:cNvPr>
          <p:cNvPicPr>
            <a:picLocks noChangeAspect="1"/>
          </p:cNvPicPr>
          <p:nvPr/>
        </p:nvPicPr>
        <p:blipFill>
          <a:blip r:embed="rId2"/>
          <a:srcRect/>
          <a:stretch>
            <a:fillRect/>
          </a:stretch>
        </p:blipFill>
        <p:spPr>
          <a:xfrm>
            <a:off x="513354" y="4385535"/>
            <a:ext cx="2025313" cy="911940"/>
          </a:xfrm>
          <a:prstGeom prst="rect">
            <a:avLst/>
          </a:prstGeom>
          <a:noFill/>
          <a:ln cap="flat">
            <a:noFill/>
          </a:ln>
        </p:spPr>
      </p:pic>
    </p:spTree>
    <p:extLst>
      <p:ext uri="{BB962C8B-B14F-4D97-AF65-F5344CB8AC3E}">
        <p14:creationId xmlns:p14="http://schemas.microsoft.com/office/powerpoint/2010/main" val="3102110361"/>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2" name="Group 63">
            <a:extLst>
              <a:ext uri="{FF2B5EF4-FFF2-40B4-BE49-F238E27FC236}">
                <a16:creationId xmlns:a16="http://schemas.microsoft.com/office/drawing/2014/main" id="{919467C6-0EDE-2529-F2B4-33B0C5BC6AB6}"/>
              </a:ext>
            </a:extLst>
          </p:cNvPr>
          <p:cNvGrpSpPr/>
          <p:nvPr/>
        </p:nvGrpSpPr>
        <p:grpSpPr>
          <a:xfrm>
            <a:off x="7191545" y="0"/>
            <a:ext cx="5000460" cy="1425988"/>
            <a:chOff x="7191545" y="0"/>
            <a:chExt cx="5000460" cy="1425988"/>
          </a:xfrm>
        </p:grpSpPr>
        <p:pic>
          <p:nvPicPr>
            <p:cNvPr id="3" name="Picture 64">
              <a:extLst>
                <a:ext uri="{FF2B5EF4-FFF2-40B4-BE49-F238E27FC236}">
                  <a16:creationId xmlns:a16="http://schemas.microsoft.com/office/drawing/2014/main" id="{7301034F-12CE-2C0C-56FA-22E56BA954E8}"/>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65">
              <a:extLst>
                <a:ext uri="{FF2B5EF4-FFF2-40B4-BE49-F238E27FC236}">
                  <a16:creationId xmlns:a16="http://schemas.microsoft.com/office/drawing/2014/main" id="{A1FCFEDA-EDB2-390A-C02D-134963F61CC9}"/>
                </a:ext>
              </a:extLst>
            </p:cNvPr>
            <p:cNvGrpSpPr/>
            <p:nvPr/>
          </p:nvGrpSpPr>
          <p:grpSpPr>
            <a:xfrm>
              <a:off x="7191545" y="0"/>
              <a:ext cx="5000460" cy="1425988"/>
              <a:chOff x="7191545" y="0"/>
              <a:chExt cx="5000460" cy="1425988"/>
            </a:xfrm>
          </p:grpSpPr>
          <p:sp>
            <p:nvSpPr>
              <p:cNvPr id="5" name="Freeform 66">
                <a:extLst>
                  <a:ext uri="{FF2B5EF4-FFF2-40B4-BE49-F238E27FC236}">
                    <a16:creationId xmlns:a16="http://schemas.microsoft.com/office/drawing/2014/main" id="{D828D4E5-3443-D32D-5632-E2369958DF1C}"/>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67">
                <a:extLst>
                  <a:ext uri="{FF2B5EF4-FFF2-40B4-BE49-F238E27FC236}">
                    <a16:creationId xmlns:a16="http://schemas.microsoft.com/office/drawing/2014/main" id="{9114E226-F4FD-DA2C-6136-ACCF59126345}"/>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4BA6F5FD-6036-E3CD-AA65-B703645CA09F}"/>
              </a:ext>
            </a:extLst>
          </p:cNvPr>
          <p:cNvSpPr txBox="1">
            <a:spLocks noGrp="1"/>
          </p:cNvSpPr>
          <p:nvPr>
            <p:ph type="title"/>
          </p:nvPr>
        </p:nvSpPr>
        <p:spPr/>
        <p:txBody>
          <a:bodyPr/>
          <a:lstStyle>
            <a:lvl1pPr>
              <a:defRPr/>
            </a:lvl1pPr>
          </a:lstStyle>
          <a:p>
            <a:pPr lvl="0"/>
            <a:r>
              <a:rPr lang="en-US"/>
              <a:t>Click to edit Master title style</a:t>
            </a:r>
          </a:p>
        </p:txBody>
      </p:sp>
      <p:sp>
        <p:nvSpPr>
          <p:cNvPr id="8" name="Content Placeholder 2">
            <a:extLst>
              <a:ext uri="{FF2B5EF4-FFF2-40B4-BE49-F238E27FC236}">
                <a16:creationId xmlns:a16="http://schemas.microsoft.com/office/drawing/2014/main" id="{15C5E189-3FE4-475A-C3CB-8C068A2015B3}"/>
              </a:ext>
            </a:extLst>
          </p:cNvPr>
          <p:cNvSpPr txBox="1">
            <a:spLocks noGrp="1"/>
          </p:cNvSpPr>
          <p:nvPr>
            <p:ph idx="1"/>
          </p:nvPr>
        </p:nvSpPr>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6">
            <a:extLst>
              <a:ext uri="{FF2B5EF4-FFF2-40B4-BE49-F238E27FC236}">
                <a16:creationId xmlns:a16="http://schemas.microsoft.com/office/drawing/2014/main" id="{A9A909EF-1482-07C8-F16D-012F0E316351}"/>
              </a:ext>
            </a:extLst>
          </p:cNvPr>
          <p:cNvSpPr txBox="1">
            <a:spLocks noGrp="1"/>
          </p:cNvSpPr>
          <p:nvPr>
            <p:ph type="sldNum" sz="quarter" idx="8"/>
          </p:nvPr>
        </p:nvSpPr>
        <p:spPr/>
        <p:txBody>
          <a:bodyPr/>
          <a:lstStyle>
            <a:lvl1pPr>
              <a:defRPr>
                <a:solidFill>
                  <a:srgbClr val="AFB3B9"/>
                </a:solidFill>
              </a:defRPr>
            </a:lvl1pPr>
          </a:lstStyle>
          <a:p>
            <a:pPr lvl="0"/>
            <a:fld id="{8AD71D38-81EC-4C1C-98BA-E25DE71D4133}" type="slidenum">
              <a:t>‹#›</a:t>
            </a:fld>
            <a:endParaRPr lang="en-US"/>
          </a:p>
        </p:txBody>
      </p:sp>
      <p:cxnSp>
        <p:nvCxnSpPr>
          <p:cNvPr id="10" name="Straight Connector 7">
            <a:extLst>
              <a:ext uri="{FF2B5EF4-FFF2-40B4-BE49-F238E27FC236}">
                <a16:creationId xmlns:a16="http://schemas.microsoft.com/office/drawing/2014/main" id="{2818DCD1-4ABA-5259-87E6-BF5CD98B4C20}"/>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1" name="Footer Placeholder 5">
            <a:extLst>
              <a:ext uri="{FF2B5EF4-FFF2-40B4-BE49-F238E27FC236}">
                <a16:creationId xmlns:a16="http://schemas.microsoft.com/office/drawing/2014/main" id="{2B7576D9-5D6F-D7F9-5B8D-696F40AA1501}"/>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2906883669"/>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51F521-12AE-65B4-D3CD-EBF07BB38677}"/>
              </a:ext>
            </a:extLst>
          </p:cNvPr>
          <p:cNvSpPr txBox="1">
            <a:spLocks noGrp="1"/>
          </p:cNvSpPr>
          <p:nvPr>
            <p:ph type="title"/>
          </p:nvPr>
        </p:nvSpPr>
        <p:spPr/>
        <p:txBody>
          <a:bodyPr/>
          <a:lstStyle>
            <a:lvl1pPr>
              <a:defRPr/>
            </a:lvl1pPr>
          </a:lstStyle>
          <a:p>
            <a:pPr lvl="0"/>
            <a:r>
              <a:rPr lang="en-US"/>
              <a:t>Click to edit Master title style</a:t>
            </a:r>
          </a:p>
        </p:txBody>
      </p:sp>
      <p:sp>
        <p:nvSpPr>
          <p:cNvPr id="3" name="Content Placeholder 2">
            <a:extLst>
              <a:ext uri="{FF2B5EF4-FFF2-40B4-BE49-F238E27FC236}">
                <a16:creationId xmlns:a16="http://schemas.microsoft.com/office/drawing/2014/main" id="{E3CAB3E3-585F-C437-3A05-5F4B3E250EC9}"/>
              </a:ext>
            </a:extLst>
          </p:cNvPr>
          <p:cNvSpPr txBox="1">
            <a:spLocks noGrp="1"/>
          </p:cNvSpPr>
          <p:nvPr>
            <p:ph idx="1"/>
          </p:nvPr>
        </p:nvSpPr>
        <p:spPr>
          <a:xfrm>
            <a:off x="609604" y="1825627"/>
            <a:ext cx="5410203" cy="4351336"/>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43">
            <a:extLst>
              <a:ext uri="{FF2B5EF4-FFF2-40B4-BE49-F238E27FC236}">
                <a16:creationId xmlns:a16="http://schemas.microsoft.com/office/drawing/2014/main" id="{2104F97B-D228-D309-973F-0F10C130FFE2}"/>
              </a:ext>
            </a:extLst>
          </p:cNvPr>
          <p:cNvGrpSpPr/>
          <p:nvPr/>
        </p:nvGrpSpPr>
        <p:grpSpPr>
          <a:xfrm>
            <a:off x="7191545" y="0"/>
            <a:ext cx="5000460" cy="1425988"/>
            <a:chOff x="7191545" y="0"/>
            <a:chExt cx="5000460" cy="1425988"/>
          </a:xfrm>
        </p:grpSpPr>
        <p:pic>
          <p:nvPicPr>
            <p:cNvPr id="5" name="Picture 19">
              <a:extLst>
                <a:ext uri="{FF2B5EF4-FFF2-40B4-BE49-F238E27FC236}">
                  <a16:creationId xmlns:a16="http://schemas.microsoft.com/office/drawing/2014/main" id="{E0D3E850-11B4-4C6A-7533-F845412B4B53}"/>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6" name="Group 42">
              <a:extLst>
                <a:ext uri="{FF2B5EF4-FFF2-40B4-BE49-F238E27FC236}">
                  <a16:creationId xmlns:a16="http://schemas.microsoft.com/office/drawing/2014/main" id="{8D81236D-0013-46F8-DD96-4E0CFFBF95FE}"/>
                </a:ext>
              </a:extLst>
            </p:cNvPr>
            <p:cNvGrpSpPr/>
            <p:nvPr/>
          </p:nvGrpSpPr>
          <p:grpSpPr>
            <a:xfrm>
              <a:off x="7191545" y="0"/>
              <a:ext cx="5000460" cy="1425988"/>
              <a:chOff x="7191545" y="0"/>
              <a:chExt cx="5000460" cy="1425988"/>
            </a:xfrm>
          </p:grpSpPr>
          <p:sp>
            <p:nvSpPr>
              <p:cNvPr id="7" name="Freeform 41">
                <a:extLst>
                  <a:ext uri="{FF2B5EF4-FFF2-40B4-BE49-F238E27FC236}">
                    <a16:creationId xmlns:a16="http://schemas.microsoft.com/office/drawing/2014/main" id="{C0225C7D-5452-A57B-E558-E0354992CC1E}"/>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8" name="Freeform 39">
                <a:extLst>
                  <a:ext uri="{FF2B5EF4-FFF2-40B4-BE49-F238E27FC236}">
                    <a16:creationId xmlns:a16="http://schemas.microsoft.com/office/drawing/2014/main" id="{F1E1FE66-53D3-D1FD-F25C-7BEB55EC9801}"/>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9" name="Content Placeholder 3">
            <a:extLst>
              <a:ext uri="{FF2B5EF4-FFF2-40B4-BE49-F238E27FC236}">
                <a16:creationId xmlns:a16="http://schemas.microsoft.com/office/drawing/2014/main" id="{25475801-3D80-6E35-5054-2A3FA3FC8497}"/>
              </a:ext>
            </a:extLst>
          </p:cNvPr>
          <p:cNvSpPr txBox="1">
            <a:spLocks noGrp="1"/>
          </p:cNvSpPr>
          <p:nvPr>
            <p:ph idx="2"/>
          </p:nvPr>
        </p:nvSpPr>
        <p:spPr>
          <a:xfrm>
            <a:off x="6172201" y="1825627"/>
            <a:ext cx="5410203" cy="4351336"/>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7">
            <a:extLst>
              <a:ext uri="{FF2B5EF4-FFF2-40B4-BE49-F238E27FC236}">
                <a16:creationId xmlns:a16="http://schemas.microsoft.com/office/drawing/2014/main" id="{B30A154D-EE2C-D8E7-2A47-A0F3271310C6}"/>
              </a:ext>
            </a:extLst>
          </p:cNvPr>
          <p:cNvSpPr txBox="1">
            <a:spLocks noGrp="1"/>
          </p:cNvSpPr>
          <p:nvPr>
            <p:ph type="sldNum" sz="quarter" idx="8"/>
          </p:nvPr>
        </p:nvSpPr>
        <p:spPr>
          <a:xfrm>
            <a:off x="8839193" y="6356352"/>
            <a:ext cx="2743200" cy="365129"/>
          </a:xfrm>
        </p:spPr>
        <p:txBody>
          <a:bodyPr/>
          <a:lstStyle>
            <a:lvl1pPr>
              <a:defRPr/>
            </a:lvl1pPr>
          </a:lstStyle>
          <a:p>
            <a:pPr lvl="0"/>
            <a:fld id="{4F1289B0-113B-4903-9FEC-2AAE2B774DC1}" type="slidenum">
              <a:t>‹#›</a:t>
            </a:fld>
            <a:endParaRPr lang="en-US"/>
          </a:p>
        </p:txBody>
      </p:sp>
      <p:cxnSp>
        <p:nvCxnSpPr>
          <p:cNvPr id="11" name="Straight Connector 6">
            <a:extLst>
              <a:ext uri="{FF2B5EF4-FFF2-40B4-BE49-F238E27FC236}">
                <a16:creationId xmlns:a16="http://schemas.microsoft.com/office/drawing/2014/main" id="{A8B2A8BD-E0DD-22EB-0591-4F0032FA0E7F}"/>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2" name="Footer Placeholder 4">
            <a:extLst>
              <a:ext uri="{FF2B5EF4-FFF2-40B4-BE49-F238E27FC236}">
                <a16:creationId xmlns:a16="http://schemas.microsoft.com/office/drawing/2014/main" id="{79ADF416-2FF0-195B-F156-9D6D60135867}"/>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1942015305"/>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 name="Group 24">
            <a:extLst>
              <a:ext uri="{FF2B5EF4-FFF2-40B4-BE49-F238E27FC236}">
                <a16:creationId xmlns:a16="http://schemas.microsoft.com/office/drawing/2014/main" id="{0B0244C3-1CAD-BB60-400A-FA40D2072F13}"/>
              </a:ext>
            </a:extLst>
          </p:cNvPr>
          <p:cNvGrpSpPr/>
          <p:nvPr/>
        </p:nvGrpSpPr>
        <p:grpSpPr>
          <a:xfrm>
            <a:off x="7191545" y="0"/>
            <a:ext cx="5000460" cy="1425988"/>
            <a:chOff x="7191545" y="0"/>
            <a:chExt cx="5000460" cy="1425988"/>
          </a:xfrm>
        </p:grpSpPr>
        <p:pic>
          <p:nvPicPr>
            <p:cNvPr id="3" name="Picture 25">
              <a:extLst>
                <a:ext uri="{FF2B5EF4-FFF2-40B4-BE49-F238E27FC236}">
                  <a16:creationId xmlns:a16="http://schemas.microsoft.com/office/drawing/2014/main" id="{FC955A6A-05E1-EBFD-7E9D-01CA43962A04}"/>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26">
              <a:extLst>
                <a:ext uri="{FF2B5EF4-FFF2-40B4-BE49-F238E27FC236}">
                  <a16:creationId xmlns:a16="http://schemas.microsoft.com/office/drawing/2014/main" id="{E9249954-45FD-CD20-9D05-DA7FEBFD4EE4}"/>
                </a:ext>
              </a:extLst>
            </p:cNvPr>
            <p:cNvGrpSpPr/>
            <p:nvPr/>
          </p:nvGrpSpPr>
          <p:grpSpPr>
            <a:xfrm>
              <a:off x="7191545" y="0"/>
              <a:ext cx="5000460" cy="1425988"/>
              <a:chOff x="7191545" y="0"/>
              <a:chExt cx="5000460" cy="1425988"/>
            </a:xfrm>
          </p:grpSpPr>
          <p:sp>
            <p:nvSpPr>
              <p:cNvPr id="5" name="Freeform 27">
                <a:extLst>
                  <a:ext uri="{FF2B5EF4-FFF2-40B4-BE49-F238E27FC236}">
                    <a16:creationId xmlns:a16="http://schemas.microsoft.com/office/drawing/2014/main" id="{09562AF9-4815-5ADB-79F2-34A91D227129}"/>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28">
                <a:extLst>
                  <a:ext uri="{FF2B5EF4-FFF2-40B4-BE49-F238E27FC236}">
                    <a16:creationId xmlns:a16="http://schemas.microsoft.com/office/drawing/2014/main" id="{DCF21DBC-5CA5-7B93-78B2-D2C66F7B31C9}"/>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C25752E6-A7A9-99E2-E283-4CE0DF2F0DD5}"/>
              </a:ext>
            </a:extLst>
          </p:cNvPr>
          <p:cNvSpPr txBox="1">
            <a:spLocks noGrp="1"/>
          </p:cNvSpPr>
          <p:nvPr>
            <p:ph type="title"/>
          </p:nvPr>
        </p:nvSpPr>
        <p:spPr/>
        <p:txBody>
          <a:bodyPr/>
          <a:lstStyle>
            <a:lvl1pPr>
              <a:defRPr/>
            </a:lvl1pPr>
          </a:lstStyle>
          <a:p>
            <a:pPr lvl="0"/>
            <a:r>
              <a:rPr lang="en-US"/>
              <a:t>Click to edit Master title style</a:t>
            </a:r>
          </a:p>
        </p:txBody>
      </p:sp>
      <p:sp>
        <p:nvSpPr>
          <p:cNvPr id="8" name="Text Placeholder 2">
            <a:extLst>
              <a:ext uri="{FF2B5EF4-FFF2-40B4-BE49-F238E27FC236}">
                <a16:creationId xmlns:a16="http://schemas.microsoft.com/office/drawing/2014/main" id="{140D4384-3214-8200-0D15-090840C5AFF1}"/>
              </a:ext>
            </a:extLst>
          </p:cNvPr>
          <p:cNvSpPr txBox="1">
            <a:spLocks noGrp="1"/>
          </p:cNvSpPr>
          <p:nvPr>
            <p:ph type="body" idx="1"/>
          </p:nvPr>
        </p:nvSpPr>
        <p:spPr>
          <a:xfrm>
            <a:off x="609604" y="1681160"/>
            <a:ext cx="5387973" cy="823910"/>
          </a:xfrm>
          <a:solidFill>
            <a:srgbClr val="F3F6FB"/>
          </a:solidFill>
        </p:spPr>
        <p:txBody>
          <a:bodyPr lIns="182880" tIns="0" rIns="182880" bIns="0" anchor="ctr"/>
          <a:lstStyle>
            <a:lvl1pPr marL="0" indent="0">
              <a:buNone/>
              <a:defRPr u="sng">
                <a:uFill>
                  <a:solidFill>
                    <a:srgbClr val="F58366"/>
                  </a:solidFill>
                </a:uFill>
              </a:defRPr>
            </a:lvl1pPr>
          </a:lstStyle>
          <a:p>
            <a:pPr lvl="0"/>
            <a:r>
              <a:rPr lang="en-US"/>
              <a:t>Click to edit Master text styles</a:t>
            </a:r>
          </a:p>
        </p:txBody>
      </p:sp>
      <p:sp>
        <p:nvSpPr>
          <p:cNvPr id="9" name="Content Placeholder 3">
            <a:extLst>
              <a:ext uri="{FF2B5EF4-FFF2-40B4-BE49-F238E27FC236}">
                <a16:creationId xmlns:a16="http://schemas.microsoft.com/office/drawing/2014/main" id="{1FE49889-74C0-B7AF-E7F7-B2B67F5D88D8}"/>
              </a:ext>
            </a:extLst>
          </p:cNvPr>
          <p:cNvSpPr txBox="1">
            <a:spLocks noGrp="1"/>
          </p:cNvSpPr>
          <p:nvPr>
            <p:ph idx="2"/>
          </p:nvPr>
        </p:nvSpPr>
        <p:spPr>
          <a:xfrm>
            <a:off x="609604" y="2505072"/>
            <a:ext cx="5387973" cy="3684583"/>
          </a:xfrm>
          <a:solidFill>
            <a:srgbClr val="F3F6FB"/>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7F31E4CB-232F-A365-FC4B-2E7527DD14E7}"/>
              </a:ext>
            </a:extLst>
          </p:cNvPr>
          <p:cNvSpPr txBox="1">
            <a:spLocks noGrp="1"/>
          </p:cNvSpPr>
          <p:nvPr>
            <p:ph type="body" idx="3"/>
          </p:nvPr>
        </p:nvSpPr>
        <p:spPr>
          <a:xfrm>
            <a:off x="6172201" y="1681160"/>
            <a:ext cx="5410203" cy="823910"/>
          </a:xfrm>
          <a:solidFill>
            <a:srgbClr val="F3F6FB"/>
          </a:solidFill>
        </p:spPr>
        <p:txBody>
          <a:bodyPr lIns="182880" tIns="0" rIns="182880" bIns="0" anchor="ctr"/>
          <a:lstStyle>
            <a:lvl1pPr marL="0" indent="0">
              <a:buNone/>
              <a:defRPr u="sng">
                <a:uFill>
                  <a:solidFill>
                    <a:srgbClr val="F58366"/>
                  </a:solidFill>
                </a:uFill>
              </a:defRPr>
            </a:lvl1pPr>
          </a:lstStyle>
          <a:p>
            <a:pPr lvl="0"/>
            <a:r>
              <a:rPr lang="en-US"/>
              <a:t>Click to edit Master text styles</a:t>
            </a:r>
          </a:p>
        </p:txBody>
      </p:sp>
      <p:sp>
        <p:nvSpPr>
          <p:cNvPr id="11" name="Content Placeholder 5">
            <a:extLst>
              <a:ext uri="{FF2B5EF4-FFF2-40B4-BE49-F238E27FC236}">
                <a16:creationId xmlns:a16="http://schemas.microsoft.com/office/drawing/2014/main" id="{159BC4FB-379B-7745-4CB3-9791D9778E79}"/>
              </a:ext>
            </a:extLst>
          </p:cNvPr>
          <p:cNvSpPr txBox="1">
            <a:spLocks noGrp="1"/>
          </p:cNvSpPr>
          <p:nvPr>
            <p:ph idx="4"/>
          </p:nvPr>
        </p:nvSpPr>
        <p:spPr>
          <a:xfrm>
            <a:off x="6172201" y="2505072"/>
            <a:ext cx="5410203" cy="3684583"/>
          </a:xfrm>
          <a:solidFill>
            <a:srgbClr val="F3F6FB"/>
          </a:solidFill>
        </p:spPr>
        <p:txBody>
          <a:bodyPr lIns="182880" tIns="0" rIns="182880" bIns="0"/>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9">
            <a:extLst>
              <a:ext uri="{FF2B5EF4-FFF2-40B4-BE49-F238E27FC236}">
                <a16:creationId xmlns:a16="http://schemas.microsoft.com/office/drawing/2014/main" id="{7DF9FBFC-ABFD-488A-E935-A449A9B45126}"/>
              </a:ext>
            </a:extLst>
          </p:cNvPr>
          <p:cNvSpPr txBox="1">
            <a:spLocks noGrp="1"/>
          </p:cNvSpPr>
          <p:nvPr>
            <p:ph type="sldNum" sz="quarter" idx="8"/>
          </p:nvPr>
        </p:nvSpPr>
        <p:spPr/>
        <p:txBody>
          <a:bodyPr/>
          <a:lstStyle>
            <a:lvl1pPr>
              <a:defRPr/>
            </a:lvl1pPr>
          </a:lstStyle>
          <a:p>
            <a:pPr lvl="0"/>
            <a:fld id="{13197D53-D51F-4CEA-AE3F-89CD473C3D72}" type="slidenum">
              <a:t>‹#›</a:t>
            </a:fld>
            <a:endParaRPr lang="en-US"/>
          </a:p>
        </p:txBody>
      </p:sp>
      <p:cxnSp>
        <p:nvCxnSpPr>
          <p:cNvPr id="13" name="Straight Connector 8">
            <a:extLst>
              <a:ext uri="{FF2B5EF4-FFF2-40B4-BE49-F238E27FC236}">
                <a16:creationId xmlns:a16="http://schemas.microsoft.com/office/drawing/2014/main" id="{CDA67367-14FE-A470-392D-CFBD1A9A5BFB}"/>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4" name="Footer Placeholder 7">
            <a:extLst>
              <a:ext uri="{FF2B5EF4-FFF2-40B4-BE49-F238E27FC236}">
                <a16:creationId xmlns:a16="http://schemas.microsoft.com/office/drawing/2014/main" id="{EDDDCD04-EB18-0EE9-59A2-009D0F17889E}"/>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2987448101"/>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 name="Group 21">
            <a:extLst>
              <a:ext uri="{FF2B5EF4-FFF2-40B4-BE49-F238E27FC236}">
                <a16:creationId xmlns:a16="http://schemas.microsoft.com/office/drawing/2014/main" id="{5E43B533-F235-786D-6A26-0D22B2368F01}"/>
              </a:ext>
            </a:extLst>
          </p:cNvPr>
          <p:cNvGrpSpPr/>
          <p:nvPr/>
        </p:nvGrpSpPr>
        <p:grpSpPr>
          <a:xfrm>
            <a:off x="7191545" y="0"/>
            <a:ext cx="5000460" cy="1425988"/>
            <a:chOff x="7191545" y="0"/>
            <a:chExt cx="5000460" cy="1425988"/>
          </a:xfrm>
        </p:grpSpPr>
        <p:pic>
          <p:nvPicPr>
            <p:cNvPr id="3" name="Picture 22">
              <a:extLst>
                <a:ext uri="{FF2B5EF4-FFF2-40B4-BE49-F238E27FC236}">
                  <a16:creationId xmlns:a16="http://schemas.microsoft.com/office/drawing/2014/main" id="{B8257A0D-5C5A-1E60-6296-D0F029DA85D1}"/>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23">
              <a:extLst>
                <a:ext uri="{FF2B5EF4-FFF2-40B4-BE49-F238E27FC236}">
                  <a16:creationId xmlns:a16="http://schemas.microsoft.com/office/drawing/2014/main" id="{8E6D42EE-1F6E-E7E9-F4FF-18D10880361F}"/>
                </a:ext>
              </a:extLst>
            </p:cNvPr>
            <p:cNvGrpSpPr/>
            <p:nvPr/>
          </p:nvGrpSpPr>
          <p:grpSpPr>
            <a:xfrm>
              <a:off x="7191545" y="0"/>
              <a:ext cx="5000460" cy="1425988"/>
              <a:chOff x="7191545" y="0"/>
              <a:chExt cx="5000460" cy="1425988"/>
            </a:xfrm>
          </p:grpSpPr>
          <p:sp>
            <p:nvSpPr>
              <p:cNvPr id="5" name="Freeform 24">
                <a:extLst>
                  <a:ext uri="{FF2B5EF4-FFF2-40B4-BE49-F238E27FC236}">
                    <a16:creationId xmlns:a16="http://schemas.microsoft.com/office/drawing/2014/main" id="{45C85F54-D85A-4DA2-F19A-3020BC48A576}"/>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25">
                <a:extLst>
                  <a:ext uri="{FF2B5EF4-FFF2-40B4-BE49-F238E27FC236}">
                    <a16:creationId xmlns:a16="http://schemas.microsoft.com/office/drawing/2014/main" id="{29421357-27EC-E1DC-D5B7-1713F7DA8803}"/>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0CDE2FDF-E016-30C1-D11A-458614F10166}"/>
              </a:ext>
            </a:extLst>
          </p:cNvPr>
          <p:cNvSpPr txBox="1">
            <a:spLocks noGrp="1"/>
          </p:cNvSpPr>
          <p:nvPr>
            <p:ph type="title"/>
          </p:nvPr>
        </p:nvSpPr>
        <p:spPr/>
        <p:txBody>
          <a:bodyPr/>
          <a:lstStyle>
            <a:lvl1pPr>
              <a:defRPr/>
            </a:lvl1pPr>
          </a:lstStyle>
          <a:p>
            <a:pPr lvl="0"/>
            <a:r>
              <a:rPr lang="en-US"/>
              <a:t>Click to edit Master title style</a:t>
            </a:r>
          </a:p>
        </p:txBody>
      </p:sp>
      <p:sp>
        <p:nvSpPr>
          <p:cNvPr id="8" name="Slide Number Placeholder 5">
            <a:extLst>
              <a:ext uri="{FF2B5EF4-FFF2-40B4-BE49-F238E27FC236}">
                <a16:creationId xmlns:a16="http://schemas.microsoft.com/office/drawing/2014/main" id="{93B7FAB5-473D-3343-B3D8-648F57563C28}"/>
              </a:ext>
            </a:extLst>
          </p:cNvPr>
          <p:cNvSpPr txBox="1">
            <a:spLocks noGrp="1"/>
          </p:cNvSpPr>
          <p:nvPr>
            <p:ph type="sldNum" sz="quarter" idx="8"/>
          </p:nvPr>
        </p:nvSpPr>
        <p:spPr/>
        <p:txBody>
          <a:bodyPr/>
          <a:lstStyle>
            <a:lvl1pPr>
              <a:defRPr/>
            </a:lvl1pPr>
          </a:lstStyle>
          <a:p>
            <a:pPr lvl="0"/>
            <a:fld id="{5884B963-7377-42BE-96A2-33CABD26DE0B}" type="slidenum">
              <a:t>‹#›</a:t>
            </a:fld>
            <a:endParaRPr lang="en-US"/>
          </a:p>
        </p:txBody>
      </p:sp>
      <p:cxnSp>
        <p:nvCxnSpPr>
          <p:cNvPr id="9" name="Straight Connector 6">
            <a:extLst>
              <a:ext uri="{FF2B5EF4-FFF2-40B4-BE49-F238E27FC236}">
                <a16:creationId xmlns:a16="http://schemas.microsoft.com/office/drawing/2014/main" id="{C53B0FB0-CE8A-89BE-D0FE-2844395F544F}"/>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0" name="Footer Placeholder 2">
            <a:extLst>
              <a:ext uri="{FF2B5EF4-FFF2-40B4-BE49-F238E27FC236}">
                <a16:creationId xmlns:a16="http://schemas.microsoft.com/office/drawing/2014/main" id="{78AACFFA-5554-EAE1-8ECE-77EE7FE79DC9}"/>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1058507919"/>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8_End">
    <p:spTree>
      <p:nvGrpSpPr>
        <p:cNvPr id="1" name=""/>
        <p:cNvGrpSpPr/>
        <p:nvPr/>
      </p:nvGrpSpPr>
      <p:grpSpPr>
        <a:xfrm>
          <a:off x="0" y="0"/>
          <a:ext cx="0" cy="0"/>
          <a:chOff x="0" y="0"/>
          <a:chExt cx="0" cy="0"/>
        </a:xfrm>
      </p:grpSpPr>
      <p:grpSp>
        <p:nvGrpSpPr>
          <p:cNvPr id="2" name="Group 41">
            <a:extLst>
              <a:ext uri="{FF2B5EF4-FFF2-40B4-BE49-F238E27FC236}">
                <a16:creationId xmlns:a16="http://schemas.microsoft.com/office/drawing/2014/main" id="{2B50D309-25B6-F8D8-E678-A3473EEE51E4}"/>
              </a:ext>
            </a:extLst>
          </p:cNvPr>
          <p:cNvGrpSpPr/>
          <p:nvPr/>
        </p:nvGrpSpPr>
        <p:grpSpPr>
          <a:xfrm>
            <a:off x="0" y="0"/>
            <a:ext cx="12191996" cy="2148830"/>
            <a:chOff x="0" y="0"/>
            <a:chExt cx="12191996" cy="2148830"/>
          </a:xfrm>
        </p:grpSpPr>
        <p:sp>
          <p:nvSpPr>
            <p:cNvPr id="3" name="Freeform 40">
              <a:extLst>
                <a:ext uri="{FF2B5EF4-FFF2-40B4-BE49-F238E27FC236}">
                  <a16:creationId xmlns:a16="http://schemas.microsoft.com/office/drawing/2014/main" id="{49B091F3-7DFA-8A56-2D9A-346E41DE4F49}"/>
                </a:ext>
              </a:extLst>
            </p:cNvPr>
            <p:cNvSpPr/>
            <p:nvPr/>
          </p:nvSpPr>
          <p:spPr>
            <a:xfrm flipH="1">
              <a:off x="0" y="0"/>
              <a:ext cx="12191996" cy="2148830"/>
            </a:xfrm>
            <a:custGeom>
              <a:avLst/>
              <a:gdLst>
                <a:gd name="f0" fmla="val 10800000"/>
                <a:gd name="f1" fmla="val 5400000"/>
                <a:gd name="f2" fmla="val 180"/>
                <a:gd name="f3" fmla="val w"/>
                <a:gd name="f4" fmla="val h"/>
                <a:gd name="f5" fmla="val 0"/>
                <a:gd name="f6" fmla="val 12192000"/>
                <a:gd name="f7" fmla="val 2148830"/>
                <a:gd name="f8" fmla="val 2318293"/>
                <a:gd name="f9" fmla="val 2110341"/>
                <a:gd name="f10" fmla="val 1952334"/>
                <a:gd name="f11" fmla="val 920"/>
                <a:gd name="f12" fmla="val 1343499"/>
                <a:gd name="f13" fmla="val 23864"/>
                <a:gd name="f14" fmla="val 752130"/>
                <a:gd name="f15" fmla="val 152982"/>
                <a:gd name="f16" fmla="val 184205"/>
                <a:gd name="f17" fmla="val 435928"/>
                <a:gd name="f18" fmla="val 536864"/>
                <a:gd name="f19" fmla="val 554713"/>
                <a:gd name="f20" fmla="val 201115"/>
                <a:gd name="f21" fmla="val 452796"/>
                <a:gd name="f22" fmla="val 776357"/>
                <a:gd name="f23" fmla="val 187336"/>
                <a:gd name="f24" fmla="val 1349828"/>
                <a:gd name="f25" fmla="val 76760"/>
                <a:gd name="f26" fmla="val 1947588"/>
                <a:gd name="f27" fmla="val 66249"/>
                <a:gd name="f28" fmla="val 2962940"/>
                <a:gd name="f29" fmla="val 48421"/>
                <a:gd name="f30" fmla="val 3890218"/>
                <a:gd name="f31" fmla="val 291317"/>
                <a:gd name="f32" fmla="val 4778140"/>
                <a:gd name="f33" fmla="val 604018"/>
                <a:gd name="f34" fmla="val 7231510"/>
                <a:gd name="f35" fmla="val 1468126"/>
                <a:gd name="f36" fmla="val 9178927"/>
                <a:gd name="f37" fmla="val 2492024"/>
                <a:gd name="f38" fmla="val 11996242"/>
                <a:gd name="f39" fmla="val 2036894"/>
                <a:gd name="f40" fmla="val 2002266"/>
                <a:gd name="f41" fmla="val 1415250"/>
                <a:gd name="f42" fmla="val 12022971"/>
                <a:gd name="f43" fmla="val 1470801"/>
                <a:gd name="f44" fmla="val 10719696"/>
                <a:gd name="f45" fmla="val 1863939"/>
                <a:gd name="f46" fmla="val 9271154"/>
                <a:gd name="f47" fmla="val 1783804"/>
                <a:gd name="f48" fmla="val 7970940"/>
                <a:gd name="f49" fmla="val 1436986"/>
                <a:gd name="f50" fmla="val 6890984"/>
                <a:gd name="f51" fmla="val 1148958"/>
                <a:gd name="f52" fmla="val 5866930"/>
                <a:gd name="f53" fmla="val 767309"/>
                <a:gd name="f54" fmla="val 4800356"/>
                <a:gd name="f55" fmla="val 456582"/>
                <a:gd name="f56" fmla="val 4068903"/>
                <a:gd name="f57" fmla="val 243471"/>
                <a:gd name="f58" fmla="val 3348204"/>
                <a:gd name="f59" fmla="val 74251"/>
                <a:gd name="f60" fmla="val 2646880"/>
                <a:gd name="f61" fmla="val 17560"/>
                <a:gd name="f62" fmla="+- 0 0 -90"/>
                <a:gd name="f63" fmla="*/ f3 1 12192000"/>
                <a:gd name="f64" fmla="*/ f4 1 2148830"/>
                <a:gd name="f65" fmla="+- f7 0 f5"/>
                <a:gd name="f66" fmla="+- f6 0 f5"/>
                <a:gd name="f67" fmla="*/ f62 f0 1"/>
                <a:gd name="f68" fmla="*/ f66 1 12192000"/>
                <a:gd name="f69" fmla="*/ f65 1 2148830"/>
                <a:gd name="f70" fmla="*/ 2318293 f66 1"/>
                <a:gd name="f71" fmla="*/ 0 f65 1"/>
                <a:gd name="f72" fmla="*/ 2110341 f66 1"/>
                <a:gd name="f73" fmla="*/ 1952334 f66 1"/>
                <a:gd name="f74" fmla="*/ 920 f65 1"/>
                <a:gd name="f75" fmla="*/ 184205 f66 1"/>
                <a:gd name="f76" fmla="*/ 435928 f65 1"/>
                <a:gd name="f77" fmla="*/ 0 f66 1"/>
                <a:gd name="f78" fmla="*/ 536864 f65 1"/>
                <a:gd name="f79" fmla="*/ 554713 f65 1"/>
                <a:gd name="f80" fmla="*/ 201115 f66 1"/>
                <a:gd name="f81" fmla="*/ 452796 f65 1"/>
                <a:gd name="f82" fmla="*/ 1947588 f66 1"/>
                <a:gd name="f83" fmla="*/ 66249 f65 1"/>
                <a:gd name="f84" fmla="*/ 4778140 f66 1"/>
                <a:gd name="f85" fmla="*/ 604018 f65 1"/>
                <a:gd name="f86" fmla="*/ 11996242 f66 1"/>
                <a:gd name="f87" fmla="*/ 2036894 f65 1"/>
                <a:gd name="f88" fmla="*/ 12192000 f66 1"/>
                <a:gd name="f89" fmla="*/ 2002266 f65 1"/>
                <a:gd name="f90" fmla="*/ 1415250 f65 1"/>
                <a:gd name="f91" fmla="*/ 12022971 f66 1"/>
                <a:gd name="f92" fmla="*/ 1470801 f65 1"/>
                <a:gd name="f93" fmla="*/ 7970940 f66 1"/>
                <a:gd name="f94" fmla="*/ 1436986 f65 1"/>
                <a:gd name="f95" fmla="*/ 4800356 f66 1"/>
                <a:gd name="f96" fmla="*/ 456582 f65 1"/>
                <a:gd name="f97" fmla="*/ 2646880 f66 1"/>
                <a:gd name="f98" fmla="*/ 17560 f65 1"/>
                <a:gd name="f99" fmla="*/ f67 1 f2"/>
                <a:gd name="f100" fmla="*/ f70 1 12192000"/>
                <a:gd name="f101" fmla="*/ f71 1 2148830"/>
                <a:gd name="f102" fmla="*/ f72 1 12192000"/>
                <a:gd name="f103" fmla="*/ f73 1 12192000"/>
                <a:gd name="f104" fmla="*/ f74 1 2148830"/>
                <a:gd name="f105" fmla="*/ f75 1 12192000"/>
                <a:gd name="f106" fmla="*/ f76 1 2148830"/>
                <a:gd name="f107" fmla="*/ f77 1 12192000"/>
                <a:gd name="f108" fmla="*/ f78 1 2148830"/>
                <a:gd name="f109" fmla="*/ f79 1 2148830"/>
                <a:gd name="f110" fmla="*/ f80 1 12192000"/>
                <a:gd name="f111" fmla="*/ f81 1 2148830"/>
                <a:gd name="f112" fmla="*/ f82 1 12192000"/>
                <a:gd name="f113" fmla="*/ f83 1 2148830"/>
                <a:gd name="f114" fmla="*/ f84 1 12192000"/>
                <a:gd name="f115" fmla="*/ f85 1 2148830"/>
                <a:gd name="f116" fmla="*/ f86 1 12192000"/>
                <a:gd name="f117" fmla="*/ f87 1 2148830"/>
                <a:gd name="f118" fmla="*/ f88 1 12192000"/>
                <a:gd name="f119" fmla="*/ f89 1 2148830"/>
                <a:gd name="f120" fmla="*/ f90 1 2148830"/>
                <a:gd name="f121" fmla="*/ f91 1 12192000"/>
                <a:gd name="f122" fmla="*/ f92 1 2148830"/>
                <a:gd name="f123" fmla="*/ f93 1 12192000"/>
                <a:gd name="f124" fmla="*/ f94 1 2148830"/>
                <a:gd name="f125" fmla="*/ f95 1 12192000"/>
                <a:gd name="f126" fmla="*/ f96 1 2148830"/>
                <a:gd name="f127" fmla="*/ f97 1 12192000"/>
                <a:gd name="f128" fmla="*/ f98 1 2148830"/>
                <a:gd name="f129" fmla="*/ f5 1 f68"/>
                <a:gd name="f130" fmla="*/ f6 1 f68"/>
                <a:gd name="f131" fmla="*/ f5 1 f69"/>
                <a:gd name="f132" fmla="*/ f7 1 f69"/>
                <a:gd name="f133" fmla="+- f99 0 f1"/>
                <a:gd name="f134" fmla="*/ f100 1 f68"/>
                <a:gd name="f135" fmla="*/ f101 1 f69"/>
                <a:gd name="f136" fmla="*/ f102 1 f68"/>
                <a:gd name="f137" fmla="*/ f103 1 f68"/>
                <a:gd name="f138" fmla="*/ f104 1 f69"/>
                <a:gd name="f139" fmla="*/ f105 1 f68"/>
                <a:gd name="f140" fmla="*/ f106 1 f69"/>
                <a:gd name="f141" fmla="*/ f107 1 f68"/>
                <a:gd name="f142" fmla="*/ f108 1 f69"/>
                <a:gd name="f143" fmla="*/ f109 1 f69"/>
                <a:gd name="f144" fmla="*/ f110 1 f68"/>
                <a:gd name="f145" fmla="*/ f111 1 f69"/>
                <a:gd name="f146" fmla="*/ f112 1 f68"/>
                <a:gd name="f147" fmla="*/ f113 1 f69"/>
                <a:gd name="f148" fmla="*/ f114 1 f68"/>
                <a:gd name="f149" fmla="*/ f115 1 f69"/>
                <a:gd name="f150" fmla="*/ f116 1 f68"/>
                <a:gd name="f151" fmla="*/ f117 1 f69"/>
                <a:gd name="f152" fmla="*/ f118 1 f68"/>
                <a:gd name="f153" fmla="*/ f119 1 f69"/>
                <a:gd name="f154" fmla="*/ f120 1 f69"/>
                <a:gd name="f155" fmla="*/ f121 1 f68"/>
                <a:gd name="f156" fmla="*/ f122 1 f69"/>
                <a:gd name="f157" fmla="*/ f123 1 f68"/>
                <a:gd name="f158" fmla="*/ f124 1 f69"/>
                <a:gd name="f159" fmla="*/ f125 1 f68"/>
                <a:gd name="f160" fmla="*/ f126 1 f69"/>
                <a:gd name="f161" fmla="*/ f127 1 f68"/>
                <a:gd name="f162" fmla="*/ f128 1 f69"/>
                <a:gd name="f163" fmla="*/ f129 f63 1"/>
                <a:gd name="f164" fmla="*/ f130 f63 1"/>
                <a:gd name="f165" fmla="*/ f132 f64 1"/>
                <a:gd name="f166" fmla="*/ f131 f64 1"/>
                <a:gd name="f167" fmla="*/ f134 f63 1"/>
                <a:gd name="f168" fmla="*/ f135 f64 1"/>
                <a:gd name="f169" fmla="*/ f136 f63 1"/>
                <a:gd name="f170" fmla="*/ f137 f63 1"/>
                <a:gd name="f171" fmla="*/ f138 f64 1"/>
                <a:gd name="f172" fmla="*/ f139 f63 1"/>
                <a:gd name="f173" fmla="*/ f140 f64 1"/>
                <a:gd name="f174" fmla="*/ f141 f63 1"/>
                <a:gd name="f175" fmla="*/ f142 f64 1"/>
                <a:gd name="f176" fmla="*/ f143 f64 1"/>
                <a:gd name="f177" fmla="*/ f144 f63 1"/>
                <a:gd name="f178" fmla="*/ f145 f64 1"/>
                <a:gd name="f179" fmla="*/ f146 f63 1"/>
                <a:gd name="f180" fmla="*/ f147 f64 1"/>
                <a:gd name="f181" fmla="*/ f148 f63 1"/>
                <a:gd name="f182" fmla="*/ f149 f64 1"/>
                <a:gd name="f183" fmla="*/ f150 f63 1"/>
                <a:gd name="f184" fmla="*/ f151 f64 1"/>
                <a:gd name="f185" fmla="*/ f152 f63 1"/>
                <a:gd name="f186" fmla="*/ f153 f64 1"/>
                <a:gd name="f187" fmla="*/ f154 f64 1"/>
                <a:gd name="f188" fmla="*/ f155 f63 1"/>
                <a:gd name="f189" fmla="*/ f156 f64 1"/>
                <a:gd name="f190" fmla="*/ f157 f63 1"/>
                <a:gd name="f191" fmla="*/ f158 f64 1"/>
                <a:gd name="f192" fmla="*/ f159 f63 1"/>
                <a:gd name="f193" fmla="*/ f160 f64 1"/>
                <a:gd name="f194" fmla="*/ f161 f63 1"/>
                <a:gd name="f195" fmla="*/ f162 f64 1"/>
              </a:gdLst>
              <a:ahLst/>
              <a:cxnLst>
                <a:cxn ang="3cd4">
                  <a:pos x="hc" y="t"/>
                </a:cxn>
                <a:cxn ang="0">
                  <a:pos x="r" y="vc"/>
                </a:cxn>
                <a:cxn ang="cd4">
                  <a:pos x="hc" y="b"/>
                </a:cxn>
                <a:cxn ang="cd2">
                  <a:pos x="l" y="vc"/>
                </a:cxn>
                <a:cxn ang="f133">
                  <a:pos x="f167" y="f168"/>
                </a:cxn>
                <a:cxn ang="f133">
                  <a:pos x="f169" y="f168"/>
                </a:cxn>
                <a:cxn ang="f133">
                  <a:pos x="f170" y="f171"/>
                </a:cxn>
                <a:cxn ang="f133">
                  <a:pos x="f172" y="f173"/>
                </a:cxn>
                <a:cxn ang="f133">
                  <a:pos x="f174" y="f175"/>
                </a:cxn>
                <a:cxn ang="f133">
                  <a:pos x="f174" y="f176"/>
                </a:cxn>
                <a:cxn ang="f133">
                  <a:pos x="f177" y="f178"/>
                </a:cxn>
                <a:cxn ang="f133">
                  <a:pos x="f179" y="f180"/>
                </a:cxn>
                <a:cxn ang="f133">
                  <a:pos x="f181" y="f182"/>
                </a:cxn>
                <a:cxn ang="f133">
                  <a:pos x="f183" y="f184"/>
                </a:cxn>
                <a:cxn ang="f133">
                  <a:pos x="f185" y="f186"/>
                </a:cxn>
                <a:cxn ang="f133">
                  <a:pos x="f185" y="f187"/>
                </a:cxn>
                <a:cxn ang="f133">
                  <a:pos x="f188" y="f189"/>
                </a:cxn>
                <a:cxn ang="f133">
                  <a:pos x="f190" y="f191"/>
                </a:cxn>
                <a:cxn ang="f133">
                  <a:pos x="f192" y="f193"/>
                </a:cxn>
                <a:cxn ang="f133">
                  <a:pos x="f194" y="f195"/>
                </a:cxn>
              </a:cxnLst>
              <a:rect l="f163" t="f166" r="f164" b="f165"/>
              <a:pathLst>
                <a:path w="12192000" h="2148830">
                  <a:moveTo>
                    <a:pt x="f8" y="f5"/>
                  </a:moveTo>
                  <a:lnTo>
                    <a:pt x="f9" y="f5"/>
                  </a:lnTo>
                  <a:lnTo>
                    <a:pt x="f10" y="f11"/>
                  </a:lnTo>
                  <a:cubicBezTo>
                    <a:pt x="f12" y="f13"/>
                    <a:pt x="f14" y="f15"/>
                    <a:pt x="f16" y="f17"/>
                  </a:cubicBezTo>
                  <a:lnTo>
                    <a:pt x="f5" y="f18"/>
                  </a:lnTo>
                  <a:lnTo>
                    <a:pt x="f5" y="f19"/>
                  </a:lnTo>
                  <a:lnTo>
                    <a:pt x="f20" y="f21"/>
                  </a:lnTo>
                  <a:cubicBezTo>
                    <a:pt x="f22" y="f23"/>
                    <a:pt x="f24" y="f25"/>
                    <a:pt x="f26" y="f27"/>
                  </a:cubicBezTo>
                  <a:cubicBezTo>
                    <a:pt x="f28" y="f29"/>
                    <a:pt x="f30" y="f31"/>
                    <a:pt x="f32" y="f33"/>
                  </a:cubicBezTo>
                  <a:cubicBezTo>
                    <a:pt x="f34" y="f35"/>
                    <a:pt x="f36" y="f37"/>
                    <a:pt x="f38" y="f39"/>
                  </a:cubicBezTo>
                  <a:lnTo>
                    <a:pt x="f6" y="f40"/>
                  </a:lnTo>
                  <a:lnTo>
                    <a:pt x="f6" y="f41"/>
                  </a:lnTo>
                  <a:lnTo>
                    <a:pt x="f42" y="f43"/>
                  </a:lnTo>
                  <a:cubicBezTo>
                    <a:pt x="f44" y="f45"/>
                    <a:pt x="f46" y="f47"/>
                    <a:pt x="f48" y="f49"/>
                  </a:cubicBezTo>
                  <a:cubicBezTo>
                    <a:pt x="f50" y="f51"/>
                    <a:pt x="f52" y="f53"/>
                    <a:pt x="f54" y="f55"/>
                  </a:cubicBezTo>
                  <a:cubicBezTo>
                    <a:pt x="f56" y="f57"/>
                    <a:pt x="f58" y="f59"/>
                    <a:pt x="f60" y="f61"/>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4" name="Freeform 38">
              <a:extLst>
                <a:ext uri="{FF2B5EF4-FFF2-40B4-BE49-F238E27FC236}">
                  <a16:creationId xmlns:a16="http://schemas.microsoft.com/office/drawing/2014/main" id="{1BB74CF7-CEEC-5F0A-8277-435C54AA3DD8}"/>
                </a:ext>
              </a:extLst>
            </p:cNvPr>
            <p:cNvSpPr/>
            <p:nvPr/>
          </p:nvSpPr>
          <p:spPr>
            <a:xfrm flipH="1">
              <a:off x="0" y="0"/>
              <a:ext cx="12191996" cy="1992139"/>
            </a:xfrm>
            <a:custGeom>
              <a:avLst/>
              <a:gdLst>
                <a:gd name="f0" fmla="val 10800000"/>
                <a:gd name="f1" fmla="val 5400000"/>
                <a:gd name="f2" fmla="val 180"/>
                <a:gd name="f3" fmla="val w"/>
                <a:gd name="f4" fmla="val h"/>
                <a:gd name="f5" fmla="val 0"/>
                <a:gd name="f6" fmla="val 12192000"/>
                <a:gd name="f7" fmla="val 1992138"/>
                <a:gd name="f8" fmla="val 2724271"/>
                <a:gd name="f9" fmla="val 1788442"/>
                <a:gd name="f10" fmla="val 1635403"/>
                <a:gd name="f11" fmla="val 12925"/>
                <a:gd name="f12" fmla="val 1134241"/>
                <a:gd name="f13" fmla="val 70905"/>
                <a:gd name="f14" fmla="val 647221"/>
                <a:gd name="f15" fmla="val 207817"/>
                <a:gd name="f16" fmla="val 178220"/>
                <a:gd name="f17" fmla="val 451207"/>
                <a:gd name="f18" fmla="val 552718"/>
                <a:gd name="f19" fmla="val 570885"/>
                <a:gd name="f20" fmla="val 195368"/>
                <a:gd name="f21" fmla="val 467800"/>
                <a:gd name="f22" fmla="val 765758"/>
                <a:gd name="f23" fmla="val 193094"/>
                <a:gd name="f24" fmla="val 1336955"/>
                <a:gd name="f25" fmla="val 73179"/>
                <a:gd name="f26" fmla="val 1934073"/>
                <a:gd name="f27" fmla="val 52850"/>
                <a:gd name="f28" fmla="val 2948304"/>
                <a:gd name="f29" fmla="val 18310"/>
                <a:gd name="f30" fmla="val 3878878"/>
                <a:gd name="f31" fmla="val 245747"/>
                <a:gd name="f32" fmla="val 4771217"/>
                <a:gd name="f33" fmla="val 543645"/>
                <a:gd name="f34" fmla="val 7236913"/>
                <a:gd name="f35" fmla="val 1366709"/>
                <a:gd name="f36" fmla="val 9199689"/>
                <a:gd name="f37" fmla="val 2357774"/>
                <a:gd name="f38" fmla="val 12007222"/>
                <a:gd name="f39" fmla="val 1856729"/>
                <a:gd name="f40" fmla="val 1820900"/>
                <a:gd name="f41" fmla="val 897073"/>
                <a:gd name="f42" fmla="val 12062517"/>
                <a:gd name="f43" fmla="val 950128"/>
                <a:gd name="f44" fmla="val 10950292"/>
                <a:gd name="f45" fmla="val 1376478"/>
                <a:gd name="f46" fmla="val 9595706"/>
                <a:gd name="f47" fmla="val 1466451"/>
                <a:gd name="f48" fmla="val 8435105"/>
                <a:gd name="f49" fmla="val 1266613"/>
                <a:gd name="f50" fmla="val 6618389"/>
                <a:gd name="f51" fmla="val 953715"/>
                <a:gd name="f52" fmla="val 4735222"/>
                <a:gd name="f53" fmla="val 130088"/>
                <a:gd name="f54" fmla="val 2948502"/>
                <a:gd name="f55" fmla="val 20548"/>
                <a:gd name="f56" fmla="+- 0 0 -90"/>
                <a:gd name="f57" fmla="*/ f3 1 12192000"/>
                <a:gd name="f58" fmla="*/ f4 1 1992138"/>
                <a:gd name="f59" fmla="+- f7 0 f5"/>
                <a:gd name="f60" fmla="+- f6 0 f5"/>
                <a:gd name="f61" fmla="*/ f56 f0 1"/>
                <a:gd name="f62" fmla="*/ f60 1 12192000"/>
                <a:gd name="f63" fmla="*/ f59 1 1992138"/>
                <a:gd name="f64" fmla="*/ 2724271 f60 1"/>
                <a:gd name="f65" fmla="*/ 0 f59 1"/>
                <a:gd name="f66" fmla="*/ 1788442 f60 1"/>
                <a:gd name="f67" fmla="*/ 1635403 f60 1"/>
                <a:gd name="f68" fmla="*/ 12925 f59 1"/>
                <a:gd name="f69" fmla="*/ 178220 f60 1"/>
                <a:gd name="f70" fmla="*/ 451207 f59 1"/>
                <a:gd name="f71" fmla="*/ 0 f60 1"/>
                <a:gd name="f72" fmla="*/ 552718 f59 1"/>
                <a:gd name="f73" fmla="*/ 570885 f59 1"/>
                <a:gd name="f74" fmla="*/ 195368 f60 1"/>
                <a:gd name="f75" fmla="*/ 467800 f59 1"/>
                <a:gd name="f76" fmla="*/ 1934073 f60 1"/>
                <a:gd name="f77" fmla="*/ 52850 f59 1"/>
                <a:gd name="f78" fmla="*/ 4771217 f60 1"/>
                <a:gd name="f79" fmla="*/ 543645 f59 1"/>
                <a:gd name="f80" fmla="*/ 12007222 f60 1"/>
                <a:gd name="f81" fmla="*/ 1856729 f59 1"/>
                <a:gd name="f82" fmla="*/ 12192000 f60 1"/>
                <a:gd name="f83" fmla="*/ 1820900 f59 1"/>
                <a:gd name="f84" fmla="*/ 897073 f59 1"/>
                <a:gd name="f85" fmla="*/ 12062517 f60 1"/>
                <a:gd name="f86" fmla="*/ 950128 f59 1"/>
                <a:gd name="f87" fmla="*/ 8435105 f60 1"/>
                <a:gd name="f88" fmla="*/ 1266613 f59 1"/>
                <a:gd name="f89" fmla="*/ 2948502 f60 1"/>
                <a:gd name="f90" fmla="*/ 20548 f59 1"/>
                <a:gd name="f91" fmla="*/ f61 1 f2"/>
                <a:gd name="f92" fmla="*/ f64 1 12192000"/>
                <a:gd name="f93" fmla="*/ f65 1 1992138"/>
                <a:gd name="f94" fmla="*/ f66 1 12192000"/>
                <a:gd name="f95" fmla="*/ f67 1 12192000"/>
                <a:gd name="f96" fmla="*/ f68 1 1992138"/>
                <a:gd name="f97" fmla="*/ f69 1 12192000"/>
                <a:gd name="f98" fmla="*/ f70 1 1992138"/>
                <a:gd name="f99" fmla="*/ f71 1 12192000"/>
                <a:gd name="f100" fmla="*/ f72 1 1992138"/>
                <a:gd name="f101" fmla="*/ f73 1 1992138"/>
                <a:gd name="f102" fmla="*/ f74 1 12192000"/>
                <a:gd name="f103" fmla="*/ f75 1 1992138"/>
                <a:gd name="f104" fmla="*/ f76 1 12192000"/>
                <a:gd name="f105" fmla="*/ f77 1 1992138"/>
                <a:gd name="f106" fmla="*/ f78 1 12192000"/>
                <a:gd name="f107" fmla="*/ f79 1 1992138"/>
                <a:gd name="f108" fmla="*/ f80 1 12192000"/>
                <a:gd name="f109" fmla="*/ f81 1 1992138"/>
                <a:gd name="f110" fmla="*/ f82 1 12192000"/>
                <a:gd name="f111" fmla="*/ f83 1 1992138"/>
                <a:gd name="f112" fmla="*/ f84 1 1992138"/>
                <a:gd name="f113" fmla="*/ f85 1 12192000"/>
                <a:gd name="f114" fmla="*/ f86 1 1992138"/>
                <a:gd name="f115" fmla="*/ f87 1 12192000"/>
                <a:gd name="f116" fmla="*/ f88 1 1992138"/>
                <a:gd name="f117" fmla="*/ f89 1 12192000"/>
                <a:gd name="f118" fmla="*/ f90 1 1992138"/>
                <a:gd name="f119" fmla="*/ f5 1 f62"/>
                <a:gd name="f120" fmla="*/ f6 1 f62"/>
                <a:gd name="f121" fmla="*/ f5 1 f63"/>
                <a:gd name="f122" fmla="*/ f7 1 f63"/>
                <a:gd name="f123" fmla="+- f91 0 f1"/>
                <a:gd name="f124" fmla="*/ f92 1 f62"/>
                <a:gd name="f125" fmla="*/ f93 1 f63"/>
                <a:gd name="f126" fmla="*/ f94 1 f62"/>
                <a:gd name="f127" fmla="*/ f95 1 f62"/>
                <a:gd name="f128" fmla="*/ f96 1 f63"/>
                <a:gd name="f129" fmla="*/ f97 1 f62"/>
                <a:gd name="f130" fmla="*/ f98 1 f63"/>
                <a:gd name="f131" fmla="*/ f99 1 f62"/>
                <a:gd name="f132" fmla="*/ f100 1 f63"/>
                <a:gd name="f133" fmla="*/ f101 1 f63"/>
                <a:gd name="f134" fmla="*/ f102 1 f62"/>
                <a:gd name="f135" fmla="*/ f103 1 f63"/>
                <a:gd name="f136" fmla="*/ f104 1 f62"/>
                <a:gd name="f137" fmla="*/ f105 1 f63"/>
                <a:gd name="f138" fmla="*/ f106 1 f62"/>
                <a:gd name="f139" fmla="*/ f107 1 f63"/>
                <a:gd name="f140" fmla="*/ f108 1 f62"/>
                <a:gd name="f141" fmla="*/ f109 1 f63"/>
                <a:gd name="f142" fmla="*/ f110 1 f62"/>
                <a:gd name="f143" fmla="*/ f111 1 f63"/>
                <a:gd name="f144" fmla="*/ f112 1 f63"/>
                <a:gd name="f145" fmla="*/ f113 1 f62"/>
                <a:gd name="f146" fmla="*/ f114 1 f63"/>
                <a:gd name="f147" fmla="*/ f115 1 f62"/>
                <a:gd name="f148" fmla="*/ f116 1 f63"/>
                <a:gd name="f149" fmla="*/ f117 1 f62"/>
                <a:gd name="f150" fmla="*/ f118 1 f63"/>
                <a:gd name="f151" fmla="*/ f119 f57 1"/>
                <a:gd name="f152" fmla="*/ f120 f57 1"/>
                <a:gd name="f153" fmla="*/ f122 f58 1"/>
                <a:gd name="f154" fmla="*/ f121 f58 1"/>
                <a:gd name="f155" fmla="*/ f124 f57 1"/>
                <a:gd name="f156" fmla="*/ f125 f58 1"/>
                <a:gd name="f157" fmla="*/ f126 f57 1"/>
                <a:gd name="f158" fmla="*/ f127 f57 1"/>
                <a:gd name="f159" fmla="*/ f128 f58 1"/>
                <a:gd name="f160" fmla="*/ f129 f57 1"/>
                <a:gd name="f161" fmla="*/ f130 f58 1"/>
                <a:gd name="f162" fmla="*/ f131 f57 1"/>
                <a:gd name="f163" fmla="*/ f132 f58 1"/>
                <a:gd name="f164" fmla="*/ f133 f58 1"/>
                <a:gd name="f165" fmla="*/ f134 f57 1"/>
                <a:gd name="f166" fmla="*/ f135 f58 1"/>
                <a:gd name="f167" fmla="*/ f136 f57 1"/>
                <a:gd name="f168" fmla="*/ f137 f58 1"/>
                <a:gd name="f169" fmla="*/ f138 f57 1"/>
                <a:gd name="f170" fmla="*/ f139 f58 1"/>
                <a:gd name="f171" fmla="*/ f140 f57 1"/>
                <a:gd name="f172" fmla="*/ f141 f58 1"/>
                <a:gd name="f173" fmla="*/ f142 f57 1"/>
                <a:gd name="f174" fmla="*/ f143 f58 1"/>
                <a:gd name="f175" fmla="*/ f144 f58 1"/>
                <a:gd name="f176" fmla="*/ f145 f57 1"/>
                <a:gd name="f177" fmla="*/ f146 f58 1"/>
                <a:gd name="f178" fmla="*/ f147 f57 1"/>
                <a:gd name="f179" fmla="*/ f148 f58 1"/>
                <a:gd name="f180" fmla="*/ f149 f57 1"/>
                <a:gd name="f181" fmla="*/ f150 f58 1"/>
              </a:gdLst>
              <a:ahLst/>
              <a:cxnLst>
                <a:cxn ang="3cd4">
                  <a:pos x="hc" y="t"/>
                </a:cxn>
                <a:cxn ang="0">
                  <a:pos x="r" y="vc"/>
                </a:cxn>
                <a:cxn ang="cd4">
                  <a:pos x="hc" y="b"/>
                </a:cxn>
                <a:cxn ang="cd2">
                  <a:pos x="l" y="vc"/>
                </a:cxn>
                <a:cxn ang="f123">
                  <a:pos x="f155" y="f156"/>
                </a:cxn>
                <a:cxn ang="f123">
                  <a:pos x="f157" y="f156"/>
                </a:cxn>
                <a:cxn ang="f123">
                  <a:pos x="f158" y="f159"/>
                </a:cxn>
                <a:cxn ang="f123">
                  <a:pos x="f160" y="f161"/>
                </a:cxn>
                <a:cxn ang="f123">
                  <a:pos x="f162" y="f163"/>
                </a:cxn>
                <a:cxn ang="f123">
                  <a:pos x="f162" y="f164"/>
                </a:cxn>
                <a:cxn ang="f123">
                  <a:pos x="f165" y="f166"/>
                </a:cxn>
                <a:cxn ang="f123">
                  <a:pos x="f167" y="f168"/>
                </a:cxn>
                <a:cxn ang="f123">
                  <a:pos x="f169" y="f170"/>
                </a:cxn>
                <a:cxn ang="f123">
                  <a:pos x="f171" y="f172"/>
                </a:cxn>
                <a:cxn ang="f123">
                  <a:pos x="f173" y="f174"/>
                </a:cxn>
                <a:cxn ang="f123">
                  <a:pos x="f173" y="f175"/>
                </a:cxn>
                <a:cxn ang="f123">
                  <a:pos x="f176" y="f177"/>
                </a:cxn>
                <a:cxn ang="f123">
                  <a:pos x="f178" y="f179"/>
                </a:cxn>
                <a:cxn ang="f123">
                  <a:pos x="f180" y="f181"/>
                </a:cxn>
              </a:cxnLst>
              <a:rect l="f151" t="f154" r="f152" b="f153"/>
              <a:pathLst>
                <a:path w="12192000" h="1992138">
                  <a:moveTo>
                    <a:pt x="f8" y="f5"/>
                  </a:moveTo>
                  <a:lnTo>
                    <a:pt x="f9" y="f5"/>
                  </a:lnTo>
                  <a:lnTo>
                    <a:pt x="f10" y="f11"/>
                  </a:lnTo>
                  <a:cubicBezTo>
                    <a:pt x="f12" y="f13"/>
                    <a:pt x="f14" y="f15"/>
                    <a:pt x="f16" y="f17"/>
                  </a:cubicBezTo>
                  <a:lnTo>
                    <a:pt x="f5" y="f18"/>
                  </a:lnTo>
                  <a:lnTo>
                    <a:pt x="f5" y="f19"/>
                  </a:lnTo>
                  <a:lnTo>
                    <a:pt x="f20" y="f21"/>
                  </a:lnTo>
                  <a:cubicBezTo>
                    <a:pt x="f22" y="f23"/>
                    <a:pt x="f24" y="f25"/>
                    <a:pt x="f26" y="f27"/>
                  </a:cubicBezTo>
                  <a:cubicBezTo>
                    <a:pt x="f28" y="f29"/>
                    <a:pt x="f30" y="f31"/>
                    <a:pt x="f32" y="f33"/>
                  </a:cubicBezTo>
                  <a:cubicBezTo>
                    <a:pt x="f34" y="f35"/>
                    <a:pt x="f36" y="f37"/>
                    <a:pt x="f38" y="f39"/>
                  </a:cubicBezTo>
                  <a:lnTo>
                    <a:pt x="f6" y="f40"/>
                  </a:lnTo>
                  <a:lnTo>
                    <a:pt x="f6" y="f41"/>
                  </a:lnTo>
                  <a:lnTo>
                    <a:pt x="f42" y="f43"/>
                  </a:lnTo>
                  <a:cubicBezTo>
                    <a:pt x="f44" y="f45"/>
                    <a:pt x="f46" y="f47"/>
                    <a:pt x="f48" y="f49"/>
                  </a:cubicBezTo>
                  <a:cubicBezTo>
                    <a:pt x="f50" y="f51"/>
                    <a:pt x="f52" y="f53"/>
                    <a:pt x="f54" y="f55"/>
                  </a:cubicBezTo>
                  <a:close/>
                </a:path>
              </a:pathLst>
            </a:custGeom>
            <a:solidFill>
              <a:srgbClr val="00498F"/>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sp>
        <p:nvSpPr>
          <p:cNvPr id="5" name="Rectangle 3">
            <a:extLst>
              <a:ext uri="{FF2B5EF4-FFF2-40B4-BE49-F238E27FC236}">
                <a16:creationId xmlns:a16="http://schemas.microsoft.com/office/drawing/2014/main" id="{B6BE404A-CCF9-F752-CA6F-49A39FA9BBED}"/>
              </a:ext>
            </a:extLst>
          </p:cNvPr>
          <p:cNvSpPr/>
          <p:nvPr/>
        </p:nvSpPr>
        <p:spPr>
          <a:xfrm>
            <a:off x="902366" y="1517694"/>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Content Placeholder 2">
            <a:extLst>
              <a:ext uri="{FF2B5EF4-FFF2-40B4-BE49-F238E27FC236}">
                <a16:creationId xmlns:a16="http://schemas.microsoft.com/office/drawing/2014/main" id="{59F54B5B-D966-7786-9810-0334BE3163E3}"/>
              </a:ext>
            </a:extLst>
          </p:cNvPr>
          <p:cNvSpPr txBox="1">
            <a:spLocks noGrp="1"/>
          </p:cNvSpPr>
          <p:nvPr>
            <p:ph idx="4294967295"/>
          </p:nvPr>
        </p:nvSpPr>
        <p:spPr>
          <a:xfrm>
            <a:off x="1219197" y="3429001"/>
            <a:ext cx="5582649" cy="1413561"/>
          </a:xfrm>
        </p:spPr>
        <p:txBody>
          <a:bodyPr/>
          <a:lstStyle>
            <a:lvl1pPr marL="0" indent="0">
              <a:buNone/>
              <a:defRPr sz="2000"/>
            </a:lvl1pPr>
          </a:lstStyle>
          <a:p>
            <a:pPr lvl="0"/>
            <a:r>
              <a:rPr lang="en-US"/>
              <a:t>Click to edit Master text styles</a:t>
            </a:r>
          </a:p>
        </p:txBody>
      </p:sp>
      <p:sp>
        <p:nvSpPr>
          <p:cNvPr id="7" name="Title 11">
            <a:extLst>
              <a:ext uri="{FF2B5EF4-FFF2-40B4-BE49-F238E27FC236}">
                <a16:creationId xmlns:a16="http://schemas.microsoft.com/office/drawing/2014/main" id="{CB8F939D-0428-96B8-934C-6C8631B920DE}"/>
              </a:ext>
            </a:extLst>
          </p:cNvPr>
          <p:cNvSpPr txBox="1">
            <a:spLocks noGrp="1"/>
          </p:cNvSpPr>
          <p:nvPr>
            <p:ph type="title"/>
          </p:nvPr>
        </p:nvSpPr>
        <p:spPr>
          <a:xfrm>
            <a:off x="1219197" y="1887486"/>
            <a:ext cx="5582649" cy="1078260"/>
          </a:xfrm>
        </p:spPr>
        <p:txBody>
          <a:bodyPr/>
          <a:lstStyle>
            <a:lvl1pPr>
              <a:defRPr sz="6000"/>
            </a:lvl1pPr>
          </a:lstStyle>
          <a:p>
            <a:pPr lvl="0"/>
            <a:r>
              <a:rPr lang="en-US"/>
              <a:t>Thank you</a:t>
            </a:r>
          </a:p>
        </p:txBody>
      </p:sp>
      <p:pic>
        <p:nvPicPr>
          <p:cNvPr id="8" name="Picture 32">
            <a:extLst>
              <a:ext uri="{FF2B5EF4-FFF2-40B4-BE49-F238E27FC236}">
                <a16:creationId xmlns:a16="http://schemas.microsoft.com/office/drawing/2014/main" id="{045DC204-0812-958E-9EF4-0A84725E4102}"/>
              </a:ext>
            </a:extLst>
          </p:cNvPr>
          <p:cNvPicPr>
            <a:picLocks noChangeAspect="1"/>
          </p:cNvPicPr>
          <p:nvPr/>
        </p:nvPicPr>
        <p:blipFill>
          <a:blip r:embed="rId2"/>
          <a:srcRect/>
          <a:stretch>
            <a:fillRect/>
          </a:stretch>
        </p:blipFill>
        <p:spPr>
          <a:xfrm>
            <a:off x="902366" y="228371"/>
            <a:ext cx="2025313" cy="911940"/>
          </a:xfrm>
          <a:prstGeom prst="rect">
            <a:avLst/>
          </a:prstGeom>
          <a:noFill/>
          <a:ln cap="flat">
            <a:noFill/>
          </a:ln>
        </p:spPr>
      </p:pic>
      <p:sp>
        <p:nvSpPr>
          <p:cNvPr id="9" name="Picture Placeholder 16">
            <a:extLst>
              <a:ext uri="{FF2B5EF4-FFF2-40B4-BE49-F238E27FC236}">
                <a16:creationId xmlns:a16="http://schemas.microsoft.com/office/drawing/2014/main" id="{565D14B9-ACA1-DDCE-3D91-56AC2CF5328D}"/>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spTree>
    <p:extLst>
      <p:ext uri="{BB962C8B-B14F-4D97-AF65-F5344CB8AC3E}">
        <p14:creationId xmlns:p14="http://schemas.microsoft.com/office/powerpoint/2010/main" val="4251678962"/>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2" name="Slide Number Placeholder 4">
            <a:extLst>
              <a:ext uri="{FF2B5EF4-FFF2-40B4-BE49-F238E27FC236}">
                <a16:creationId xmlns:a16="http://schemas.microsoft.com/office/drawing/2014/main" id="{907616C0-EF4E-0EC4-87C4-DF7C487F6C3B}"/>
              </a:ext>
            </a:extLst>
          </p:cNvPr>
          <p:cNvSpPr txBox="1">
            <a:spLocks noGrp="1"/>
          </p:cNvSpPr>
          <p:nvPr>
            <p:ph type="sldNum" sz="quarter" idx="8"/>
          </p:nvPr>
        </p:nvSpPr>
        <p:spPr/>
        <p:txBody>
          <a:bodyPr/>
          <a:lstStyle>
            <a:lvl1pPr>
              <a:defRPr/>
            </a:lvl1pPr>
          </a:lstStyle>
          <a:p>
            <a:pPr lvl="0"/>
            <a:fld id="{999D1E26-2E1B-486F-867D-83433C599F20}" type="slidenum">
              <a:t>‹#›</a:t>
            </a:fld>
            <a:endParaRPr lang="en-US"/>
          </a:p>
        </p:txBody>
      </p:sp>
      <p:cxnSp>
        <p:nvCxnSpPr>
          <p:cNvPr id="3" name="Straight Connector 3">
            <a:extLst>
              <a:ext uri="{FF2B5EF4-FFF2-40B4-BE49-F238E27FC236}">
                <a16:creationId xmlns:a16="http://schemas.microsoft.com/office/drawing/2014/main" id="{638CAD0A-721B-7279-3F4F-5D1839B4CC07}"/>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4" name="Footer Placeholder 1">
            <a:extLst>
              <a:ext uri="{FF2B5EF4-FFF2-40B4-BE49-F238E27FC236}">
                <a16:creationId xmlns:a16="http://schemas.microsoft.com/office/drawing/2014/main" id="{11E99D65-97ED-0E5A-B9EC-0F59EDF2FF73}"/>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5" name="Group 5">
            <a:extLst>
              <a:ext uri="{FF2B5EF4-FFF2-40B4-BE49-F238E27FC236}">
                <a16:creationId xmlns:a16="http://schemas.microsoft.com/office/drawing/2014/main" id="{4C8CA81A-BE48-E215-1180-A8CF824C8544}"/>
              </a:ext>
            </a:extLst>
          </p:cNvPr>
          <p:cNvGrpSpPr/>
          <p:nvPr/>
        </p:nvGrpSpPr>
        <p:grpSpPr>
          <a:xfrm>
            <a:off x="7191545" y="0"/>
            <a:ext cx="5000460" cy="1425988"/>
            <a:chOff x="7191545" y="0"/>
            <a:chExt cx="5000460" cy="1425988"/>
          </a:xfrm>
        </p:grpSpPr>
        <p:pic>
          <p:nvPicPr>
            <p:cNvPr id="6" name="Picture 6">
              <a:extLst>
                <a:ext uri="{FF2B5EF4-FFF2-40B4-BE49-F238E27FC236}">
                  <a16:creationId xmlns:a16="http://schemas.microsoft.com/office/drawing/2014/main" id="{9AB76A4B-9471-D670-CE3E-13BBD53FFCAA}"/>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7" name="Group 7">
              <a:extLst>
                <a:ext uri="{FF2B5EF4-FFF2-40B4-BE49-F238E27FC236}">
                  <a16:creationId xmlns:a16="http://schemas.microsoft.com/office/drawing/2014/main" id="{69B3289D-98B7-C7A9-356D-E53D153F2CAC}"/>
                </a:ext>
              </a:extLst>
            </p:cNvPr>
            <p:cNvGrpSpPr/>
            <p:nvPr/>
          </p:nvGrpSpPr>
          <p:grpSpPr>
            <a:xfrm>
              <a:off x="7191545" y="0"/>
              <a:ext cx="5000460" cy="1425988"/>
              <a:chOff x="7191545" y="0"/>
              <a:chExt cx="5000460" cy="1425988"/>
            </a:xfrm>
          </p:grpSpPr>
          <p:sp>
            <p:nvSpPr>
              <p:cNvPr id="8" name="Freeform 8">
                <a:extLst>
                  <a:ext uri="{FF2B5EF4-FFF2-40B4-BE49-F238E27FC236}">
                    <a16:creationId xmlns:a16="http://schemas.microsoft.com/office/drawing/2014/main" id="{ADE81C14-65A0-3F77-57F3-5C6606679FEE}"/>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9" name="Freeform 9">
                <a:extLst>
                  <a:ext uri="{FF2B5EF4-FFF2-40B4-BE49-F238E27FC236}">
                    <a16:creationId xmlns:a16="http://schemas.microsoft.com/office/drawing/2014/main" id="{7D720538-0198-9717-CE88-0D4C3A0F8679}"/>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Tree>
    <p:extLst>
      <p:ext uri="{BB962C8B-B14F-4D97-AF65-F5344CB8AC3E}">
        <p14:creationId xmlns:p14="http://schemas.microsoft.com/office/powerpoint/2010/main" val="4061406849"/>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10_Cover">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59F25CB4-AC0B-09F5-F2F0-180DA100DD8C}"/>
              </a:ext>
            </a:extLst>
          </p:cNvPr>
          <p:cNvSpPr/>
          <p:nvPr/>
        </p:nvSpPr>
        <p:spPr>
          <a:xfrm>
            <a:off x="902366" y="1294416"/>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E781D5F4-8AE3-62A1-58DF-47275865DD8B}"/>
              </a:ext>
            </a:extLst>
          </p:cNvPr>
          <p:cNvSpPr txBox="1">
            <a:spLocks noGrp="1"/>
          </p:cNvSpPr>
          <p:nvPr>
            <p:ph type="title"/>
          </p:nvPr>
        </p:nvSpPr>
        <p:spPr>
          <a:xfrm>
            <a:off x="1413314" y="1561328"/>
            <a:ext cx="5194432" cy="1826340"/>
          </a:xfrm>
        </p:spPr>
        <p:txBody>
          <a:bodyPr anchor="b"/>
          <a:lstStyle>
            <a:lvl1pPr>
              <a:defRPr sz="4000">
                <a:solidFill>
                  <a:srgbClr val="444C55"/>
                </a:solidFill>
              </a:defRPr>
            </a:lvl1pPr>
          </a:lstStyle>
          <a:p>
            <a:pPr lvl="0"/>
            <a:r>
              <a:rPr lang="en-US"/>
              <a:t>Click to edit Master title style</a:t>
            </a:r>
          </a:p>
        </p:txBody>
      </p:sp>
      <p:sp>
        <p:nvSpPr>
          <p:cNvPr id="4" name="Subtitle 2">
            <a:extLst>
              <a:ext uri="{FF2B5EF4-FFF2-40B4-BE49-F238E27FC236}">
                <a16:creationId xmlns:a16="http://schemas.microsoft.com/office/drawing/2014/main" id="{F53C70B8-711F-2895-A9AB-E1BCED89BCC0}"/>
              </a:ext>
            </a:extLst>
          </p:cNvPr>
          <p:cNvSpPr txBox="1">
            <a:spLocks noGrp="1"/>
          </p:cNvSpPr>
          <p:nvPr>
            <p:ph type="subTitle" idx="4294967295"/>
          </p:nvPr>
        </p:nvSpPr>
        <p:spPr>
          <a:xfrm>
            <a:off x="1413314" y="3766861"/>
            <a:ext cx="5194432" cy="986564"/>
          </a:xfrm>
        </p:spPr>
        <p:txBody>
          <a:bodyPr/>
          <a:lstStyle>
            <a:lvl1pPr marL="0" indent="0">
              <a:buNone/>
              <a:defRPr/>
            </a:lvl1pPr>
          </a:lstStyle>
          <a:p>
            <a:pPr lvl="0"/>
            <a:r>
              <a:rPr lang="en-US"/>
              <a:t>Click to edit Master subtitle style</a:t>
            </a:r>
          </a:p>
        </p:txBody>
      </p:sp>
      <p:sp>
        <p:nvSpPr>
          <p:cNvPr id="5" name="Picture Placeholder 21">
            <a:extLst>
              <a:ext uri="{FF2B5EF4-FFF2-40B4-BE49-F238E27FC236}">
                <a16:creationId xmlns:a16="http://schemas.microsoft.com/office/drawing/2014/main" id="{0498C028-605B-8821-D093-D14FD785DA29}"/>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grpSp>
        <p:nvGrpSpPr>
          <p:cNvPr id="6" name="Group 26">
            <a:extLst>
              <a:ext uri="{FF2B5EF4-FFF2-40B4-BE49-F238E27FC236}">
                <a16:creationId xmlns:a16="http://schemas.microsoft.com/office/drawing/2014/main" id="{2FAAE7FB-629E-69EB-0D6D-6C1F1F45F9C4}"/>
              </a:ext>
            </a:extLst>
          </p:cNvPr>
          <p:cNvGrpSpPr/>
          <p:nvPr/>
        </p:nvGrpSpPr>
        <p:grpSpPr>
          <a:xfrm>
            <a:off x="0" y="5020349"/>
            <a:ext cx="12191996" cy="1837651"/>
            <a:chOff x="0" y="5020348"/>
            <a:chExt cx="12191996" cy="1837651"/>
          </a:xfrm>
        </p:grpSpPr>
        <p:sp>
          <p:nvSpPr>
            <p:cNvPr id="7" name="Freeform 27">
              <a:extLst>
                <a:ext uri="{FF2B5EF4-FFF2-40B4-BE49-F238E27FC236}">
                  <a16:creationId xmlns:a16="http://schemas.microsoft.com/office/drawing/2014/main" id="{4BCA3CF4-DF8A-C50C-1292-F2892F675351}"/>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8" name="Freeform 28">
              <a:extLst>
                <a:ext uri="{FF2B5EF4-FFF2-40B4-BE49-F238E27FC236}">
                  <a16:creationId xmlns:a16="http://schemas.microsoft.com/office/drawing/2014/main" id="{457564B9-02BF-13E8-0877-8DAEED87A186}"/>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9" name="Picture 29">
              <a:extLst>
                <a:ext uri="{FF2B5EF4-FFF2-40B4-BE49-F238E27FC236}">
                  <a16:creationId xmlns:a16="http://schemas.microsoft.com/office/drawing/2014/main" id="{11163016-F66E-1F8A-4CF7-BBF7DEA4F56B}"/>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4076783408"/>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10_Divider">
    <p:spTree>
      <p:nvGrpSpPr>
        <p:cNvPr id="1" name=""/>
        <p:cNvGrpSpPr/>
        <p:nvPr/>
      </p:nvGrpSpPr>
      <p:grpSpPr>
        <a:xfrm>
          <a:off x="0" y="0"/>
          <a:ext cx="0" cy="0"/>
          <a:chOff x="0" y="0"/>
          <a:chExt cx="0" cy="0"/>
        </a:xfrm>
      </p:grpSpPr>
      <p:grpSp>
        <p:nvGrpSpPr>
          <p:cNvPr id="2" name="Group 9">
            <a:extLst>
              <a:ext uri="{FF2B5EF4-FFF2-40B4-BE49-F238E27FC236}">
                <a16:creationId xmlns:a16="http://schemas.microsoft.com/office/drawing/2014/main" id="{27CB72BF-2CA1-31F0-EE86-C148AC1F570E}"/>
              </a:ext>
            </a:extLst>
          </p:cNvPr>
          <p:cNvGrpSpPr/>
          <p:nvPr/>
        </p:nvGrpSpPr>
        <p:grpSpPr>
          <a:xfrm>
            <a:off x="0" y="5020349"/>
            <a:ext cx="12191996" cy="1837651"/>
            <a:chOff x="0" y="5020348"/>
            <a:chExt cx="12191996" cy="1837651"/>
          </a:xfrm>
        </p:grpSpPr>
        <p:sp>
          <p:nvSpPr>
            <p:cNvPr id="3" name="Freeform 25">
              <a:extLst>
                <a:ext uri="{FF2B5EF4-FFF2-40B4-BE49-F238E27FC236}">
                  <a16:creationId xmlns:a16="http://schemas.microsoft.com/office/drawing/2014/main" id="{B85593B8-55C4-D82C-A8D4-490F5C90C586}"/>
                </a:ext>
              </a:extLst>
            </p:cNvPr>
            <p:cNvSpPr/>
            <p:nvPr/>
          </p:nvSpPr>
          <p:spPr>
            <a:xfrm>
              <a:off x="0" y="5100267"/>
              <a:ext cx="7111371" cy="1757732"/>
            </a:xfrm>
            <a:custGeom>
              <a:avLst/>
              <a:gdLst>
                <a:gd name="f0" fmla="val 10800000"/>
                <a:gd name="f1" fmla="val 5400000"/>
                <a:gd name="f2" fmla="val 180"/>
                <a:gd name="f3" fmla="val w"/>
                <a:gd name="f4" fmla="val h"/>
                <a:gd name="f5" fmla="val 0"/>
                <a:gd name="f6" fmla="val 7111369"/>
                <a:gd name="f7" fmla="val 1757730"/>
                <a:gd name="f8" fmla="val 772954"/>
                <a:gd name="f9" fmla="val 2778"/>
                <a:gd name="f10" fmla="val 1769038"/>
                <a:gd name="f11" fmla="val 30799"/>
                <a:gd name="f12" fmla="val 2696750"/>
                <a:gd name="f13" fmla="val 267531"/>
                <a:gd name="f14" fmla="val 3590934"/>
                <a:gd name="f15" fmla="val 566046"/>
                <a:gd name="f16" fmla="val 4684008"/>
                <a:gd name="f17" fmla="val 930921"/>
                <a:gd name="f18" fmla="val 5690778"/>
                <a:gd name="f19" fmla="val 1324625"/>
                <a:gd name="f20" fmla="val 6700767"/>
                <a:gd name="f21" fmla="val 1636882"/>
                <a:gd name="f22" fmla="val 25690"/>
                <a:gd name="f23" fmla="val 2197"/>
                <a:gd name="f24" fmla="val 25414"/>
                <a:gd name="f25" fmla="val 114653"/>
                <a:gd name="f26" fmla="val 14905"/>
                <a:gd name="f27" fmla="val 227801"/>
                <a:gd name="f28" fmla="val 7857"/>
                <a:gd name="f29" fmla="val 341773"/>
                <a:gd name="f30" fmla="val 3976"/>
                <a:gd name="f31" fmla="val 486963"/>
                <a:gd name="f32" fmla="+- 0 0 968"/>
                <a:gd name="f33" fmla="val 630656"/>
                <a:gd name="f34" fmla="+- 0 0 1224"/>
                <a:gd name="f35" fmla="+- 0 0 -90"/>
                <a:gd name="f36" fmla="*/ f3 1 7111369"/>
                <a:gd name="f37" fmla="*/ f4 1 1757730"/>
                <a:gd name="f38" fmla="+- f7 0 f5"/>
                <a:gd name="f39" fmla="+- f6 0 f5"/>
                <a:gd name="f40" fmla="*/ f35 f0 1"/>
                <a:gd name="f41" fmla="*/ f39 1 7111369"/>
                <a:gd name="f42" fmla="*/ f38 1 1757730"/>
                <a:gd name="f43" fmla="*/ 772954 f39 1"/>
                <a:gd name="f44" fmla="*/ 2778 f38 1"/>
                <a:gd name="f45" fmla="*/ 3590934 f39 1"/>
                <a:gd name="f46" fmla="*/ 566046 f38 1"/>
                <a:gd name="f47" fmla="*/ 6700767 f39 1"/>
                <a:gd name="f48" fmla="*/ 1636882 f38 1"/>
                <a:gd name="f49" fmla="*/ 7111369 f39 1"/>
                <a:gd name="f50" fmla="*/ 1757730 f38 1"/>
                <a:gd name="f51" fmla="*/ 0 f39 1"/>
                <a:gd name="f52" fmla="*/ 25690 f38 1"/>
                <a:gd name="f53" fmla="*/ 2197 f39 1"/>
                <a:gd name="f54" fmla="*/ 25414 f38 1"/>
                <a:gd name="f55" fmla="*/ 341773 f39 1"/>
                <a:gd name="f56" fmla="*/ 3976 f38 1"/>
                <a:gd name="f57" fmla="*/ f40 1 f2"/>
                <a:gd name="f58" fmla="*/ f43 1 7111369"/>
                <a:gd name="f59" fmla="*/ f44 1 1757730"/>
                <a:gd name="f60" fmla="*/ f45 1 7111369"/>
                <a:gd name="f61" fmla="*/ f46 1 1757730"/>
                <a:gd name="f62" fmla="*/ f47 1 7111369"/>
                <a:gd name="f63" fmla="*/ f48 1 1757730"/>
                <a:gd name="f64" fmla="*/ f49 1 7111369"/>
                <a:gd name="f65" fmla="*/ f50 1 1757730"/>
                <a:gd name="f66" fmla="*/ f51 1 7111369"/>
                <a:gd name="f67" fmla="*/ f52 1 1757730"/>
                <a:gd name="f68" fmla="*/ f53 1 7111369"/>
                <a:gd name="f69" fmla="*/ f54 1 1757730"/>
                <a:gd name="f70" fmla="*/ f55 1 7111369"/>
                <a:gd name="f71" fmla="*/ f56 1 1757730"/>
                <a:gd name="f72" fmla="*/ f5 1 f41"/>
                <a:gd name="f73" fmla="*/ f6 1 f41"/>
                <a:gd name="f74" fmla="*/ f5 1 f42"/>
                <a:gd name="f75" fmla="*/ f7 1 f42"/>
                <a:gd name="f76" fmla="+- f57 0 f1"/>
                <a:gd name="f77" fmla="*/ f58 1 f41"/>
                <a:gd name="f78" fmla="*/ f59 1 f42"/>
                <a:gd name="f79" fmla="*/ f60 1 f41"/>
                <a:gd name="f80" fmla="*/ f61 1 f42"/>
                <a:gd name="f81" fmla="*/ f62 1 f41"/>
                <a:gd name="f82" fmla="*/ f63 1 f42"/>
                <a:gd name="f83" fmla="*/ f64 1 f41"/>
                <a:gd name="f84" fmla="*/ f65 1 f42"/>
                <a:gd name="f85" fmla="*/ f66 1 f41"/>
                <a:gd name="f86" fmla="*/ f67 1 f42"/>
                <a:gd name="f87" fmla="*/ f68 1 f41"/>
                <a:gd name="f88" fmla="*/ f69 1 f42"/>
                <a:gd name="f89" fmla="*/ f70 1 f41"/>
                <a:gd name="f90" fmla="*/ f71 1 f42"/>
                <a:gd name="f91" fmla="*/ f72 f36 1"/>
                <a:gd name="f92" fmla="*/ f73 f36 1"/>
                <a:gd name="f93" fmla="*/ f75 f37 1"/>
                <a:gd name="f94" fmla="*/ f74 f37 1"/>
                <a:gd name="f95" fmla="*/ f77 f36 1"/>
                <a:gd name="f96" fmla="*/ f78 f37 1"/>
                <a:gd name="f97" fmla="*/ f79 f36 1"/>
                <a:gd name="f98" fmla="*/ f80 f37 1"/>
                <a:gd name="f99" fmla="*/ f81 f36 1"/>
                <a:gd name="f100" fmla="*/ f82 f37 1"/>
                <a:gd name="f101" fmla="*/ f83 f36 1"/>
                <a:gd name="f102" fmla="*/ f84 f37 1"/>
                <a:gd name="f103" fmla="*/ f85 f36 1"/>
                <a:gd name="f104" fmla="*/ f86 f37 1"/>
                <a:gd name="f105" fmla="*/ f87 f36 1"/>
                <a:gd name="f106" fmla="*/ f88 f37 1"/>
                <a:gd name="f107" fmla="*/ f89 f36 1"/>
                <a:gd name="f108" fmla="*/ f90 f37 1"/>
              </a:gdLst>
              <a:ahLst/>
              <a:cxnLst>
                <a:cxn ang="3cd4">
                  <a:pos x="hc" y="t"/>
                </a:cxn>
                <a:cxn ang="0">
                  <a:pos x="r" y="vc"/>
                </a:cxn>
                <a:cxn ang="cd4">
                  <a:pos x="hc" y="b"/>
                </a:cxn>
                <a:cxn ang="cd2">
                  <a:pos x="l" y="vc"/>
                </a:cxn>
                <a:cxn ang="f76">
                  <a:pos x="f95" y="f96"/>
                </a:cxn>
                <a:cxn ang="f76">
                  <a:pos x="f97" y="f98"/>
                </a:cxn>
                <a:cxn ang="f76">
                  <a:pos x="f99" y="f100"/>
                </a:cxn>
                <a:cxn ang="f76">
                  <a:pos x="f101" y="f102"/>
                </a:cxn>
                <a:cxn ang="f76">
                  <a:pos x="f103" y="f102"/>
                </a:cxn>
                <a:cxn ang="f76">
                  <a:pos x="f103" y="f104"/>
                </a:cxn>
                <a:cxn ang="f76">
                  <a:pos x="f105" y="f106"/>
                </a:cxn>
                <a:cxn ang="f76">
                  <a:pos x="f107" y="f108"/>
                </a:cxn>
                <a:cxn ang="f76">
                  <a:pos x="f95" y="f96"/>
                </a:cxn>
              </a:cxnLst>
              <a:rect l="f91" t="f94" r="f92" b="f93"/>
              <a:pathLst>
                <a:path w="7111369" h="1757730">
                  <a:moveTo>
                    <a:pt x="f8" y="f9"/>
                  </a:moveTo>
                  <a:cubicBezTo>
                    <a:pt x="f10" y="f11"/>
                    <a:pt x="f12" y="f13"/>
                    <a:pt x="f14" y="f15"/>
                  </a:cubicBezTo>
                  <a:cubicBezTo>
                    <a:pt x="f16" y="f17"/>
                    <a:pt x="f18" y="f19"/>
                    <a:pt x="f20" y="f21"/>
                  </a:cubicBezTo>
                  <a:lnTo>
                    <a:pt x="f6" y="f7"/>
                  </a:lnTo>
                  <a:lnTo>
                    <a:pt x="f5" y="f7"/>
                  </a:lnTo>
                  <a:lnTo>
                    <a:pt x="f5" y="f22"/>
                  </a:lnTo>
                  <a:lnTo>
                    <a:pt x="f23" y="f24"/>
                  </a:lnTo>
                  <a:cubicBezTo>
                    <a:pt x="f25" y="f26"/>
                    <a:pt x="f27" y="f28"/>
                    <a:pt x="f29" y="f30"/>
                  </a:cubicBezTo>
                  <a:cubicBezTo>
                    <a:pt x="f31" y="f32"/>
                    <a:pt x="f33" y="f34"/>
                    <a:pt x="f8" y="f9"/>
                  </a:cubicBezTo>
                  <a:close/>
                </a:path>
              </a:pathLst>
            </a:cu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4" name="Freeform 19">
              <a:extLst>
                <a:ext uri="{FF2B5EF4-FFF2-40B4-BE49-F238E27FC236}">
                  <a16:creationId xmlns:a16="http://schemas.microsoft.com/office/drawing/2014/main" id="{00DBA026-A2CD-0F64-BE70-6EEA20EEF171}"/>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5" name="Freeform 14">
              <a:extLst>
                <a:ext uri="{FF2B5EF4-FFF2-40B4-BE49-F238E27FC236}">
                  <a16:creationId xmlns:a16="http://schemas.microsoft.com/office/drawing/2014/main" id="{E39AA268-85AB-2125-FA82-FE7F22B1511B}"/>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6" name="Picture 20">
              <a:extLst>
                <a:ext uri="{FF2B5EF4-FFF2-40B4-BE49-F238E27FC236}">
                  <a16:creationId xmlns:a16="http://schemas.microsoft.com/office/drawing/2014/main" id="{85CA0D4A-6081-B13D-4473-2A9F230219A2}"/>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
        <p:nvSpPr>
          <p:cNvPr id="7" name="Title 10">
            <a:extLst>
              <a:ext uri="{FF2B5EF4-FFF2-40B4-BE49-F238E27FC236}">
                <a16:creationId xmlns:a16="http://schemas.microsoft.com/office/drawing/2014/main" id="{4036C35C-6B69-02EB-D86F-74416315D162}"/>
              </a:ext>
            </a:extLst>
          </p:cNvPr>
          <p:cNvSpPr txBox="1">
            <a:spLocks noGrp="1"/>
          </p:cNvSpPr>
          <p:nvPr>
            <p:ph type="title"/>
          </p:nvPr>
        </p:nvSpPr>
        <p:spPr>
          <a:xfrm>
            <a:off x="1413305" y="701748"/>
            <a:ext cx="9365376" cy="2014679"/>
          </a:xfrm>
        </p:spPr>
        <p:txBody>
          <a:bodyPr anchor="b"/>
          <a:lstStyle>
            <a:lvl1pPr>
              <a:defRPr/>
            </a:lvl1pPr>
          </a:lstStyle>
          <a:p>
            <a:pPr lvl="0"/>
            <a:r>
              <a:rPr lang="en-US"/>
              <a:t>Click to edit Master title style</a:t>
            </a:r>
          </a:p>
        </p:txBody>
      </p:sp>
      <p:sp>
        <p:nvSpPr>
          <p:cNvPr id="8" name="Subtitle 2">
            <a:extLst>
              <a:ext uri="{FF2B5EF4-FFF2-40B4-BE49-F238E27FC236}">
                <a16:creationId xmlns:a16="http://schemas.microsoft.com/office/drawing/2014/main" id="{08AC7B01-9172-F0AA-2FC3-522399353439}"/>
              </a:ext>
            </a:extLst>
          </p:cNvPr>
          <p:cNvSpPr txBox="1">
            <a:spLocks noGrp="1"/>
          </p:cNvSpPr>
          <p:nvPr>
            <p:ph type="subTitle" idx="4294967295"/>
          </p:nvPr>
        </p:nvSpPr>
        <p:spPr>
          <a:xfrm>
            <a:off x="1413305" y="3081637"/>
            <a:ext cx="9365376" cy="986564"/>
          </a:xfrm>
        </p:spPr>
        <p:txBody>
          <a:bodyPr/>
          <a:lstStyle>
            <a:lvl1pPr marL="0" indent="0">
              <a:buNone/>
              <a:defRPr/>
            </a:lvl1pPr>
          </a:lstStyle>
          <a:p>
            <a:pPr lvl="0"/>
            <a:r>
              <a:rPr lang="en-US"/>
              <a:t>Click to edit Master subtitle style</a:t>
            </a:r>
          </a:p>
        </p:txBody>
      </p:sp>
    </p:spTree>
    <p:extLst>
      <p:ext uri="{BB962C8B-B14F-4D97-AF65-F5344CB8AC3E}">
        <p14:creationId xmlns:p14="http://schemas.microsoft.com/office/powerpoint/2010/main" val="3824306200"/>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90526289-E55E-A829-6E3A-2F68AA03209C}"/>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C5417DDA-831B-2C2A-0F23-A307606BB16E}"/>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E9074DA3-9D00-4DEF-8A36-A6E71CCEB229}"/>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A560AF01-19E5-62B7-9C5A-5BA882F9868E}"/>
              </a:ext>
            </a:extLst>
          </p:cNvPr>
          <p:cNvSpPr txBox="1">
            <a:spLocks noGrp="1"/>
          </p:cNvSpPr>
          <p:nvPr>
            <p:ph type="sldNum" sz="quarter" idx="8"/>
          </p:nvPr>
        </p:nvSpPr>
        <p:spPr/>
        <p:txBody>
          <a:bodyPr/>
          <a:lstStyle>
            <a:lvl1pPr>
              <a:defRPr>
                <a:solidFill>
                  <a:srgbClr val="AFB3B9"/>
                </a:solidFill>
              </a:defRPr>
            </a:lvl1pPr>
          </a:lstStyle>
          <a:p>
            <a:pPr lvl="0"/>
            <a:fld id="{ADDE465F-7767-4340-A353-E93FDD81ADB6}" type="slidenum">
              <a:t>‹#›</a:t>
            </a:fld>
            <a:endParaRPr lang="en-US"/>
          </a:p>
        </p:txBody>
      </p:sp>
      <p:cxnSp>
        <p:nvCxnSpPr>
          <p:cNvPr id="6" name="Straight Connector 7">
            <a:extLst>
              <a:ext uri="{FF2B5EF4-FFF2-40B4-BE49-F238E27FC236}">
                <a16:creationId xmlns:a16="http://schemas.microsoft.com/office/drawing/2014/main" id="{5297DBA9-45DE-7D08-6278-36477CEFEBA4}"/>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BACC7EE0-9820-4908-1C86-6CBA9C90756F}"/>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928C4862-B7D3-34A3-8516-0555F8E1D1EE}"/>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C2EA8BC5-A51B-82B7-1D54-C3FE0929D2D6}"/>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AB3E1C9F-4F7E-1CF6-BFEB-C2BD9ACDDEF2}"/>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371E0ABB-7CD0-80F1-AE24-5BB1553CB223}"/>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0BB72542-E3AF-6B14-B8A7-97430B389B67}"/>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058F1267-D431-F9CC-E8F3-AEB935156B7A}"/>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28466452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5/20/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Divider">
  <p:cSld name="Divider 3 2">
    <p:spTree>
      <p:nvGrpSpPr>
        <p:cNvPr id="1" name="Shape 9321"/>
        <p:cNvGrpSpPr/>
        <p:nvPr/>
      </p:nvGrpSpPr>
      <p:grpSpPr>
        <a:xfrm>
          <a:off x="0" y="0"/>
          <a:ext cx="0" cy="0"/>
          <a:chOff x="0" y="0"/>
          <a:chExt cx="0" cy="0"/>
        </a:xfrm>
      </p:grpSpPr>
      <p:grpSp>
        <p:nvGrpSpPr>
          <p:cNvPr id="9322" name="Google Shape;9322;p1344"/>
          <p:cNvGrpSpPr/>
          <p:nvPr/>
        </p:nvGrpSpPr>
        <p:grpSpPr>
          <a:xfrm>
            <a:off x="0" y="5020347"/>
            <a:ext cx="12192000" cy="1837653"/>
            <a:chOff x="0" y="5020347"/>
            <a:chExt cx="12192000" cy="1837653"/>
          </a:xfrm>
        </p:grpSpPr>
        <p:sp>
          <p:nvSpPr>
            <p:cNvPr id="9323" name="Google Shape;9323;p134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324" name="Google Shape;9324;p134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325" name="Google Shape;9325;p134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326" name="Google Shape;9326;p134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327" name="Google Shape;9327;p134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328" name="Google Shape;9328;p134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10_Photo Slide">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22DBD94A-B96A-E8B2-D7B7-28D3EB20DE4B}"/>
              </a:ext>
            </a:extLst>
          </p:cNvPr>
          <p:cNvSpPr txBox="1">
            <a:spLocks noGrp="1"/>
          </p:cNvSpPr>
          <p:nvPr>
            <p:ph type="body" idx="4294967295"/>
          </p:nvPr>
        </p:nvSpPr>
        <p:spPr>
          <a:xfrm>
            <a:off x="457200" y="1146255"/>
            <a:ext cx="2350172" cy="2971800"/>
          </a:xfrm>
        </p:spPr>
        <p:txBody>
          <a:bodyPr/>
          <a:lstStyle>
            <a:lvl1pPr marL="0" indent="0">
              <a:buNone/>
              <a:defRPr/>
            </a:lvl1pPr>
          </a:lstStyle>
          <a:p>
            <a:pPr lvl="0"/>
            <a:r>
              <a:rPr lang="en-US"/>
              <a:t>Click to edit Master text styles</a:t>
            </a:r>
          </a:p>
        </p:txBody>
      </p:sp>
      <p:cxnSp>
        <p:nvCxnSpPr>
          <p:cNvPr id="3" name="Straight Connector 5">
            <a:extLst>
              <a:ext uri="{FF2B5EF4-FFF2-40B4-BE49-F238E27FC236}">
                <a16:creationId xmlns:a16="http://schemas.microsoft.com/office/drawing/2014/main" id="{53FD1B62-0D9F-B219-0BB2-BBD8F5F433C4}"/>
              </a:ext>
            </a:extLst>
          </p:cNvPr>
          <p:cNvCxnSpPr/>
          <p:nvPr/>
        </p:nvCxnSpPr>
        <p:spPr>
          <a:xfrm>
            <a:off x="457201" y="947985"/>
            <a:ext cx="2350163" cy="0"/>
          </a:xfrm>
          <a:prstGeom prst="straightConnector1">
            <a:avLst/>
          </a:prstGeom>
          <a:noFill/>
          <a:ln w="31747" cap="flat">
            <a:solidFill>
              <a:srgbClr val="F58366"/>
            </a:solidFill>
            <a:prstDash val="solid"/>
            <a:miter/>
          </a:ln>
        </p:spPr>
      </p:cxnSp>
      <p:grpSp>
        <p:nvGrpSpPr>
          <p:cNvPr id="4" name="Group 2">
            <a:extLst>
              <a:ext uri="{FF2B5EF4-FFF2-40B4-BE49-F238E27FC236}">
                <a16:creationId xmlns:a16="http://schemas.microsoft.com/office/drawing/2014/main" id="{4C1D6E7B-E192-9FF3-F884-4E4F41C8511C}"/>
              </a:ext>
            </a:extLst>
          </p:cNvPr>
          <p:cNvGrpSpPr/>
          <p:nvPr/>
        </p:nvGrpSpPr>
        <p:grpSpPr>
          <a:xfrm>
            <a:off x="1" y="5379425"/>
            <a:ext cx="2807363" cy="753895"/>
            <a:chOff x="0" y="5379424"/>
            <a:chExt cx="2807363" cy="753895"/>
          </a:xfrm>
        </p:grpSpPr>
        <p:sp>
          <p:nvSpPr>
            <p:cNvPr id="5" name="Freeform 21">
              <a:extLst>
                <a:ext uri="{FF2B5EF4-FFF2-40B4-BE49-F238E27FC236}">
                  <a16:creationId xmlns:a16="http://schemas.microsoft.com/office/drawing/2014/main" id="{DB802872-739C-8E38-C83E-D48AC2F958C2}"/>
                </a:ext>
              </a:extLst>
            </p:cNvPr>
            <p:cNvSpPr/>
            <p:nvPr/>
          </p:nvSpPr>
          <p:spPr>
            <a:xfrm>
              <a:off x="0" y="5532513"/>
              <a:ext cx="2807363" cy="600806"/>
            </a:xfrm>
            <a:custGeom>
              <a:avLst/>
              <a:gdLst>
                <a:gd name="f0" fmla="val 10800000"/>
                <a:gd name="f1" fmla="val 5400000"/>
                <a:gd name="f2" fmla="val 180"/>
                <a:gd name="f3" fmla="val w"/>
                <a:gd name="f4" fmla="val h"/>
                <a:gd name="f5" fmla="val 0"/>
                <a:gd name="f6" fmla="val 2807368"/>
                <a:gd name="f7" fmla="val 600807"/>
                <a:gd name="f8" fmla="val 429971"/>
                <a:gd name="f9" fmla="val 123998"/>
                <a:gd name="f10" fmla="val 1184765"/>
                <a:gd name="f11" fmla="val 325331"/>
                <a:gd name="f12" fmla="val 2014184"/>
                <a:gd name="f13" fmla="val 392492"/>
                <a:gd name="f14" fmla="val 2790212"/>
                <a:gd name="f15" fmla="val 235402"/>
                <a:gd name="f16" fmla="val 231522"/>
                <a:gd name="f17" fmla="val 566106"/>
                <a:gd name="f18" fmla="val 2593885"/>
                <a:gd name="f19" fmla="val 587498"/>
                <a:gd name="f20" fmla="val 1673646"/>
                <a:gd name="f21" fmla="val 651184"/>
                <a:gd name="f22" fmla="val 884869"/>
                <a:gd name="f23" fmla="val 479260"/>
                <a:gd name="f24" fmla="val 100844"/>
                <a:gd name="f25" fmla="val 222653"/>
                <a:gd name="f26" fmla="val 188389"/>
                <a:gd name="f27" fmla="+- 0 0 -90"/>
                <a:gd name="f28" fmla="*/ f3 1 2807368"/>
                <a:gd name="f29" fmla="*/ f4 1 600807"/>
                <a:gd name="f30" fmla="+- f7 0 f5"/>
                <a:gd name="f31" fmla="+- f6 0 f5"/>
                <a:gd name="f32" fmla="*/ f27 f0 1"/>
                <a:gd name="f33" fmla="*/ f31 1 2807368"/>
                <a:gd name="f34" fmla="*/ f30 1 600807"/>
                <a:gd name="f35" fmla="*/ 0 f31 1"/>
                <a:gd name="f36" fmla="*/ 0 f30 1"/>
                <a:gd name="f37" fmla="*/ 429971 f31 1"/>
                <a:gd name="f38" fmla="*/ 123998 f30 1"/>
                <a:gd name="f39" fmla="*/ 2790212 f31 1"/>
                <a:gd name="f40" fmla="*/ 235402 f30 1"/>
                <a:gd name="f41" fmla="*/ 2807368 f31 1"/>
                <a:gd name="f42" fmla="*/ 231522 f30 1"/>
                <a:gd name="f43" fmla="*/ 566106 f30 1"/>
                <a:gd name="f44" fmla="*/ 2593885 f31 1"/>
                <a:gd name="f45" fmla="*/ 587498 f30 1"/>
                <a:gd name="f46" fmla="*/ 100844 f31 1"/>
                <a:gd name="f47" fmla="*/ 222653 f30 1"/>
                <a:gd name="f48" fmla="*/ 188389 f30 1"/>
                <a:gd name="f49" fmla="*/ f32 1 f2"/>
                <a:gd name="f50" fmla="*/ f35 1 2807368"/>
                <a:gd name="f51" fmla="*/ f36 1 600807"/>
                <a:gd name="f52" fmla="*/ f37 1 2807368"/>
                <a:gd name="f53" fmla="*/ f38 1 600807"/>
                <a:gd name="f54" fmla="*/ f39 1 2807368"/>
                <a:gd name="f55" fmla="*/ f40 1 600807"/>
                <a:gd name="f56" fmla="*/ f41 1 2807368"/>
                <a:gd name="f57" fmla="*/ f42 1 600807"/>
                <a:gd name="f58" fmla="*/ f43 1 600807"/>
                <a:gd name="f59" fmla="*/ f44 1 2807368"/>
                <a:gd name="f60" fmla="*/ f45 1 600807"/>
                <a:gd name="f61" fmla="*/ f46 1 2807368"/>
                <a:gd name="f62" fmla="*/ f47 1 600807"/>
                <a:gd name="f63" fmla="*/ f48 1 600807"/>
                <a:gd name="f64" fmla="*/ f5 1 f33"/>
                <a:gd name="f65" fmla="*/ f6 1 f33"/>
                <a:gd name="f66" fmla="*/ f5 1 f34"/>
                <a:gd name="f67" fmla="*/ f7 1 f34"/>
                <a:gd name="f68" fmla="+- f49 0 f1"/>
                <a:gd name="f69" fmla="*/ f50 1 f33"/>
                <a:gd name="f70" fmla="*/ f51 1 f34"/>
                <a:gd name="f71" fmla="*/ f52 1 f33"/>
                <a:gd name="f72" fmla="*/ f53 1 f34"/>
                <a:gd name="f73" fmla="*/ f54 1 f33"/>
                <a:gd name="f74" fmla="*/ f55 1 f34"/>
                <a:gd name="f75" fmla="*/ f56 1 f33"/>
                <a:gd name="f76" fmla="*/ f57 1 f34"/>
                <a:gd name="f77" fmla="*/ f58 1 f34"/>
                <a:gd name="f78" fmla="*/ f59 1 f33"/>
                <a:gd name="f79" fmla="*/ f60 1 f34"/>
                <a:gd name="f80" fmla="*/ f61 1 f33"/>
                <a:gd name="f81" fmla="*/ f62 1 f34"/>
                <a:gd name="f82" fmla="*/ f63 1 f34"/>
                <a:gd name="f83" fmla="*/ f64 f28 1"/>
                <a:gd name="f84" fmla="*/ f65 f28 1"/>
                <a:gd name="f85" fmla="*/ f67 f29 1"/>
                <a:gd name="f86" fmla="*/ f66 f29 1"/>
                <a:gd name="f87" fmla="*/ f69 f28 1"/>
                <a:gd name="f88" fmla="*/ f70 f29 1"/>
                <a:gd name="f89" fmla="*/ f71 f28 1"/>
                <a:gd name="f90" fmla="*/ f72 f29 1"/>
                <a:gd name="f91" fmla="*/ f73 f28 1"/>
                <a:gd name="f92" fmla="*/ f74 f29 1"/>
                <a:gd name="f93" fmla="*/ f75 f28 1"/>
                <a:gd name="f94" fmla="*/ f76 f29 1"/>
                <a:gd name="f95" fmla="*/ f77 f29 1"/>
                <a:gd name="f96" fmla="*/ f78 f28 1"/>
                <a:gd name="f97" fmla="*/ f79 f29 1"/>
                <a:gd name="f98" fmla="*/ f80 f28 1"/>
                <a:gd name="f99" fmla="*/ f81 f29 1"/>
                <a:gd name="f100" fmla="*/ f82 f29 1"/>
              </a:gdLst>
              <a:ahLst/>
              <a:cxnLst>
                <a:cxn ang="3cd4">
                  <a:pos x="hc" y="t"/>
                </a:cxn>
                <a:cxn ang="0">
                  <a:pos x="r" y="vc"/>
                </a:cxn>
                <a:cxn ang="cd4">
                  <a:pos x="hc" y="b"/>
                </a:cxn>
                <a:cxn ang="cd2">
                  <a:pos x="l" y="vc"/>
                </a:cxn>
                <a:cxn ang="f68">
                  <a:pos x="f87" y="f88"/>
                </a:cxn>
                <a:cxn ang="f68">
                  <a:pos x="f89" y="f90"/>
                </a:cxn>
                <a:cxn ang="f68">
                  <a:pos x="f91" y="f92"/>
                </a:cxn>
                <a:cxn ang="f68">
                  <a:pos x="f93" y="f94"/>
                </a:cxn>
                <a:cxn ang="f68">
                  <a:pos x="f93" y="f95"/>
                </a:cxn>
                <a:cxn ang="f68">
                  <a:pos x="f96" y="f97"/>
                </a:cxn>
                <a:cxn ang="f68">
                  <a:pos x="f98" y="f99"/>
                </a:cxn>
                <a:cxn ang="f68">
                  <a:pos x="f87" y="f100"/>
                </a:cxn>
              </a:cxnLst>
              <a:rect l="f83" t="f86" r="f84" b="f85"/>
              <a:pathLst>
                <a:path w="2807368" h="600807">
                  <a:moveTo>
                    <a:pt x="f5" y="f5"/>
                  </a:moveTo>
                  <a:lnTo>
                    <a:pt x="f8" y="f9"/>
                  </a:lnTo>
                  <a:cubicBezTo>
                    <a:pt x="f10" y="f11"/>
                    <a:pt x="f12" y="f13"/>
                    <a:pt x="f14" y="f15"/>
                  </a:cubicBezTo>
                  <a:lnTo>
                    <a:pt x="f6" y="f16"/>
                  </a:lnTo>
                  <a:lnTo>
                    <a:pt x="f6" y="f17"/>
                  </a:lnTo>
                  <a:lnTo>
                    <a:pt x="f18" y="f19"/>
                  </a:lnTo>
                  <a:cubicBezTo>
                    <a:pt x="f20" y="f21"/>
                    <a:pt x="f22" y="f23"/>
                    <a:pt x="f24" y="f25"/>
                  </a:cubicBezTo>
                  <a:lnTo>
                    <a:pt x="f5" y="f26"/>
                  </a:ln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Freeform 19">
              <a:extLst>
                <a:ext uri="{FF2B5EF4-FFF2-40B4-BE49-F238E27FC236}">
                  <a16:creationId xmlns:a16="http://schemas.microsoft.com/office/drawing/2014/main" id="{86862AA0-B8C2-7F53-1F8C-2E0A9BDE2B2D}"/>
                </a:ext>
              </a:extLst>
            </p:cNvPr>
            <p:cNvSpPr/>
            <p:nvPr/>
          </p:nvSpPr>
          <p:spPr>
            <a:xfrm>
              <a:off x="0" y="5379424"/>
              <a:ext cx="2807363" cy="649800"/>
            </a:xfrm>
            <a:custGeom>
              <a:avLst/>
              <a:gdLst>
                <a:gd name="f0" fmla="val 10800000"/>
                <a:gd name="f1" fmla="val 5400000"/>
                <a:gd name="f2" fmla="val 180"/>
                <a:gd name="f3" fmla="val w"/>
                <a:gd name="f4" fmla="val h"/>
                <a:gd name="f5" fmla="val 0"/>
                <a:gd name="f6" fmla="val 2807368"/>
                <a:gd name="f7" fmla="val 649803"/>
                <a:gd name="f8" fmla="val 282676"/>
                <a:gd name="f9" fmla="val 70799"/>
                <a:gd name="f10" fmla="val 435964"/>
                <a:gd name="f11" fmla="val 106085"/>
                <a:gd name="f12" fmla="val 588770"/>
                <a:gd name="f13" fmla="val 137629"/>
                <a:gd name="f14" fmla="val 740881"/>
                <a:gd name="f15" fmla="val 163828"/>
                <a:gd name="f16" fmla="val 1362800"/>
                <a:gd name="f17" fmla="val 270912"/>
                <a:gd name="f18" fmla="val 2067879"/>
                <a:gd name="f19" fmla="val 253759"/>
                <a:gd name="f20" fmla="val 2706471"/>
                <a:gd name="f21" fmla="val 96397"/>
                <a:gd name="f22" fmla="val 67250"/>
                <a:gd name="f23" fmla="val 605551"/>
                <a:gd name="f24" fmla="val 2602685"/>
                <a:gd name="f25" fmla="val 629466"/>
                <a:gd name="f26" fmla="val 1684237"/>
                <a:gd name="f27" fmla="val 708219"/>
                <a:gd name="f28" fmla="val 893252"/>
                <a:gd name="f29" fmla="val 549395"/>
                <a:gd name="f30" fmla="val 105614"/>
                <a:gd name="f31" fmla="val 305882"/>
                <a:gd name="f32" fmla="val 271926"/>
                <a:gd name="f33" fmla="+- 0 0 -90"/>
                <a:gd name="f34" fmla="*/ f3 1 2807368"/>
                <a:gd name="f35" fmla="*/ f4 1 649803"/>
                <a:gd name="f36" fmla="+- f7 0 f5"/>
                <a:gd name="f37" fmla="+- f6 0 f5"/>
                <a:gd name="f38" fmla="*/ f33 f0 1"/>
                <a:gd name="f39" fmla="*/ f37 1 2807368"/>
                <a:gd name="f40" fmla="*/ f36 1 649803"/>
                <a:gd name="f41" fmla="*/ 0 f37 1"/>
                <a:gd name="f42" fmla="*/ 0 f36 1"/>
                <a:gd name="f43" fmla="*/ 282676 f37 1"/>
                <a:gd name="f44" fmla="*/ 70799 f36 1"/>
                <a:gd name="f45" fmla="*/ 740881 f37 1"/>
                <a:gd name="f46" fmla="*/ 163828 f36 1"/>
                <a:gd name="f47" fmla="*/ 2706471 f37 1"/>
                <a:gd name="f48" fmla="*/ 96397 f36 1"/>
                <a:gd name="f49" fmla="*/ 2807368 f37 1"/>
                <a:gd name="f50" fmla="*/ 67250 f36 1"/>
                <a:gd name="f51" fmla="*/ 605551 f36 1"/>
                <a:gd name="f52" fmla="*/ 2602685 f37 1"/>
                <a:gd name="f53" fmla="*/ 629466 f36 1"/>
                <a:gd name="f54" fmla="*/ 105614 f37 1"/>
                <a:gd name="f55" fmla="*/ 305882 f36 1"/>
                <a:gd name="f56" fmla="*/ 271926 f36 1"/>
                <a:gd name="f57" fmla="*/ f38 1 f2"/>
                <a:gd name="f58" fmla="*/ f41 1 2807368"/>
                <a:gd name="f59" fmla="*/ f42 1 649803"/>
                <a:gd name="f60" fmla="*/ f43 1 2807368"/>
                <a:gd name="f61" fmla="*/ f44 1 649803"/>
                <a:gd name="f62" fmla="*/ f45 1 2807368"/>
                <a:gd name="f63" fmla="*/ f46 1 649803"/>
                <a:gd name="f64" fmla="*/ f47 1 2807368"/>
                <a:gd name="f65" fmla="*/ f48 1 649803"/>
                <a:gd name="f66" fmla="*/ f49 1 2807368"/>
                <a:gd name="f67" fmla="*/ f50 1 649803"/>
                <a:gd name="f68" fmla="*/ f51 1 649803"/>
                <a:gd name="f69" fmla="*/ f52 1 2807368"/>
                <a:gd name="f70" fmla="*/ f53 1 649803"/>
                <a:gd name="f71" fmla="*/ f54 1 2807368"/>
                <a:gd name="f72" fmla="*/ f55 1 649803"/>
                <a:gd name="f73" fmla="*/ f56 1 649803"/>
                <a:gd name="f74" fmla="*/ f5 1 f39"/>
                <a:gd name="f75" fmla="*/ f6 1 f39"/>
                <a:gd name="f76" fmla="*/ f5 1 f40"/>
                <a:gd name="f77" fmla="*/ f7 1 f40"/>
                <a:gd name="f78" fmla="+- f57 0 f1"/>
                <a:gd name="f79" fmla="*/ f58 1 f39"/>
                <a:gd name="f80" fmla="*/ f59 1 f40"/>
                <a:gd name="f81" fmla="*/ f60 1 f39"/>
                <a:gd name="f82" fmla="*/ f61 1 f40"/>
                <a:gd name="f83" fmla="*/ f62 1 f39"/>
                <a:gd name="f84" fmla="*/ f63 1 f40"/>
                <a:gd name="f85" fmla="*/ f64 1 f39"/>
                <a:gd name="f86" fmla="*/ f65 1 f40"/>
                <a:gd name="f87" fmla="*/ f66 1 f39"/>
                <a:gd name="f88" fmla="*/ f67 1 f40"/>
                <a:gd name="f89" fmla="*/ f68 1 f40"/>
                <a:gd name="f90" fmla="*/ f69 1 f39"/>
                <a:gd name="f91" fmla="*/ f70 1 f40"/>
                <a:gd name="f92" fmla="*/ f71 1 f39"/>
                <a:gd name="f93" fmla="*/ f72 1 f40"/>
                <a:gd name="f94" fmla="*/ f73 1 f40"/>
                <a:gd name="f95" fmla="*/ f74 f34 1"/>
                <a:gd name="f96" fmla="*/ f75 f34 1"/>
                <a:gd name="f97" fmla="*/ f77 f35 1"/>
                <a:gd name="f98" fmla="*/ f76 f35 1"/>
                <a:gd name="f99" fmla="*/ f79 f34 1"/>
                <a:gd name="f100" fmla="*/ f80 f35 1"/>
                <a:gd name="f101" fmla="*/ f81 f34 1"/>
                <a:gd name="f102" fmla="*/ f82 f35 1"/>
                <a:gd name="f103" fmla="*/ f83 f34 1"/>
                <a:gd name="f104" fmla="*/ f84 f35 1"/>
                <a:gd name="f105" fmla="*/ f85 f34 1"/>
                <a:gd name="f106" fmla="*/ f86 f35 1"/>
                <a:gd name="f107" fmla="*/ f87 f34 1"/>
                <a:gd name="f108" fmla="*/ f88 f35 1"/>
                <a:gd name="f109" fmla="*/ f89 f35 1"/>
                <a:gd name="f110" fmla="*/ f90 f34 1"/>
                <a:gd name="f111" fmla="*/ f91 f35 1"/>
                <a:gd name="f112" fmla="*/ f92 f34 1"/>
                <a:gd name="f113" fmla="*/ f93 f35 1"/>
                <a:gd name="f114" fmla="*/ f94 f35 1"/>
              </a:gdLst>
              <a:ahLst/>
              <a:cxnLst>
                <a:cxn ang="3cd4">
                  <a:pos x="hc" y="t"/>
                </a:cxn>
                <a:cxn ang="0">
                  <a:pos x="r" y="vc"/>
                </a:cxn>
                <a:cxn ang="cd4">
                  <a:pos x="hc" y="b"/>
                </a:cxn>
                <a:cxn ang="cd2">
                  <a:pos x="l" y="vc"/>
                </a:cxn>
                <a:cxn ang="f78">
                  <a:pos x="f99" y="f100"/>
                </a:cxn>
                <a:cxn ang="f78">
                  <a:pos x="f101" y="f102"/>
                </a:cxn>
                <a:cxn ang="f78">
                  <a:pos x="f103" y="f104"/>
                </a:cxn>
                <a:cxn ang="f78">
                  <a:pos x="f105" y="f106"/>
                </a:cxn>
                <a:cxn ang="f78">
                  <a:pos x="f107" y="f108"/>
                </a:cxn>
                <a:cxn ang="f78">
                  <a:pos x="f107" y="f109"/>
                </a:cxn>
                <a:cxn ang="f78">
                  <a:pos x="f110" y="f111"/>
                </a:cxn>
                <a:cxn ang="f78">
                  <a:pos x="f112" y="f113"/>
                </a:cxn>
                <a:cxn ang="f78">
                  <a:pos x="f99" y="f114"/>
                </a:cxn>
              </a:cxnLst>
              <a:rect l="f95" t="f98" r="f96" b="f97"/>
              <a:pathLst>
                <a:path w="2807368" h="649803">
                  <a:moveTo>
                    <a:pt x="f5" y="f5"/>
                  </a:moveTo>
                  <a:lnTo>
                    <a:pt x="f8" y="f9"/>
                  </a:lnTo>
                  <a:cubicBezTo>
                    <a:pt x="f10" y="f11"/>
                    <a:pt x="f12" y="f13"/>
                    <a:pt x="f14" y="f15"/>
                  </a:cubicBezTo>
                  <a:cubicBezTo>
                    <a:pt x="f16" y="f17"/>
                    <a:pt x="f18" y="f19"/>
                    <a:pt x="f20" y="f21"/>
                  </a:cubicBezTo>
                  <a:lnTo>
                    <a:pt x="f6" y="f22"/>
                  </a:lnTo>
                  <a:lnTo>
                    <a:pt x="f6" y="f23"/>
                  </a:lnTo>
                  <a:lnTo>
                    <a:pt x="f24" y="f25"/>
                  </a:lnTo>
                  <a:cubicBezTo>
                    <a:pt x="f26" y="f27"/>
                    <a:pt x="f28" y="f29"/>
                    <a:pt x="f30" y="f31"/>
                  </a:cubicBezTo>
                  <a:lnTo>
                    <a:pt x="f5" y="f32"/>
                  </a:ln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grpSp>
      <p:sp>
        <p:nvSpPr>
          <p:cNvPr id="7" name="Picture Placeholder 6">
            <a:extLst>
              <a:ext uri="{FF2B5EF4-FFF2-40B4-BE49-F238E27FC236}">
                <a16:creationId xmlns:a16="http://schemas.microsoft.com/office/drawing/2014/main" id="{DA2C0BBF-20B0-7435-C857-4E975B9BC1F6}"/>
              </a:ext>
            </a:extLst>
          </p:cNvPr>
          <p:cNvSpPr txBox="1">
            <a:spLocks noGrp="1"/>
          </p:cNvSpPr>
          <p:nvPr>
            <p:ph type="pic" idx="4294967295"/>
          </p:nvPr>
        </p:nvSpPr>
        <p:spPr>
          <a:xfrm>
            <a:off x="2807363" y="457200"/>
            <a:ext cx="8915400" cy="5943600"/>
          </a:xfrm>
        </p:spPr>
        <p:txBody>
          <a:bodyPr/>
          <a:lstStyle>
            <a:lvl1pPr>
              <a:defRPr/>
            </a:lvl1pPr>
          </a:lstStyle>
          <a:p>
            <a:pPr lvl="0"/>
            <a:endParaRPr lang="en-US"/>
          </a:p>
        </p:txBody>
      </p:sp>
      <p:pic>
        <p:nvPicPr>
          <p:cNvPr id="8" name="Picture 14">
            <a:extLst>
              <a:ext uri="{FF2B5EF4-FFF2-40B4-BE49-F238E27FC236}">
                <a16:creationId xmlns:a16="http://schemas.microsoft.com/office/drawing/2014/main" id="{987D6DC6-C48E-8F78-D9CD-CEAB633D2788}"/>
              </a:ext>
            </a:extLst>
          </p:cNvPr>
          <p:cNvPicPr>
            <a:picLocks noChangeAspect="1"/>
          </p:cNvPicPr>
          <p:nvPr/>
        </p:nvPicPr>
        <p:blipFill>
          <a:blip r:embed="rId2"/>
          <a:srcRect/>
          <a:stretch>
            <a:fillRect/>
          </a:stretch>
        </p:blipFill>
        <p:spPr>
          <a:xfrm>
            <a:off x="513354" y="4385535"/>
            <a:ext cx="2025313" cy="911940"/>
          </a:xfrm>
          <a:prstGeom prst="rect">
            <a:avLst/>
          </a:prstGeom>
          <a:noFill/>
          <a:ln cap="flat">
            <a:noFill/>
          </a:ln>
        </p:spPr>
      </p:pic>
    </p:spTree>
    <p:extLst>
      <p:ext uri="{BB962C8B-B14F-4D97-AF65-F5344CB8AC3E}">
        <p14:creationId xmlns:p14="http://schemas.microsoft.com/office/powerpoint/2010/main" val="2478177912"/>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35265CE9-90DC-E955-9F9A-73F35B29B341}"/>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A06FFE2F-4E04-7B71-B100-CB4F9E856049}"/>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3CAB3BDC-4259-D905-54ED-7808D54925FB}"/>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5EE54D62-EF8F-38CA-CE30-8ED48D86EFEA}"/>
              </a:ext>
            </a:extLst>
          </p:cNvPr>
          <p:cNvSpPr txBox="1">
            <a:spLocks noGrp="1"/>
          </p:cNvSpPr>
          <p:nvPr>
            <p:ph type="sldNum" sz="quarter" idx="8"/>
          </p:nvPr>
        </p:nvSpPr>
        <p:spPr/>
        <p:txBody>
          <a:bodyPr/>
          <a:lstStyle>
            <a:lvl1pPr>
              <a:defRPr>
                <a:solidFill>
                  <a:srgbClr val="AFB3B9"/>
                </a:solidFill>
              </a:defRPr>
            </a:lvl1pPr>
          </a:lstStyle>
          <a:p>
            <a:pPr lvl="0"/>
            <a:fld id="{C4738DBC-BAE0-4596-9868-40FD1963C51B}" type="slidenum">
              <a:t>‹#›</a:t>
            </a:fld>
            <a:endParaRPr lang="en-US"/>
          </a:p>
        </p:txBody>
      </p:sp>
      <p:cxnSp>
        <p:nvCxnSpPr>
          <p:cNvPr id="6" name="Straight Connector 7">
            <a:extLst>
              <a:ext uri="{FF2B5EF4-FFF2-40B4-BE49-F238E27FC236}">
                <a16:creationId xmlns:a16="http://schemas.microsoft.com/office/drawing/2014/main" id="{74FB7442-255E-6D45-A5E8-F50E94A3A52C}"/>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A6BCFEB6-E2F9-6E79-FD31-53801EC0A988}"/>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53120EBF-2C43-D5F3-8D69-2D27B688B7D2}"/>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A19F34FC-7314-63A4-BB54-EED267EA959E}"/>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AB0C2EFA-4287-91D1-1E69-E26D11CF6F90}"/>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CC480A9F-0D3C-A993-88BF-69EE5768F8D5}"/>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80C5F5A7-F47A-2015-6B71-E248022CE6D2}"/>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C6FE5D62-4B17-64F8-2161-D880AF052190}"/>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1348021712"/>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2" name="Group 63">
            <a:extLst>
              <a:ext uri="{FF2B5EF4-FFF2-40B4-BE49-F238E27FC236}">
                <a16:creationId xmlns:a16="http://schemas.microsoft.com/office/drawing/2014/main" id="{14AD0C1D-A015-42C6-E8A7-ED9A1AC9438F}"/>
              </a:ext>
            </a:extLst>
          </p:cNvPr>
          <p:cNvGrpSpPr/>
          <p:nvPr/>
        </p:nvGrpSpPr>
        <p:grpSpPr>
          <a:xfrm>
            <a:off x="7191545" y="0"/>
            <a:ext cx="5000460" cy="1425988"/>
            <a:chOff x="7191545" y="0"/>
            <a:chExt cx="5000460" cy="1425988"/>
          </a:xfrm>
        </p:grpSpPr>
        <p:pic>
          <p:nvPicPr>
            <p:cNvPr id="3" name="Picture 64">
              <a:extLst>
                <a:ext uri="{FF2B5EF4-FFF2-40B4-BE49-F238E27FC236}">
                  <a16:creationId xmlns:a16="http://schemas.microsoft.com/office/drawing/2014/main" id="{803CD358-CD16-059E-167B-B878476D957C}"/>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65">
              <a:extLst>
                <a:ext uri="{FF2B5EF4-FFF2-40B4-BE49-F238E27FC236}">
                  <a16:creationId xmlns:a16="http://schemas.microsoft.com/office/drawing/2014/main" id="{92CFEC8B-2D0A-F720-62A3-53423BAB22DB}"/>
                </a:ext>
              </a:extLst>
            </p:cNvPr>
            <p:cNvGrpSpPr/>
            <p:nvPr/>
          </p:nvGrpSpPr>
          <p:grpSpPr>
            <a:xfrm>
              <a:off x="7191545" y="0"/>
              <a:ext cx="5000460" cy="1425988"/>
              <a:chOff x="7191545" y="0"/>
              <a:chExt cx="5000460" cy="1425988"/>
            </a:xfrm>
          </p:grpSpPr>
          <p:sp>
            <p:nvSpPr>
              <p:cNvPr id="5" name="Freeform 66">
                <a:extLst>
                  <a:ext uri="{FF2B5EF4-FFF2-40B4-BE49-F238E27FC236}">
                    <a16:creationId xmlns:a16="http://schemas.microsoft.com/office/drawing/2014/main" id="{5473D97F-5D4B-F311-0753-7CFC700D63BC}"/>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67">
                <a:extLst>
                  <a:ext uri="{FF2B5EF4-FFF2-40B4-BE49-F238E27FC236}">
                    <a16:creationId xmlns:a16="http://schemas.microsoft.com/office/drawing/2014/main" id="{C0CBE0C7-59B6-AA08-ED68-64D48906E4BF}"/>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FB0F3008-58D4-8F4C-5DD8-6FFAAFF2386F}"/>
              </a:ext>
            </a:extLst>
          </p:cNvPr>
          <p:cNvSpPr txBox="1">
            <a:spLocks noGrp="1"/>
          </p:cNvSpPr>
          <p:nvPr>
            <p:ph type="title"/>
          </p:nvPr>
        </p:nvSpPr>
        <p:spPr/>
        <p:txBody>
          <a:bodyPr/>
          <a:lstStyle>
            <a:lvl1pPr>
              <a:defRPr/>
            </a:lvl1pPr>
          </a:lstStyle>
          <a:p>
            <a:pPr lvl="0"/>
            <a:r>
              <a:rPr lang="en-US"/>
              <a:t>Click to edit Master title style</a:t>
            </a:r>
          </a:p>
        </p:txBody>
      </p:sp>
      <p:sp>
        <p:nvSpPr>
          <p:cNvPr id="8" name="Content Placeholder 2">
            <a:extLst>
              <a:ext uri="{FF2B5EF4-FFF2-40B4-BE49-F238E27FC236}">
                <a16:creationId xmlns:a16="http://schemas.microsoft.com/office/drawing/2014/main" id="{8D9E369F-8911-34B9-DFCE-D280AC386092}"/>
              </a:ext>
            </a:extLst>
          </p:cNvPr>
          <p:cNvSpPr txBox="1">
            <a:spLocks noGrp="1"/>
          </p:cNvSpPr>
          <p:nvPr>
            <p:ph idx="1"/>
          </p:nvPr>
        </p:nvSpPr>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6">
            <a:extLst>
              <a:ext uri="{FF2B5EF4-FFF2-40B4-BE49-F238E27FC236}">
                <a16:creationId xmlns:a16="http://schemas.microsoft.com/office/drawing/2014/main" id="{88997759-9302-C7A0-D4FD-5FA6BD1855BE}"/>
              </a:ext>
            </a:extLst>
          </p:cNvPr>
          <p:cNvSpPr txBox="1">
            <a:spLocks noGrp="1"/>
          </p:cNvSpPr>
          <p:nvPr>
            <p:ph type="sldNum" sz="quarter" idx="8"/>
          </p:nvPr>
        </p:nvSpPr>
        <p:spPr/>
        <p:txBody>
          <a:bodyPr/>
          <a:lstStyle>
            <a:lvl1pPr>
              <a:defRPr>
                <a:solidFill>
                  <a:srgbClr val="AFB3B9"/>
                </a:solidFill>
              </a:defRPr>
            </a:lvl1pPr>
          </a:lstStyle>
          <a:p>
            <a:pPr lvl="0"/>
            <a:fld id="{CDB9FA89-0666-4134-AB6C-F0492E3E93E5}" type="slidenum">
              <a:t>‹#›</a:t>
            </a:fld>
            <a:endParaRPr lang="en-US"/>
          </a:p>
        </p:txBody>
      </p:sp>
      <p:cxnSp>
        <p:nvCxnSpPr>
          <p:cNvPr id="10" name="Straight Connector 7">
            <a:extLst>
              <a:ext uri="{FF2B5EF4-FFF2-40B4-BE49-F238E27FC236}">
                <a16:creationId xmlns:a16="http://schemas.microsoft.com/office/drawing/2014/main" id="{085DC2D0-CC41-BCFF-35B4-50A7B7575346}"/>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1" name="Footer Placeholder 5">
            <a:extLst>
              <a:ext uri="{FF2B5EF4-FFF2-40B4-BE49-F238E27FC236}">
                <a16:creationId xmlns:a16="http://schemas.microsoft.com/office/drawing/2014/main" id="{96486250-E512-1E64-3EBA-D0E5C526222C}"/>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2896481502"/>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B9E710-3B69-F846-BD64-F46D00C8105B}"/>
              </a:ext>
            </a:extLst>
          </p:cNvPr>
          <p:cNvSpPr txBox="1">
            <a:spLocks noGrp="1"/>
          </p:cNvSpPr>
          <p:nvPr>
            <p:ph type="title"/>
          </p:nvPr>
        </p:nvSpPr>
        <p:spPr/>
        <p:txBody>
          <a:bodyPr/>
          <a:lstStyle>
            <a:lvl1pPr>
              <a:defRPr/>
            </a:lvl1pPr>
          </a:lstStyle>
          <a:p>
            <a:pPr lvl="0"/>
            <a:r>
              <a:rPr lang="en-US"/>
              <a:t>Click to edit Master title style</a:t>
            </a:r>
          </a:p>
        </p:txBody>
      </p:sp>
      <p:sp>
        <p:nvSpPr>
          <p:cNvPr id="3" name="Content Placeholder 2">
            <a:extLst>
              <a:ext uri="{FF2B5EF4-FFF2-40B4-BE49-F238E27FC236}">
                <a16:creationId xmlns:a16="http://schemas.microsoft.com/office/drawing/2014/main" id="{DD58E594-C634-894D-0F57-2D0F5BACE675}"/>
              </a:ext>
            </a:extLst>
          </p:cNvPr>
          <p:cNvSpPr txBox="1">
            <a:spLocks noGrp="1"/>
          </p:cNvSpPr>
          <p:nvPr>
            <p:ph idx="1"/>
          </p:nvPr>
        </p:nvSpPr>
        <p:spPr>
          <a:xfrm>
            <a:off x="609604" y="1825627"/>
            <a:ext cx="5410203" cy="4351336"/>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43">
            <a:extLst>
              <a:ext uri="{FF2B5EF4-FFF2-40B4-BE49-F238E27FC236}">
                <a16:creationId xmlns:a16="http://schemas.microsoft.com/office/drawing/2014/main" id="{68A81E46-B6E2-B18E-21AD-BE376F69A0EA}"/>
              </a:ext>
            </a:extLst>
          </p:cNvPr>
          <p:cNvGrpSpPr/>
          <p:nvPr/>
        </p:nvGrpSpPr>
        <p:grpSpPr>
          <a:xfrm>
            <a:off x="7191545" y="0"/>
            <a:ext cx="5000460" cy="1425988"/>
            <a:chOff x="7191545" y="0"/>
            <a:chExt cx="5000460" cy="1425988"/>
          </a:xfrm>
        </p:grpSpPr>
        <p:pic>
          <p:nvPicPr>
            <p:cNvPr id="5" name="Picture 19">
              <a:extLst>
                <a:ext uri="{FF2B5EF4-FFF2-40B4-BE49-F238E27FC236}">
                  <a16:creationId xmlns:a16="http://schemas.microsoft.com/office/drawing/2014/main" id="{7F253F8B-0A4E-75EB-EC9D-2C3500FC7DA2}"/>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6" name="Group 42">
              <a:extLst>
                <a:ext uri="{FF2B5EF4-FFF2-40B4-BE49-F238E27FC236}">
                  <a16:creationId xmlns:a16="http://schemas.microsoft.com/office/drawing/2014/main" id="{4A653A56-CA56-BE31-A917-E1CC155A2F60}"/>
                </a:ext>
              </a:extLst>
            </p:cNvPr>
            <p:cNvGrpSpPr/>
            <p:nvPr/>
          </p:nvGrpSpPr>
          <p:grpSpPr>
            <a:xfrm>
              <a:off x="7191545" y="0"/>
              <a:ext cx="5000460" cy="1425988"/>
              <a:chOff x="7191545" y="0"/>
              <a:chExt cx="5000460" cy="1425988"/>
            </a:xfrm>
          </p:grpSpPr>
          <p:sp>
            <p:nvSpPr>
              <p:cNvPr id="7" name="Freeform 41">
                <a:extLst>
                  <a:ext uri="{FF2B5EF4-FFF2-40B4-BE49-F238E27FC236}">
                    <a16:creationId xmlns:a16="http://schemas.microsoft.com/office/drawing/2014/main" id="{EE865677-B386-AE86-E97C-36482DCE4FE1}"/>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8" name="Freeform 39">
                <a:extLst>
                  <a:ext uri="{FF2B5EF4-FFF2-40B4-BE49-F238E27FC236}">
                    <a16:creationId xmlns:a16="http://schemas.microsoft.com/office/drawing/2014/main" id="{64AC8849-A51D-97A0-5EAC-CAAE712D1250}"/>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9" name="Content Placeholder 3">
            <a:extLst>
              <a:ext uri="{FF2B5EF4-FFF2-40B4-BE49-F238E27FC236}">
                <a16:creationId xmlns:a16="http://schemas.microsoft.com/office/drawing/2014/main" id="{93DCCD97-A96A-2F54-2D8D-5C9DCC485C1B}"/>
              </a:ext>
            </a:extLst>
          </p:cNvPr>
          <p:cNvSpPr txBox="1">
            <a:spLocks noGrp="1"/>
          </p:cNvSpPr>
          <p:nvPr>
            <p:ph idx="2"/>
          </p:nvPr>
        </p:nvSpPr>
        <p:spPr>
          <a:xfrm>
            <a:off x="6172201" y="1825627"/>
            <a:ext cx="5410203" cy="4351336"/>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7">
            <a:extLst>
              <a:ext uri="{FF2B5EF4-FFF2-40B4-BE49-F238E27FC236}">
                <a16:creationId xmlns:a16="http://schemas.microsoft.com/office/drawing/2014/main" id="{8091A44D-4210-65AC-B049-5EFA029E7349}"/>
              </a:ext>
            </a:extLst>
          </p:cNvPr>
          <p:cNvSpPr txBox="1">
            <a:spLocks noGrp="1"/>
          </p:cNvSpPr>
          <p:nvPr>
            <p:ph type="sldNum" sz="quarter" idx="8"/>
          </p:nvPr>
        </p:nvSpPr>
        <p:spPr>
          <a:xfrm>
            <a:off x="8839193" y="6356352"/>
            <a:ext cx="2743200" cy="365129"/>
          </a:xfrm>
        </p:spPr>
        <p:txBody>
          <a:bodyPr/>
          <a:lstStyle>
            <a:lvl1pPr>
              <a:defRPr/>
            </a:lvl1pPr>
          </a:lstStyle>
          <a:p>
            <a:pPr lvl="0"/>
            <a:fld id="{B587B2AF-057A-44FE-A267-BBD368543410}" type="slidenum">
              <a:t>‹#›</a:t>
            </a:fld>
            <a:endParaRPr lang="en-US"/>
          </a:p>
        </p:txBody>
      </p:sp>
      <p:cxnSp>
        <p:nvCxnSpPr>
          <p:cNvPr id="11" name="Straight Connector 6">
            <a:extLst>
              <a:ext uri="{FF2B5EF4-FFF2-40B4-BE49-F238E27FC236}">
                <a16:creationId xmlns:a16="http://schemas.microsoft.com/office/drawing/2014/main" id="{BAA012C9-0C55-5198-93C6-9B1BA777D398}"/>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2" name="Footer Placeholder 4">
            <a:extLst>
              <a:ext uri="{FF2B5EF4-FFF2-40B4-BE49-F238E27FC236}">
                <a16:creationId xmlns:a16="http://schemas.microsoft.com/office/drawing/2014/main" id="{E9642783-82E0-86C5-39E1-CB09C95D6F6C}"/>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3783129635"/>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 name="Group 24">
            <a:extLst>
              <a:ext uri="{FF2B5EF4-FFF2-40B4-BE49-F238E27FC236}">
                <a16:creationId xmlns:a16="http://schemas.microsoft.com/office/drawing/2014/main" id="{A175C22B-72E1-E873-048D-D8A7499B6181}"/>
              </a:ext>
            </a:extLst>
          </p:cNvPr>
          <p:cNvGrpSpPr/>
          <p:nvPr/>
        </p:nvGrpSpPr>
        <p:grpSpPr>
          <a:xfrm>
            <a:off x="7191545" y="0"/>
            <a:ext cx="5000460" cy="1425988"/>
            <a:chOff x="7191545" y="0"/>
            <a:chExt cx="5000460" cy="1425988"/>
          </a:xfrm>
        </p:grpSpPr>
        <p:pic>
          <p:nvPicPr>
            <p:cNvPr id="3" name="Picture 25">
              <a:extLst>
                <a:ext uri="{FF2B5EF4-FFF2-40B4-BE49-F238E27FC236}">
                  <a16:creationId xmlns:a16="http://schemas.microsoft.com/office/drawing/2014/main" id="{8ADD7761-8BA7-8200-84AE-29D6E6D120D9}"/>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26">
              <a:extLst>
                <a:ext uri="{FF2B5EF4-FFF2-40B4-BE49-F238E27FC236}">
                  <a16:creationId xmlns:a16="http://schemas.microsoft.com/office/drawing/2014/main" id="{63D27423-1343-F0E0-7FEA-19361F10CFFC}"/>
                </a:ext>
              </a:extLst>
            </p:cNvPr>
            <p:cNvGrpSpPr/>
            <p:nvPr/>
          </p:nvGrpSpPr>
          <p:grpSpPr>
            <a:xfrm>
              <a:off x="7191545" y="0"/>
              <a:ext cx="5000460" cy="1425988"/>
              <a:chOff x="7191545" y="0"/>
              <a:chExt cx="5000460" cy="1425988"/>
            </a:xfrm>
          </p:grpSpPr>
          <p:sp>
            <p:nvSpPr>
              <p:cNvPr id="5" name="Freeform 27">
                <a:extLst>
                  <a:ext uri="{FF2B5EF4-FFF2-40B4-BE49-F238E27FC236}">
                    <a16:creationId xmlns:a16="http://schemas.microsoft.com/office/drawing/2014/main" id="{9CCE73F4-8A84-E3F4-203C-E4F746E11506}"/>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28">
                <a:extLst>
                  <a:ext uri="{FF2B5EF4-FFF2-40B4-BE49-F238E27FC236}">
                    <a16:creationId xmlns:a16="http://schemas.microsoft.com/office/drawing/2014/main" id="{7030C714-651D-015A-7073-1991677CCB7F}"/>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4F077EC7-CF5C-F785-C834-9E5BE0E5DB8D}"/>
              </a:ext>
            </a:extLst>
          </p:cNvPr>
          <p:cNvSpPr txBox="1">
            <a:spLocks noGrp="1"/>
          </p:cNvSpPr>
          <p:nvPr>
            <p:ph type="title"/>
          </p:nvPr>
        </p:nvSpPr>
        <p:spPr/>
        <p:txBody>
          <a:bodyPr/>
          <a:lstStyle>
            <a:lvl1pPr>
              <a:defRPr/>
            </a:lvl1pPr>
          </a:lstStyle>
          <a:p>
            <a:pPr lvl="0"/>
            <a:r>
              <a:rPr lang="en-US"/>
              <a:t>Click to edit Master title style</a:t>
            </a:r>
          </a:p>
        </p:txBody>
      </p:sp>
      <p:sp>
        <p:nvSpPr>
          <p:cNvPr id="8" name="Text Placeholder 2">
            <a:extLst>
              <a:ext uri="{FF2B5EF4-FFF2-40B4-BE49-F238E27FC236}">
                <a16:creationId xmlns:a16="http://schemas.microsoft.com/office/drawing/2014/main" id="{12AACB23-F159-4E0B-0EEE-453B3765248D}"/>
              </a:ext>
            </a:extLst>
          </p:cNvPr>
          <p:cNvSpPr txBox="1">
            <a:spLocks noGrp="1"/>
          </p:cNvSpPr>
          <p:nvPr>
            <p:ph type="body" idx="1"/>
          </p:nvPr>
        </p:nvSpPr>
        <p:spPr>
          <a:xfrm>
            <a:off x="609604" y="1681160"/>
            <a:ext cx="5387973" cy="823910"/>
          </a:xfrm>
          <a:solidFill>
            <a:srgbClr val="F3F6FB"/>
          </a:solidFill>
        </p:spPr>
        <p:txBody>
          <a:bodyPr lIns="182880" tIns="0" rIns="182880" bIns="0" anchor="ctr"/>
          <a:lstStyle>
            <a:lvl1pPr marL="0" indent="0">
              <a:buNone/>
              <a:defRPr u="sng">
                <a:uFill>
                  <a:solidFill>
                    <a:srgbClr val="F58366"/>
                  </a:solidFill>
                </a:uFill>
              </a:defRPr>
            </a:lvl1pPr>
          </a:lstStyle>
          <a:p>
            <a:pPr lvl="0"/>
            <a:r>
              <a:rPr lang="en-US"/>
              <a:t>Click to edit Master text styles</a:t>
            </a:r>
          </a:p>
        </p:txBody>
      </p:sp>
      <p:sp>
        <p:nvSpPr>
          <p:cNvPr id="9" name="Content Placeholder 3">
            <a:extLst>
              <a:ext uri="{FF2B5EF4-FFF2-40B4-BE49-F238E27FC236}">
                <a16:creationId xmlns:a16="http://schemas.microsoft.com/office/drawing/2014/main" id="{A1CA1A66-3E4C-CFBB-B308-9DF0EE3ECCB3}"/>
              </a:ext>
            </a:extLst>
          </p:cNvPr>
          <p:cNvSpPr txBox="1">
            <a:spLocks noGrp="1"/>
          </p:cNvSpPr>
          <p:nvPr>
            <p:ph idx="2"/>
          </p:nvPr>
        </p:nvSpPr>
        <p:spPr>
          <a:xfrm>
            <a:off x="609604" y="2505072"/>
            <a:ext cx="5387973" cy="3684583"/>
          </a:xfrm>
          <a:solidFill>
            <a:srgbClr val="F3F6FB"/>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58FCD804-C9FF-AD0D-62D2-AFF2385E8560}"/>
              </a:ext>
            </a:extLst>
          </p:cNvPr>
          <p:cNvSpPr txBox="1">
            <a:spLocks noGrp="1"/>
          </p:cNvSpPr>
          <p:nvPr>
            <p:ph type="body" idx="3"/>
          </p:nvPr>
        </p:nvSpPr>
        <p:spPr>
          <a:xfrm>
            <a:off x="6172201" y="1681160"/>
            <a:ext cx="5410203" cy="823910"/>
          </a:xfrm>
          <a:solidFill>
            <a:srgbClr val="F3F6FB"/>
          </a:solidFill>
        </p:spPr>
        <p:txBody>
          <a:bodyPr lIns="182880" tIns="0" rIns="182880" bIns="0" anchor="ctr"/>
          <a:lstStyle>
            <a:lvl1pPr marL="0" indent="0">
              <a:buNone/>
              <a:defRPr u="sng">
                <a:uFill>
                  <a:solidFill>
                    <a:srgbClr val="F58366"/>
                  </a:solidFill>
                </a:uFill>
              </a:defRPr>
            </a:lvl1pPr>
          </a:lstStyle>
          <a:p>
            <a:pPr lvl="0"/>
            <a:r>
              <a:rPr lang="en-US"/>
              <a:t>Click to edit Master text styles</a:t>
            </a:r>
          </a:p>
        </p:txBody>
      </p:sp>
      <p:sp>
        <p:nvSpPr>
          <p:cNvPr id="11" name="Content Placeholder 5">
            <a:extLst>
              <a:ext uri="{FF2B5EF4-FFF2-40B4-BE49-F238E27FC236}">
                <a16:creationId xmlns:a16="http://schemas.microsoft.com/office/drawing/2014/main" id="{F56AF838-DA83-83E4-FCFC-6737E97EF3BF}"/>
              </a:ext>
            </a:extLst>
          </p:cNvPr>
          <p:cNvSpPr txBox="1">
            <a:spLocks noGrp="1"/>
          </p:cNvSpPr>
          <p:nvPr>
            <p:ph idx="4"/>
          </p:nvPr>
        </p:nvSpPr>
        <p:spPr>
          <a:xfrm>
            <a:off x="6172201" y="2505072"/>
            <a:ext cx="5410203" cy="3684583"/>
          </a:xfrm>
          <a:solidFill>
            <a:srgbClr val="F3F6FB"/>
          </a:solidFill>
        </p:spPr>
        <p:txBody>
          <a:bodyPr lIns="182880" tIns="0" rIns="182880" bIns="0"/>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9">
            <a:extLst>
              <a:ext uri="{FF2B5EF4-FFF2-40B4-BE49-F238E27FC236}">
                <a16:creationId xmlns:a16="http://schemas.microsoft.com/office/drawing/2014/main" id="{200572A4-27F3-52F6-17FA-B77BE9A3D278}"/>
              </a:ext>
            </a:extLst>
          </p:cNvPr>
          <p:cNvSpPr txBox="1">
            <a:spLocks noGrp="1"/>
          </p:cNvSpPr>
          <p:nvPr>
            <p:ph type="sldNum" sz="quarter" idx="8"/>
          </p:nvPr>
        </p:nvSpPr>
        <p:spPr/>
        <p:txBody>
          <a:bodyPr/>
          <a:lstStyle>
            <a:lvl1pPr>
              <a:defRPr/>
            </a:lvl1pPr>
          </a:lstStyle>
          <a:p>
            <a:pPr lvl="0"/>
            <a:fld id="{43687749-CDBD-4DF3-9328-133C669C887D}" type="slidenum">
              <a:t>‹#›</a:t>
            </a:fld>
            <a:endParaRPr lang="en-US"/>
          </a:p>
        </p:txBody>
      </p:sp>
      <p:cxnSp>
        <p:nvCxnSpPr>
          <p:cNvPr id="13" name="Straight Connector 8">
            <a:extLst>
              <a:ext uri="{FF2B5EF4-FFF2-40B4-BE49-F238E27FC236}">
                <a16:creationId xmlns:a16="http://schemas.microsoft.com/office/drawing/2014/main" id="{94DE9C11-0B57-80F7-4B4C-C61FA42058BA}"/>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4" name="Footer Placeholder 7">
            <a:extLst>
              <a:ext uri="{FF2B5EF4-FFF2-40B4-BE49-F238E27FC236}">
                <a16:creationId xmlns:a16="http://schemas.microsoft.com/office/drawing/2014/main" id="{1508C071-8B11-D38C-E124-F507BE19CEBA}"/>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2740117984"/>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 name="Group 21">
            <a:extLst>
              <a:ext uri="{FF2B5EF4-FFF2-40B4-BE49-F238E27FC236}">
                <a16:creationId xmlns:a16="http://schemas.microsoft.com/office/drawing/2014/main" id="{6F99B287-1477-E1D1-FFEB-5F522566C00C}"/>
              </a:ext>
            </a:extLst>
          </p:cNvPr>
          <p:cNvGrpSpPr/>
          <p:nvPr/>
        </p:nvGrpSpPr>
        <p:grpSpPr>
          <a:xfrm>
            <a:off x="7191545" y="0"/>
            <a:ext cx="5000460" cy="1425988"/>
            <a:chOff x="7191545" y="0"/>
            <a:chExt cx="5000460" cy="1425988"/>
          </a:xfrm>
        </p:grpSpPr>
        <p:pic>
          <p:nvPicPr>
            <p:cNvPr id="3" name="Picture 22">
              <a:extLst>
                <a:ext uri="{FF2B5EF4-FFF2-40B4-BE49-F238E27FC236}">
                  <a16:creationId xmlns:a16="http://schemas.microsoft.com/office/drawing/2014/main" id="{B557CD98-5BCC-B422-B5F5-9D4D307AB94A}"/>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23">
              <a:extLst>
                <a:ext uri="{FF2B5EF4-FFF2-40B4-BE49-F238E27FC236}">
                  <a16:creationId xmlns:a16="http://schemas.microsoft.com/office/drawing/2014/main" id="{7EA8FBB5-6AE1-6475-55E4-0A503DA3B8C4}"/>
                </a:ext>
              </a:extLst>
            </p:cNvPr>
            <p:cNvGrpSpPr/>
            <p:nvPr/>
          </p:nvGrpSpPr>
          <p:grpSpPr>
            <a:xfrm>
              <a:off x="7191545" y="0"/>
              <a:ext cx="5000460" cy="1425988"/>
              <a:chOff x="7191545" y="0"/>
              <a:chExt cx="5000460" cy="1425988"/>
            </a:xfrm>
          </p:grpSpPr>
          <p:sp>
            <p:nvSpPr>
              <p:cNvPr id="5" name="Freeform 24">
                <a:extLst>
                  <a:ext uri="{FF2B5EF4-FFF2-40B4-BE49-F238E27FC236}">
                    <a16:creationId xmlns:a16="http://schemas.microsoft.com/office/drawing/2014/main" id="{D7CF9ED0-E499-CCA0-65C8-9B3BCB3D1895}"/>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25">
                <a:extLst>
                  <a:ext uri="{FF2B5EF4-FFF2-40B4-BE49-F238E27FC236}">
                    <a16:creationId xmlns:a16="http://schemas.microsoft.com/office/drawing/2014/main" id="{AC69D406-2D44-2E71-966D-E5B3F6BFD01A}"/>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FCD394A8-C865-903C-AF99-51925485D4E2}"/>
              </a:ext>
            </a:extLst>
          </p:cNvPr>
          <p:cNvSpPr txBox="1">
            <a:spLocks noGrp="1"/>
          </p:cNvSpPr>
          <p:nvPr>
            <p:ph type="title"/>
          </p:nvPr>
        </p:nvSpPr>
        <p:spPr/>
        <p:txBody>
          <a:bodyPr/>
          <a:lstStyle>
            <a:lvl1pPr>
              <a:defRPr/>
            </a:lvl1pPr>
          </a:lstStyle>
          <a:p>
            <a:pPr lvl="0"/>
            <a:r>
              <a:rPr lang="en-US"/>
              <a:t>Click to edit Master title style</a:t>
            </a:r>
          </a:p>
        </p:txBody>
      </p:sp>
      <p:sp>
        <p:nvSpPr>
          <p:cNvPr id="8" name="Slide Number Placeholder 5">
            <a:extLst>
              <a:ext uri="{FF2B5EF4-FFF2-40B4-BE49-F238E27FC236}">
                <a16:creationId xmlns:a16="http://schemas.microsoft.com/office/drawing/2014/main" id="{CB234A04-220A-3F9F-3210-8862F3C12108}"/>
              </a:ext>
            </a:extLst>
          </p:cNvPr>
          <p:cNvSpPr txBox="1">
            <a:spLocks noGrp="1"/>
          </p:cNvSpPr>
          <p:nvPr>
            <p:ph type="sldNum" sz="quarter" idx="8"/>
          </p:nvPr>
        </p:nvSpPr>
        <p:spPr/>
        <p:txBody>
          <a:bodyPr/>
          <a:lstStyle>
            <a:lvl1pPr>
              <a:defRPr/>
            </a:lvl1pPr>
          </a:lstStyle>
          <a:p>
            <a:pPr lvl="0"/>
            <a:fld id="{74E8A0DF-318C-4CF7-9AF3-B828F32B650F}" type="slidenum">
              <a:t>‹#›</a:t>
            </a:fld>
            <a:endParaRPr lang="en-US"/>
          </a:p>
        </p:txBody>
      </p:sp>
      <p:cxnSp>
        <p:nvCxnSpPr>
          <p:cNvPr id="9" name="Straight Connector 6">
            <a:extLst>
              <a:ext uri="{FF2B5EF4-FFF2-40B4-BE49-F238E27FC236}">
                <a16:creationId xmlns:a16="http://schemas.microsoft.com/office/drawing/2014/main" id="{40C908E8-B96F-E2A8-A5EC-2D10D4045D30}"/>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0" name="Footer Placeholder 2">
            <a:extLst>
              <a:ext uri="{FF2B5EF4-FFF2-40B4-BE49-F238E27FC236}">
                <a16:creationId xmlns:a16="http://schemas.microsoft.com/office/drawing/2014/main" id="{E1200F36-2C5F-76EC-B8B2-73EA62BE2BE2}"/>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2078823391"/>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9_End">
    <p:spTree>
      <p:nvGrpSpPr>
        <p:cNvPr id="1" name=""/>
        <p:cNvGrpSpPr/>
        <p:nvPr/>
      </p:nvGrpSpPr>
      <p:grpSpPr>
        <a:xfrm>
          <a:off x="0" y="0"/>
          <a:ext cx="0" cy="0"/>
          <a:chOff x="0" y="0"/>
          <a:chExt cx="0" cy="0"/>
        </a:xfrm>
      </p:grpSpPr>
      <p:grpSp>
        <p:nvGrpSpPr>
          <p:cNvPr id="2" name="Group 41">
            <a:extLst>
              <a:ext uri="{FF2B5EF4-FFF2-40B4-BE49-F238E27FC236}">
                <a16:creationId xmlns:a16="http://schemas.microsoft.com/office/drawing/2014/main" id="{982FA352-1BC2-73CF-4D72-740272DD9C89}"/>
              </a:ext>
            </a:extLst>
          </p:cNvPr>
          <p:cNvGrpSpPr/>
          <p:nvPr/>
        </p:nvGrpSpPr>
        <p:grpSpPr>
          <a:xfrm>
            <a:off x="0" y="0"/>
            <a:ext cx="12191996" cy="2148830"/>
            <a:chOff x="0" y="0"/>
            <a:chExt cx="12191996" cy="2148830"/>
          </a:xfrm>
        </p:grpSpPr>
        <p:sp>
          <p:nvSpPr>
            <p:cNvPr id="3" name="Freeform 40">
              <a:extLst>
                <a:ext uri="{FF2B5EF4-FFF2-40B4-BE49-F238E27FC236}">
                  <a16:creationId xmlns:a16="http://schemas.microsoft.com/office/drawing/2014/main" id="{8C31FB6E-52E5-D482-2033-B832C83175E7}"/>
                </a:ext>
              </a:extLst>
            </p:cNvPr>
            <p:cNvSpPr/>
            <p:nvPr/>
          </p:nvSpPr>
          <p:spPr>
            <a:xfrm flipH="1">
              <a:off x="0" y="0"/>
              <a:ext cx="12191996" cy="2148830"/>
            </a:xfrm>
            <a:custGeom>
              <a:avLst/>
              <a:gdLst>
                <a:gd name="f0" fmla="val 10800000"/>
                <a:gd name="f1" fmla="val 5400000"/>
                <a:gd name="f2" fmla="val 180"/>
                <a:gd name="f3" fmla="val w"/>
                <a:gd name="f4" fmla="val h"/>
                <a:gd name="f5" fmla="val 0"/>
                <a:gd name="f6" fmla="val 12192000"/>
                <a:gd name="f7" fmla="val 2148830"/>
                <a:gd name="f8" fmla="val 2318293"/>
                <a:gd name="f9" fmla="val 2110341"/>
                <a:gd name="f10" fmla="val 1952334"/>
                <a:gd name="f11" fmla="val 920"/>
                <a:gd name="f12" fmla="val 1343499"/>
                <a:gd name="f13" fmla="val 23864"/>
                <a:gd name="f14" fmla="val 752130"/>
                <a:gd name="f15" fmla="val 152982"/>
                <a:gd name="f16" fmla="val 184205"/>
                <a:gd name="f17" fmla="val 435928"/>
                <a:gd name="f18" fmla="val 536864"/>
                <a:gd name="f19" fmla="val 554713"/>
                <a:gd name="f20" fmla="val 201115"/>
                <a:gd name="f21" fmla="val 452796"/>
                <a:gd name="f22" fmla="val 776357"/>
                <a:gd name="f23" fmla="val 187336"/>
                <a:gd name="f24" fmla="val 1349828"/>
                <a:gd name="f25" fmla="val 76760"/>
                <a:gd name="f26" fmla="val 1947588"/>
                <a:gd name="f27" fmla="val 66249"/>
                <a:gd name="f28" fmla="val 2962940"/>
                <a:gd name="f29" fmla="val 48421"/>
                <a:gd name="f30" fmla="val 3890218"/>
                <a:gd name="f31" fmla="val 291317"/>
                <a:gd name="f32" fmla="val 4778140"/>
                <a:gd name="f33" fmla="val 604018"/>
                <a:gd name="f34" fmla="val 7231510"/>
                <a:gd name="f35" fmla="val 1468126"/>
                <a:gd name="f36" fmla="val 9178927"/>
                <a:gd name="f37" fmla="val 2492024"/>
                <a:gd name="f38" fmla="val 11996242"/>
                <a:gd name="f39" fmla="val 2036894"/>
                <a:gd name="f40" fmla="val 2002266"/>
                <a:gd name="f41" fmla="val 1415250"/>
                <a:gd name="f42" fmla="val 12022971"/>
                <a:gd name="f43" fmla="val 1470801"/>
                <a:gd name="f44" fmla="val 10719696"/>
                <a:gd name="f45" fmla="val 1863939"/>
                <a:gd name="f46" fmla="val 9271154"/>
                <a:gd name="f47" fmla="val 1783804"/>
                <a:gd name="f48" fmla="val 7970940"/>
                <a:gd name="f49" fmla="val 1436986"/>
                <a:gd name="f50" fmla="val 6890984"/>
                <a:gd name="f51" fmla="val 1148958"/>
                <a:gd name="f52" fmla="val 5866930"/>
                <a:gd name="f53" fmla="val 767309"/>
                <a:gd name="f54" fmla="val 4800356"/>
                <a:gd name="f55" fmla="val 456582"/>
                <a:gd name="f56" fmla="val 4068903"/>
                <a:gd name="f57" fmla="val 243471"/>
                <a:gd name="f58" fmla="val 3348204"/>
                <a:gd name="f59" fmla="val 74251"/>
                <a:gd name="f60" fmla="val 2646880"/>
                <a:gd name="f61" fmla="val 17560"/>
                <a:gd name="f62" fmla="+- 0 0 -90"/>
                <a:gd name="f63" fmla="*/ f3 1 12192000"/>
                <a:gd name="f64" fmla="*/ f4 1 2148830"/>
                <a:gd name="f65" fmla="+- f7 0 f5"/>
                <a:gd name="f66" fmla="+- f6 0 f5"/>
                <a:gd name="f67" fmla="*/ f62 f0 1"/>
                <a:gd name="f68" fmla="*/ f66 1 12192000"/>
                <a:gd name="f69" fmla="*/ f65 1 2148830"/>
                <a:gd name="f70" fmla="*/ 2318293 f66 1"/>
                <a:gd name="f71" fmla="*/ 0 f65 1"/>
                <a:gd name="f72" fmla="*/ 2110341 f66 1"/>
                <a:gd name="f73" fmla="*/ 1952334 f66 1"/>
                <a:gd name="f74" fmla="*/ 920 f65 1"/>
                <a:gd name="f75" fmla="*/ 184205 f66 1"/>
                <a:gd name="f76" fmla="*/ 435928 f65 1"/>
                <a:gd name="f77" fmla="*/ 0 f66 1"/>
                <a:gd name="f78" fmla="*/ 536864 f65 1"/>
                <a:gd name="f79" fmla="*/ 554713 f65 1"/>
                <a:gd name="f80" fmla="*/ 201115 f66 1"/>
                <a:gd name="f81" fmla="*/ 452796 f65 1"/>
                <a:gd name="f82" fmla="*/ 1947588 f66 1"/>
                <a:gd name="f83" fmla="*/ 66249 f65 1"/>
                <a:gd name="f84" fmla="*/ 4778140 f66 1"/>
                <a:gd name="f85" fmla="*/ 604018 f65 1"/>
                <a:gd name="f86" fmla="*/ 11996242 f66 1"/>
                <a:gd name="f87" fmla="*/ 2036894 f65 1"/>
                <a:gd name="f88" fmla="*/ 12192000 f66 1"/>
                <a:gd name="f89" fmla="*/ 2002266 f65 1"/>
                <a:gd name="f90" fmla="*/ 1415250 f65 1"/>
                <a:gd name="f91" fmla="*/ 12022971 f66 1"/>
                <a:gd name="f92" fmla="*/ 1470801 f65 1"/>
                <a:gd name="f93" fmla="*/ 7970940 f66 1"/>
                <a:gd name="f94" fmla="*/ 1436986 f65 1"/>
                <a:gd name="f95" fmla="*/ 4800356 f66 1"/>
                <a:gd name="f96" fmla="*/ 456582 f65 1"/>
                <a:gd name="f97" fmla="*/ 2646880 f66 1"/>
                <a:gd name="f98" fmla="*/ 17560 f65 1"/>
                <a:gd name="f99" fmla="*/ f67 1 f2"/>
                <a:gd name="f100" fmla="*/ f70 1 12192000"/>
                <a:gd name="f101" fmla="*/ f71 1 2148830"/>
                <a:gd name="f102" fmla="*/ f72 1 12192000"/>
                <a:gd name="f103" fmla="*/ f73 1 12192000"/>
                <a:gd name="f104" fmla="*/ f74 1 2148830"/>
                <a:gd name="f105" fmla="*/ f75 1 12192000"/>
                <a:gd name="f106" fmla="*/ f76 1 2148830"/>
                <a:gd name="f107" fmla="*/ f77 1 12192000"/>
                <a:gd name="f108" fmla="*/ f78 1 2148830"/>
                <a:gd name="f109" fmla="*/ f79 1 2148830"/>
                <a:gd name="f110" fmla="*/ f80 1 12192000"/>
                <a:gd name="f111" fmla="*/ f81 1 2148830"/>
                <a:gd name="f112" fmla="*/ f82 1 12192000"/>
                <a:gd name="f113" fmla="*/ f83 1 2148830"/>
                <a:gd name="f114" fmla="*/ f84 1 12192000"/>
                <a:gd name="f115" fmla="*/ f85 1 2148830"/>
                <a:gd name="f116" fmla="*/ f86 1 12192000"/>
                <a:gd name="f117" fmla="*/ f87 1 2148830"/>
                <a:gd name="f118" fmla="*/ f88 1 12192000"/>
                <a:gd name="f119" fmla="*/ f89 1 2148830"/>
                <a:gd name="f120" fmla="*/ f90 1 2148830"/>
                <a:gd name="f121" fmla="*/ f91 1 12192000"/>
                <a:gd name="f122" fmla="*/ f92 1 2148830"/>
                <a:gd name="f123" fmla="*/ f93 1 12192000"/>
                <a:gd name="f124" fmla="*/ f94 1 2148830"/>
                <a:gd name="f125" fmla="*/ f95 1 12192000"/>
                <a:gd name="f126" fmla="*/ f96 1 2148830"/>
                <a:gd name="f127" fmla="*/ f97 1 12192000"/>
                <a:gd name="f128" fmla="*/ f98 1 2148830"/>
                <a:gd name="f129" fmla="*/ f5 1 f68"/>
                <a:gd name="f130" fmla="*/ f6 1 f68"/>
                <a:gd name="f131" fmla="*/ f5 1 f69"/>
                <a:gd name="f132" fmla="*/ f7 1 f69"/>
                <a:gd name="f133" fmla="+- f99 0 f1"/>
                <a:gd name="f134" fmla="*/ f100 1 f68"/>
                <a:gd name="f135" fmla="*/ f101 1 f69"/>
                <a:gd name="f136" fmla="*/ f102 1 f68"/>
                <a:gd name="f137" fmla="*/ f103 1 f68"/>
                <a:gd name="f138" fmla="*/ f104 1 f69"/>
                <a:gd name="f139" fmla="*/ f105 1 f68"/>
                <a:gd name="f140" fmla="*/ f106 1 f69"/>
                <a:gd name="f141" fmla="*/ f107 1 f68"/>
                <a:gd name="f142" fmla="*/ f108 1 f69"/>
                <a:gd name="f143" fmla="*/ f109 1 f69"/>
                <a:gd name="f144" fmla="*/ f110 1 f68"/>
                <a:gd name="f145" fmla="*/ f111 1 f69"/>
                <a:gd name="f146" fmla="*/ f112 1 f68"/>
                <a:gd name="f147" fmla="*/ f113 1 f69"/>
                <a:gd name="f148" fmla="*/ f114 1 f68"/>
                <a:gd name="f149" fmla="*/ f115 1 f69"/>
                <a:gd name="f150" fmla="*/ f116 1 f68"/>
                <a:gd name="f151" fmla="*/ f117 1 f69"/>
                <a:gd name="f152" fmla="*/ f118 1 f68"/>
                <a:gd name="f153" fmla="*/ f119 1 f69"/>
                <a:gd name="f154" fmla="*/ f120 1 f69"/>
                <a:gd name="f155" fmla="*/ f121 1 f68"/>
                <a:gd name="f156" fmla="*/ f122 1 f69"/>
                <a:gd name="f157" fmla="*/ f123 1 f68"/>
                <a:gd name="f158" fmla="*/ f124 1 f69"/>
                <a:gd name="f159" fmla="*/ f125 1 f68"/>
                <a:gd name="f160" fmla="*/ f126 1 f69"/>
                <a:gd name="f161" fmla="*/ f127 1 f68"/>
                <a:gd name="f162" fmla="*/ f128 1 f69"/>
                <a:gd name="f163" fmla="*/ f129 f63 1"/>
                <a:gd name="f164" fmla="*/ f130 f63 1"/>
                <a:gd name="f165" fmla="*/ f132 f64 1"/>
                <a:gd name="f166" fmla="*/ f131 f64 1"/>
                <a:gd name="f167" fmla="*/ f134 f63 1"/>
                <a:gd name="f168" fmla="*/ f135 f64 1"/>
                <a:gd name="f169" fmla="*/ f136 f63 1"/>
                <a:gd name="f170" fmla="*/ f137 f63 1"/>
                <a:gd name="f171" fmla="*/ f138 f64 1"/>
                <a:gd name="f172" fmla="*/ f139 f63 1"/>
                <a:gd name="f173" fmla="*/ f140 f64 1"/>
                <a:gd name="f174" fmla="*/ f141 f63 1"/>
                <a:gd name="f175" fmla="*/ f142 f64 1"/>
                <a:gd name="f176" fmla="*/ f143 f64 1"/>
                <a:gd name="f177" fmla="*/ f144 f63 1"/>
                <a:gd name="f178" fmla="*/ f145 f64 1"/>
                <a:gd name="f179" fmla="*/ f146 f63 1"/>
                <a:gd name="f180" fmla="*/ f147 f64 1"/>
                <a:gd name="f181" fmla="*/ f148 f63 1"/>
                <a:gd name="f182" fmla="*/ f149 f64 1"/>
                <a:gd name="f183" fmla="*/ f150 f63 1"/>
                <a:gd name="f184" fmla="*/ f151 f64 1"/>
                <a:gd name="f185" fmla="*/ f152 f63 1"/>
                <a:gd name="f186" fmla="*/ f153 f64 1"/>
                <a:gd name="f187" fmla="*/ f154 f64 1"/>
                <a:gd name="f188" fmla="*/ f155 f63 1"/>
                <a:gd name="f189" fmla="*/ f156 f64 1"/>
                <a:gd name="f190" fmla="*/ f157 f63 1"/>
                <a:gd name="f191" fmla="*/ f158 f64 1"/>
                <a:gd name="f192" fmla="*/ f159 f63 1"/>
                <a:gd name="f193" fmla="*/ f160 f64 1"/>
                <a:gd name="f194" fmla="*/ f161 f63 1"/>
                <a:gd name="f195" fmla="*/ f162 f64 1"/>
              </a:gdLst>
              <a:ahLst/>
              <a:cxnLst>
                <a:cxn ang="3cd4">
                  <a:pos x="hc" y="t"/>
                </a:cxn>
                <a:cxn ang="0">
                  <a:pos x="r" y="vc"/>
                </a:cxn>
                <a:cxn ang="cd4">
                  <a:pos x="hc" y="b"/>
                </a:cxn>
                <a:cxn ang="cd2">
                  <a:pos x="l" y="vc"/>
                </a:cxn>
                <a:cxn ang="f133">
                  <a:pos x="f167" y="f168"/>
                </a:cxn>
                <a:cxn ang="f133">
                  <a:pos x="f169" y="f168"/>
                </a:cxn>
                <a:cxn ang="f133">
                  <a:pos x="f170" y="f171"/>
                </a:cxn>
                <a:cxn ang="f133">
                  <a:pos x="f172" y="f173"/>
                </a:cxn>
                <a:cxn ang="f133">
                  <a:pos x="f174" y="f175"/>
                </a:cxn>
                <a:cxn ang="f133">
                  <a:pos x="f174" y="f176"/>
                </a:cxn>
                <a:cxn ang="f133">
                  <a:pos x="f177" y="f178"/>
                </a:cxn>
                <a:cxn ang="f133">
                  <a:pos x="f179" y="f180"/>
                </a:cxn>
                <a:cxn ang="f133">
                  <a:pos x="f181" y="f182"/>
                </a:cxn>
                <a:cxn ang="f133">
                  <a:pos x="f183" y="f184"/>
                </a:cxn>
                <a:cxn ang="f133">
                  <a:pos x="f185" y="f186"/>
                </a:cxn>
                <a:cxn ang="f133">
                  <a:pos x="f185" y="f187"/>
                </a:cxn>
                <a:cxn ang="f133">
                  <a:pos x="f188" y="f189"/>
                </a:cxn>
                <a:cxn ang="f133">
                  <a:pos x="f190" y="f191"/>
                </a:cxn>
                <a:cxn ang="f133">
                  <a:pos x="f192" y="f193"/>
                </a:cxn>
                <a:cxn ang="f133">
                  <a:pos x="f194" y="f195"/>
                </a:cxn>
              </a:cxnLst>
              <a:rect l="f163" t="f166" r="f164" b="f165"/>
              <a:pathLst>
                <a:path w="12192000" h="2148830">
                  <a:moveTo>
                    <a:pt x="f8" y="f5"/>
                  </a:moveTo>
                  <a:lnTo>
                    <a:pt x="f9" y="f5"/>
                  </a:lnTo>
                  <a:lnTo>
                    <a:pt x="f10" y="f11"/>
                  </a:lnTo>
                  <a:cubicBezTo>
                    <a:pt x="f12" y="f13"/>
                    <a:pt x="f14" y="f15"/>
                    <a:pt x="f16" y="f17"/>
                  </a:cubicBezTo>
                  <a:lnTo>
                    <a:pt x="f5" y="f18"/>
                  </a:lnTo>
                  <a:lnTo>
                    <a:pt x="f5" y="f19"/>
                  </a:lnTo>
                  <a:lnTo>
                    <a:pt x="f20" y="f21"/>
                  </a:lnTo>
                  <a:cubicBezTo>
                    <a:pt x="f22" y="f23"/>
                    <a:pt x="f24" y="f25"/>
                    <a:pt x="f26" y="f27"/>
                  </a:cubicBezTo>
                  <a:cubicBezTo>
                    <a:pt x="f28" y="f29"/>
                    <a:pt x="f30" y="f31"/>
                    <a:pt x="f32" y="f33"/>
                  </a:cubicBezTo>
                  <a:cubicBezTo>
                    <a:pt x="f34" y="f35"/>
                    <a:pt x="f36" y="f37"/>
                    <a:pt x="f38" y="f39"/>
                  </a:cubicBezTo>
                  <a:lnTo>
                    <a:pt x="f6" y="f40"/>
                  </a:lnTo>
                  <a:lnTo>
                    <a:pt x="f6" y="f41"/>
                  </a:lnTo>
                  <a:lnTo>
                    <a:pt x="f42" y="f43"/>
                  </a:lnTo>
                  <a:cubicBezTo>
                    <a:pt x="f44" y="f45"/>
                    <a:pt x="f46" y="f47"/>
                    <a:pt x="f48" y="f49"/>
                  </a:cubicBezTo>
                  <a:cubicBezTo>
                    <a:pt x="f50" y="f51"/>
                    <a:pt x="f52" y="f53"/>
                    <a:pt x="f54" y="f55"/>
                  </a:cubicBezTo>
                  <a:cubicBezTo>
                    <a:pt x="f56" y="f57"/>
                    <a:pt x="f58" y="f59"/>
                    <a:pt x="f60" y="f61"/>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4" name="Freeform 38">
              <a:extLst>
                <a:ext uri="{FF2B5EF4-FFF2-40B4-BE49-F238E27FC236}">
                  <a16:creationId xmlns:a16="http://schemas.microsoft.com/office/drawing/2014/main" id="{69BC63C7-08B1-63D2-BC89-E2677FE89EDF}"/>
                </a:ext>
              </a:extLst>
            </p:cNvPr>
            <p:cNvSpPr/>
            <p:nvPr/>
          </p:nvSpPr>
          <p:spPr>
            <a:xfrm flipH="1">
              <a:off x="0" y="0"/>
              <a:ext cx="12191996" cy="1992139"/>
            </a:xfrm>
            <a:custGeom>
              <a:avLst/>
              <a:gdLst>
                <a:gd name="f0" fmla="val 10800000"/>
                <a:gd name="f1" fmla="val 5400000"/>
                <a:gd name="f2" fmla="val 180"/>
                <a:gd name="f3" fmla="val w"/>
                <a:gd name="f4" fmla="val h"/>
                <a:gd name="f5" fmla="val 0"/>
                <a:gd name="f6" fmla="val 12192000"/>
                <a:gd name="f7" fmla="val 1992138"/>
                <a:gd name="f8" fmla="val 2724271"/>
                <a:gd name="f9" fmla="val 1788442"/>
                <a:gd name="f10" fmla="val 1635403"/>
                <a:gd name="f11" fmla="val 12925"/>
                <a:gd name="f12" fmla="val 1134241"/>
                <a:gd name="f13" fmla="val 70905"/>
                <a:gd name="f14" fmla="val 647221"/>
                <a:gd name="f15" fmla="val 207817"/>
                <a:gd name="f16" fmla="val 178220"/>
                <a:gd name="f17" fmla="val 451207"/>
                <a:gd name="f18" fmla="val 552718"/>
                <a:gd name="f19" fmla="val 570885"/>
                <a:gd name="f20" fmla="val 195368"/>
                <a:gd name="f21" fmla="val 467800"/>
                <a:gd name="f22" fmla="val 765758"/>
                <a:gd name="f23" fmla="val 193094"/>
                <a:gd name="f24" fmla="val 1336955"/>
                <a:gd name="f25" fmla="val 73179"/>
                <a:gd name="f26" fmla="val 1934073"/>
                <a:gd name="f27" fmla="val 52850"/>
                <a:gd name="f28" fmla="val 2948304"/>
                <a:gd name="f29" fmla="val 18310"/>
                <a:gd name="f30" fmla="val 3878878"/>
                <a:gd name="f31" fmla="val 245747"/>
                <a:gd name="f32" fmla="val 4771217"/>
                <a:gd name="f33" fmla="val 543645"/>
                <a:gd name="f34" fmla="val 7236913"/>
                <a:gd name="f35" fmla="val 1366709"/>
                <a:gd name="f36" fmla="val 9199689"/>
                <a:gd name="f37" fmla="val 2357774"/>
                <a:gd name="f38" fmla="val 12007222"/>
                <a:gd name="f39" fmla="val 1856729"/>
                <a:gd name="f40" fmla="val 1820900"/>
                <a:gd name="f41" fmla="val 897073"/>
                <a:gd name="f42" fmla="val 12062517"/>
                <a:gd name="f43" fmla="val 950128"/>
                <a:gd name="f44" fmla="val 10950292"/>
                <a:gd name="f45" fmla="val 1376478"/>
                <a:gd name="f46" fmla="val 9595706"/>
                <a:gd name="f47" fmla="val 1466451"/>
                <a:gd name="f48" fmla="val 8435105"/>
                <a:gd name="f49" fmla="val 1266613"/>
                <a:gd name="f50" fmla="val 6618389"/>
                <a:gd name="f51" fmla="val 953715"/>
                <a:gd name="f52" fmla="val 4735222"/>
                <a:gd name="f53" fmla="val 130088"/>
                <a:gd name="f54" fmla="val 2948502"/>
                <a:gd name="f55" fmla="val 20548"/>
                <a:gd name="f56" fmla="+- 0 0 -90"/>
                <a:gd name="f57" fmla="*/ f3 1 12192000"/>
                <a:gd name="f58" fmla="*/ f4 1 1992138"/>
                <a:gd name="f59" fmla="+- f7 0 f5"/>
                <a:gd name="f60" fmla="+- f6 0 f5"/>
                <a:gd name="f61" fmla="*/ f56 f0 1"/>
                <a:gd name="f62" fmla="*/ f60 1 12192000"/>
                <a:gd name="f63" fmla="*/ f59 1 1992138"/>
                <a:gd name="f64" fmla="*/ 2724271 f60 1"/>
                <a:gd name="f65" fmla="*/ 0 f59 1"/>
                <a:gd name="f66" fmla="*/ 1788442 f60 1"/>
                <a:gd name="f67" fmla="*/ 1635403 f60 1"/>
                <a:gd name="f68" fmla="*/ 12925 f59 1"/>
                <a:gd name="f69" fmla="*/ 178220 f60 1"/>
                <a:gd name="f70" fmla="*/ 451207 f59 1"/>
                <a:gd name="f71" fmla="*/ 0 f60 1"/>
                <a:gd name="f72" fmla="*/ 552718 f59 1"/>
                <a:gd name="f73" fmla="*/ 570885 f59 1"/>
                <a:gd name="f74" fmla="*/ 195368 f60 1"/>
                <a:gd name="f75" fmla="*/ 467800 f59 1"/>
                <a:gd name="f76" fmla="*/ 1934073 f60 1"/>
                <a:gd name="f77" fmla="*/ 52850 f59 1"/>
                <a:gd name="f78" fmla="*/ 4771217 f60 1"/>
                <a:gd name="f79" fmla="*/ 543645 f59 1"/>
                <a:gd name="f80" fmla="*/ 12007222 f60 1"/>
                <a:gd name="f81" fmla="*/ 1856729 f59 1"/>
                <a:gd name="f82" fmla="*/ 12192000 f60 1"/>
                <a:gd name="f83" fmla="*/ 1820900 f59 1"/>
                <a:gd name="f84" fmla="*/ 897073 f59 1"/>
                <a:gd name="f85" fmla="*/ 12062517 f60 1"/>
                <a:gd name="f86" fmla="*/ 950128 f59 1"/>
                <a:gd name="f87" fmla="*/ 8435105 f60 1"/>
                <a:gd name="f88" fmla="*/ 1266613 f59 1"/>
                <a:gd name="f89" fmla="*/ 2948502 f60 1"/>
                <a:gd name="f90" fmla="*/ 20548 f59 1"/>
                <a:gd name="f91" fmla="*/ f61 1 f2"/>
                <a:gd name="f92" fmla="*/ f64 1 12192000"/>
                <a:gd name="f93" fmla="*/ f65 1 1992138"/>
                <a:gd name="f94" fmla="*/ f66 1 12192000"/>
                <a:gd name="f95" fmla="*/ f67 1 12192000"/>
                <a:gd name="f96" fmla="*/ f68 1 1992138"/>
                <a:gd name="f97" fmla="*/ f69 1 12192000"/>
                <a:gd name="f98" fmla="*/ f70 1 1992138"/>
                <a:gd name="f99" fmla="*/ f71 1 12192000"/>
                <a:gd name="f100" fmla="*/ f72 1 1992138"/>
                <a:gd name="f101" fmla="*/ f73 1 1992138"/>
                <a:gd name="f102" fmla="*/ f74 1 12192000"/>
                <a:gd name="f103" fmla="*/ f75 1 1992138"/>
                <a:gd name="f104" fmla="*/ f76 1 12192000"/>
                <a:gd name="f105" fmla="*/ f77 1 1992138"/>
                <a:gd name="f106" fmla="*/ f78 1 12192000"/>
                <a:gd name="f107" fmla="*/ f79 1 1992138"/>
                <a:gd name="f108" fmla="*/ f80 1 12192000"/>
                <a:gd name="f109" fmla="*/ f81 1 1992138"/>
                <a:gd name="f110" fmla="*/ f82 1 12192000"/>
                <a:gd name="f111" fmla="*/ f83 1 1992138"/>
                <a:gd name="f112" fmla="*/ f84 1 1992138"/>
                <a:gd name="f113" fmla="*/ f85 1 12192000"/>
                <a:gd name="f114" fmla="*/ f86 1 1992138"/>
                <a:gd name="f115" fmla="*/ f87 1 12192000"/>
                <a:gd name="f116" fmla="*/ f88 1 1992138"/>
                <a:gd name="f117" fmla="*/ f89 1 12192000"/>
                <a:gd name="f118" fmla="*/ f90 1 1992138"/>
                <a:gd name="f119" fmla="*/ f5 1 f62"/>
                <a:gd name="f120" fmla="*/ f6 1 f62"/>
                <a:gd name="f121" fmla="*/ f5 1 f63"/>
                <a:gd name="f122" fmla="*/ f7 1 f63"/>
                <a:gd name="f123" fmla="+- f91 0 f1"/>
                <a:gd name="f124" fmla="*/ f92 1 f62"/>
                <a:gd name="f125" fmla="*/ f93 1 f63"/>
                <a:gd name="f126" fmla="*/ f94 1 f62"/>
                <a:gd name="f127" fmla="*/ f95 1 f62"/>
                <a:gd name="f128" fmla="*/ f96 1 f63"/>
                <a:gd name="f129" fmla="*/ f97 1 f62"/>
                <a:gd name="f130" fmla="*/ f98 1 f63"/>
                <a:gd name="f131" fmla="*/ f99 1 f62"/>
                <a:gd name="f132" fmla="*/ f100 1 f63"/>
                <a:gd name="f133" fmla="*/ f101 1 f63"/>
                <a:gd name="f134" fmla="*/ f102 1 f62"/>
                <a:gd name="f135" fmla="*/ f103 1 f63"/>
                <a:gd name="f136" fmla="*/ f104 1 f62"/>
                <a:gd name="f137" fmla="*/ f105 1 f63"/>
                <a:gd name="f138" fmla="*/ f106 1 f62"/>
                <a:gd name="f139" fmla="*/ f107 1 f63"/>
                <a:gd name="f140" fmla="*/ f108 1 f62"/>
                <a:gd name="f141" fmla="*/ f109 1 f63"/>
                <a:gd name="f142" fmla="*/ f110 1 f62"/>
                <a:gd name="f143" fmla="*/ f111 1 f63"/>
                <a:gd name="f144" fmla="*/ f112 1 f63"/>
                <a:gd name="f145" fmla="*/ f113 1 f62"/>
                <a:gd name="f146" fmla="*/ f114 1 f63"/>
                <a:gd name="f147" fmla="*/ f115 1 f62"/>
                <a:gd name="f148" fmla="*/ f116 1 f63"/>
                <a:gd name="f149" fmla="*/ f117 1 f62"/>
                <a:gd name="f150" fmla="*/ f118 1 f63"/>
                <a:gd name="f151" fmla="*/ f119 f57 1"/>
                <a:gd name="f152" fmla="*/ f120 f57 1"/>
                <a:gd name="f153" fmla="*/ f122 f58 1"/>
                <a:gd name="f154" fmla="*/ f121 f58 1"/>
                <a:gd name="f155" fmla="*/ f124 f57 1"/>
                <a:gd name="f156" fmla="*/ f125 f58 1"/>
                <a:gd name="f157" fmla="*/ f126 f57 1"/>
                <a:gd name="f158" fmla="*/ f127 f57 1"/>
                <a:gd name="f159" fmla="*/ f128 f58 1"/>
                <a:gd name="f160" fmla="*/ f129 f57 1"/>
                <a:gd name="f161" fmla="*/ f130 f58 1"/>
                <a:gd name="f162" fmla="*/ f131 f57 1"/>
                <a:gd name="f163" fmla="*/ f132 f58 1"/>
                <a:gd name="f164" fmla="*/ f133 f58 1"/>
                <a:gd name="f165" fmla="*/ f134 f57 1"/>
                <a:gd name="f166" fmla="*/ f135 f58 1"/>
                <a:gd name="f167" fmla="*/ f136 f57 1"/>
                <a:gd name="f168" fmla="*/ f137 f58 1"/>
                <a:gd name="f169" fmla="*/ f138 f57 1"/>
                <a:gd name="f170" fmla="*/ f139 f58 1"/>
                <a:gd name="f171" fmla="*/ f140 f57 1"/>
                <a:gd name="f172" fmla="*/ f141 f58 1"/>
                <a:gd name="f173" fmla="*/ f142 f57 1"/>
                <a:gd name="f174" fmla="*/ f143 f58 1"/>
                <a:gd name="f175" fmla="*/ f144 f58 1"/>
                <a:gd name="f176" fmla="*/ f145 f57 1"/>
                <a:gd name="f177" fmla="*/ f146 f58 1"/>
                <a:gd name="f178" fmla="*/ f147 f57 1"/>
                <a:gd name="f179" fmla="*/ f148 f58 1"/>
                <a:gd name="f180" fmla="*/ f149 f57 1"/>
                <a:gd name="f181" fmla="*/ f150 f58 1"/>
              </a:gdLst>
              <a:ahLst/>
              <a:cxnLst>
                <a:cxn ang="3cd4">
                  <a:pos x="hc" y="t"/>
                </a:cxn>
                <a:cxn ang="0">
                  <a:pos x="r" y="vc"/>
                </a:cxn>
                <a:cxn ang="cd4">
                  <a:pos x="hc" y="b"/>
                </a:cxn>
                <a:cxn ang="cd2">
                  <a:pos x="l" y="vc"/>
                </a:cxn>
                <a:cxn ang="f123">
                  <a:pos x="f155" y="f156"/>
                </a:cxn>
                <a:cxn ang="f123">
                  <a:pos x="f157" y="f156"/>
                </a:cxn>
                <a:cxn ang="f123">
                  <a:pos x="f158" y="f159"/>
                </a:cxn>
                <a:cxn ang="f123">
                  <a:pos x="f160" y="f161"/>
                </a:cxn>
                <a:cxn ang="f123">
                  <a:pos x="f162" y="f163"/>
                </a:cxn>
                <a:cxn ang="f123">
                  <a:pos x="f162" y="f164"/>
                </a:cxn>
                <a:cxn ang="f123">
                  <a:pos x="f165" y="f166"/>
                </a:cxn>
                <a:cxn ang="f123">
                  <a:pos x="f167" y="f168"/>
                </a:cxn>
                <a:cxn ang="f123">
                  <a:pos x="f169" y="f170"/>
                </a:cxn>
                <a:cxn ang="f123">
                  <a:pos x="f171" y="f172"/>
                </a:cxn>
                <a:cxn ang="f123">
                  <a:pos x="f173" y="f174"/>
                </a:cxn>
                <a:cxn ang="f123">
                  <a:pos x="f173" y="f175"/>
                </a:cxn>
                <a:cxn ang="f123">
                  <a:pos x="f176" y="f177"/>
                </a:cxn>
                <a:cxn ang="f123">
                  <a:pos x="f178" y="f179"/>
                </a:cxn>
                <a:cxn ang="f123">
                  <a:pos x="f180" y="f181"/>
                </a:cxn>
              </a:cxnLst>
              <a:rect l="f151" t="f154" r="f152" b="f153"/>
              <a:pathLst>
                <a:path w="12192000" h="1992138">
                  <a:moveTo>
                    <a:pt x="f8" y="f5"/>
                  </a:moveTo>
                  <a:lnTo>
                    <a:pt x="f9" y="f5"/>
                  </a:lnTo>
                  <a:lnTo>
                    <a:pt x="f10" y="f11"/>
                  </a:lnTo>
                  <a:cubicBezTo>
                    <a:pt x="f12" y="f13"/>
                    <a:pt x="f14" y="f15"/>
                    <a:pt x="f16" y="f17"/>
                  </a:cubicBezTo>
                  <a:lnTo>
                    <a:pt x="f5" y="f18"/>
                  </a:lnTo>
                  <a:lnTo>
                    <a:pt x="f5" y="f19"/>
                  </a:lnTo>
                  <a:lnTo>
                    <a:pt x="f20" y="f21"/>
                  </a:lnTo>
                  <a:cubicBezTo>
                    <a:pt x="f22" y="f23"/>
                    <a:pt x="f24" y="f25"/>
                    <a:pt x="f26" y="f27"/>
                  </a:cubicBezTo>
                  <a:cubicBezTo>
                    <a:pt x="f28" y="f29"/>
                    <a:pt x="f30" y="f31"/>
                    <a:pt x="f32" y="f33"/>
                  </a:cubicBezTo>
                  <a:cubicBezTo>
                    <a:pt x="f34" y="f35"/>
                    <a:pt x="f36" y="f37"/>
                    <a:pt x="f38" y="f39"/>
                  </a:cubicBezTo>
                  <a:lnTo>
                    <a:pt x="f6" y="f40"/>
                  </a:lnTo>
                  <a:lnTo>
                    <a:pt x="f6" y="f41"/>
                  </a:lnTo>
                  <a:lnTo>
                    <a:pt x="f42" y="f43"/>
                  </a:lnTo>
                  <a:cubicBezTo>
                    <a:pt x="f44" y="f45"/>
                    <a:pt x="f46" y="f47"/>
                    <a:pt x="f48" y="f49"/>
                  </a:cubicBezTo>
                  <a:cubicBezTo>
                    <a:pt x="f50" y="f51"/>
                    <a:pt x="f52" y="f53"/>
                    <a:pt x="f54" y="f55"/>
                  </a:cubicBezTo>
                  <a:close/>
                </a:path>
              </a:pathLst>
            </a:custGeom>
            <a:solidFill>
              <a:srgbClr val="00498F"/>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sp>
        <p:nvSpPr>
          <p:cNvPr id="5" name="Rectangle 3">
            <a:extLst>
              <a:ext uri="{FF2B5EF4-FFF2-40B4-BE49-F238E27FC236}">
                <a16:creationId xmlns:a16="http://schemas.microsoft.com/office/drawing/2014/main" id="{5CF86DA0-D449-5919-11B7-81A03738797D}"/>
              </a:ext>
            </a:extLst>
          </p:cNvPr>
          <p:cNvSpPr/>
          <p:nvPr/>
        </p:nvSpPr>
        <p:spPr>
          <a:xfrm>
            <a:off x="902366" y="1517694"/>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Content Placeholder 2">
            <a:extLst>
              <a:ext uri="{FF2B5EF4-FFF2-40B4-BE49-F238E27FC236}">
                <a16:creationId xmlns:a16="http://schemas.microsoft.com/office/drawing/2014/main" id="{A90B7D26-DDC9-E06B-7A2D-149CE039331F}"/>
              </a:ext>
            </a:extLst>
          </p:cNvPr>
          <p:cNvSpPr txBox="1">
            <a:spLocks noGrp="1"/>
          </p:cNvSpPr>
          <p:nvPr>
            <p:ph idx="4294967295"/>
          </p:nvPr>
        </p:nvSpPr>
        <p:spPr>
          <a:xfrm>
            <a:off x="1219197" y="3429001"/>
            <a:ext cx="5582649" cy="1413561"/>
          </a:xfrm>
        </p:spPr>
        <p:txBody>
          <a:bodyPr/>
          <a:lstStyle>
            <a:lvl1pPr marL="0" indent="0">
              <a:buNone/>
              <a:defRPr sz="2000"/>
            </a:lvl1pPr>
          </a:lstStyle>
          <a:p>
            <a:pPr lvl="0"/>
            <a:r>
              <a:rPr lang="en-US"/>
              <a:t>Click to edit Master text styles</a:t>
            </a:r>
          </a:p>
        </p:txBody>
      </p:sp>
      <p:sp>
        <p:nvSpPr>
          <p:cNvPr id="7" name="Title 11">
            <a:extLst>
              <a:ext uri="{FF2B5EF4-FFF2-40B4-BE49-F238E27FC236}">
                <a16:creationId xmlns:a16="http://schemas.microsoft.com/office/drawing/2014/main" id="{F2FAC15E-E4C8-E396-A148-03C85B2C1ACF}"/>
              </a:ext>
            </a:extLst>
          </p:cNvPr>
          <p:cNvSpPr txBox="1">
            <a:spLocks noGrp="1"/>
          </p:cNvSpPr>
          <p:nvPr>
            <p:ph type="title"/>
          </p:nvPr>
        </p:nvSpPr>
        <p:spPr>
          <a:xfrm>
            <a:off x="1219197" y="1887486"/>
            <a:ext cx="5582649" cy="1078260"/>
          </a:xfrm>
        </p:spPr>
        <p:txBody>
          <a:bodyPr/>
          <a:lstStyle>
            <a:lvl1pPr>
              <a:defRPr sz="6000"/>
            </a:lvl1pPr>
          </a:lstStyle>
          <a:p>
            <a:pPr lvl="0"/>
            <a:r>
              <a:rPr lang="en-US"/>
              <a:t>Thank you</a:t>
            </a:r>
          </a:p>
        </p:txBody>
      </p:sp>
      <p:pic>
        <p:nvPicPr>
          <p:cNvPr id="8" name="Picture 32">
            <a:extLst>
              <a:ext uri="{FF2B5EF4-FFF2-40B4-BE49-F238E27FC236}">
                <a16:creationId xmlns:a16="http://schemas.microsoft.com/office/drawing/2014/main" id="{288A659D-86C7-8230-C04B-FD7DD289D764}"/>
              </a:ext>
            </a:extLst>
          </p:cNvPr>
          <p:cNvPicPr>
            <a:picLocks noChangeAspect="1"/>
          </p:cNvPicPr>
          <p:nvPr/>
        </p:nvPicPr>
        <p:blipFill>
          <a:blip r:embed="rId2"/>
          <a:srcRect/>
          <a:stretch>
            <a:fillRect/>
          </a:stretch>
        </p:blipFill>
        <p:spPr>
          <a:xfrm>
            <a:off x="902366" y="228371"/>
            <a:ext cx="2025313" cy="911940"/>
          </a:xfrm>
          <a:prstGeom prst="rect">
            <a:avLst/>
          </a:prstGeom>
          <a:noFill/>
          <a:ln cap="flat">
            <a:noFill/>
          </a:ln>
        </p:spPr>
      </p:pic>
      <p:sp>
        <p:nvSpPr>
          <p:cNvPr id="9" name="Picture Placeholder 16">
            <a:extLst>
              <a:ext uri="{FF2B5EF4-FFF2-40B4-BE49-F238E27FC236}">
                <a16:creationId xmlns:a16="http://schemas.microsoft.com/office/drawing/2014/main" id="{B8EE2D0C-C371-82A8-797C-BB0A17BE1416}"/>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spTree>
    <p:extLst>
      <p:ext uri="{BB962C8B-B14F-4D97-AF65-F5344CB8AC3E}">
        <p14:creationId xmlns:p14="http://schemas.microsoft.com/office/powerpoint/2010/main" val="10464891"/>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2" name="Slide Number Placeholder 4">
            <a:extLst>
              <a:ext uri="{FF2B5EF4-FFF2-40B4-BE49-F238E27FC236}">
                <a16:creationId xmlns:a16="http://schemas.microsoft.com/office/drawing/2014/main" id="{11CB20EC-282E-1FA0-974E-FFFBA329D61F}"/>
              </a:ext>
            </a:extLst>
          </p:cNvPr>
          <p:cNvSpPr txBox="1">
            <a:spLocks noGrp="1"/>
          </p:cNvSpPr>
          <p:nvPr>
            <p:ph type="sldNum" sz="quarter" idx="8"/>
          </p:nvPr>
        </p:nvSpPr>
        <p:spPr/>
        <p:txBody>
          <a:bodyPr/>
          <a:lstStyle>
            <a:lvl1pPr>
              <a:defRPr/>
            </a:lvl1pPr>
          </a:lstStyle>
          <a:p>
            <a:pPr lvl="0"/>
            <a:fld id="{B3BB500C-9392-494E-AA3B-680920EF980A}" type="slidenum">
              <a:t>‹#›</a:t>
            </a:fld>
            <a:endParaRPr lang="en-US"/>
          </a:p>
        </p:txBody>
      </p:sp>
      <p:cxnSp>
        <p:nvCxnSpPr>
          <p:cNvPr id="3" name="Straight Connector 3">
            <a:extLst>
              <a:ext uri="{FF2B5EF4-FFF2-40B4-BE49-F238E27FC236}">
                <a16:creationId xmlns:a16="http://schemas.microsoft.com/office/drawing/2014/main" id="{A2B796B7-6F66-DB9F-1BA4-4DBA5F71B325}"/>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4" name="Footer Placeholder 1">
            <a:extLst>
              <a:ext uri="{FF2B5EF4-FFF2-40B4-BE49-F238E27FC236}">
                <a16:creationId xmlns:a16="http://schemas.microsoft.com/office/drawing/2014/main" id="{BD817F86-7A11-F09D-FEE0-9DA688ACC7CA}"/>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5" name="Group 5">
            <a:extLst>
              <a:ext uri="{FF2B5EF4-FFF2-40B4-BE49-F238E27FC236}">
                <a16:creationId xmlns:a16="http://schemas.microsoft.com/office/drawing/2014/main" id="{30EA4D74-B58E-5DF7-B008-863C14B6C2E7}"/>
              </a:ext>
            </a:extLst>
          </p:cNvPr>
          <p:cNvGrpSpPr/>
          <p:nvPr/>
        </p:nvGrpSpPr>
        <p:grpSpPr>
          <a:xfrm>
            <a:off x="7191545" y="0"/>
            <a:ext cx="5000460" cy="1425988"/>
            <a:chOff x="7191545" y="0"/>
            <a:chExt cx="5000460" cy="1425988"/>
          </a:xfrm>
        </p:grpSpPr>
        <p:pic>
          <p:nvPicPr>
            <p:cNvPr id="6" name="Picture 6">
              <a:extLst>
                <a:ext uri="{FF2B5EF4-FFF2-40B4-BE49-F238E27FC236}">
                  <a16:creationId xmlns:a16="http://schemas.microsoft.com/office/drawing/2014/main" id="{6714BBD3-5E0F-4EE8-7044-1F175EC80E99}"/>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7" name="Group 7">
              <a:extLst>
                <a:ext uri="{FF2B5EF4-FFF2-40B4-BE49-F238E27FC236}">
                  <a16:creationId xmlns:a16="http://schemas.microsoft.com/office/drawing/2014/main" id="{0340A45E-A42F-15CE-346E-3E104E844307}"/>
                </a:ext>
              </a:extLst>
            </p:cNvPr>
            <p:cNvGrpSpPr/>
            <p:nvPr/>
          </p:nvGrpSpPr>
          <p:grpSpPr>
            <a:xfrm>
              <a:off x="7191545" y="0"/>
              <a:ext cx="5000460" cy="1425988"/>
              <a:chOff x="7191545" y="0"/>
              <a:chExt cx="5000460" cy="1425988"/>
            </a:xfrm>
          </p:grpSpPr>
          <p:sp>
            <p:nvSpPr>
              <p:cNvPr id="8" name="Freeform 8">
                <a:extLst>
                  <a:ext uri="{FF2B5EF4-FFF2-40B4-BE49-F238E27FC236}">
                    <a16:creationId xmlns:a16="http://schemas.microsoft.com/office/drawing/2014/main" id="{8B67C6AF-D6F1-A815-239D-7C94F3F34221}"/>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9" name="Freeform 9">
                <a:extLst>
                  <a:ext uri="{FF2B5EF4-FFF2-40B4-BE49-F238E27FC236}">
                    <a16:creationId xmlns:a16="http://schemas.microsoft.com/office/drawing/2014/main" id="{C951B753-A161-EF0F-9182-5D518FA0C685}"/>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Tree>
    <p:extLst>
      <p:ext uri="{BB962C8B-B14F-4D97-AF65-F5344CB8AC3E}">
        <p14:creationId xmlns:p14="http://schemas.microsoft.com/office/powerpoint/2010/main" val="2694840928"/>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2" name="Slide Number Placeholder 4">
            <a:extLst>
              <a:ext uri="{FF2B5EF4-FFF2-40B4-BE49-F238E27FC236}">
                <a16:creationId xmlns:a16="http://schemas.microsoft.com/office/drawing/2014/main" id="{65F396D7-4CB7-044A-5EBA-3F2B8EC4FEC3}"/>
              </a:ext>
            </a:extLst>
          </p:cNvPr>
          <p:cNvSpPr txBox="1">
            <a:spLocks noGrp="1"/>
          </p:cNvSpPr>
          <p:nvPr>
            <p:ph type="sldNum" sz="quarter" idx="8"/>
          </p:nvPr>
        </p:nvSpPr>
        <p:spPr/>
        <p:txBody>
          <a:bodyPr/>
          <a:lstStyle>
            <a:lvl1pPr>
              <a:defRPr/>
            </a:lvl1pPr>
          </a:lstStyle>
          <a:p>
            <a:pPr lvl="0"/>
            <a:fld id="{78144FC6-97E6-47B6-8CCF-31F96599F91B}" type="slidenum">
              <a:t>‹#›</a:t>
            </a:fld>
            <a:endParaRPr lang="en-US"/>
          </a:p>
        </p:txBody>
      </p:sp>
      <p:cxnSp>
        <p:nvCxnSpPr>
          <p:cNvPr id="3" name="Straight Connector 3">
            <a:extLst>
              <a:ext uri="{FF2B5EF4-FFF2-40B4-BE49-F238E27FC236}">
                <a16:creationId xmlns:a16="http://schemas.microsoft.com/office/drawing/2014/main" id="{58B13E05-8119-F3C7-A21F-39973DDCCF01}"/>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4" name="Footer Placeholder 1">
            <a:extLst>
              <a:ext uri="{FF2B5EF4-FFF2-40B4-BE49-F238E27FC236}">
                <a16:creationId xmlns:a16="http://schemas.microsoft.com/office/drawing/2014/main" id="{19D733BE-7006-71F8-CBB1-4CF5113C89AD}"/>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5" name="Group 5">
            <a:extLst>
              <a:ext uri="{FF2B5EF4-FFF2-40B4-BE49-F238E27FC236}">
                <a16:creationId xmlns:a16="http://schemas.microsoft.com/office/drawing/2014/main" id="{F764D0A5-1C92-8553-72F7-F8C9875C82C8}"/>
              </a:ext>
            </a:extLst>
          </p:cNvPr>
          <p:cNvGrpSpPr/>
          <p:nvPr/>
        </p:nvGrpSpPr>
        <p:grpSpPr>
          <a:xfrm>
            <a:off x="7191545" y="0"/>
            <a:ext cx="5000460" cy="1425988"/>
            <a:chOff x="7191545" y="0"/>
            <a:chExt cx="5000460" cy="1425988"/>
          </a:xfrm>
        </p:grpSpPr>
        <p:pic>
          <p:nvPicPr>
            <p:cNvPr id="6" name="Picture 6">
              <a:extLst>
                <a:ext uri="{FF2B5EF4-FFF2-40B4-BE49-F238E27FC236}">
                  <a16:creationId xmlns:a16="http://schemas.microsoft.com/office/drawing/2014/main" id="{6B05DD48-6642-EAC8-9BBD-1DCC615788E2}"/>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7" name="Group 7">
              <a:extLst>
                <a:ext uri="{FF2B5EF4-FFF2-40B4-BE49-F238E27FC236}">
                  <a16:creationId xmlns:a16="http://schemas.microsoft.com/office/drawing/2014/main" id="{6BCA926C-ECC1-FA60-F4BB-ACFF7A8FBE75}"/>
                </a:ext>
              </a:extLst>
            </p:cNvPr>
            <p:cNvGrpSpPr/>
            <p:nvPr/>
          </p:nvGrpSpPr>
          <p:grpSpPr>
            <a:xfrm>
              <a:off x="7191545" y="0"/>
              <a:ext cx="5000460" cy="1425988"/>
              <a:chOff x="7191545" y="0"/>
              <a:chExt cx="5000460" cy="1425988"/>
            </a:xfrm>
          </p:grpSpPr>
          <p:sp>
            <p:nvSpPr>
              <p:cNvPr id="8" name="Freeform 8">
                <a:extLst>
                  <a:ext uri="{FF2B5EF4-FFF2-40B4-BE49-F238E27FC236}">
                    <a16:creationId xmlns:a16="http://schemas.microsoft.com/office/drawing/2014/main" id="{F30DFF9A-DFDB-1CBB-9D6A-4AE492604291}"/>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9" name="Freeform 9">
                <a:extLst>
                  <a:ext uri="{FF2B5EF4-FFF2-40B4-BE49-F238E27FC236}">
                    <a16:creationId xmlns:a16="http://schemas.microsoft.com/office/drawing/2014/main" id="{85778AFD-EFEF-3662-6A07-A6785C455C3E}"/>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Tree>
    <p:extLst>
      <p:ext uri="{BB962C8B-B14F-4D97-AF65-F5344CB8AC3E}">
        <p14:creationId xmlns:p14="http://schemas.microsoft.com/office/powerpoint/2010/main" val="3165630324"/>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0AC1F883-40B2-FDDB-E7B3-F0C5A772C7CF}"/>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78953B8A-C5E0-9142-6166-67983165AF05}"/>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D7E77803-F21A-2F28-0516-F297250EA3D8}"/>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D48C3AF6-EFF8-4543-EE28-02D55A8E3BE3}"/>
              </a:ext>
            </a:extLst>
          </p:cNvPr>
          <p:cNvSpPr txBox="1">
            <a:spLocks noGrp="1"/>
          </p:cNvSpPr>
          <p:nvPr>
            <p:ph type="sldNum" sz="quarter" idx="8"/>
          </p:nvPr>
        </p:nvSpPr>
        <p:spPr/>
        <p:txBody>
          <a:bodyPr/>
          <a:lstStyle>
            <a:lvl1pPr>
              <a:defRPr>
                <a:solidFill>
                  <a:srgbClr val="AFB3B9"/>
                </a:solidFill>
              </a:defRPr>
            </a:lvl1pPr>
          </a:lstStyle>
          <a:p>
            <a:pPr lvl="0"/>
            <a:fld id="{8B512BC1-0AE2-4D03-B4CE-BD2BF288E426}" type="slidenum">
              <a:t>‹#›</a:t>
            </a:fld>
            <a:endParaRPr lang="en-US"/>
          </a:p>
        </p:txBody>
      </p:sp>
      <p:cxnSp>
        <p:nvCxnSpPr>
          <p:cNvPr id="6" name="Straight Connector 7">
            <a:extLst>
              <a:ext uri="{FF2B5EF4-FFF2-40B4-BE49-F238E27FC236}">
                <a16:creationId xmlns:a16="http://schemas.microsoft.com/office/drawing/2014/main" id="{31A290BD-B2CD-A00E-9FE5-9431F67173EE}"/>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42FBCC61-47C9-1435-2281-F374503F702C}"/>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09389390-22F6-3300-D284-5D4DEA715418}"/>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735B7225-3CEE-92B8-0DF6-C91C84C2B286}"/>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27738CA5-3F61-395E-FA35-7A98B180CC79}"/>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0025752F-A72F-60C9-EAF9-07BEF01AE1C6}"/>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414F7515-4B4A-1ABD-41C1-150797D4D842}"/>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34D19BDF-75CB-150F-6BDA-5EF1222E1F9A}"/>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2864208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Photo Slide">
  <p:cSld name="Photo Slide 2 2">
    <p:spTree>
      <p:nvGrpSpPr>
        <p:cNvPr id="1" name="Shape 9329"/>
        <p:cNvGrpSpPr/>
        <p:nvPr/>
      </p:nvGrpSpPr>
      <p:grpSpPr>
        <a:xfrm>
          <a:off x="0" y="0"/>
          <a:ext cx="0" cy="0"/>
          <a:chOff x="0" y="0"/>
          <a:chExt cx="0" cy="0"/>
        </a:xfrm>
      </p:grpSpPr>
      <p:sp>
        <p:nvSpPr>
          <p:cNvPr id="9330" name="Google Shape;9330;p134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331" name="Google Shape;9331;p134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332" name="Google Shape;9332;p1345"/>
          <p:cNvGrpSpPr/>
          <p:nvPr/>
        </p:nvGrpSpPr>
        <p:grpSpPr>
          <a:xfrm>
            <a:off x="0" y="5379426"/>
            <a:ext cx="2807368" cy="753891"/>
            <a:chOff x="0" y="5379426"/>
            <a:chExt cx="2807368" cy="753891"/>
          </a:xfrm>
        </p:grpSpPr>
        <p:sp>
          <p:nvSpPr>
            <p:cNvPr id="9333" name="Google Shape;9333;p134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334" name="Google Shape;9334;p134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335" name="Google Shape;9335;p1345"/>
          <p:cNvSpPr>
            <a:spLocks noGrp="1"/>
          </p:cNvSpPr>
          <p:nvPr>
            <p:ph type="pic" idx="2"/>
          </p:nvPr>
        </p:nvSpPr>
        <p:spPr>
          <a:xfrm>
            <a:off x="2807368" y="457202"/>
            <a:ext cx="8915400" cy="5943598"/>
          </a:xfrm>
          <a:prstGeom prst="rect">
            <a:avLst/>
          </a:prstGeom>
          <a:noFill/>
          <a:ln>
            <a:noFill/>
          </a:ln>
        </p:spPr>
      </p:sp>
      <p:pic>
        <p:nvPicPr>
          <p:cNvPr id="9336" name="Google Shape;9336;p134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E7FBE2D5-7A5E-CE0F-8F16-11341E373194}"/>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FE8102E8-CDE4-7EBD-8899-678B804B945C}"/>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2B313C3D-FEF2-64E4-06A8-B89897BF564F}"/>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B7F9376C-67AD-E176-02C1-656EABD572FD}"/>
              </a:ext>
            </a:extLst>
          </p:cNvPr>
          <p:cNvSpPr txBox="1">
            <a:spLocks noGrp="1"/>
          </p:cNvSpPr>
          <p:nvPr>
            <p:ph type="sldNum" sz="quarter" idx="8"/>
          </p:nvPr>
        </p:nvSpPr>
        <p:spPr/>
        <p:txBody>
          <a:bodyPr/>
          <a:lstStyle>
            <a:lvl1pPr>
              <a:defRPr>
                <a:solidFill>
                  <a:srgbClr val="AFB3B9"/>
                </a:solidFill>
              </a:defRPr>
            </a:lvl1pPr>
          </a:lstStyle>
          <a:p>
            <a:pPr lvl="0"/>
            <a:fld id="{21A5DB1A-94B3-4E7E-A001-0185C0646AC0}" type="slidenum">
              <a:t>‹#›</a:t>
            </a:fld>
            <a:endParaRPr lang="en-US"/>
          </a:p>
        </p:txBody>
      </p:sp>
      <p:cxnSp>
        <p:nvCxnSpPr>
          <p:cNvPr id="6" name="Straight Connector 7">
            <a:extLst>
              <a:ext uri="{FF2B5EF4-FFF2-40B4-BE49-F238E27FC236}">
                <a16:creationId xmlns:a16="http://schemas.microsoft.com/office/drawing/2014/main" id="{105EB33E-5133-3420-91B5-53BFA93E053E}"/>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03F08EE1-9E7E-F9DE-DE3B-90DCE25327B7}"/>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C3E4F158-13F6-3954-1659-EE86E08A1E1A}"/>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BF4DD75F-BB34-4AE7-FFC0-F2E31BC7BAEC}"/>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A7FF0DF1-988C-E8FB-C27E-12A4AA30F5F8}"/>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892E3C22-D9BC-F088-FDDE-3BB1FA8E7491}"/>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ACB7060C-0140-4BFE-0AB6-34332B9F3BA8}"/>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B4CCBDFE-D2B9-7F68-E81C-7755AD08212F}"/>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2375475691"/>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14_Cover">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A50A66CD-FE4D-2AD0-5B28-14674423043F}"/>
              </a:ext>
            </a:extLst>
          </p:cNvPr>
          <p:cNvSpPr/>
          <p:nvPr/>
        </p:nvSpPr>
        <p:spPr>
          <a:xfrm>
            <a:off x="902366" y="1294416"/>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0629F4A1-3367-8CEB-6BD8-4A925A130C7D}"/>
              </a:ext>
            </a:extLst>
          </p:cNvPr>
          <p:cNvSpPr txBox="1">
            <a:spLocks noGrp="1"/>
          </p:cNvSpPr>
          <p:nvPr>
            <p:ph type="title"/>
          </p:nvPr>
        </p:nvSpPr>
        <p:spPr>
          <a:xfrm>
            <a:off x="1413314" y="1561328"/>
            <a:ext cx="5194432" cy="1826340"/>
          </a:xfrm>
        </p:spPr>
        <p:txBody>
          <a:bodyPr anchor="b"/>
          <a:lstStyle>
            <a:lvl1pPr>
              <a:defRPr sz="4000">
                <a:solidFill>
                  <a:srgbClr val="444C55"/>
                </a:solidFill>
              </a:defRPr>
            </a:lvl1pPr>
          </a:lstStyle>
          <a:p>
            <a:pPr lvl="0"/>
            <a:r>
              <a:rPr lang="en-US"/>
              <a:t>Click to edit Master title style</a:t>
            </a:r>
          </a:p>
        </p:txBody>
      </p:sp>
      <p:sp>
        <p:nvSpPr>
          <p:cNvPr id="4" name="Subtitle 2">
            <a:extLst>
              <a:ext uri="{FF2B5EF4-FFF2-40B4-BE49-F238E27FC236}">
                <a16:creationId xmlns:a16="http://schemas.microsoft.com/office/drawing/2014/main" id="{56463EA1-968F-2C52-25E2-BC221EF6D0C9}"/>
              </a:ext>
            </a:extLst>
          </p:cNvPr>
          <p:cNvSpPr txBox="1">
            <a:spLocks noGrp="1"/>
          </p:cNvSpPr>
          <p:nvPr>
            <p:ph type="subTitle" idx="4294967295"/>
          </p:nvPr>
        </p:nvSpPr>
        <p:spPr>
          <a:xfrm>
            <a:off x="1413314" y="3766861"/>
            <a:ext cx="5194432" cy="986564"/>
          </a:xfrm>
        </p:spPr>
        <p:txBody>
          <a:bodyPr/>
          <a:lstStyle>
            <a:lvl1pPr marL="0" indent="0">
              <a:buNone/>
              <a:defRPr/>
            </a:lvl1pPr>
          </a:lstStyle>
          <a:p>
            <a:pPr lvl="0"/>
            <a:r>
              <a:rPr lang="en-US"/>
              <a:t>Click to edit Master subtitle style</a:t>
            </a:r>
          </a:p>
        </p:txBody>
      </p:sp>
      <p:sp>
        <p:nvSpPr>
          <p:cNvPr id="5" name="Picture Placeholder 21">
            <a:extLst>
              <a:ext uri="{FF2B5EF4-FFF2-40B4-BE49-F238E27FC236}">
                <a16:creationId xmlns:a16="http://schemas.microsoft.com/office/drawing/2014/main" id="{A51B40E7-E16B-E22B-77DF-3456109C9EA1}"/>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grpSp>
        <p:nvGrpSpPr>
          <p:cNvPr id="6" name="Group 26">
            <a:extLst>
              <a:ext uri="{FF2B5EF4-FFF2-40B4-BE49-F238E27FC236}">
                <a16:creationId xmlns:a16="http://schemas.microsoft.com/office/drawing/2014/main" id="{6545AB8F-01B8-CA66-5D2F-F2447BD076B0}"/>
              </a:ext>
            </a:extLst>
          </p:cNvPr>
          <p:cNvGrpSpPr/>
          <p:nvPr/>
        </p:nvGrpSpPr>
        <p:grpSpPr>
          <a:xfrm>
            <a:off x="0" y="5020349"/>
            <a:ext cx="12191996" cy="1837651"/>
            <a:chOff x="0" y="5020348"/>
            <a:chExt cx="12191996" cy="1837651"/>
          </a:xfrm>
        </p:grpSpPr>
        <p:sp>
          <p:nvSpPr>
            <p:cNvPr id="7" name="Freeform 27">
              <a:extLst>
                <a:ext uri="{FF2B5EF4-FFF2-40B4-BE49-F238E27FC236}">
                  <a16:creationId xmlns:a16="http://schemas.microsoft.com/office/drawing/2014/main" id="{1CDC177E-2EE1-4E9B-7961-7CC66F14AE7F}"/>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8" name="Freeform 28">
              <a:extLst>
                <a:ext uri="{FF2B5EF4-FFF2-40B4-BE49-F238E27FC236}">
                  <a16:creationId xmlns:a16="http://schemas.microsoft.com/office/drawing/2014/main" id="{C7B002FC-BD1B-324F-46E2-26C4D4AB30D8}"/>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9" name="Picture 29">
              <a:extLst>
                <a:ext uri="{FF2B5EF4-FFF2-40B4-BE49-F238E27FC236}">
                  <a16:creationId xmlns:a16="http://schemas.microsoft.com/office/drawing/2014/main" id="{4BB8BBA5-5D20-8EC0-ED4A-C847D9AF187D}"/>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3829456494"/>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14_Divider">
    <p:spTree>
      <p:nvGrpSpPr>
        <p:cNvPr id="1" name=""/>
        <p:cNvGrpSpPr/>
        <p:nvPr/>
      </p:nvGrpSpPr>
      <p:grpSpPr>
        <a:xfrm>
          <a:off x="0" y="0"/>
          <a:ext cx="0" cy="0"/>
          <a:chOff x="0" y="0"/>
          <a:chExt cx="0" cy="0"/>
        </a:xfrm>
      </p:grpSpPr>
      <p:grpSp>
        <p:nvGrpSpPr>
          <p:cNvPr id="2" name="Group 9">
            <a:extLst>
              <a:ext uri="{FF2B5EF4-FFF2-40B4-BE49-F238E27FC236}">
                <a16:creationId xmlns:a16="http://schemas.microsoft.com/office/drawing/2014/main" id="{8F3BD365-B110-483B-CB28-003B73B1920C}"/>
              </a:ext>
            </a:extLst>
          </p:cNvPr>
          <p:cNvGrpSpPr/>
          <p:nvPr/>
        </p:nvGrpSpPr>
        <p:grpSpPr>
          <a:xfrm>
            <a:off x="0" y="5020349"/>
            <a:ext cx="12191996" cy="1837651"/>
            <a:chOff x="0" y="5020348"/>
            <a:chExt cx="12191996" cy="1837651"/>
          </a:xfrm>
        </p:grpSpPr>
        <p:sp>
          <p:nvSpPr>
            <p:cNvPr id="3" name="Freeform 25">
              <a:extLst>
                <a:ext uri="{FF2B5EF4-FFF2-40B4-BE49-F238E27FC236}">
                  <a16:creationId xmlns:a16="http://schemas.microsoft.com/office/drawing/2014/main" id="{487BFEC4-5432-E5E5-B89E-54E6BE04A79B}"/>
                </a:ext>
              </a:extLst>
            </p:cNvPr>
            <p:cNvSpPr/>
            <p:nvPr/>
          </p:nvSpPr>
          <p:spPr>
            <a:xfrm>
              <a:off x="0" y="5100267"/>
              <a:ext cx="7111371" cy="1757732"/>
            </a:xfrm>
            <a:custGeom>
              <a:avLst/>
              <a:gdLst>
                <a:gd name="f0" fmla="val 10800000"/>
                <a:gd name="f1" fmla="val 5400000"/>
                <a:gd name="f2" fmla="val 180"/>
                <a:gd name="f3" fmla="val w"/>
                <a:gd name="f4" fmla="val h"/>
                <a:gd name="f5" fmla="val 0"/>
                <a:gd name="f6" fmla="val 7111369"/>
                <a:gd name="f7" fmla="val 1757730"/>
                <a:gd name="f8" fmla="val 772954"/>
                <a:gd name="f9" fmla="val 2778"/>
                <a:gd name="f10" fmla="val 1769038"/>
                <a:gd name="f11" fmla="val 30799"/>
                <a:gd name="f12" fmla="val 2696750"/>
                <a:gd name="f13" fmla="val 267531"/>
                <a:gd name="f14" fmla="val 3590934"/>
                <a:gd name="f15" fmla="val 566046"/>
                <a:gd name="f16" fmla="val 4684008"/>
                <a:gd name="f17" fmla="val 930921"/>
                <a:gd name="f18" fmla="val 5690778"/>
                <a:gd name="f19" fmla="val 1324625"/>
                <a:gd name="f20" fmla="val 6700767"/>
                <a:gd name="f21" fmla="val 1636882"/>
                <a:gd name="f22" fmla="val 25690"/>
                <a:gd name="f23" fmla="val 2197"/>
                <a:gd name="f24" fmla="val 25414"/>
                <a:gd name="f25" fmla="val 114653"/>
                <a:gd name="f26" fmla="val 14905"/>
                <a:gd name="f27" fmla="val 227801"/>
                <a:gd name="f28" fmla="val 7857"/>
                <a:gd name="f29" fmla="val 341773"/>
                <a:gd name="f30" fmla="val 3976"/>
                <a:gd name="f31" fmla="val 486963"/>
                <a:gd name="f32" fmla="+- 0 0 968"/>
                <a:gd name="f33" fmla="val 630656"/>
                <a:gd name="f34" fmla="+- 0 0 1224"/>
                <a:gd name="f35" fmla="+- 0 0 -90"/>
                <a:gd name="f36" fmla="*/ f3 1 7111369"/>
                <a:gd name="f37" fmla="*/ f4 1 1757730"/>
                <a:gd name="f38" fmla="+- f7 0 f5"/>
                <a:gd name="f39" fmla="+- f6 0 f5"/>
                <a:gd name="f40" fmla="*/ f35 f0 1"/>
                <a:gd name="f41" fmla="*/ f39 1 7111369"/>
                <a:gd name="f42" fmla="*/ f38 1 1757730"/>
                <a:gd name="f43" fmla="*/ 772954 f39 1"/>
                <a:gd name="f44" fmla="*/ 2778 f38 1"/>
                <a:gd name="f45" fmla="*/ 3590934 f39 1"/>
                <a:gd name="f46" fmla="*/ 566046 f38 1"/>
                <a:gd name="f47" fmla="*/ 6700767 f39 1"/>
                <a:gd name="f48" fmla="*/ 1636882 f38 1"/>
                <a:gd name="f49" fmla="*/ 7111369 f39 1"/>
                <a:gd name="f50" fmla="*/ 1757730 f38 1"/>
                <a:gd name="f51" fmla="*/ 0 f39 1"/>
                <a:gd name="f52" fmla="*/ 25690 f38 1"/>
                <a:gd name="f53" fmla="*/ 2197 f39 1"/>
                <a:gd name="f54" fmla="*/ 25414 f38 1"/>
                <a:gd name="f55" fmla="*/ 341773 f39 1"/>
                <a:gd name="f56" fmla="*/ 3976 f38 1"/>
                <a:gd name="f57" fmla="*/ f40 1 f2"/>
                <a:gd name="f58" fmla="*/ f43 1 7111369"/>
                <a:gd name="f59" fmla="*/ f44 1 1757730"/>
                <a:gd name="f60" fmla="*/ f45 1 7111369"/>
                <a:gd name="f61" fmla="*/ f46 1 1757730"/>
                <a:gd name="f62" fmla="*/ f47 1 7111369"/>
                <a:gd name="f63" fmla="*/ f48 1 1757730"/>
                <a:gd name="f64" fmla="*/ f49 1 7111369"/>
                <a:gd name="f65" fmla="*/ f50 1 1757730"/>
                <a:gd name="f66" fmla="*/ f51 1 7111369"/>
                <a:gd name="f67" fmla="*/ f52 1 1757730"/>
                <a:gd name="f68" fmla="*/ f53 1 7111369"/>
                <a:gd name="f69" fmla="*/ f54 1 1757730"/>
                <a:gd name="f70" fmla="*/ f55 1 7111369"/>
                <a:gd name="f71" fmla="*/ f56 1 1757730"/>
                <a:gd name="f72" fmla="*/ f5 1 f41"/>
                <a:gd name="f73" fmla="*/ f6 1 f41"/>
                <a:gd name="f74" fmla="*/ f5 1 f42"/>
                <a:gd name="f75" fmla="*/ f7 1 f42"/>
                <a:gd name="f76" fmla="+- f57 0 f1"/>
                <a:gd name="f77" fmla="*/ f58 1 f41"/>
                <a:gd name="f78" fmla="*/ f59 1 f42"/>
                <a:gd name="f79" fmla="*/ f60 1 f41"/>
                <a:gd name="f80" fmla="*/ f61 1 f42"/>
                <a:gd name="f81" fmla="*/ f62 1 f41"/>
                <a:gd name="f82" fmla="*/ f63 1 f42"/>
                <a:gd name="f83" fmla="*/ f64 1 f41"/>
                <a:gd name="f84" fmla="*/ f65 1 f42"/>
                <a:gd name="f85" fmla="*/ f66 1 f41"/>
                <a:gd name="f86" fmla="*/ f67 1 f42"/>
                <a:gd name="f87" fmla="*/ f68 1 f41"/>
                <a:gd name="f88" fmla="*/ f69 1 f42"/>
                <a:gd name="f89" fmla="*/ f70 1 f41"/>
                <a:gd name="f90" fmla="*/ f71 1 f42"/>
                <a:gd name="f91" fmla="*/ f72 f36 1"/>
                <a:gd name="f92" fmla="*/ f73 f36 1"/>
                <a:gd name="f93" fmla="*/ f75 f37 1"/>
                <a:gd name="f94" fmla="*/ f74 f37 1"/>
                <a:gd name="f95" fmla="*/ f77 f36 1"/>
                <a:gd name="f96" fmla="*/ f78 f37 1"/>
                <a:gd name="f97" fmla="*/ f79 f36 1"/>
                <a:gd name="f98" fmla="*/ f80 f37 1"/>
                <a:gd name="f99" fmla="*/ f81 f36 1"/>
                <a:gd name="f100" fmla="*/ f82 f37 1"/>
                <a:gd name="f101" fmla="*/ f83 f36 1"/>
                <a:gd name="f102" fmla="*/ f84 f37 1"/>
                <a:gd name="f103" fmla="*/ f85 f36 1"/>
                <a:gd name="f104" fmla="*/ f86 f37 1"/>
                <a:gd name="f105" fmla="*/ f87 f36 1"/>
                <a:gd name="f106" fmla="*/ f88 f37 1"/>
                <a:gd name="f107" fmla="*/ f89 f36 1"/>
                <a:gd name="f108" fmla="*/ f90 f37 1"/>
              </a:gdLst>
              <a:ahLst/>
              <a:cxnLst>
                <a:cxn ang="3cd4">
                  <a:pos x="hc" y="t"/>
                </a:cxn>
                <a:cxn ang="0">
                  <a:pos x="r" y="vc"/>
                </a:cxn>
                <a:cxn ang="cd4">
                  <a:pos x="hc" y="b"/>
                </a:cxn>
                <a:cxn ang="cd2">
                  <a:pos x="l" y="vc"/>
                </a:cxn>
                <a:cxn ang="f76">
                  <a:pos x="f95" y="f96"/>
                </a:cxn>
                <a:cxn ang="f76">
                  <a:pos x="f97" y="f98"/>
                </a:cxn>
                <a:cxn ang="f76">
                  <a:pos x="f99" y="f100"/>
                </a:cxn>
                <a:cxn ang="f76">
                  <a:pos x="f101" y="f102"/>
                </a:cxn>
                <a:cxn ang="f76">
                  <a:pos x="f103" y="f102"/>
                </a:cxn>
                <a:cxn ang="f76">
                  <a:pos x="f103" y="f104"/>
                </a:cxn>
                <a:cxn ang="f76">
                  <a:pos x="f105" y="f106"/>
                </a:cxn>
                <a:cxn ang="f76">
                  <a:pos x="f107" y="f108"/>
                </a:cxn>
                <a:cxn ang="f76">
                  <a:pos x="f95" y="f96"/>
                </a:cxn>
              </a:cxnLst>
              <a:rect l="f91" t="f94" r="f92" b="f93"/>
              <a:pathLst>
                <a:path w="7111369" h="1757730">
                  <a:moveTo>
                    <a:pt x="f8" y="f9"/>
                  </a:moveTo>
                  <a:cubicBezTo>
                    <a:pt x="f10" y="f11"/>
                    <a:pt x="f12" y="f13"/>
                    <a:pt x="f14" y="f15"/>
                  </a:cubicBezTo>
                  <a:cubicBezTo>
                    <a:pt x="f16" y="f17"/>
                    <a:pt x="f18" y="f19"/>
                    <a:pt x="f20" y="f21"/>
                  </a:cubicBezTo>
                  <a:lnTo>
                    <a:pt x="f6" y="f7"/>
                  </a:lnTo>
                  <a:lnTo>
                    <a:pt x="f5" y="f7"/>
                  </a:lnTo>
                  <a:lnTo>
                    <a:pt x="f5" y="f22"/>
                  </a:lnTo>
                  <a:lnTo>
                    <a:pt x="f23" y="f24"/>
                  </a:lnTo>
                  <a:cubicBezTo>
                    <a:pt x="f25" y="f26"/>
                    <a:pt x="f27" y="f28"/>
                    <a:pt x="f29" y="f30"/>
                  </a:cubicBezTo>
                  <a:cubicBezTo>
                    <a:pt x="f31" y="f32"/>
                    <a:pt x="f33" y="f34"/>
                    <a:pt x="f8" y="f9"/>
                  </a:cubicBezTo>
                  <a:close/>
                </a:path>
              </a:pathLst>
            </a:cu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4" name="Freeform 19">
              <a:extLst>
                <a:ext uri="{FF2B5EF4-FFF2-40B4-BE49-F238E27FC236}">
                  <a16:creationId xmlns:a16="http://schemas.microsoft.com/office/drawing/2014/main" id="{08F32BF7-A4D6-22D2-858D-9DCC688502FC}"/>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5" name="Freeform 14">
              <a:extLst>
                <a:ext uri="{FF2B5EF4-FFF2-40B4-BE49-F238E27FC236}">
                  <a16:creationId xmlns:a16="http://schemas.microsoft.com/office/drawing/2014/main" id="{C502CCD8-1080-EBF0-3BA5-54B49A6929E5}"/>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6" name="Picture 20">
              <a:extLst>
                <a:ext uri="{FF2B5EF4-FFF2-40B4-BE49-F238E27FC236}">
                  <a16:creationId xmlns:a16="http://schemas.microsoft.com/office/drawing/2014/main" id="{C1E82F01-8782-B255-D41A-4543F7FAA150}"/>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
        <p:nvSpPr>
          <p:cNvPr id="7" name="Title 10">
            <a:extLst>
              <a:ext uri="{FF2B5EF4-FFF2-40B4-BE49-F238E27FC236}">
                <a16:creationId xmlns:a16="http://schemas.microsoft.com/office/drawing/2014/main" id="{E13F6DAA-AB77-0428-C8AE-B74D819CD575}"/>
              </a:ext>
            </a:extLst>
          </p:cNvPr>
          <p:cNvSpPr txBox="1">
            <a:spLocks noGrp="1"/>
          </p:cNvSpPr>
          <p:nvPr>
            <p:ph type="title"/>
          </p:nvPr>
        </p:nvSpPr>
        <p:spPr>
          <a:xfrm>
            <a:off x="1413305" y="701748"/>
            <a:ext cx="9365376" cy="2014679"/>
          </a:xfrm>
        </p:spPr>
        <p:txBody>
          <a:bodyPr anchor="b"/>
          <a:lstStyle>
            <a:lvl1pPr>
              <a:defRPr/>
            </a:lvl1pPr>
          </a:lstStyle>
          <a:p>
            <a:pPr lvl="0"/>
            <a:r>
              <a:rPr lang="en-US"/>
              <a:t>Click to edit Master title style</a:t>
            </a:r>
          </a:p>
        </p:txBody>
      </p:sp>
      <p:sp>
        <p:nvSpPr>
          <p:cNvPr id="8" name="Subtitle 2">
            <a:extLst>
              <a:ext uri="{FF2B5EF4-FFF2-40B4-BE49-F238E27FC236}">
                <a16:creationId xmlns:a16="http://schemas.microsoft.com/office/drawing/2014/main" id="{9DAB594C-00F0-F90B-A1F1-1262F0F29AD4}"/>
              </a:ext>
            </a:extLst>
          </p:cNvPr>
          <p:cNvSpPr txBox="1">
            <a:spLocks noGrp="1"/>
          </p:cNvSpPr>
          <p:nvPr>
            <p:ph type="subTitle" idx="4294967295"/>
          </p:nvPr>
        </p:nvSpPr>
        <p:spPr>
          <a:xfrm>
            <a:off x="1413305" y="3081637"/>
            <a:ext cx="9365376" cy="986564"/>
          </a:xfrm>
        </p:spPr>
        <p:txBody>
          <a:bodyPr/>
          <a:lstStyle>
            <a:lvl1pPr marL="0" indent="0">
              <a:buNone/>
              <a:defRPr/>
            </a:lvl1pPr>
          </a:lstStyle>
          <a:p>
            <a:pPr lvl="0"/>
            <a:r>
              <a:rPr lang="en-US"/>
              <a:t>Click to edit Master subtitle style</a:t>
            </a:r>
          </a:p>
        </p:txBody>
      </p:sp>
    </p:spTree>
    <p:extLst>
      <p:ext uri="{BB962C8B-B14F-4D97-AF65-F5344CB8AC3E}">
        <p14:creationId xmlns:p14="http://schemas.microsoft.com/office/powerpoint/2010/main" val="690479827"/>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14_Photo Slide">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28F5477B-73F3-B3AE-FEF3-8408AAA1D719}"/>
              </a:ext>
            </a:extLst>
          </p:cNvPr>
          <p:cNvSpPr txBox="1">
            <a:spLocks noGrp="1"/>
          </p:cNvSpPr>
          <p:nvPr>
            <p:ph type="body" idx="4294967295"/>
          </p:nvPr>
        </p:nvSpPr>
        <p:spPr>
          <a:xfrm>
            <a:off x="457200" y="1146255"/>
            <a:ext cx="2350172" cy="2971800"/>
          </a:xfrm>
        </p:spPr>
        <p:txBody>
          <a:bodyPr/>
          <a:lstStyle>
            <a:lvl1pPr marL="0" indent="0">
              <a:buNone/>
              <a:defRPr/>
            </a:lvl1pPr>
          </a:lstStyle>
          <a:p>
            <a:pPr lvl="0"/>
            <a:r>
              <a:rPr lang="en-US"/>
              <a:t>Click to edit Master text styles</a:t>
            </a:r>
          </a:p>
        </p:txBody>
      </p:sp>
      <p:cxnSp>
        <p:nvCxnSpPr>
          <p:cNvPr id="3" name="Straight Connector 5">
            <a:extLst>
              <a:ext uri="{FF2B5EF4-FFF2-40B4-BE49-F238E27FC236}">
                <a16:creationId xmlns:a16="http://schemas.microsoft.com/office/drawing/2014/main" id="{5C94F778-23CA-A786-6C3A-CF26AF17219A}"/>
              </a:ext>
            </a:extLst>
          </p:cNvPr>
          <p:cNvCxnSpPr/>
          <p:nvPr/>
        </p:nvCxnSpPr>
        <p:spPr>
          <a:xfrm>
            <a:off x="457201" y="947985"/>
            <a:ext cx="2350163" cy="0"/>
          </a:xfrm>
          <a:prstGeom prst="straightConnector1">
            <a:avLst/>
          </a:prstGeom>
          <a:noFill/>
          <a:ln w="31747" cap="flat">
            <a:solidFill>
              <a:srgbClr val="F58366"/>
            </a:solidFill>
            <a:prstDash val="solid"/>
            <a:miter/>
          </a:ln>
        </p:spPr>
      </p:cxnSp>
      <p:grpSp>
        <p:nvGrpSpPr>
          <p:cNvPr id="4" name="Group 2">
            <a:extLst>
              <a:ext uri="{FF2B5EF4-FFF2-40B4-BE49-F238E27FC236}">
                <a16:creationId xmlns:a16="http://schemas.microsoft.com/office/drawing/2014/main" id="{00026C9F-38D5-4BBF-0F95-4C3FA9371285}"/>
              </a:ext>
            </a:extLst>
          </p:cNvPr>
          <p:cNvGrpSpPr/>
          <p:nvPr/>
        </p:nvGrpSpPr>
        <p:grpSpPr>
          <a:xfrm>
            <a:off x="1" y="5379425"/>
            <a:ext cx="2807363" cy="753895"/>
            <a:chOff x="0" y="5379424"/>
            <a:chExt cx="2807363" cy="753895"/>
          </a:xfrm>
        </p:grpSpPr>
        <p:sp>
          <p:nvSpPr>
            <p:cNvPr id="5" name="Freeform 21">
              <a:extLst>
                <a:ext uri="{FF2B5EF4-FFF2-40B4-BE49-F238E27FC236}">
                  <a16:creationId xmlns:a16="http://schemas.microsoft.com/office/drawing/2014/main" id="{87004209-C4D5-78BC-B714-B30D4344ED61}"/>
                </a:ext>
              </a:extLst>
            </p:cNvPr>
            <p:cNvSpPr/>
            <p:nvPr/>
          </p:nvSpPr>
          <p:spPr>
            <a:xfrm>
              <a:off x="0" y="5532513"/>
              <a:ext cx="2807363" cy="600806"/>
            </a:xfrm>
            <a:custGeom>
              <a:avLst/>
              <a:gdLst>
                <a:gd name="f0" fmla="val 10800000"/>
                <a:gd name="f1" fmla="val 5400000"/>
                <a:gd name="f2" fmla="val 180"/>
                <a:gd name="f3" fmla="val w"/>
                <a:gd name="f4" fmla="val h"/>
                <a:gd name="f5" fmla="val 0"/>
                <a:gd name="f6" fmla="val 2807368"/>
                <a:gd name="f7" fmla="val 600807"/>
                <a:gd name="f8" fmla="val 429971"/>
                <a:gd name="f9" fmla="val 123998"/>
                <a:gd name="f10" fmla="val 1184765"/>
                <a:gd name="f11" fmla="val 325331"/>
                <a:gd name="f12" fmla="val 2014184"/>
                <a:gd name="f13" fmla="val 392492"/>
                <a:gd name="f14" fmla="val 2790212"/>
                <a:gd name="f15" fmla="val 235402"/>
                <a:gd name="f16" fmla="val 231522"/>
                <a:gd name="f17" fmla="val 566106"/>
                <a:gd name="f18" fmla="val 2593885"/>
                <a:gd name="f19" fmla="val 587498"/>
                <a:gd name="f20" fmla="val 1673646"/>
                <a:gd name="f21" fmla="val 651184"/>
                <a:gd name="f22" fmla="val 884869"/>
                <a:gd name="f23" fmla="val 479260"/>
                <a:gd name="f24" fmla="val 100844"/>
                <a:gd name="f25" fmla="val 222653"/>
                <a:gd name="f26" fmla="val 188389"/>
                <a:gd name="f27" fmla="+- 0 0 -90"/>
                <a:gd name="f28" fmla="*/ f3 1 2807368"/>
                <a:gd name="f29" fmla="*/ f4 1 600807"/>
                <a:gd name="f30" fmla="+- f7 0 f5"/>
                <a:gd name="f31" fmla="+- f6 0 f5"/>
                <a:gd name="f32" fmla="*/ f27 f0 1"/>
                <a:gd name="f33" fmla="*/ f31 1 2807368"/>
                <a:gd name="f34" fmla="*/ f30 1 600807"/>
                <a:gd name="f35" fmla="*/ 0 f31 1"/>
                <a:gd name="f36" fmla="*/ 0 f30 1"/>
                <a:gd name="f37" fmla="*/ 429971 f31 1"/>
                <a:gd name="f38" fmla="*/ 123998 f30 1"/>
                <a:gd name="f39" fmla="*/ 2790212 f31 1"/>
                <a:gd name="f40" fmla="*/ 235402 f30 1"/>
                <a:gd name="f41" fmla="*/ 2807368 f31 1"/>
                <a:gd name="f42" fmla="*/ 231522 f30 1"/>
                <a:gd name="f43" fmla="*/ 566106 f30 1"/>
                <a:gd name="f44" fmla="*/ 2593885 f31 1"/>
                <a:gd name="f45" fmla="*/ 587498 f30 1"/>
                <a:gd name="f46" fmla="*/ 100844 f31 1"/>
                <a:gd name="f47" fmla="*/ 222653 f30 1"/>
                <a:gd name="f48" fmla="*/ 188389 f30 1"/>
                <a:gd name="f49" fmla="*/ f32 1 f2"/>
                <a:gd name="f50" fmla="*/ f35 1 2807368"/>
                <a:gd name="f51" fmla="*/ f36 1 600807"/>
                <a:gd name="f52" fmla="*/ f37 1 2807368"/>
                <a:gd name="f53" fmla="*/ f38 1 600807"/>
                <a:gd name="f54" fmla="*/ f39 1 2807368"/>
                <a:gd name="f55" fmla="*/ f40 1 600807"/>
                <a:gd name="f56" fmla="*/ f41 1 2807368"/>
                <a:gd name="f57" fmla="*/ f42 1 600807"/>
                <a:gd name="f58" fmla="*/ f43 1 600807"/>
                <a:gd name="f59" fmla="*/ f44 1 2807368"/>
                <a:gd name="f60" fmla="*/ f45 1 600807"/>
                <a:gd name="f61" fmla="*/ f46 1 2807368"/>
                <a:gd name="f62" fmla="*/ f47 1 600807"/>
                <a:gd name="f63" fmla="*/ f48 1 600807"/>
                <a:gd name="f64" fmla="*/ f5 1 f33"/>
                <a:gd name="f65" fmla="*/ f6 1 f33"/>
                <a:gd name="f66" fmla="*/ f5 1 f34"/>
                <a:gd name="f67" fmla="*/ f7 1 f34"/>
                <a:gd name="f68" fmla="+- f49 0 f1"/>
                <a:gd name="f69" fmla="*/ f50 1 f33"/>
                <a:gd name="f70" fmla="*/ f51 1 f34"/>
                <a:gd name="f71" fmla="*/ f52 1 f33"/>
                <a:gd name="f72" fmla="*/ f53 1 f34"/>
                <a:gd name="f73" fmla="*/ f54 1 f33"/>
                <a:gd name="f74" fmla="*/ f55 1 f34"/>
                <a:gd name="f75" fmla="*/ f56 1 f33"/>
                <a:gd name="f76" fmla="*/ f57 1 f34"/>
                <a:gd name="f77" fmla="*/ f58 1 f34"/>
                <a:gd name="f78" fmla="*/ f59 1 f33"/>
                <a:gd name="f79" fmla="*/ f60 1 f34"/>
                <a:gd name="f80" fmla="*/ f61 1 f33"/>
                <a:gd name="f81" fmla="*/ f62 1 f34"/>
                <a:gd name="f82" fmla="*/ f63 1 f34"/>
                <a:gd name="f83" fmla="*/ f64 f28 1"/>
                <a:gd name="f84" fmla="*/ f65 f28 1"/>
                <a:gd name="f85" fmla="*/ f67 f29 1"/>
                <a:gd name="f86" fmla="*/ f66 f29 1"/>
                <a:gd name="f87" fmla="*/ f69 f28 1"/>
                <a:gd name="f88" fmla="*/ f70 f29 1"/>
                <a:gd name="f89" fmla="*/ f71 f28 1"/>
                <a:gd name="f90" fmla="*/ f72 f29 1"/>
                <a:gd name="f91" fmla="*/ f73 f28 1"/>
                <a:gd name="f92" fmla="*/ f74 f29 1"/>
                <a:gd name="f93" fmla="*/ f75 f28 1"/>
                <a:gd name="f94" fmla="*/ f76 f29 1"/>
                <a:gd name="f95" fmla="*/ f77 f29 1"/>
                <a:gd name="f96" fmla="*/ f78 f28 1"/>
                <a:gd name="f97" fmla="*/ f79 f29 1"/>
                <a:gd name="f98" fmla="*/ f80 f28 1"/>
                <a:gd name="f99" fmla="*/ f81 f29 1"/>
                <a:gd name="f100" fmla="*/ f82 f29 1"/>
              </a:gdLst>
              <a:ahLst/>
              <a:cxnLst>
                <a:cxn ang="3cd4">
                  <a:pos x="hc" y="t"/>
                </a:cxn>
                <a:cxn ang="0">
                  <a:pos x="r" y="vc"/>
                </a:cxn>
                <a:cxn ang="cd4">
                  <a:pos x="hc" y="b"/>
                </a:cxn>
                <a:cxn ang="cd2">
                  <a:pos x="l" y="vc"/>
                </a:cxn>
                <a:cxn ang="f68">
                  <a:pos x="f87" y="f88"/>
                </a:cxn>
                <a:cxn ang="f68">
                  <a:pos x="f89" y="f90"/>
                </a:cxn>
                <a:cxn ang="f68">
                  <a:pos x="f91" y="f92"/>
                </a:cxn>
                <a:cxn ang="f68">
                  <a:pos x="f93" y="f94"/>
                </a:cxn>
                <a:cxn ang="f68">
                  <a:pos x="f93" y="f95"/>
                </a:cxn>
                <a:cxn ang="f68">
                  <a:pos x="f96" y="f97"/>
                </a:cxn>
                <a:cxn ang="f68">
                  <a:pos x="f98" y="f99"/>
                </a:cxn>
                <a:cxn ang="f68">
                  <a:pos x="f87" y="f100"/>
                </a:cxn>
              </a:cxnLst>
              <a:rect l="f83" t="f86" r="f84" b="f85"/>
              <a:pathLst>
                <a:path w="2807368" h="600807">
                  <a:moveTo>
                    <a:pt x="f5" y="f5"/>
                  </a:moveTo>
                  <a:lnTo>
                    <a:pt x="f8" y="f9"/>
                  </a:lnTo>
                  <a:cubicBezTo>
                    <a:pt x="f10" y="f11"/>
                    <a:pt x="f12" y="f13"/>
                    <a:pt x="f14" y="f15"/>
                  </a:cubicBezTo>
                  <a:lnTo>
                    <a:pt x="f6" y="f16"/>
                  </a:lnTo>
                  <a:lnTo>
                    <a:pt x="f6" y="f17"/>
                  </a:lnTo>
                  <a:lnTo>
                    <a:pt x="f18" y="f19"/>
                  </a:lnTo>
                  <a:cubicBezTo>
                    <a:pt x="f20" y="f21"/>
                    <a:pt x="f22" y="f23"/>
                    <a:pt x="f24" y="f25"/>
                  </a:cubicBezTo>
                  <a:lnTo>
                    <a:pt x="f5" y="f26"/>
                  </a:ln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Freeform 19">
              <a:extLst>
                <a:ext uri="{FF2B5EF4-FFF2-40B4-BE49-F238E27FC236}">
                  <a16:creationId xmlns:a16="http://schemas.microsoft.com/office/drawing/2014/main" id="{E58F6CED-DD92-427B-DC7E-E0C97504BD8E}"/>
                </a:ext>
              </a:extLst>
            </p:cNvPr>
            <p:cNvSpPr/>
            <p:nvPr/>
          </p:nvSpPr>
          <p:spPr>
            <a:xfrm>
              <a:off x="0" y="5379424"/>
              <a:ext cx="2807363" cy="649800"/>
            </a:xfrm>
            <a:custGeom>
              <a:avLst/>
              <a:gdLst>
                <a:gd name="f0" fmla="val 10800000"/>
                <a:gd name="f1" fmla="val 5400000"/>
                <a:gd name="f2" fmla="val 180"/>
                <a:gd name="f3" fmla="val w"/>
                <a:gd name="f4" fmla="val h"/>
                <a:gd name="f5" fmla="val 0"/>
                <a:gd name="f6" fmla="val 2807368"/>
                <a:gd name="f7" fmla="val 649803"/>
                <a:gd name="f8" fmla="val 282676"/>
                <a:gd name="f9" fmla="val 70799"/>
                <a:gd name="f10" fmla="val 435964"/>
                <a:gd name="f11" fmla="val 106085"/>
                <a:gd name="f12" fmla="val 588770"/>
                <a:gd name="f13" fmla="val 137629"/>
                <a:gd name="f14" fmla="val 740881"/>
                <a:gd name="f15" fmla="val 163828"/>
                <a:gd name="f16" fmla="val 1362800"/>
                <a:gd name="f17" fmla="val 270912"/>
                <a:gd name="f18" fmla="val 2067879"/>
                <a:gd name="f19" fmla="val 253759"/>
                <a:gd name="f20" fmla="val 2706471"/>
                <a:gd name="f21" fmla="val 96397"/>
                <a:gd name="f22" fmla="val 67250"/>
                <a:gd name="f23" fmla="val 605551"/>
                <a:gd name="f24" fmla="val 2602685"/>
                <a:gd name="f25" fmla="val 629466"/>
                <a:gd name="f26" fmla="val 1684237"/>
                <a:gd name="f27" fmla="val 708219"/>
                <a:gd name="f28" fmla="val 893252"/>
                <a:gd name="f29" fmla="val 549395"/>
                <a:gd name="f30" fmla="val 105614"/>
                <a:gd name="f31" fmla="val 305882"/>
                <a:gd name="f32" fmla="val 271926"/>
                <a:gd name="f33" fmla="+- 0 0 -90"/>
                <a:gd name="f34" fmla="*/ f3 1 2807368"/>
                <a:gd name="f35" fmla="*/ f4 1 649803"/>
                <a:gd name="f36" fmla="+- f7 0 f5"/>
                <a:gd name="f37" fmla="+- f6 0 f5"/>
                <a:gd name="f38" fmla="*/ f33 f0 1"/>
                <a:gd name="f39" fmla="*/ f37 1 2807368"/>
                <a:gd name="f40" fmla="*/ f36 1 649803"/>
                <a:gd name="f41" fmla="*/ 0 f37 1"/>
                <a:gd name="f42" fmla="*/ 0 f36 1"/>
                <a:gd name="f43" fmla="*/ 282676 f37 1"/>
                <a:gd name="f44" fmla="*/ 70799 f36 1"/>
                <a:gd name="f45" fmla="*/ 740881 f37 1"/>
                <a:gd name="f46" fmla="*/ 163828 f36 1"/>
                <a:gd name="f47" fmla="*/ 2706471 f37 1"/>
                <a:gd name="f48" fmla="*/ 96397 f36 1"/>
                <a:gd name="f49" fmla="*/ 2807368 f37 1"/>
                <a:gd name="f50" fmla="*/ 67250 f36 1"/>
                <a:gd name="f51" fmla="*/ 605551 f36 1"/>
                <a:gd name="f52" fmla="*/ 2602685 f37 1"/>
                <a:gd name="f53" fmla="*/ 629466 f36 1"/>
                <a:gd name="f54" fmla="*/ 105614 f37 1"/>
                <a:gd name="f55" fmla="*/ 305882 f36 1"/>
                <a:gd name="f56" fmla="*/ 271926 f36 1"/>
                <a:gd name="f57" fmla="*/ f38 1 f2"/>
                <a:gd name="f58" fmla="*/ f41 1 2807368"/>
                <a:gd name="f59" fmla="*/ f42 1 649803"/>
                <a:gd name="f60" fmla="*/ f43 1 2807368"/>
                <a:gd name="f61" fmla="*/ f44 1 649803"/>
                <a:gd name="f62" fmla="*/ f45 1 2807368"/>
                <a:gd name="f63" fmla="*/ f46 1 649803"/>
                <a:gd name="f64" fmla="*/ f47 1 2807368"/>
                <a:gd name="f65" fmla="*/ f48 1 649803"/>
                <a:gd name="f66" fmla="*/ f49 1 2807368"/>
                <a:gd name="f67" fmla="*/ f50 1 649803"/>
                <a:gd name="f68" fmla="*/ f51 1 649803"/>
                <a:gd name="f69" fmla="*/ f52 1 2807368"/>
                <a:gd name="f70" fmla="*/ f53 1 649803"/>
                <a:gd name="f71" fmla="*/ f54 1 2807368"/>
                <a:gd name="f72" fmla="*/ f55 1 649803"/>
                <a:gd name="f73" fmla="*/ f56 1 649803"/>
                <a:gd name="f74" fmla="*/ f5 1 f39"/>
                <a:gd name="f75" fmla="*/ f6 1 f39"/>
                <a:gd name="f76" fmla="*/ f5 1 f40"/>
                <a:gd name="f77" fmla="*/ f7 1 f40"/>
                <a:gd name="f78" fmla="+- f57 0 f1"/>
                <a:gd name="f79" fmla="*/ f58 1 f39"/>
                <a:gd name="f80" fmla="*/ f59 1 f40"/>
                <a:gd name="f81" fmla="*/ f60 1 f39"/>
                <a:gd name="f82" fmla="*/ f61 1 f40"/>
                <a:gd name="f83" fmla="*/ f62 1 f39"/>
                <a:gd name="f84" fmla="*/ f63 1 f40"/>
                <a:gd name="f85" fmla="*/ f64 1 f39"/>
                <a:gd name="f86" fmla="*/ f65 1 f40"/>
                <a:gd name="f87" fmla="*/ f66 1 f39"/>
                <a:gd name="f88" fmla="*/ f67 1 f40"/>
                <a:gd name="f89" fmla="*/ f68 1 f40"/>
                <a:gd name="f90" fmla="*/ f69 1 f39"/>
                <a:gd name="f91" fmla="*/ f70 1 f40"/>
                <a:gd name="f92" fmla="*/ f71 1 f39"/>
                <a:gd name="f93" fmla="*/ f72 1 f40"/>
                <a:gd name="f94" fmla="*/ f73 1 f40"/>
                <a:gd name="f95" fmla="*/ f74 f34 1"/>
                <a:gd name="f96" fmla="*/ f75 f34 1"/>
                <a:gd name="f97" fmla="*/ f77 f35 1"/>
                <a:gd name="f98" fmla="*/ f76 f35 1"/>
                <a:gd name="f99" fmla="*/ f79 f34 1"/>
                <a:gd name="f100" fmla="*/ f80 f35 1"/>
                <a:gd name="f101" fmla="*/ f81 f34 1"/>
                <a:gd name="f102" fmla="*/ f82 f35 1"/>
                <a:gd name="f103" fmla="*/ f83 f34 1"/>
                <a:gd name="f104" fmla="*/ f84 f35 1"/>
                <a:gd name="f105" fmla="*/ f85 f34 1"/>
                <a:gd name="f106" fmla="*/ f86 f35 1"/>
                <a:gd name="f107" fmla="*/ f87 f34 1"/>
                <a:gd name="f108" fmla="*/ f88 f35 1"/>
                <a:gd name="f109" fmla="*/ f89 f35 1"/>
                <a:gd name="f110" fmla="*/ f90 f34 1"/>
                <a:gd name="f111" fmla="*/ f91 f35 1"/>
                <a:gd name="f112" fmla="*/ f92 f34 1"/>
                <a:gd name="f113" fmla="*/ f93 f35 1"/>
                <a:gd name="f114" fmla="*/ f94 f35 1"/>
              </a:gdLst>
              <a:ahLst/>
              <a:cxnLst>
                <a:cxn ang="3cd4">
                  <a:pos x="hc" y="t"/>
                </a:cxn>
                <a:cxn ang="0">
                  <a:pos x="r" y="vc"/>
                </a:cxn>
                <a:cxn ang="cd4">
                  <a:pos x="hc" y="b"/>
                </a:cxn>
                <a:cxn ang="cd2">
                  <a:pos x="l" y="vc"/>
                </a:cxn>
                <a:cxn ang="f78">
                  <a:pos x="f99" y="f100"/>
                </a:cxn>
                <a:cxn ang="f78">
                  <a:pos x="f101" y="f102"/>
                </a:cxn>
                <a:cxn ang="f78">
                  <a:pos x="f103" y="f104"/>
                </a:cxn>
                <a:cxn ang="f78">
                  <a:pos x="f105" y="f106"/>
                </a:cxn>
                <a:cxn ang="f78">
                  <a:pos x="f107" y="f108"/>
                </a:cxn>
                <a:cxn ang="f78">
                  <a:pos x="f107" y="f109"/>
                </a:cxn>
                <a:cxn ang="f78">
                  <a:pos x="f110" y="f111"/>
                </a:cxn>
                <a:cxn ang="f78">
                  <a:pos x="f112" y="f113"/>
                </a:cxn>
                <a:cxn ang="f78">
                  <a:pos x="f99" y="f114"/>
                </a:cxn>
              </a:cxnLst>
              <a:rect l="f95" t="f98" r="f96" b="f97"/>
              <a:pathLst>
                <a:path w="2807368" h="649803">
                  <a:moveTo>
                    <a:pt x="f5" y="f5"/>
                  </a:moveTo>
                  <a:lnTo>
                    <a:pt x="f8" y="f9"/>
                  </a:lnTo>
                  <a:cubicBezTo>
                    <a:pt x="f10" y="f11"/>
                    <a:pt x="f12" y="f13"/>
                    <a:pt x="f14" y="f15"/>
                  </a:cubicBezTo>
                  <a:cubicBezTo>
                    <a:pt x="f16" y="f17"/>
                    <a:pt x="f18" y="f19"/>
                    <a:pt x="f20" y="f21"/>
                  </a:cubicBezTo>
                  <a:lnTo>
                    <a:pt x="f6" y="f22"/>
                  </a:lnTo>
                  <a:lnTo>
                    <a:pt x="f6" y="f23"/>
                  </a:lnTo>
                  <a:lnTo>
                    <a:pt x="f24" y="f25"/>
                  </a:lnTo>
                  <a:cubicBezTo>
                    <a:pt x="f26" y="f27"/>
                    <a:pt x="f28" y="f29"/>
                    <a:pt x="f30" y="f31"/>
                  </a:cubicBezTo>
                  <a:lnTo>
                    <a:pt x="f5" y="f32"/>
                  </a:ln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grpSp>
      <p:sp>
        <p:nvSpPr>
          <p:cNvPr id="7" name="Picture Placeholder 6">
            <a:extLst>
              <a:ext uri="{FF2B5EF4-FFF2-40B4-BE49-F238E27FC236}">
                <a16:creationId xmlns:a16="http://schemas.microsoft.com/office/drawing/2014/main" id="{75E1B975-947F-E421-1CDE-14586AB9164E}"/>
              </a:ext>
            </a:extLst>
          </p:cNvPr>
          <p:cNvSpPr txBox="1">
            <a:spLocks noGrp="1"/>
          </p:cNvSpPr>
          <p:nvPr>
            <p:ph type="pic" idx="4294967295"/>
          </p:nvPr>
        </p:nvSpPr>
        <p:spPr>
          <a:xfrm>
            <a:off x="2807363" y="457200"/>
            <a:ext cx="8915400" cy="5943600"/>
          </a:xfrm>
        </p:spPr>
        <p:txBody>
          <a:bodyPr/>
          <a:lstStyle>
            <a:lvl1pPr>
              <a:defRPr/>
            </a:lvl1pPr>
          </a:lstStyle>
          <a:p>
            <a:pPr lvl="0"/>
            <a:endParaRPr lang="en-US"/>
          </a:p>
        </p:txBody>
      </p:sp>
      <p:pic>
        <p:nvPicPr>
          <p:cNvPr id="8" name="Picture 14">
            <a:extLst>
              <a:ext uri="{FF2B5EF4-FFF2-40B4-BE49-F238E27FC236}">
                <a16:creationId xmlns:a16="http://schemas.microsoft.com/office/drawing/2014/main" id="{0413FC21-F1EC-1884-271A-0CE17B36D115}"/>
              </a:ext>
            </a:extLst>
          </p:cNvPr>
          <p:cNvPicPr>
            <a:picLocks noChangeAspect="1"/>
          </p:cNvPicPr>
          <p:nvPr/>
        </p:nvPicPr>
        <p:blipFill>
          <a:blip r:embed="rId2"/>
          <a:srcRect/>
          <a:stretch>
            <a:fillRect/>
          </a:stretch>
        </p:blipFill>
        <p:spPr>
          <a:xfrm>
            <a:off x="513354" y="4385535"/>
            <a:ext cx="2025313" cy="911940"/>
          </a:xfrm>
          <a:prstGeom prst="rect">
            <a:avLst/>
          </a:prstGeom>
          <a:noFill/>
          <a:ln cap="flat">
            <a:noFill/>
          </a:ln>
        </p:spPr>
      </p:pic>
    </p:spTree>
    <p:extLst>
      <p:ext uri="{BB962C8B-B14F-4D97-AF65-F5344CB8AC3E}">
        <p14:creationId xmlns:p14="http://schemas.microsoft.com/office/powerpoint/2010/main" val="1361427094"/>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2BE91C3D-0DAC-9F4D-5075-1113CDF3ACF4}"/>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2B6D6206-80E6-3140-74CF-546ADF590B07}"/>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1D64342B-F300-064C-07BA-1543C226B1D0}"/>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AA72A19C-1C45-5E83-CB5B-EEC606B9DF35}"/>
              </a:ext>
            </a:extLst>
          </p:cNvPr>
          <p:cNvSpPr txBox="1">
            <a:spLocks noGrp="1"/>
          </p:cNvSpPr>
          <p:nvPr>
            <p:ph type="sldNum" sz="quarter" idx="8"/>
          </p:nvPr>
        </p:nvSpPr>
        <p:spPr/>
        <p:txBody>
          <a:bodyPr/>
          <a:lstStyle>
            <a:lvl1pPr>
              <a:defRPr>
                <a:solidFill>
                  <a:srgbClr val="AFB3B9"/>
                </a:solidFill>
              </a:defRPr>
            </a:lvl1pPr>
          </a:lstStyle>
          <a:p>
            <a:pPr lvl="0"/>
            <a:fld id="{1D6EA88A-F39B-4E16-818A-3F586113E1BF}" type="slidenum">
              <a:t>‹#›</a:t>
            </a:fld>
            <a:endParaRPr lang="en-US"/>
          </a:p>
        </p:txBody>
      </p:sp>
      <p:cxnSp>
        <p:nvCxnSpPr>
          <p:cNvPr id="6" name="Straight Connector 7">
            <a:extLst>
              <a:ext uri="{FF2B5EF4-FFF2-40B4-BE49-F238E27FC236}">
                <a16:creationId xmlns:a16="http://schemas.microsoft.com/office/drawing/2014/main" id="{32CB70AD-BBC5-FCBA-6F4D-5BA2BA704DEC}"/>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94504227-6AD9-BC65-E65F-9B6C883DFE28}"/>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08C6E6D2-3E80-0F46-50FA-EF85C7A59039}"/>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807FE101-4DBF-AE58-2DD2-2E19D1D4020F}"/>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A0CFCC94-0B25-74EF-45F2-17FFEE847528}"/>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60495ACC-2C4A-FD61-3A7D-8F6146697E2D}"/>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15A70688-2FD1-BA8E-6D86-350AB1411F99}"/>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2879EE0B-7565-3EB9-F1CD-9FF7ED3B7DFF}"/>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3495496925"/>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88FE438A-6E3F-D591-B00D-DF12AE9D04E4}"/>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77E4662A-CB5A-06E0-1324-18D49B7BF6F2}"/>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89453025-7B7E-3F45-61E0-B17B57386DCE}"/>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88A857CD-240B-B007-FA73-C44602F9F3CF}"/>
              </a:ext>
            </a:extLst>
          </p:cNvPr>
          <p:cNvSpPr txBox="1">
            <a:spLocks noGrp="1"/>
          </p:cNvSpPr>
          <p:nvPr>
            <p:ph type="sldNum" sz="quarter" idx="8"/>
          </p:nvPr>
        </p:nvSpPr>
        <p:spPr/>
        <p:txBody>
          <a:bodyPr/>
          <a:lstStyle>
            <a:lvl1pPr>
              <a:defRPr>
                <a:solidFill>
                  <a:srgbClr val="AFB3B9"/>
                </a:solidFill>
              </a:defRPr>
            </a:lvl1pPr>
          </a:lstStyle>
          <a:p>
            <a:pPr lvl="0"/>
            <a:fld id="{7F597B99-9849-477F-A10A-A53656D531FB}" type="slidenum">
              <a:t>‹#›</a:t>
            </a:fld>
            <a:endParaRPr lang="en-US"/>
          </a:p>
        </p:txBody>
      </p:sp>
      <p:cxnSp>
        <p:nvCxnSpPr>
          <p:cNvPr id="6" name="Straight Connector 7">
            <a:extLst>
              <a:ext uri="{FF2B5EF4-FFF2-40B4-BE49-F238E27FC236}">
                <a16:creationId xmlns:a16="http://schemas.microsoft.com/office/drawing/2014/main" id="{16CBAC5D-D69F-9FAC-6447-0A9DFB3DD326}"/>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56E3B724-C0E4-A56F-5F3E-0CAF8C574100}"/>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BC1A91D6-E736-7E8C-89F9-78878DB08B2F}"/>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2081D1E0-F45D-D468-2399-C26C854DA89F}"/>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44851F91-1420-8C91-0AD4-3D25748D5F53}"/>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900C48D7-CF20-C9BC-0BD5-1C3A2A14CBDF}"/>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F0C1785F-BE4C-0B64-7F0F-FE8840891601}"/>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BA004E47-7E62-D757-3CFB-7C675A5F3650}"/>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2410789397"/>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2" name="Group 63">
            <a:extLst>
              <a:ext uri="{FF2B5EF4-FFF2-40B4-BE49-F238E27FC236}">
                <a16:creationId xmlns:a16="http://schemas.microsoft.com/office/drawing/2014/main" id="{9085F9CE-33CB-44FD-FD8B-50C07BEC9C1E}"/>
              </a:ext>
            </a:extLst>
          </p:cNvPr>
          <p:cNvGrpSpPr/>
          <p:nvPr/>
        </p:nvGrpSpPr>
        <p:grpSpPr>
          <a:xfrm>
            <a:off x="7191545" y="0"/>
            <a:ext cx="5000460" cy="1425988"/>
            <a:chOff x="7191545" y="0"/>
            <a:chExt cx="5000460" cy="1425988"/>
          </a:xfrm>
        </p:grpSpPr>
        <p:pic>
          <p:nvPicPr>
            <p:cNvPr id="3" name="Picture 64">
              <a:extLst>
                <a:ext uri="{FF2B5EF4-FFF2-40B4-BE49-F238E27FC236}">
                  <a16:creationId xmlns:a16="http://schemas.microsoft.com/office/drawing/2014/main" id="{20226C8C-7998-AB1D-43F2-3788EA1A3EB4}"/>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65">
              <a:extLst>
                <a:ext uri="{FF2B5EF4-FFF2-40B4-BE49-F238E27FC236}">
                  <a16:creationId xmlns:a16="http://schemas.microsoft.com/office/drawing/2014/main" id="{6C215156-248E-A962-45C5-89E50A62568D}"/>
                </a:ext>
              </a:extLst>
            </p:cNvPr>
            <p:cNvGrpSpPr/>
            <p:nvPr/>
          </p:nvGrpSpPr>
          <p:grpSpPr>
            <a:xfrm>
              <a:off x="7191545" y="0"/>
              <a:ext cx="5000460" cy="1425988"/>
              <a:chOff x="7191545" y="0"/>
              <a:chExt cx="5000460" cy="1425988"/>
            </a:xfrm>
          </p:grpSpPr>
          <p:sp>
            <p:nvSpPr>
              <p:cNvPr id="5" name="Freeform 66">
                <a:extLst>
                  <a:ext uri="{FF2B5EF4-FFF2-40B4-BE49-F238E27FC236}">
                    <a16:creationId xmlns:a16="http://schemas.microsoft.com/office/drawing/2014/main" id="{041F2E99-0649-1FB0-5102-65E051722201}"/>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67">
                <a:extLst>
                  <a:ext uri="{FF2B5EF4-FFF2-40B4-BE49-F238E27FC236}">
                    <a16:creationId xmlns:a16="http://schemas.microsoft.com/office/drawing/2014/main" id="{2F63BA36-0C29-532F-2488-B9521D80E798}"/>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3E7B3FA8-6CC5-0767-E752-CF376866F16E}"/>
              </a:ext>
            </a:extLst>
          </p:cNvPr>
          <p:cNvSpPr txBox="1">
            <a:spLocks noGrp="1"/>
          </p:cNvSpPr>
          <p:nvPr>
            <p:ph type="title"/>
          </p:nvPr>
        </p:nvSpPr>
        <p:spPr/>
        <p:txBody>
          <a:bodyPr/>
          <a:lstStyle>
            <a:lvl1pPr>
              <a:defRPr/>
            </a:lvl1pPr>
          </a:lstStyle>
          <a:p>
            <a:pPr lvl="0"/>
            <a:r>
              <a:rPr lang="en-US"/>
              <a:t>Click to edit Master title style</a:t>
            </a:r>
          </a:p>
        </p:txBody>
      </p:sp>
      <p:sp>
        <p:nvSpPr>
          <p:cNvPr id="8" name="Content Placeholder 2">
            <a:extLst>
              <a:ext uri="{FF2B5EF4-FFF2-40B4-BE49-F238E27FC236}">
                <a16:creationId xmlns:a16="http://schemas.microsoft.com/office/drawing/2014/main" id="{743DD3F6-54AB-5FFF-1BE3-E6CE67EF3AB0}"/>
              </a:ext>
            </a:extLst>
          </p:cNvPr>
          <p:cNvSpPr txBox="1">
            <a:spLocks noGrp="1"/>
          </p:cNvSpPr>
          <p:nvPr>
            <p:ph idx="1"/>
          </p:nvPr>
        </p:nvSpPr>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6">
            <a:extLst>
              <a:ext uri="{FF2B5EF4-FFF2-40B4-BE49-F238E27FC236}">
                <a16:creationId xmlns:a16="http://schemas.microsoft.com/office/drawing/2014/main" id="{BF5BB1B1-0F3C-501D-A613-949A884290D1}"/>
              </a:ext>
            </a:extLst>
          </p:cNvPr>
          <p:cNvSpPr txBox="1">
            <a:spLocks noGrp="1"/>
          </p:cNvSpPr>
          <p:nvPr>
            <p:ph type="sldNum" sz="quarter" idx="8"/>
          </p:nvPr>
        </p:nvSpPr>
        <p:spPr/>
        <p:txBody>
          <a:bodyPr/>
          <a:lstStyle>
            <a:lvl1pPr>
              <a:defRPr>
                <a:solidFill>
                  <a:srgbClr val="AFB3B9"/>
                </a:solidFill>
              </a:defRPr>
            </a:lvl1pPr>
          </a:lstStyle>
          <a:p>
            <a:pPr lvl="0"/>
            <a:fld id="{E37C29AD-2170-4C6A-89AE-39C1D583B334}" type="slidenum">
              <a:t>‹#›</a:t>
            </a:fld>
            <a:endParaRPr lang="en-US"/>
          </a:p>
        </p:txBody>
      </p:sp>
      <p:cxnSp>
        <p:nvCxnSpPr>
          <p:cNvPr id="10" name="Straight Connector 7">
            <a:extLst>
              <a:ext uri="{FF2B5EF4-FFF2-40B4-BE49-F238E27FC236}">
                <a16:creationId xmlns:a16="http://schemas.microsoft.com/office/drawing/2014/main" id="{7F109678-4D6E-7451-F525-120FA35667E9}"/>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1" name="Footer Placeholder 5">
            <a:extLst>
              <a:ext uri="{FF2B5EF4-FFF2-40B4-BE49-F238E27FC236}">
                <a16:creationId xmlns:a16="http://schemas.microsoft.com/office/drawing/2014/main" id="{3DC168C3-17DA-A8C3-639D-8B2588EB3184}"/>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1849959261"/>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6A1AD2-60F0-7AD8-86C4-B267CAC8FF44}"/>
              </a:ext>
            </a:extLst>
          </p:cNvPr>
          <p:cNvSpPr txBox="1">
            <a:spLocks noGrp="1"/>
          </p:cNvSpPr>
          <p:nvPr>
            <p:ph type="title"/>
          </p:nvPr>
        </p:nvSpPr>
        <p:spPr/>
        <p:txBody>
          <a:bodyPr/>
          <a:lstStyle>
            <a:lvl1pPr>
              <a:defRPr/>
            </a:lvl1pPr>
          </a:lstStyle>
          <a:p>
            <a:pPr lvl="0"/>
            <a:r>
              <a:rPr lang="en-US"/>
              <a:t>Click to edit Master title style</a:t>
            </a:r>
          </a:p>
        </p:txBody>
      </p:sp>
      <p:sp>
        <p:nvSpPr>
          <p:cNvPr id="3" name="Content Placeholder 2">
            <a:extLst>
              <a:ext uri="{FF2B5EF4-FFF2-40B4-BE49-F238E27FC236}">
                <a16:creationId xmlns:a16="http://schemas.microsoft.com/office/drawing/2014/main" id="{A64DB7CB-D169-8D80-C53D-D73C82E05D10}"/>
              </a:ext>
            </a:extLst>
          </p:cNvPr>
          <p:cNvSpPr txBox="1">
            <a:spLocks noGrp="1"/>
          </p:cNvSpPr>
          <p:nvPr>
            <p:ph idx="1"/>
          </p:nvPr>
        </p:nvSpPr>
        <p:spPr>
          <a:xfrm>
            <a:off x="609604" y="1825627"/>
            <a:ext cx="5410203" cy="4351336"/>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43">
            <a:extLst>
              <a:ext uri="{FF2B5EF4-FFF2-40B4-BE49-F238E27FC236}">
                <a16:creationId xmlns:a16="http://schemas.microsoft.com/office/drawing/2014/main" id="{86E47BFB-F42F-1950-2A7A-20EA7F321B47}"/>
              </a:ext>
            </a:extLst>
          </p:cNvPr>
          <p:cNvGrpSpPr/>
          <p:nvPr/>
        </p:nvGrpSpPr>
        <p:grpSpPr>
          <a:xfrm>
            <a:off x="7191545" y="0"/>
            <a:ext cx="5000460" cy="1425988"/>
            <a:chOff x="7191545" y="0"/>
            <a:chExt cx="5000460" cy="1425988"/>
          </a:xfrm>
        </p:grpSpPr>
        <p:pic>
          <p:nvPicPr>
            <p:cNvPr id="5" name="Picture 19">
              <a:extLst>
                <a:ext uri="{FF2B5EF4-FFF2-40B4-BE49-F238E27FC236}">
                  <a16:creationId xmlns:a16="http://schemas.microsoft.com/office/drawing/2014/main" id="{8F017B91-B97A-D083-3A61-A6761D0AFA36}"/>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6" name="Group 42">
              <a:extLst>
                <a:ext uri="{FF2B5EF4-FFF2-40B4-BE49-F238E27FC236}">
                  <a16:creationId xmlns:a16="http://schemas.microsoft.com/office/drawing/2014/main" id="{83856675-227E-9E93-F37C-938606366893}"/>
                </a:ext>
              </a:extLst>
            </p:cNvPr>
            <p:cNvGrpSpPr/>
            <p:nvPr/>
          </p:nvGrpSpPr>
          <p:grpSpPr>
            <a:xfrm>
              <a:off x="7191545" y="0"/>
              <a:ext cx="5000460" cy="1425988"/>
              <a:chOff x="7191545" y="0"/>
              <a:chExt cx="5000460" cy="1425988"/>
            </a:xfrm>
          </p:grpSpPr>
          <p:sp>
            <p:nvSpPr>
              <p:cNvPr id="7" name="Freeform 41">
                <a:extLst>
                  <a:ext uri="{FF2B5EF4-FFF2-40B4-BE49-F238E27FC236}">
                    <a16:creationId xmlns:a16="http://schemas.microsoft.com/office/drawing/2014/main" id="{015CA4A5-65A3-C56F-5C59-E781FED3F6A5}"/>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8" name="Freeform 39">
                <a:extLst>
                  <a:ext uri="{FF2B5EF4-FFF2-40B4-BE49-F238E27FC236}">
                    <a16:creationId xmlns:a16="http://schemas.microsoft.com/office/drawing/2014/main" id="{3E10A6FB-B9EF-3114-0A2D-3A99DF2A4879}"/>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9" name="Content Placeholder 3">
            <a:extLst>
              <a:ext uri="{FF2B5EF4-FFF2-40B4-BE49-F238E27FC236}">
                <a16:creationId xmlns:a16="http://schemas.microsoft.com/office/drawing/2014/main" id="{37C017C9-20FD-15D2-C109-08E468433672}"/>
              </a:ext>
            </a:extLst>
          </p:cNvPr>
          <p:cNvSpPr txBox="1">
            <a:spLocks noGrp="1"/>
          </p:cNvSpPr>
          <p:nvPr>
            <p:ph idx="2"/>
          </p:nvPr>
        </p:nvSpPr>
        <p:spPr>
          <a:xfrm>
            <a:off x="6172201" y="1825627"/>
            <a:ext cx="5410203" cy="4351336"/>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7">
            <a:extLst>
              <a:ext uri="{FF2B5EF4-FFF2-40B4-BE49-F238E27FC236}">
                <a16:creationId xmlns:a16="http://schemas.microsoft.com/office/drawing/2014/main" id="{A0D34BC5-A6AA-C5D1-BEB5-7913F6C0D03F}"/>
              </a:ext>
            </a:extLst>
          </p:cNvPr>
          <p:cNvSpPr txBox="1">
            <a:spLocks noGrp="1"/>
          </p:cNvSpPr>
          <p:nvPr>
            <p:ph type="sldNum" sz="quarter" idx="8"/>
          </p:nvPr>
        </p:nvSpPr>
        <p:spPr>
          <a:xfrm>
            <a:off x="8839193" y="6356352"/>
            <a:ext cx="2743200" cy="365129"/>
          </a:xfrm>
        </p:spPr>
        <p:txBody>
          <a:bodyPr/>
          <a:lstStyle>
            <a:lvl1pPr>
              <a:defRPr/>
            </a:lvl1pPr>
          </a:lstStyle>
          <a:p>
            <a:pPr lvl="0"/>
            <a:fld id="{34A9819C-68F6-49E8-88DA-4FDCA3F79225}" type="slidenum">
              <a:t>‹#›</a:t>
            </a:fld>
            <a:endParaRPr lang="en-US"/>
          </a:p>
        </p:txBody>
      </p:sp>
      <p:cxnSp>
        <p:nvCxnSpPr>
          <p:cNvPr id="11" name="Straight Connector 6">
            <a:extLst>
              <a:ext uri="{FF2B5EF4-FFF2-40B4-BE49-F238E27FC236}">
                <a16:creationId xmlns:a16="http://schemas.microsoft.com/office/drawing/2014/main" id="{26CB8BE6-90C9-218E-B5F7-563EA57A0593}"/>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2" name="Footer Placeholder 4">
            <a:extLst>
              <a:ext uri="{FF2B5EF4-FFF2-40B4-BE49-F238E27FC236}">
                <a16:creationId xmlns:a16="http://schemas.microsoft.com/office/drawing/2014/main" id="{90F349D3-BD45-7251-248A-8B930FCFD43D}"/>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1709354968"/>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 name="Group 24">
            <a:extLst>
              <a:ext uri="{FF2B5EF4-FFF2-40B4-BE49-F238E27FC236}">
                <a16:creationId xmlns:a16="http://schemas.microsoft.com/office/drawing/2014/main" id="{8525816A-EBCB-CA0F-7874-57335F9BBC69}"/>
              </a:ext>
            </a:extLst>
          </p:cNvPr>
          <p:cNvGrpSpPr/>
          <p:nvPr/>
        </p:nvGrpSpPr>
        <p:grpSpPr>
          <a:xfrm>
            <a:off x="7191545" y="0"/>
            <a:ext cx="5000460" cy="1425988"/>
            <a:chOff x="7191545" y="0"/>
            <a:chExt cx="5000460" cy="1425988"/>
          </a:xfrm>
        </p:grpSpPr>
        <p:pic>
          <p:nvPicPr>
            <p:cNvPr id="3" name="Picture 25">
              <a:extLst>
                <a:ext uri="{FF2B5EF4-FFF2-40B4-BE49-F238E27FC236}">
                  <a16:creationId xmlns:a16="http://schemas.microsoft.com/office/drawing/2014/main" id="{B77FCA77-10B5-7492-4B4D-78AE42E19D82}"/>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26">
              <a:extLst>
                <a:ext uri="{FF2B5EF4-FFF2-40B4-BE49-F238E27FC236}">
                  <a16:creationId xmlns:a16="http://schemas.microsoft.com/office/drawing/2014/main" id="{530CC2CE-E45F-1957-D44E-1650525999A3}"/>
                </a:ext>
              </a:extLst>
            </p:cNvPr>
            <p:cNvGrpSpPr/>
            <p:nvPr/>
          </p:nvGrpSpPr>
          <p:grpSpPr>
            <a:xfrm>
              <a:off x="7191545" y="0"/>
              <a:ext cx="5000460" cy="1425988"/>
              <a:chOff x="7191545" y="0"/>
              <a:chExt cx="5000460" cy="1425988"/>
            </a:xfrm>
          </p:grpSpPr>
          <p:sp>
            <p:nvSpPr>
              <p:cNvPr id="5" name="Freeform 27">
                <a:extLst>
                  <a:ext uri="{FF2B5EF4-FFF2-40B4-BE49-F238E27FC236}">
                    <a16:creationId xmlns:a16="http://schemas.microsoft.com/office/drawing/2014/main" id="{3392A52B-6514-B83C-D51A-C6B6C1E00220}"/>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28">
                <a:extLst>
                  <a:ext uri="{FF2B5EF4-FFF2-40B4-BE49-F238E27FC236}">
                    <a16:creationId xmlns:a16="http://schemas.microsoft.com/office/drawing/2014/main" id="{DF93C710-B072-6188-CCC3-B3A9C820647E}"/>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F4B8159E-0CE6-98E5-32ED-AD7A7933A4E4}"/>
              </a:ext>
            </a:extLst>
          </p:cNvPr>
          <p:cNvSpPr txBox="1">
            <a:spLocks noGrp="1"/>
          </p:cNvSpPr>
          <p:nvPr>
            <p:ph type="title"/>
          </p:nvPr>
        </p:nvSpPr>
        <p:spPr/>
        <p:txBody>
          <a:bodyPr/>
          <a:lstStyle>
            <a:lvl1pPr>
              <a:defRPr/>
            </a:lvl1pPr>
          </a:lstStyle>
          <a:p>
            <a:pPr lvl="0"/>
            <a:r>
              <a:rPr lang="en-US"/>
              <a:t>Click to edit Master title style</a:t>
            </a:r>
          </a:p>
        </p:txBody>
      </p:sp>
      <p:sp>
        <p:nvSpPr>
          <p:cNvPr id="8" name="Text Placeholder 2">
            <a:extLst>
              <a:ext uri="{FF2B5EF4-FFF2-40B4-BE49-F238E27FC236}">
                <a16:creationId xmlns:a16="http://schemas.microsoft.com/office/drawing/2014/main" id="{2B5D0471-4E47-E147-C56D-E6A68A587127}"/>
              </a:ext>
            </a:extLst>
          </p:cNvPr>
          <p:cNvSpPr txBox="1">
            <a:spLocks noGrp="1"/>
          </p:cNvSpPr>
          <p:nvPr>
            <p:ph type="body" idx="1"/>
          </p:nvPr>
        </p:nvSpPr>
        <p:spPr>
          <a:xfrm>
            <a:off x="609604" y="1681160"/>
            <a:ext cx="5387973" cy="823910"/>
          </a:xfrm>
          <a:solidFill>
            <a:srgbClr val="F3F6FB"/>
          </a:solidFill>
        </p:spPr>
        <p:txBody>
          <a:bodyPr lIns="182880" tIns="0" rIns="182880" bIns="0" anchor="ctr"/>
          <a:lstStyle>
            <a:lvl1pPr marL="0" indent="0">
              <a:buNone/>
              <a:defRPr u="sng">
                <a:uFill>
                  <a:solidFill>
                    <a:srgbClr val="F58366"/>
                  </a:solidFill>
                </a:uFill>
              </a:defRPr>
            </a:lvl1pPr>
          </a:lstStyle>
          <a:p>
            <a:pPr lvl="0"/>
            <a:r>
              <a:rPr lang="en-US"/>
              <a:t>Click to edit Master text styles</a:t>
            </a:r>
          </a:p>
        </p:txBody>
      </p:sp>
      <p:sp>
        <p:nvSpPr>
          <p:cNvPr id="9" name="Content Placeholder 3">
            <a:extLst>
              <a:ext uri="{FF2B5EF4-FFF2-40B4-BE49-F238E27FC236}">
                <a16:creationId xmlns:a16="http://schemas.microsoft.com/office/drawing/2014/main" id="{4F0713B5-FC55-0021-192B-B62B4389F71F}"/>
              </a:ext>
            </a:extLst>
          </p:cNvPr>
          <p:cNvSpPr txBox="1">
            <a:spLocks noGrp="1"/>
          </p:cNvSpPr>
          <p:nvPr>
            <p:ph idx="2"/>
          </p:nvPr>
        </p:nvSpPr>
        <p:spPr>
          <a:xfrm>
            <a:off x="609604" y="2505072"/>
            <a:ext cx="5387973" cy="3684583"/>
          </a:xfrm>
          <a:solidFill>
            <a:srgbClr val="F3F6FB"/>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C37AEBB4-092B-DA87-6157-0C85B323F34B}"/>
              </a:ext>
            </a:extLst>
          </p:cNvPr>
          <p:cNvSpPr txBox="1">
            <a:spLocks noGrp="1"/>
          </p:cNvSpPr>
          <p:nvPr>
            <p:ph type="body" idx="3"/>
          </p:nvPr>
        </p:nvSpPr>
        <p:spPr>
          <a:xfrm>
            <a:off x="6172201" y="1681160"/>
            <a:ext cx="5410203" cy="823910"/>
          </a:xfrm>
          <a:solidFill>
            <a:srgbClr val="F3F6FB"/>
          </a:solidFill>
        </p:spPr>
        <p:txBody>
          <a:bodyPr lIns="182880" tIns="0" rIns="182880" bIns="0" anchor="ctr"/>
          <a:lstStyle>
            <a:lvl1pPr marL="0" indent="0">
              <a:buNone/>
              <a:defRPr u="sng">
                <a:uFill>
                  <a:solidFill>
                    <a:srgbClr val="F58366"/>
                  </a:solidFill>
                </a:uFill>
              </a:defRPr>
            </a:lvl1pPr>
          </a:lstStyle>
          <a:p>
            <a:pPr lvl="0"/>
            <a:r>
              <a:rPr lang="en-US"/>
              <a:t>Click to edit Master text styles</a:t>
            </a:r>
          </a:p>
        </p:txBody>
      </p:sp>
      <p:sp>
        <p:nvSpPr>
          <p:cNvPr id="11" name="Content Placeholder 5">
            <a:extLst>
              <a:ext uri="{FF2B5EF4-FFF2-40B4-BE49-F238E27FC236}">
                <a16:creationId xmlns:a16="http://schemas.microsoft.com/office/drawing/2014/main" id="{427873F7-B5E9-AC52-E87A-FF3DB68DF2FC}"/>
              </a:ext>
            </a:extLst>
          </p:cNvPr>
          <p:cNvSpPr txBox="1">
            <a:spLocks noGrp="1"/>
          </p:cNvSpPr>
          <p:nvPr>
            <p:ph idx="4"/>
          </p:nvPr>
        </p:nvSpPr>
        <p:spPr>
          <a:xfrm>
            <a:off x="6172201" y="2505072"/>
            <a:ext cx="5410203" cy="3684583"/>
          </a:xfrm>
          <a:solidFill>
            <a:srgbClr val="F3F6FB"/>
          </a:solidFill>
        </p:spPr>
        <p:txBody>
          <a:bodyPr lIns="182880" tIns="0" rIns="182880" bIns="0"/>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9">
            <a:extLst>
              <a:ext uri="{FF2B5EF4-FFF2-40B4-BE49-F238E27FC236}">
                <a16:creationId xmlns:a16="http://schemas.microsoft.com/office/drawing/2014/main" id="{83645886-3078-C4A1-12BF-110B65EB0DF0}"/>
              </a:ext>
            </a:extLst>
          </p:cNvPr>
          <p:cNvSpPr txBox="1">
            <a:spLocks noGrp="1"/>
          </p:cNvSpPr>
          <p:nvPr>
            <p:ph type="sldNum" sz="quarter" idx="8"/>
          </p:nvPr>
        </p:nvSpPr>
        <p:spPr/>
        <p:txBody>
          <a:bodyPr/>
          <a:lstStyle>
            <a:lvl1pPr>
              <a:defRPr/>
            </a:lvl1pPr>
          </a:lstStyle>
          <a:p>
            <a:pPr lvl="0"/>
            <a:fld id="{61F364FA-E27D-4B34-AB4E-4650B588FCEE}" type="slidenum">
              <a:t>‹#›</a:t>
            </a:fld>
            <a:endParaRPr lang="en-US"/>
          </a:p>
        </p:txBody>
      </p:sp>
      <p:cxnSp>
        <p:nvCxnSpPr>
          <p:cNvPr id="13" name="Straight Connector 8">
            <a:extLst>
              <a:ext uri="{FF2B5EF4-FFF2-40B4-BE49-F238E27FC236}">
                <a16:creationId xmlns:a16="http://schemas.microsoft.com/office/drawing/2014/main" id="{CB3B5312-1019-DC1B-F797-8119DFA3889A}"/>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4" name="Footer Placeholder 7">
            <a:extLst>
              <a:ext uri="{FF2B5EF4-FFF2-40B4-BE49-F238E27FC236}">
                <a16:creationId xmlns:a16="http://schemas.microsoft.com/office/drawing/2014/main" id="{0F879B0D-9A80-E904-E761-4E3AB507E0A3}"/>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1827279302"/>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 name="Group 21">
            <a:extLst>
              <a:ext uri="{FF2B5EF4-FFF2-40B4-BE49-F238E27FC236}">
                <a16:creationId xmlns:a16="http://schemas.microsoft.com/office/drawing/2014/main" id="{5707CA2C-E0E7-5843-325C-4B0C5249EFF2}"/>
              </a:ext>
            </a:extLst>
          </p:cNvPr>
          <p:cNvGrpSpPr/>
          <p:nvPr/>
        </p:nvGrpSpPr>
        <p:grpSpPr>
          <a:xfrm>
            <a:off x="7191545" y="0"/>
            <a:ext cx="5000460" cy="1425988"/>
            <a:chOff x="7191545" y="0"/>
            <a:chExt cx="5000460" cy="1425988"/>
          </a:xfrm>
        </p:grpSpPr>
        <p:pic>
          <p:nvPicPr>
            <p:cNvPr id="3" name="Picture 22">
              <a:extLst>
                <a:ext uri="{FF2B5EF4-FFF2-40B4-BE49-F238E27FC236}">
                  <a16:creationId xmlns:a16="http://schemas.microsoft.com/office/drawing/2014/main" id="{E35AFD18-3D54-8887-626E-8BF0F38CB82A}"/>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23">
              <a:extLst>
                <a:ext uri="{FF2B5EF4-FFF2-40B4-BE49-F238E27FC236}">
                  <a16:creationId xmlns:a16="http://schemas.microsoft.com/office/drawing/2014/main" id="{9F6CF57A-19B5-512F-E5F2-6CA71C2A11D8}"/>
                </a:ext>
              </a:extLst>
            </p:cNvPr>
            <p:cNvGrpSpPr/>
            <p:nvPr/>
          </p:nvGrpSpPr>
          <p:grpSpPr>
            <a:xfrm>
              <a:off x="7191545" y="0"/>
              <a:ext cx="5000460" cy="1425988"/>
              <a:chOff x="7191545" y="0"/>
              <a:chExt cx="5000460" cy="1425988"/>
            </a:xfrm>
          </p:grpSpPr>
          <p:sp>
            <p:nvSpPr>
              <p:cNvPr id="5" name="Freeform 24">
                <a:extLst>
                  <a:ext uri="{FF2B5EF4-FFF2-40B4-BE49-F238E27FC236}">
                    <a16:creationId xmlns:a16="http://schemas.microsoft.com/office/drawing/2014/main" id="{1FC6F6B6-4069-D985-F453-F9119D6F3034}"/>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25">
                <a:extLst>
                  <a:ext uri="{FF2B5EF4-FFF2-40B4-BE49-F238E27FC236}">
                    <a16:creationId xmlns:a16="http://schemas.microsoft.com/office/drawing/2014/main" id="{0B2364B3-354D-B57B-56C5-B027C957353F}"/>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C9667D29-B831-5ADA-4A14-AD34639F5976}"/>
              </a:ext>
            </a:extLst>
          </p:cNvPr>
          <p:cNvSpPr txBox="1">
            <a:spLocks noGrp="1"/>
          </p:cNvSpPr>
          <p:nvPr>
            <p:ph type="title"/>
          </p:nvPr>
        </p:nvSpPr>
        <p:spPr/>
        <p:txBody>
          <a:bodyPr/>
          <a:lstStyle>
            <a:lvl1pPr>
              <a:defRPr/>
            </a:lvl1pPr>
          </a:lstStyle>
          <a:p>
            <a:pPr lvl="0"/>
            <a:r>
              <a:rPr lang="en-US"/>
              <a:t>Click to edit Master title style</a:t>
            </a:r>
          </a:p>
        </p:txBody>
      </p:sp>
      <p:sp>
        <p:nvSpPr>
          <p:cNvPr id="8" name="Slide Number Placeholder 5">
            <a:extLst>
              <a:ext uri="{FF2B5EF4-FFF2-40B4-BE49-F238E27FC236}">
                <a16:creationId xmlns:a16="http://schemas.microsoft.com/office/drawing/2014/main" id="{98349D06-A0E2-C60B-E997-C0811EAF4428}"/>
              </a:ext>
            </a:extLst>
          </p:cNvPr>
          <p:cNvSpPr txBox="1">
            <a:spLocks noGrp="1"/>
          </p:cNvSpPr>
          <p:nvPr>
            <p:ph type="sldNum" sz="quarter" idx="8"/>
          </p:nvPr>
        </p:nvSpPr>
        <p:spPr/>
        <p:txBody>
          <a:bodyPr/>
          <a:lstStyle>
            <a:lvl1pPr>
              <a:defRPr/>
            </a:lvl1pPr>
          </a:lstStyle>
          <a:p>
            <a:pPr lvl="0"/>
            <a:fld id="{56E148D2-D185-47C0-82B7-9151762BEA73}" type="slidenum">
              <a:t>‹#›</a:t>
            </a:fld>
            <a:endParaRPr lang="en-US"/>
          </a:p>
        </p:txBody>
      </p:sp>
      <p:cxnSp>
        <p:nvCxnSpPr>
          <p:cNvPr id="9" name="Straight Connector 6">
            <a:extLst>
              <a:ext uri="{FF2B5EF4-FFF2-40B4-BE49-F238E27FC236}">
                <a16:creationId xmlns:a16="http://schemas.microsoft.com/office/drawing/2014/main" id="{7B73444E-6516-0EF8-C221-39C7986F0382}"/>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0" name="Footer Placeholder 2">
            <a:extLst>
              <a:ext uri="{FF2B5EF4-FFF2-40B4-BE49-F238E27FC236}">
                <a16:creationId xmlns:a16="http://schemas.microsoft.com/office/drawing/2014/main" id="{DDF85D4C-81A0-03FD-DE7B-135325170E56}"/>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98393299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Quotation">
  <p:cSld name="Quotation 3">
    <p:spTree>
      <p:nvGrpSpPr>
        <p:cNvPr id="1" name="Shape 9337"/>
        <p:cNvGrpSpPr/>
        <p:nvPr/>
      </p:nvGrpSpPr>
      <p:grpSpPr>
        <a:xfrm>
          <a:off x="0" y="0"/>
          <a:ext cx="0" cy="0"/>
          <a:chOff x="0" y="0"/>
          <a:chExt cx="0" cy="0"/>
        </a:xfrm>
      </p:grpSpPr>
      <p:sp>
        <p:nvSpPr>
          <p:cNvPr id="9338" name="Google Shape;9338;p134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339" name="Google Shape;9339;p134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340" name="Google Shape;9340;p134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41" name="Google Shape;9341;p13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42" name="Google Shape;9342;p13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43" name="Google Shape;9343;p13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344" name="Google Shape;9344;p1346"/>
          <p:cNvGrpSpPr/>
          <p:nvPr/>
        </p:nvGrpSpPr>
        <p:grpSpPr>
          <a:xfrm>
            <a:off x="7191542" y="1"/>
            <a:ext cx="5000459" cy="1425992"/>
            <a:chOff x="7191542" y="1"/>
            <a:chExt cx="5000459" cy="1425992"/>
          </a:xfrm>
        </p:grpSpPr>
        <p:pic>
          <p:nvPicPr>
            <p:cNvPr id="9345" name="Google Shape;9345;p13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46" name="Google Shape;9346;p1346"/>
            <p:cNvGrpSpPr/>
            <p:nvPr/>
          </p:nvGrpSpPr>
          <p:grpSpPr>
            <a:xfrm>
              <a:off x="7191542" y="1"/>
              <a:ext cx="5000459" cy="1425992"/>
              <a:chOff x="7186272" y="0"/>
              <a:chExt cx="5005729" cy="1427495"/>
            </a:xfrm>
          </p:grpSpPr>
          <p:sp>
            <p:nvSpPr>
              <p:cNvPr id="9347" name="Google Shape;9347;p13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348" name="Google Shape;9348;p13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349" name="Google Shape;9349;p134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13_End">
    <p:spTree>
      <p:nvGrpSpPr>
        <p:cNvPr id="1" name=""/>
        <p:cNvGrpSpPr/>
        <p:nvPr/>
      </p:nvGrpSpPr>
      <p:grpSpPr>
        <a:xfrm>
          <a:off x="0" y="0"/>
          <a:ext cx="0" cy="0"/>
          <a:chOff x="0" y="0"/>
          <a:chExt cx="0" cy="0"/>
        </a:xfrm>
      </p:grpSpPr>
      <p:grpSp>
        <p:nvGrpSpPr>
          <p:cNvPr id="2" name="Group 41">
            <a:extLst>
              <a:ext uri="{FF2B5EF4-FFF2-40B4-BE49-F238E27FC236}">
                <a16:creationId xmlns:a16="http://schemas.microsoft.com/office/drawing/2014/main" id="{58F63BB7-B73B-AC36-D06B-F9065205233F}"/>
              </a:ext>
            </a:extLst>
          </p:cNvPr>
          <p:cNvGrpSpPr/>
          <p:nvPr/>
        </p:nvGrpSpPr>
        <p:grpSpPr>
          <a:xfrm>
            <a:off x="0" y="0"/>
            <a:ext cx="12191996" cy="2148830"/>
            <a:chOff x="0" y="0"/>
            <a:chExt cx="12191996" cy="2148830"/>
          </a:xfrm>
        </p:grpSpPr>
        <p:sp>
          <p:nvSpPr>
            <p:cNvPr id="3" name="Freeform 40">
              <a:extLst>
                <a:ext uri="{FF2B5EF4-FFF2-40B4-BE49-F238E27FC236}">
                  <a16:creationId xmlns:a16="http://schemas.microsoft.com/office/drawing/2014/main" id="{579D74E4-6D08-3316-CE78-A388B01C6C1D}"/>
                </a:ext>
              </a:extLst>
            </p:cNvPr>
            <p:cNvSpPr/>
            <p:nvPr/>
          </p:nvSpPr>
          <p:spPr>
            <a:xfrm flipH="1">
              <a:off x="0" y="0"/>
              <a:ext cx="12191996" cy="2148830"/>
            </a:xfrm>
            <a:custGeom>
              <a:avLst/>
              <a:gdLst>
                <a:gd name="f0" fmla="val 10800000"/>
                <a:gd name="f1" fmla="val 5400000"/>
                <a:gd name="f2" fmla="val 180"/>
                <a:gd name="f3" fmla="val w"/>
                <a:gd name="f4" fmla="val h"/>
                <a:gd name="f5" fmla="val 0"/>
                <a:gd name="f6" fmla="val 12192000"/>
                <a:gd name="f7" fmla="val 2148830"/>
                <a:gd name="f8" fmla="val 2318293"/>
                <a:gd name="f9" fmla="val 2110341"/>
                <a:gd name="f10" fmla="val 1952334"/>
                <a:gd name="f11" fmla="val 920"/>
                <a:gd name="f12" fmla="val 1343499"/>
                <a:gd name="f13" fmla="val 23864"/>
                <a:gd name="f14" fmla="val 752130"/>
                <a:gd name="f15" fmla="val 152982"/>
                <a:gd name="f16" fmla="val 184205"/>
                <a:gd name="f17" fmla="val 435928"/>
                <a:gd name="f18" fmla="val 536864"/>
                <a:gd name="f19" fmla="val 554713"/>
                <a:gd name="f20" fmla="val 201115"/>
                <a:gd name="f21" fmla="val 452796"/>
                <a:gd name="f22" fmla="val 776357"/>
                <a:gd name="f23" fmla="val 187336"/>
                <a:gd name="f24" fmla="val 1349828"/>
                <a:gd name="f25" fmla="val 76760"/>
                <a:gd name="f26" fmla="val 1947588"/>
                <a:gd name="f27" fmla="val 66249"/>
                <a:gd name="f28" fmla="val 2962940"/>
                <a:gd name="f29" fmla="val 48421"/>
                <a:gd name="f30" fmla="val 3890218"/>
                <a:gd name="f31" fmla="val 291317"/>
                <a:gd name="f32" fmla="val 4778140"/>
                <a:gd name="f33" fmla="val 604018"/>
                <a:gd name="f34" fmla="val 7231510"/>
                <a:gd name="f35" fmla="val 1468126"/>
                <a:gd name="f36" fmla="val 9178927"/>
                <a:gd name="f37" fmla="val 2492024"/>
                <a:gd name="f38" fmla="val 11996242"/>
                <a:gd name="f39" fmla="val 2036894"/>
                <a:gd name="f40" fmla="val 2002266"/>
                <a:gd name="f41" fmla="val 1415250"/>
                <a:gd name="f42" fmla="val 12022971"/>
                <a:gd name="f43" fmla="val 1470801"/>
                <a:gd name="f44" fmla="val 10719696"/>
                <a:gd name="f45" fmla="val 1863939"/>
                <a:gd name="f46" fmla="val 9271154"/>
                <a:gd name="f47" fmla="val 1783804"/>
                <a:gd name="f48" fmla="val 7970940"/>
                <a:gd name="f49" fmla="val 1436986"/>
                <a:gd name="f50" fmla="val 6890984"/>
                <a:gd name="f51" fmla="val 1148958"/>
                <a:gd name="f52" fmla="val 5866930"/>
                <a:gd name="f53" fmla="val 767309"/>
                <a:gd name="f54" fmla="val 4800356"/>
                <a:gd name="f55" fmla="val 456582"/>
                <a:gd name="f56" fmla="val 4068903"/>
                <a:gd name="f57" fmla="val 243471"/>
                <a:gd name="f58" fmla="val 3348204"/>
                <a:gd name="f59" fmla="val 74251"/>
                <a:gd name="f60" fmla="val 2646880"/>
                <a:gd name="f61" fmla="val 17560"/>
                <a:gd name="f62" fmla="+- 0 0 -90"/>
                <a:gd name="f63" fmla="*/ f3 1 12192000"/>
                <a:gd name="f64" fmla="*/ f4 1 2148830"/>
                <a:gd name="f65" fmla="+- f7 0 f5"/>
                <a:gd name="f66" fmla="+- f6 0 f5"/>
                <a:gd name="f67" fmla="*/ f62 f0 1"/>
                <a:gd name="f68" fmla="*/ f66 1 12192000"/>
                <a:gd name="f69" fmla="*/ f65 1 2148830"/>
                <a:gd name="f70" fmla="*/ 2318293 f66 1"/>
                <a:gd name="f71" fmla="*/ 0 f65 1"/>
                <a:gd name="f72" fmla="*/ 2110341 f66 1"/>
                <a:gd name="f73" fmla="*/ 1952334 f66 1"/>
                <a:gd name="f74" fmla="*/ 920 f65 1"/>
                <a:gd name="f75" fmla="*/ 184205 f66 1"/>
                <a:gd name="f76" fmla="*/ 435928 f65 1"/>
                <a:gd name="f77" fmla="*/ 0 f66 1"/>
                <a:gd name="f78" fmla="*/ 536864 f65 1"/>
                <a:gd name="f79" fmla="*/ 554713 f65 1"/>
                <a:gd name="f80" fmla="*/ 201115 f66 1"/>
                <a:gd name="f81" fmla="*/ 452796 f65 1"/>
                <a:gd name="f82" fmla="*/ 1947588 f66 1"/>
                <a:gd name="f83" fmla="*/ 66249 f65 1"/>
                <a:gd name="f84" fmla="*/ 4778140 f66 1"/>
                <a:gd name="f85" fmla="*/ 604018 f65 1"/>
                <a:gd name="f86" fmla="*/ 11996242 f66 1"/>
                <a:gd name="f87" fmla="*/ 2036894 f65 1"/>
                <a:gd name="f88" fmla="*/ 12192000 f66 1"/>
                <a:gd name="f89" fmla="*/ 2002266 f65 1"/>
                <a:gd name="f90" fmla="*/ 1415250 f65 1"/>
                <a:gd name="f91" fmla="*/ 12022971 f66 1"/>
                <a:gd name="f92" fmla="*/ 1470801 f65 1"/>
                <a:gd name="f93" fmla="*/ 7970940 f66 1"/>
                <a:gd name="f94" fmla="*/ 1436986 f65 1"/>
                <a:gd name="f95" fmla="*/ 4800356 f66 1"/>
                <a:gd name="f96" fmla="*/ 456582 f65 1"/>
                <a:gd name="f97" fmla="*/ 2646880 f66 1"/>
                <a:gd name="f98" fmla="*/ 17560 f65 1"/>
                <a:gd name="f99" fmla="*/ f67 1 f2"/>
                <a:gd name="f100" fmla="*/ f70 1 12192000"/>
                <a:gd name="f101" fmla="*/ f71 1 2148830"/>
                <a:gd name="f102" fmla="*/ f72 1 12192000"/>
                <a:gd name="f103" fmla="*/ f73 1 12192000"/>
                <a:gd name="f104" fmla="*/ f74 1 2148830"/>
                <a:gd name="f105" fmla="*/ f75 1 12192000"/>
                <a:gd name="f106" fmla="*/ f76 1 2148830"/>
                <a:gd name="f107" fmla="*/ f77 1 12192000"/>
                <a:gd name="f108" fmla="*/ f78 1 2148830"/>
                <a:gd name="f109" fmla="*/ f79 1 2148830"/>
                <a:gd name="f110" fmla="*/ f80 1 12192000"/>
                <a:gd name="f111" fmla="*/ f81 1 2148830"/>
                <a:gd name="f112" fmla="*/ f82 1 12192000"/>
                <a:gd name="f113" fmla="*/ f83 1 2148830"/>
                <a:gd name="f114" fmla="*/ f84 1 12192000"/>
                <a:gd name="f115" fmla="*/ f85 1 2148830"/>
                <a:gd name="f116" fmla="*/ f86 1 12192000"/>
                <a:gd name="f117" fmla="*/ f87 1 2148830"/>
                <a:gd name="f118" fmla="*/ f88 1 12192000"/>
                <a:gd name="f119" fmla="*/ f89 1 2148830"/>
                <a:gd name="f120" fmla="*/ f90 1 2148830"/>
                <a:gd name="f121" fmla="*/ f91 1 12192000"/>
                <a:gd name="f122" fmla="*/ f92 1 2148830"/>
                <a:gd name="f123" fmla="*/ f93 1 12192000"/>
                <a:gd name="f124" fmla="*/ f94 1 2148830"/>
                <a:gd name="f125" fmla="*/ f95 1 12192000"/>
                <a:gd name="f126" fmla="*/ f96 1 2148830"/>
                <a:gd name="f127" fmla="*/ f97 1 12192000"/>
                <a:gd name="f128" fmla="*/ f98 1 2148830"/>
                <a:gd name="f129" fmla="*/ f5 1 f68"/>
                <a:gd name="f130" fmla="*/ f6 1 f68"/>
                <a:gd name="f131" fmla="*/ f5 1 f69"/>
                <a:gd name="f132" fmla="*/ f7 1 f69"/>
                <a:gd name="f133" fmla="+- f99 0 f1"/>
                <a:gd name="f134" fmla="*/ f100 1 f68"/>
                <a:gd name="f135" fmla="*/ f101 1 f69"/>
                <a:gd name="f136" fmla="*/ f102 1 f68"/>
                <a:gd name="f137" fmla="*/ f103 1 f68"/>
                <a:gd name="f138" fmla="*/ f104 1 f69"/>
                <a:gd name="f139" fmla="*/ f105 1 f68"/>
                <a:gd name="f140" fmla="*/ f106 1 f69"/>
                <a:gd name="f141" fmla="*/ f107 1 f68"/>
                <a:gd name="f142" fmla="*/ f108 1 f69"/>
                <a:gd name="f143" fmla="*/ f109 1 f69"/>
                <a:gd name="f144" fmla="*/ f110 1 f68"/>
                <a:gd name="f145" fmla="*/ f111 1 f69"/>
                <a:gd name="f146" fmla="*/ f112 1 f68"/>
                <a:gd name="f147" fmla="*/ f113 1 f69"/>
                <a:gd name="f148" fmla="*/ f114 1 f68"/>
                <a:gd name="f149" fmla="*/ f115 1 f69"/>
                <a:gd name="f150" fmla="*/ f116 1 f68"/>
                <a:gd name="f151" fmla="*/ f117 1 f69"/>
                <a:gd name="f152" fmla="*/ f118 1 f68"/>
                <a:gd name="f153" fmla="*/ f119 1 f69"/>
                <a:gd name="f154" fmla="*/ f120 1 f69"/>
                <a:gd name="f155" fmla="*/ f121 1 f68"/>
                <a:gd name="f156" fmla="*/ f122 1 f69"/>
                <a:gd name="f157" fmla="*/ f123 1 f68"/>
                <a:gd name="f158" fmla="*/ f124 1 f69"/>
                <a:gd name="f159" fmla="*/ f125 1 f68"/>
                <a:gd name="f160" fmla="*/ f126 1 f69"/>
                <a:gd name="f161" fmla="*/ f127 1 f68"/>
                <a:gd name="f162" fmla="*/ f128 1 f69"/>
                <a:gd name="f163" fmla="*/ f129 f63 1"/>
                <a:gd name="f164" fmla="*/ f130 f63 1"/>
                <a:gd name="f165" fmla="*/ f132 f64 1"/>
                <a:gd name="f166" fmla="*/ f131 f64 1"/>
                <a:gd name="f167" fmla="*/ f134 f63 1"/>
                <a:gd name="f168" fmla="*/ f135 f64 1"/>
                <a:gd name="f169" fmla="*/ f136 f63 1"/>
                <a:gd name="f170" fmla="*/ f137 f63 1"/>
                <a:gd name="f171" fmla="*/ f138 f64 1"/>
                <a:gd name="f172" fmla="*/ f139 f63 1"/>
                <a:gd name="f173" fmla="*/ f140 f64 1"/>
                <a:gd name="f174" fmla="*/ f141 f63 1"/>
                <a:gd name="f175" fmla="*/ f142 f64 1"/>
                <a:gd name="f176" fmla="*/ f143 f64 1"/>
                <a:gd name="f177" fmla="*/ f144 f63 1"/>
                <a:gd name="f178" fmla="*/ f145 f64 1"/>
                <a:gd name="f179" fmla="*/ f146 f63 1"/>
                <a:gd name="f180" fmla="*/ f147 f64 1"/>
                <a:gd name="f181" fmla="*/ f148 f63 1"/>
                <a:gd name="f182" fmla="*/ f149 f64 1"/>
                <a:gd name="f183" fmla="*/ f150 f63 1"/>
                <a:gd name="f184" fmla="*/ f151 f64 1"/>
                <a:gd name="f185" fmla="*/ f152 f63 1"/>
                <a:gd name="f186" fmla="*/ f153 f64 1"/>
                <a:gd name="f187" fmla="*/ f154 f64 1"/>
                <a:gd name="f188" fmla="*/ f155 f63 1"/>
                <a:gd name="f189" fmla="*/ f156 f64 1"/>
                <a:gd name="f190" fmla="*/ f157 f63 1"/>
                <a:gd name="f191" fmla="*/ f158 f64 1"/>
                <a:gd name="f192" fmla="*/ f159 f63 1"/>
                <a:gd name="f193" fmla="*/ f160 f64 1"/>
                <a:gd name="f194" fmla="*/ f161 f63 1"/>
                <a:gd name="f195" fmla="*/ f162 f64 1"/>
              </a:gdLst>
              <a:ahLst/>
              <a:cxnLst>
                <a:cxn ang="3cd4">
                  <a:pos x="hc" y="t"/>
                </a:cxn>
                <a:cxn ang="0">
                  <a:pos x="r" y="vc"/>
                </a:cxn>
                <a:cxn ang="cd4">
                  <a:pos x="hc" y="b"/>
                </a:cxn>
                <a:cxn ang="cd2">
                  <a:pos x="l" y="vc"/>
                </a:cxn>
                <a:cxn ang="f133">
                  <a:pos x="f167" y="f168"/>
                </a:cxn>
                <a:cxn ang="f133">
                  <a:pos x="f169" y="f168"/>
                </a:cxn>
                <a:cxn ang="f133">
                  <a:pos x="f170" y="f171"/>
                </a:cxn>
                <a:cxn ang="f133">
                  <a:pos x="f172" y="f173"/>
                </a:cxn>
                <a:cxn ang="f133">
                  <a:pos x="f174" y="f175"/>
                </a:cxn>
                <a:cxn ang="f133">
                  <a:pos x="f174" y="f176"/>
                </a:cxn>
                <a:cxn ang="f133">
                  <a:pos x="f177" y="f178"/>
                </a:cxn>
                <a:cxn ang="f133">
                  <a:pos x="f179" y="f180"/>
                </a:cxn>
                <a:cxn ang="f133">
                  <a:pos x="f181" y="f182"/>
                </a:cxn>
                <a:cxn ang="f133">
                  <a:pos x="f183" y="f184"/>
                </a:cxn>
                <a:cxn ang="f133">
                  <a:pos x="f185" y="f186"/>
                </a:cxn>
                <a:cxn ang="f133">
                  <a:pos x="f185" y="f187"/>
                </a:cxn>
                <a:cxn ang="f133">
                  <a:pos x="f188" y="f189"/>
                </a:cxn>
                <a:cxn ang="f133">
                  <a:pos x="f190" y="f191"/>
                </a:cxn>
                <a:cxn ang="f133">
                  <a:pos x="f192" y="f193"/>
                </a:cxn>
                <a:cxn ang="f133">
                  <a:pos x="f194" y="f195"/>
                </a:cxn>
              </a:cxnLst>
              <a:rect l="f163" t="f166" r="f164" b="f165"/>
              <a:pathLst>
                <a:path w="12192000" h="2148830">
                  <a:moveTo>
                    <a:pt x="f8" y="f5"/>
                  </a:moveTo>
                  <a:lnTo>
                    <a:pt x="f9" y="f5"/>
                  </a:lnTo>
                  <a:lnTo>
                    <a:pt x="f10" y="f11"/>
                  </a:lnTo>
                  <a:cubicBezTo>
                    <a:pt x="f12" y="f13"/>
                    <a:pt x="f14" y="f15"/>
                    <a:pt x="f16" y="f17"/>
                  </a:cubicBezTo>
                  <a:lnTo>
                    <a:pt x="f5" y="f18"/>
                  </a:lnTo>
                  <a:lnTo>
                    <a:pt x="f5" y="f19"/>
                  </a:lnTo>
                  <a:lnTo>
                    <a:pt x="f20" y="f21"/>
                  </a:lnTo>
                  <a:cubicBezTo>
                    <a:pt x="f22" y="f23"/>
                    <a:pt x="f24" y="f25"/>
                    <a:pt x="f26" y="f27"/>
                  </a:cubicBezTo>
                  <a:cubicBezTo>
                    <a:pt x="f28" y="f29"/>
                    <a:pt x="f30" y="f31"/>
                    <a:pt x="f32" y="f33"/>
                  </a:cubicBezTo>
                  <a:cubicBezTo>
                    <a:pt x="f34" y="f35"/>
                    <a:pt x="f36" y="f37"/>
                    <a:pt x="f38" y="f39"/>
                  </a:cubicBezTo>
                  <a:lnTo>
                    <a:pt x="f6" y="f40"/>
                  </a:lnTo>
                  <a:lnTo>
                    <a:pt x="f6" y="f41"/>
                  </a:lnTo>
                  <a:lnTo>
                    <a:pt x="f42" y="f43"/>
                  </a:lnTo>
                  <a:cubicBezTo>
                    <a:pt x="f44" y="f45"/>
                    <a:pt x="f46" y="f47"/>
                    <a:pt x="f48" y="f49"/>
                  </a:cubicBezTo>
                  <a:cubicBezTo>
                    <a:pt x="f50" y="f51"/>
                    <a:pt x="f52" y="f53"/>
                    <a:pt x="f54" y="f55"/>
                  </a:cubicBezTo>
                  <a:cubicBezTo>
                    <a:pt x="f56" y="f57"/>
                    <a:pt x="f58" y="f59"/>
                    <a:pt x="f60" y="f61"/>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4" name="Freeform 38">
              <a:extLst>
                <a:ext uri="{FF2B5EF4-FFF2-40B4-BE49-F238E27FC236}">
                  <a16:creationId xmlns:a16="http://schemas.microsoft.com/office/drawing/2014/main" id="{734E4A03-3E0E-7D18-1A7C-1BD71982E382}"/>
                </a:ext>
              </a:extLst>
            </p:cNvPr>
            <p:cNvSpPr/>
            <p:nvPr/>
          </p:nvSpPr>
          <p:spPr>
            <a:xfrm flipH="1">
              <a:off x="0" y="0"/>
              <a:ext cx="12191996" cy="1992139"/>
            </a:xfrm>
            <a:custGeom>
              <a:avLst/>
              <a:gdLst>
                <a:gd name="f0" fmla="val 10800000"/>
                <a:gd name="f1" fmla="val 5400000"/>
                <a:gd name="f2" fmla="val 180"/>
                <a:gd name="f3" fmla="val w"/>
                <a:gd name="f4" fmla="val h"/>
                <a:gd name="f5" fmla="val 0"/>
                <a:gd name="f6" fmla="val 12192000"/>
                <a:gd name="f7" fmla="val 1992138"/>
                <a:gd name="f8" fmla="val 2724271"/>
                <a:gd name="f9" fmla="val 1788442"/>
                <a:gd name="f10" fmla="val 1635403"/>
                <a:gd name="f11" fmla="val 12925"/>
                <a:gd name="f12" fmla="val 1134241"/>
                <a:gd name="f13" fmla="val 70905"/>
                <a:gd name="f14" fmla="val 647221"/>
                <a:gd name="f15" fmla="val 207817"/>
                <a:gd name="f16" fmla="val 178220"/>
                <a:gd name="f17" fmla="val 451207"/>
                <a:gd name="f18" fmla="val 552718"/>
                <a:gd name="f19" fmla="val 570885"/>
                <a:gd name="f20" fmla="val 195368"/>
                <a:gd name="f21" fmla="val 467800"/>
                <a:gd name="f22" fmla="val 765758"/>
                <a:gd name="f23" fmla="val 193094"/>
                <a:gd name="f24" fmla="val 1336955"/>
                <a:gd name="f25" fmla="val 73179"/>
                <a:gd name="f26" fmla="val 1934073"/>
                <a:gd name="f27" fmla="val 52850"/>
                <a:gd name="f28" fmla="val 2948304"/>
                <a:gd name="f29" fmla="val 18310"/>
                <a:gd name="f30" fmla="val 3878878"/>
                <a:gd name="f31" fmla="val 245747"/>
                <a:gd name="f32" fmla="val 4771217"/>
                <a:gd name="f33" fmla="val 543645"/>
                <a:gd name="f34" fmla="val 7236913"/>
                <a:gd name="f35" fmla="val 1366709"/>
                <a:gd name="f36" fmla="val 9199689"/>
                <a:gd name="f37" fmla="val 2357774"/>
                <a:gd name="f38" fmla="val 12007222"/>
                <a:gd name="f39" fmla="val 1856729"/>
                <a:gd name="f40" fmla="val 1820900"/>
                <a:gd name="f41" fmla="val 897073"/>
                <a:gd name="f42" fmla="val 12062517"/>
                <a:gd name="f43" fmla="val 950128"/>
                <a:gd name="f44" fmla="val 10950292"/>
                <a:gd name="f45" fmla="val 1376478"/>
                <a:gd name="f46" fmla="val 9595706"/>
                <a:gd name="f47" fmla="val 1466451"/>
                <a:gd name="f48" fmla="val 8435105"/>
                <a:gd name="f49" fmla="val 1266613"/>
                <a:gd name="f50" fmla="val 6618389"/>
                <a:gd name="f51" fmla="val 953715"/>
                <a:gd name="f52" fmla="val 4735222"/>
                <a:gd name="f53" fmla="val 130088"/>
                <a:gd name="f54" fmla="val 2948502"/>
                <a:gd name="f55" fmla="val 20548"/>
                <a:gd name="f56" fmla="+- 0 0 -90"/>
                <a:gd name="f57" fmla="*/ f3 1 12192000"/>
                <a:gd name="f58" fmla="*/ f4 1 1992138"/>
                <a:gd name="f59" fmla="+- f7 0 f5"/>
                <a:gd name="f60" fmla="+- f6 0 f5"/>
                <a:gd name="f61" fmla="*/ f56 f0 1"/>
                <a:gd name="f62" fmla="*/ f60 1 12192000"/>
                <a:gd name="f63" fmla="*/ f59 1 1992138"/>
                <a:gd name="f64" fmla="*/ 2724271 f60 1"/>
                <a:gd name="f65" fmla="*/ 0 f59 1"/>
                <a:gd name="f66" fmla="*/ 1788442 f60 1"/>
                <a:gd name="f67" fmla="*/ 1635403 f60 1"/>
                <a:gd name="f68" fmla="*/ 12925 f59 1"/>
                <a:gd name="f69" fmla="*/ 178220 f60 1"/>
                <a:gd name="f70" fmla="*/ 451207 f59 1"/>
                <a:gd name="f71" fmla="*/ 0 f60 1"/>
                <a:gd name="f72" fmla="*/ 552718 f59 1"/>
                <a:gd name="f73" fmla="*/ 570885 f59 1"/>
                <a:gd name="f74" fmla="*/ 195368 f60 1"/>
                <a:gd name="f75" fmla="*/ 467800 f59 1"/>
                <a:gd name="f76" fmla="*/ 1934073 f60 1"/>
                <a:gd name="f77" fmla="*/ 52850 f59 1"/>
                <a:gd name="f78" fmla="*/ 4771217 f60 1"/>
                <a:gd name="f79" fmla="*/ 543645 f59 1"/>
                <a:gd name="f80" fmla="*/ 12007222 f60 1"/>
                <a:gd name="f81" fmla="*/ 1856729 f59 1"/>
                <a:gd name="f82" fmla="*/ 12192000 f60 1"/>
                <a:gd name="f83" fmla="*/ 1820900 f59 1"/>
                <a:gd name="f84" fmla="*/ 897073 f59 1"/>
                <a:gd name="f85" fmla="*/ 12062517 f60 1"/>
                <a:gd name="f86" fmla="*/ 950128 f59 1"/>
                <a:gd name="f87" fmla="*/ 8435105 f60 1"/>
                <a:gd name="f88" fmla="*/ 1266613 f59 1"/>
                <a:gd name="f89" fmla="*/ 2948502 f60 1"/>
                <a:gd name="f90" fmla="*/ 20548 f59 1"/>
                <a:gd name="f91" fmla="*/ f61 1 f2"/>
                <a:gd name="f92" fmla="*/ f64 1 12192000"/>
                <a:gd name="f93" fmla="*/ f65 1 1992138"/>
                <a:gd name="f94" fmla="*/ f66 1 12192000"/>
                <a:gd name="f95" fmla="*/ f67 1 12192000"/>
                <a:gd name="f96" fmla="*/ f68 1 1992138"/>
                <a:gd name="f97" fmla="*/ f69 1 12192000"/>
                <a:gd name="f98" fmla="*/ f70 1 1992138"/>
                <a:gd name="f99" fmla="*/ f71 1 12192000"/>
                <a:gd name="f100" fmla="*/ f72 1 1992138"/>
                <a:gd name="f101" fmla="*/ f73 1 1992138"/>
                <a:gd name="f102" fmla="*/ f74 1 12192000"/>
                <a:gd name="f103" fmla="*/ f75 1 1992138"/>
                <a:gd name="f104" fmla="*/ f76 1 12192000"/>
                <a:gd name="f105" fmla="*/ f77 1 1992138"/>
                <a:gd name="f106" fmla="*/ f78 1 12192000"/>
                <a:gd name="f107" fmla="*/ f79 1 1992138"/>
                <a:gd name="f108" fmla="*/ f80 1 12192000"/>
                <a:gd name="f109" fmla="*/ f81 1 1992138"/>
                <a:gd name="f110" fmla="*/ f82 1 12192000"/>
                <a:gd name="f111" fmla="*/ f83 1 1992138"/>
                <a:gd name="f112" fmla="*/ f84 1 1992138"/>
                <a:gd name="f113" fmla="*/ f85 1 12192000"/>
                <a:gd name="f114" fmla="*/ f86 1 1992138"/>
                <a:gd name="f115" fmla="*/ f87 1 12192000"/>
                <a:gd name="f116" fmla="*/ f88 1 1992138"/>
                <a:gd name="f117" fmla="*/ f89 1 12192000"/>
                <a:gd name="f118" fmla="*/ f90 1 1992138"/>
                <a:gd name="f119" fmla="*/ f5 1 f62"/>
                <a:gd name="f120" fmla="*/ f6 1 f62"/>
                <a:gd name="f121" fmla="*/ f5 1 f63"/>
                <a:gd name="f122" fmla="*/ f7 1 f63"/>
                <a:gd name="f123" fmla="+- f91 0 f1"/>
                <a:gd name="f124" fmla="*/ f92 1 f62"/>
                <a:gd name="f125" fmla="*/ f93 1 f63"/>
                <a:gd name="f126" fmla="*/ f94 1 f62"/>
                <a:gd name="f127" fmla="*/ f95 1 f62"/>
                <a:gd name="f128" fmla="*/ f96 1 f63"/>
                <a:gd name="f129" fmla="*/ f97 1 f62"/>
                <a:gd name="f130" fmla="*/ f98 1 f63"/>
                <a:gd name="f131" fmla="*/ f99 1 f62"/>
                <a:gd name="f132" fmla="*/ f100 1 f63"/>
                <a:gd name="f133" fmla="*/ f101 1 f63"/>
                <a:gd name="f134" fmla="*/ f102 1 f62"/>
                <a:gd name="f135" fmla="*/ f103 1 f63"/>
                <a:gd name="f136" fmla="*/ f104 1 f62"/>
                <a:gd name="f137" fmla="*/ f105 1 f63"/>
                <a:gd name="f138" fmla="*/ f106 1 f62"/>
                <a:gd name="f139" fmla="*/ f107 1 f63"/>
                <a:gd name="f140" fmla="*/ f108 1 f62"/>
                <a:gd name="f141" fmla="*/ f109 1 f63"/>
                <a:gd name="f142" fmla="*/ f110 1 f62"/>
                <a:gd name="f143" fmla="*/ f111 1 f63"/>
                <a:gd name="f144" fmla="*/ f112 1 f63"/>
                <a:gd name="f145" fmla="*/ f113 1 f62"/>
                <a:gd name="f146" fmla="*/ f114 1 f63"/>
                <a:gd name="f147" fmla="*/ f115 1 f62"/>
                <a:gd name="f148" fmla="*/ f116 1 f63"/>
                <a:gd name="f149" fmla="*/ f117 1 f62"/>
                <a:gd name="f150" fmla="*/ f118 1 f63"/>
                <a:gd name="f151" fmla="*/ f119 f57 1"/>
                <a:gd name="f152" fmla="*/ f120 f57 1"/>
                <a:gd name="f153" fmla="*/ f122 f58 1"/>
                <a:gd name="f154" fmla="*/ f121 f58 1"/>
                <a:gd name="f155" fmla="*/ f124 f57 1"/>
                <a:gd name="f156" fmla="*/ f125 f58 1"/>
                <a:gd name="f157" fmla="*/ f126 f57 1"/>
                <a:gd name="f158" fmla="*/ f127 f57 1"/>
                <a:gd name="f159" fmla="*/ f128 f58 1"/>
                <a:gd name="f160" fmla="*/ f129 f57 1"/>
                <a:gd name="f161" fmla="*/ f130 f58 1"/>
                <a:gd name="f162" fmla="*/ f131 f57 1"/>
                <a:gd name="f163" fmla="*/ f132 f58 1"/>
                <a:gd name="f164" fmla="*/ f133 f58 1"/>
                <a:gd name="f165" fmla="*/ f134 f57 1"/>
                <a:gd name="f166" fmla="*/ f135 f58 1"/>
                <a:gd name="f167" fmla="*/ f136 f57 1"/>
                <a:gd name="f168" fmla="*/ f137 f58 1"/>
                <a:gd name="f169" fmla="*/ f138 f57 1"/>
                <a:gd name="f170" fmla="*/ f139 f58 1"/>
                <a:gd name="f171" fmla="*/ f140 f57 1"/>
                <a:gd name="f172" fmla="*/ f141 f58 1"/>
                <a:gd name="f173" fmla="*/ f142 f57 1"/>
                <a:gd name="f174" fmla="*/ f143 f58 1"/>
                <a:gd name="f175" fmla="*/ f144 f58 1"/>
                <a:gd name="f176" fmla="*/ f145 f57 1"/>
                <a:gd name="f177" fmla="*/ f146 f58 1"/>
                <a:gd name="f178" fmla="*/ f147 f57 1"/>
                <a:gd name="f179" fmla="*/ f148 f58 1"/>
                <a:gd name="f180" fmla="*/ f149 f57 1"/>
                <a:gd name="f181" fmla="*/ f150 f58 1"/>
              </a:gdLst>
              <a:ahLst/>
              <a:cxnLst>
                <a:cxn ang="3cd4">
                  <a:pos x="hc" y="t"/>
                </a:cxn>
                <a:cxn ang="0">
                  <a:pos x="r" y="vc"/>
                </a:cxn>
                <a:cxn ang="cd4">
                  <a:pos x="hc" y="b"/>
                </a:cxn>
                <a:cxn ang="cd2">
                  <a:pos x="l" y="vc"/>
                </a:cxn>
                <a:cxn ang="f123">
                  <a:pos x="f155" y="f156"/>
                </a:cxn>
                <a:cxn ang="f123">
                  <a:pos x="f157" y="f156"/>
                </a:cxn>
                <a:cxn ang="f123">
                  <a:pos x="f158" y="f159"/>
                </a:cxn>
                <a:cxn ang="f123">
                  <a:pos x="f160" y="f161"/>
                </a:cxn>
                <a:cxn ang="f123">
                  <a:pos x="f162" y="f163"/>
                </a:cxn>
                <a:cxn ang="f123">
                  <a:pos x="f162" y="f164"/>
                </a:cxn>
                <a:cxn ang="f123">
                  <a:pos x="f165" y="f166"/>
                </a:cxn>
                <a:cxn ang="f123">
                  <a:pos x="f167" y="f168"/>
                </a:cxn>
                <a:cxn ang="f123">
                  <a:pos x="f169" y="f170"/>
                </a:cxn>
                <a:cxn ang="f123">
                  <a:pos x="f171" y="f172"/>
                </a:cxn>
                <a:cxn ang="f123">
                  <a:pos x="f173" y="f174"/>
                </a:cxn>
                <a:cxn ang="f123">
                  <a:pos x="f173" y="f175"/>
                </a:cxn>
                <a:cxn ang="f123">
                  <a:pos x="f176" y="f177"/>
                </a:cxn>
                <a:cxn ang="f123">
                  <a:pos x="f178" y="f179"/>
                </a:cxn>
                <a:cxn ang="f123">
                  <a:pos x="f180" y="f181"/>
                </a:cxn>
              </a:cxnLst>
              <a:rect l="f151" t="f154" r="f152" b="f153"/>
              <a:pathLst>
                <a:path w="12192000" h="1992138">
                  <a:moveTo>
                    <a:pt x="f8" y="f5"/>
                  </a:moveTo>
                  <a:lnTo>
                    <a:pt x="f9" y="f5"/>
                  </a:lnTo>
                  <a:lnTo>
                    <a:pt x="f10" y="f11"/>
                  </a:lnTo>
                  <a:cubicBezTo>
                    <a:pt x="f12" y="f13"/>
                    <a:pt x="f14" y="f15"/>
                    <a:pt x="f16" y="f17"/>
                  </a:cubicBezTo>
                  <a:lnTo>
                    <a:pt x="f5" y="f18"/>
                  </a:lnTo>
                  <a:lnTo>
                    <a:pt x="f5" y="f19"/>
                  </a:lnTo>
                  <a:lnTo>
                    <a:pt x="f20" y="f21"/>
                  </a:lnTo>
                  <a:cubicBezTo>
                    <a:pt x="f22" y="f23"/>
                    <a:pt x="f24" y="f25"/>
                    <a:pt x="f26" y="f27"/>
                  </a:cubicBezTo>
                  <a:cubicBezTo>
                    <a:pt x="f28" y="f29"/>
                    <a:pt x="f30" y="f31"/>
                    <a:pt x="f32" y="f33"/>
                  </a:cubicBezTo>
                  <a:cubicBezTo>
                    <a:pt x="f34" y="f35"/>
                    <a:pt x="f36" y="f37"/>
                    <a:pt x="f38" y="f39"/>
                  </a:cubicBezTo>
                  <a:lnTo>
                    <a:pt x="f6" y="f40"/>
                  </a:lnTo>
                  <a:lnTo>
                    <a:pt x="f6" y="f41"/>
                  </a:lnTo>
                  <a:lnTo>
                    <a:pt x="f42" y="f43"/>
                  </a:lnTo>
                  <a:cubicBezTo>
                    <a:pt x="f44" y="f45"/>
                    <a:pt x="f46" y="f47"/>
                    <a:pt x="f48" y="f49"/>
                  </a:cubicBezTo>
                  <a:cubicBezTo>
                    <a:pt x="f50" y="f51"/>
                    <a:pt x="f52" y="f53"/>
                    <a:pt x="f54" y="f55"/>
                  </a:cubicBezTo>
                  <a:close/>
                </a:path>
              </a:pathLst>
            </a:custGeom>
            <a:solidFill>
              <a:srgbClr val="00498F"/>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sp>
        <p:nvSpPr>
          <p:cNvPr id="5" name="Rectangle 3">
            <a:extLst>
              <a:ext uri="{FF2B5EF4-FFF2-40B4-BE49-F238E27FC236}">
                <a16:creationId xmlns:a16="http://schemas.microsoft.com/office/drawing/2014/main" id="{3302918C-B341-F453-3D3D-0A9E0B48836F}"/>
              </a:ext>
            </a:extLst>
          </p:cNvPr>
          <p:cNvSpPr/>
          <p:nvPr/>
        </p:nvSpPr>
        <p:spPr>
          <a:xfrm>
            <a:off x="902366" y="1517694"/>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Content Placeholder 2">
            <a:extLst>
              <a:ext uri="{FF2B5EF4-FFF2-40B4-BE49-F238E27FC236}">
                <a16:creationId xmlns:a16="http://schemas.microsoft.com/office/drawing/2014/main" id="{DFF9B045-7162-F698-1EA2-4646874B23C5}"/>
              </a:ext>
            </a:extLst>
          </p:cNvPr>
          <p:cNvSpPr txBox="1">
            <a:spLocks noGrp="1"/>
          </p:cNvSpPr>
          <p:nvPr>
            <p:ph idx="4294967295"/>
          </p:nvPr>
        </p:nvSpPr>
        <p:spPr>
          <a:xfrm>
            <a:off x="1219197" y="3429001"/>
            <a:ext cx="5582649" cy="1413561"/>
          </a:xfrm>
        </p:spPr>
        <p:txBody>
          <a:bodyPr/>
          <a:lstStyle>
            <a:lvl1pPr marL="0" indent="0">
              <a:buNone/>
              <a:defRPr sz="2000"/>
            </a:lvl1pPr>
          </a:lstStyle>
          <a:p>
            <a:pPr lvl="0"/>
            <a:r>
              <a:rPr lang="en-US"/>
              <a:t>Click to edit Master text styles</a:t>
            </a:r>
          </a:p>
        </p:txBody>
      </p:sp>
      <p:sp>
        <p:nvSpPr>
          <p:cNvPr id="7" name="Title 11">
            <a:extLst>
              <a:ext uri="{FF2B5EF4-FFF2-40B4-BE49-F238E27FC236}">
                <a16:creationId xmlns:a16="http://schemas.microsoft.com/office/drawing/2014/main" id="{FC96B278-1541-7B14-3B3E-7AD78E186879}"/>
              </a:ext>
            </a:extLst>
          </p:cNvPr>
          <p:cNvSpPr txBox="1">
            <a:spLocks noGrp="1"/>
          </p:cNvSpPr>
          <p:nvPr>
            <p:ph type="title"/>
          </p:nvPr>
        </p:nvSpPr>
        <p:spPr>
          <a:xfrm>
            <a:off x="1219197" y="1887486"/>
            <a:ext cx="5582649" cy="1078260"/>
          </a:xfrm>
        </p:spPr>
        <p:txBody>
          <a:bodyPr/>
          <a:lstStyle>
            <a:lvl1pPr>
              <a:defRPr sz="6000"/>
            </a:lvl1pPr>
          </a:lstStyle>
          <a:p>
            <a:pPr lvl="0"/>
            <a:r>
              <a:rPr lang="en-US"/>
              <a:t>Thank you</a:t>
            </a:r>
          </a:p>
        </p:txBody>
      </p:sp>
      <p:pic>
        <p:nvPicPr>
          <p:cNvPr id="8" name="Picture 32">
            <a:extLst>
              <a:ext uri="{FF2B5EF4-FFF2-40B4-BE49-F238E27FC236}">
                <a16:creationId xmlns:a16="http://schemas.microsoft.com/office/drawing/2014/main" id="{3D497A3E-DC7A-969A-9E77-C9ECB04B9349}"/>
              </a:ext>
            </a:extLst>
          </p:cNvPr>
          <p:cNvPicPr>
            <a:picLocks noChangeAspect="1"/>
          </p:cNvPicPr>
          <p:nvPr/>
        </p:nvPicPr>
        <p:blipFill>
          <a:blip r:embed="rId2"/>
          <a:srcRect/>
          <a:stretch>
            <a:fillRect/>
          </a:stretch>
        </p:blipFill>
        <p:spPr>
          <a:xfrm>
            <a:off x="902366" y="228371"/>
            <a:ext cx="2025313" cy="911940"/>
          </a:xfrm>
          <a:prstGeom prst="rect">
            <a:avLst/>
          </a:prstGeom>
          <a:noFill/>
          <a:ln cap="flat">
            <a:noFill/>
          </a:ln>
        </p:spPr>
      </p:pic>
      <p:sp>
        <p:nvSpPr>
          <p:cNvPr id="9" name="Picture Placeholder 16">
            <a:extLst>
              <a:ext uri="{FF2B5EF4-FFF2-40B4-BE49-F238E27FC236}">
                <a16:creationId xmlns:a16="http://schemas.microsoft.com/office/drawing/2014/main" id="{5DD9BF6F-A695-723F-FA74-01DD14262626}"/>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spTree>
    <p:extLst>
      <p:ext uri="{BB962C8B-B14F-4D97-AF65-F5344CB8AC3E}">
        <p14:creationId xmlns:p14="http://schemas.microsoft.com/office/powerpoint/2010/main" val="2732282860"/>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2" name="Slide Number Placeholder 4">
            <a:extLst>
              <a:ext uri="{FF2B5EF4-FFF2-40B4-BE49-F238E27FC236}">
                <a16:creationId xmlns:a16="http://schemas.microsoft.com/office/drawing/2014/main" id="{4300B870-2B74-2F01-1F9D-C92C7B3440BA}"/>
              </a:ext>
            </a:extLst>
          </p:cNvPr>
          <p:cNvSpPr txBox="1">
            <a:spLocks noGrp="1"/>
          </p:cNvSpPr>
          <p:nvPr>
            <p:ph type="sldNum" sz="quarter" idx="8"/>
          </p:nvPr>
        </p:nvSpPr>
        <p:spPr/>
        <p:txBody>
          <a:bodyPr/>
          <a:lstStyle>
            <a:lvl1pPr>
              <a:defRPr/>
            </a:lvl1pPr>
          </a:lstStyle>
          <a:p>
            <a:pPr lvl="0"/>
            <a:fld id="{324FBD31-D532-45D3-B3E0-D7FB67CE015A}" type="slidenum">
              <a:t>‹#›</a:t>
            </a:fld>
            <a:endParaRPr lang="en-US"/>
          </a:p>
        </p:txBody>
      </p:sp>
      <p:cxnSp>
        <p:nvCxnSpPr>
          <p:cNvPr id="3" name="Straight Connector 3">
            <a:extLst>
              <a:ext uri="{FF2B5EF4-FFF2-40B4-BE49-F238E27FC236}">
                <a16:creationId xmlns:a16="http://schemas.microsoft.com/office/drawing/2014/main" id="{3CAEDF0E-56AA-2846-6505-01E9AFEC8A63}"/>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4" name="Footer Placeholder 1">
            <a:extLst>
              <a:ext uri="{FF2B5EF4-FFF2-40B4-BE49-F238E27FC236}">
                <a16:creationId xmlns:a16="http://schemas.microsoft.com/office/drawing/2014/main" id="{F6F0CFB4-765F-4456-AB48-C7576011513A}"/>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5" name="Group 5">
            <a:extLst>
              <a:ext uri="{FF2B5EF4-FFF2-40B4-BE49-F238E27FC236}">
                <a16:creationId xmlns:a16="http://schemas.microsoft.com/office/drawing/2014/main" id="{C8D81E6F-13D4-2639-EC37-40C0F2634174}"/>
              </a:ext>
            </a:extLst>
          </p:cNvPr>
          <p:cNvGrpSpPr/>
          <p:nvPr/>
        </p:nvGrpSpPr>
        <p:grpSpPr>
          <a:xfrm>
            <a:off x="7191545" y="0"/>
            <a:ext cx="5000460" cy="1425988"/>
            <a:chOff x="7191545" y="0"/>
            <a:chExt cx="5000460" cy="1425988"/>
          </a:xfrm>
        </p:grpSpPr>
        <p:pic>
          <p:nvPicPr>
            <p:cNvPr id="6" name="Picture 6">
              <a:extLst>
                <a:ext uri="{FF2B5EF4-FFF2-40B4-BE49-F238E27FC236}">
                  <a16:creationId xmlns:a16="http://schemas.microsoft.com/office/drawing/2014/main" id="{15392349-687F-7995-E3C0-B7795AE3B519}"/>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7" name="Group 7">
              <a:extLst>
                <a:ext uri="{FF2B5EF4-FFF2-40B4-BE49-F238E27FC236}">
                  <a16:creationId xmlns:a16="http://schemas.microsoft.com/office/drawing/2014/main" id="{8F544393-FA5D-0572-35CD-4BBED54A79C3}"/>
                </a:ext>
              </a:extLst>
            </p:cNvPr>
            <p:cNvGrpSpPr/>
            <p:nvPr/>
          </p:nvGrpSpPr>
          <p:grpSpPr>
            <a:xfrm>
              <a:off x="7191545" y="0"/>
              <a:ext cx="5000460" cy="1425988"/>
              <a:chOff x="7191545" y="0"/>
              <a:chExt cx="5000460" cy="1425988"/>
            </a:xfrm>
          </p:grpSpPr>
          <p:sp>
            <p:nvSpPr>
              <p:cNvPr id="8" name="Freeform 8">
                <a:extLst>
                  <a:ext uri="{FF2B5EF4-FFF2-40B4-BE49-F238E27FC236}">
                    <a16:creationId xmlns:a16="http://schemas.microsoft.com/office/drawing/2014/main" id="{01B43992-DFD5-F6EE-B9AA-DEAB050B074B}"/>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9" name="Freeform 9">
                <a:extLst>
                  <a:ext uri="{FF2B5EF4-FFF2-40B4-BE49-F238E27FC236}">
                    <a16:creationId xmlns:a16="http://schemas.microsoft.com/office/drawing/2014/main" id="{4A38CAA7-0BE8-10DB-BD6C-91B742393C74}"/>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Tree>
    <p:extLst>
      <p:ext uri="{BB962C8B-B14F-4D97-AF65-F5344CB8AC3E}">
        <p14:creationId xmlns:p14="http://schemas.microsoft.com/office/powerpoint/2010/main" val="4228980929"/>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EAD7941D-EC24-887B-CE02-C9BF6B195FD8}"/>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DE51C485-C7AA-0FAC-5C7E-221E95CDE8B3}"/>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589A4B3B-600F-13E0-6EB8-1D4DFBA5035D}"/>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79486638-7F3F-CBA9-7112-CEEC44BDB107}"/>
              </a:ext>
            </a:extLst>
          </p:cNvPr>
          <p:cNvSpPr txBox="1">
            <a:spLocks noGrp="1"/>
          </p:cNvSpPr>
          <p:nvPr>
            <p:ph type="sldNum" sz="quarter" idx="8"/>
          </p:nvPr>
        </p:nvSpPr>
        <p:spPr/>
        <p:txBody>
          <a:bodyPr/>
          <a:lstStyle>
            <a:lvl1pPr>
              <a:defRPr>
                <a:solidFill>
                  <a:srgbClr val="AFB3B9"/>
                </a:solidFill>
              </a:defRPr>
            </a:lvl1pPr>
          </a:lstStyle>
          <a:p>
            <a:pPr lvl="0"/>
            <a:fld id="{FD835F49-B8C9-4454-8449-B537768A26FA}" type="slidenum">
              <a:t>‹#›</a:t>
            </a:fld>
            <a:endParaRPr lang="en-US"/>
          </a:p>
        </p:txBody>
      </p:sp>
      <p:cxnSp>
        <p:nvCxnSpPr>
          <p:cNvPr id="6" name="Straight Connector 7">
            <a:extLst>
              <a:ext uri="{FF2B5EF4-FFF2-40B4-BE49-F238E27FC236}">
                <a16:creationId xmlns:a16="http://schemas.microsoft.com/office/drawing/2014/main" id="{14531094-154D-4727-1CD1-D919FF58C048}"/>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2721F2D3-D032-A093-7BB9-AB2940A7407D}"/>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3F1FC502-A9D0-7855-EAA8-CB956D3C77EA}"/>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171F3428-FEB1-036D-397B-9B23A448F641}"/>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69375F63-1744-E300-7DA8-0A0CF4829533}"/>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55BC5B23-DC85-2007-B298-543B971E551E}"/>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C6AF44A1-92A0-2C16-3418-CC9B61441C04}"/>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25F0CAD0-0F4B-3C9B-BCA3-AC2726E967BE}"/>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946577596"/>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7909E367-2372-740E-72C7-9AB51271BD86}"/>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8E16DB2A-995F-95B7-9DA0-95AA9EF8CF04}"/>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73FEAB2F-BCD1-1281-8B9C-851E317FF6D5}"/>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C62A41D1-DE83-C858-5EFD-DE6016AA2C51}"/>
              </a:ext>
            </a:extLst>
          </p:cNvPr>
          <p:cNvSpPr txBox="1">
            <a:spLocks noGrp="1"/>
          </p:cNvSpPr>
          <p:nvPr>
            <p:ph type="sldNum" sz="quarter" idx="8"/>
          </p:nvPr>
        </p:nvSpPr>
        <p:spPr/>
        <p:txBody>
          <a:bodyPr/>
          <a:lstStyle>
            <a:lvl1pPr>
              <a:defRPr>
                <a:solidFill>
                  <a:srgbClr val="AFB3B9"/>
                </a:solidFill>
              </a:defRPr>
            </a:lvl1pPr>
          </a:lstStyle>
          <a:p>
            <a:pPr lvl="0"/>
            <a:fld id="{7840463D-3F13-45B4-AC0B-78B040EC7270}" type="slidenum">
              <a:t>‹#›</a:t>
            </a:fld>
            <a:endParaRPr lang="en-US"/>
          </a:p>
        </p:txBody>
      </p:sp>
      <p:cxnSp>
        <p:nvCxnSpPr>
          <p:cNvPr id="6" name="Straight Connector 7">
            <a:extLst>
              <a:ext uri="{FF2B5EF4-FFF2-40B4-BE49-F238E27FC236}">
                <a16:creationId xmlns:a16="http://schemas.microsoft.com/office/drawing/2014/main" id="{3CEACE05-1F73-6FA4-70E9-94FB17D7E1CD}"/>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F7B407A7-8ABB-2BB9-7B28-A82EEFE1C5DF}"/>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CDD340B1-50B2-AE02-15B5-3D724359ED8A}"/>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04423CAB-B92D-2574-0547-F66751EDA3A8}"/>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AD9F5CDE-7B3E-8727-8DF1-D800A9EFF07E}"/>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5FB4E265-E7C7-59A9-1776-B26E8673CDA4}"/>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94FC2D20-0F34-E3F5-9A48-F9F13F67DC85}"/>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CD4C04FB-1AA1-7B10-347E-27BE4D357718}"/>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120345741"/>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2D7864C2-373E-07F9-B19D-28CE7854D9A6}"/>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14920B72-977B-9B91-88D3-AB7CF1957367}"/>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9333CDF3-8D86-349F-E52B-17FF709E18CC}"/>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B0988265-5899-E40F-0B87-F5E3FFFB19D8}"/>
              </a:ext>
            </a:extLst>
          </p:cNvPr>
          <p:cNvSpPr txBox="1">
            <a:spLocks noGrp="1"/>
          </p:cNvSpPr>
          <p:nvPr>
            <p:ph type="sldNum" sz="quarter" idx="8"/>
          </p:nvPr>
        </p:nvSpPr>
        <p:spPr/>
        <p:txBody>
          <a:bodyPr/>
          <a:lstStyle>
            <a:lvl1pPr>
              <a:defRPr>
                <a:solidFill>
                  <a:srgbClr val="AFB3B9"/>
                </a:solidFill>
              </a:defRPr>
            </a:lvl1pPr>
          </a:lstStyle>
          <a:p>
            <a:pPr lvl="0"/>
            <a:fld id="{631182E5-6C53-4ED2-81CD-A0190FF4DD9D}" type="slidenum">
              <a:t>‹#›</a:t>
            </a:fld>
            <a:endParaRPr lang="en-US"/>
          </a:p>
        </p:txBody>
      </p:sp>
      <p:cxnSp>
        <p:nvCxnSpPr>
          <p:cNvPr id="6" name="Straight Connector 7">
            <a:extLst>
              <a:ext uri="{FF2B5EF4-FFF2-40B4-BE49-F238E27FC236}">
                <a16:creationId xmlns:a16="http://schemas.microsoft.com/office/drawing/2014/main" id="{5BA5F7EB-A18A-E9F7-2C00-5EB458243DB5}"/>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4D663FAC-E764-281A-D016-D3C36928578A}"/>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8710302F-566E-5AF3-8EE3-FA47A6768475}"/>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E03C5B4F-FC2B-36CE-FEF1-D0AC3B92E298}"/>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E766091E-94C6-0C66-E8FF-E6345AE195A3}"/>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1EAD8843-E8E1-4C1D-1B6F-8742E87BD7A9}"/>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11AE24A2-DEEC-1226-666C-E70509C114E0}"/>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A5433017-6382-E40A-444F-61F9AFF062D5}"/>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885821860"/>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8231DCE2-D4CA-9CE8-EC03-840637F9B78D}"/>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6D5FA3CC-C523-7C66-B48A-9BC79DF95D79}"/>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E13A3D05-8FCB-208F-6BC3-CBF218AB7763}"/>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521D3031-3843-3DA0-F7DC-4856C19944E1}"/>
              </a:ext>
            </a:extLst>
          </p:cNvPr>
          <p:cNvSpPr txBox="1">
            <a:spLocks noGrp="1"/>
          </p:cNvSpPr>
          <p:nvPr>
            <p:ph type="sldNum" sz="quarter" idx="8"/>
          </p:nvPr>
        </p:nvSpPr>
        <p:spPr/>
        <p:txBody>
          <a:bodyPr/>
          <a:lstStyle>
            <a:lvl1pPr>
              <a:defRPr>
                <a:solidFill>
                  <a:srgbClr val="AFB3B9"/>
                </a:solidFill>
              </a:defRPr>
            </a:lvl1pPr>
          </a:lstStyle>
          <a:p>
            <a:pPr lvl="0"/>
            <a:fld id="{9C32AB20-E0B0-4A76-95DC-D27C11899498}" type="slidenum">
              <a:t>‹#›</a:t>
            </a:fld>
            <a:endParaRPr lang="en-US"/>
          </a:p>
        </p:txBody>
      </p:sp>
      <p:cxnSp>
        <p:nvCxnSpPr>
          <p:cNvPr id="6" name="Straight Connector 7">
            <a:extLst>
              <a:ext uri="{FF2B5EF4-FFF2-40B4-BE49-F238E27FC236}">
                <a16:creationId xmlns:a16="http://schemas.microsoft.com/office/drawing/2014/main" id="{96C87254-7549-C8FD-055C-79BED6B028C3}"/>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76907024-3664-99DF-9E3A-349269CDC55F}"/>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4E540834-E936-7E8C-058C-0E78F2ED8236}"/>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103552BA-825C-EF01-D669-4E8C8E533787}"/>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177345A0-A6F0-1593-2572-BD2219D6839B}"/>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43608826-1FAE-F301-BC06-624221057203}"/>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D3C93D5C-A0D7-82FB-2A7A-097326EF0EC4}"/>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CEC0571A-E8A3-82E2-5963-3D05284A58C9}"/>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1919695948"/>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15_Cover">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F96BFAAC-317A-82C9-AD25-13FB450729C9}"/>
              </a:ext>
            </a:extLst>
          </p:cNvPr>
          <p:cNvSpPr/>
          <p:nvPr/>
        </p:nvSpPr>
        <p:spPr>
          <a:xfrm>
            <a:off x="902366" y="1294416"/>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6198DC06-4055-B193-6355-0234C77BE374}"/>
              </a:ext>
            </a:extLst>
          </p:cNvPr>
          <p:cNvSpPr txBox="1">
            <a:spLocks noGrp="1"/>
          </p:cNvSpPr>
          <p:nvPr>
            <p:ph type="title"/>
          </p:nvPr>
        </p:nvSpPr>
        <p:spPr>
          <a:xfrm>
            <a:off x="1413314" y="1561328"/>
            <a:ext cx="5194432" cy="1826340"/>
          </a:xfrm>
        </p:spPr>
        <p:txBody>
          <a:bodyPr anchor="b"/>
          <a:lstStyle>
            <a:lvl1pPr>
              <a:defRPr sz="4000">
                <a:solidFill>
                  <a:srgbClr val="444C55"/>
                </a:solidFill>
              </a:defRPr>
            </a:lvl1pPr>
          </a:lstStyle>
          <a:p>
            <a:pPr lvl="0"/>
            <a:r>
              <a:rPr lang="en-US"/>
              <a:t>Click to edit Master title style</a:t>
            </a:r>
          </a:p>
        </p:txBody>
      </p:sp>
      <p:sp>
        <p:nvSpPr>
          <p:cNvPr id="4" name="Subtitle 2">
            <a:extLst>
              <a:ext uri="{FF2B5EF4-FFF2-40B4-BE49-F238E27FC236}">
                <a16:creationId xmlns:a16="http://schemas.microsoft.com/office/drawing/2014/main" id="{625AF7F9-7D15-364B-E1CE-792B32C4B338}"/>
              </a:ext>
            </a:extLst>
          </p:cNvPr>
          <p:cNvSpPr txBox="1">
            <a:spLocks noGrp="1"/>
          </p:cNvSpPr>
          <p:nvPr>
            <p:ph type="subTitle" idx="4294967295"/>
          </p:nvPr>
        </p:nvSpPr>
        <p:spPr>
          <a:xfrm>
            <a:off x="1413314" y="3766861"/>
            <a:ext cx="5194432" cy="986564"/>
          </a:xfrm>
        </p:spPr>
        <p:txBody>
          <a:bodyPr/>
          <a:lstStyle>
            <a:lvl1pPr marL="0" indent="0">
              <a:buNone/>
              <a:defRPr/>
            </a:lvl1pPr>
          </a:lstStyle>
          <a:p>
            <a:pPr lvl="0"/>
            <a:r>
              <a:rPr lang="en-US"/>
              <a:t>Click to edit Master subtitle style</a:t>
            </a:r>
          </a:p>
        </p:txBody>
      </p:sp>
      <p:sp>
        <p:nvSpPr>
          <p:cNvPr id="5" name="Picture Placeholder 21">
            <a:extLst>
              <a:ext uri="{FF2B5EF4-FFF2-40B4-BE49-F238E27FC236}">
                <a16:creationId xmlns:a16="http://schemas.microsoft.com/office/drawing/2014/main" id="{A907DFB4-A90E-14DF-B624-0F4895E0FFA2}"/>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grpSp>
        <p:nvGrpSpPr>
          <p:cNvPr id="6" name="Group 26">
            <a:extLst>
              <a:ext uri="{FF2B5EF4-FFF2-40B4-BE49-F238E27FC236}">
                <a16:creationId xmlns:a16="http://schemas.microsoft.com/office/drawing/2014/main" id="{864D5440-0A72-5B74-265C-37647A1A9C53}"/>
              </a:ext>
            </a:extLst>
          </p:cNvPr>
          <p:cNvGrpSpPr/>
          <p:nvPr/>
        </p:nvGrpSpPr>
        <p:grpSpPr>
          <a:xfrm>
            <a:off x="0" y="5020349"/>
            <a:ext cx="12191996" cy="1837651"/>
            <a:chOff x="0" y="5020348"/>
            <a:chExt cx="12191996" cy="1837651"/>
          </a:xfrm>
        </p:grpSpPr>
        <p:sp>
          <p:nvSpPr>
            <p:cNvPr id="7" name="Freeform 27">
              <a:extLst>
                <a:ext uri="{FF2B5EF4-FFF2-40B4-BE49-F238E27FC236}">
                  <a16:creationId xmlns:a16="http://schemas.microsoft.com/office/drawing/2014/main" id="{7ABCC256-2AF7-4984-7875-FCF75238F498}"/>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8" name="Freeform 28">
              <a:extLst>
                <a:ext uri="{FF2B5EF4-FFF2-40B4-BE49-F238E27FC236}">
                  <a16:creationId xmlns:a16="http://schemas.microsoft.com/office/drawing/2014/main" id="{DF25EFD6-318B-460F-6500-24C3623E5444}"/>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9" name="Picture 29">
              <a:extLst>
                <a:ext uri="{FF2B5EF4-FFF2-40B4-BE49-F238E27FC236}">
                  <a16:creationId xmlns:a16="http://schemas.microsoft.com/office/drawing/2014/main" id="{729B5693-D498-AB42-EDAD-09C4800662D9}"/>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700136120"/>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15_Divider">
    <p:spTree>
      <p:nvGrpSpPr>
        <p:cNvPr id="1" name=""/>
        <p:cNvGrpSpPr/>
        <p:nvPr/>
      </p:nvGrpSpPr>
      <p:grpSpPr>
        <a:xfrm>
          <a:off x="0" y="0"/>
          <a:ext cx="0" cy="0"/>
          <a:chOff x="0" y="0"/>
          <a:chExt cx="0" cy="0"/>
        </a:xfrm>
      </p:grpSpPr>
      <p:grpSp>
        <p:nvGrpSpPr>
          <p:cNvPr id="2" name="Group 9">
            <a:extLst>
              <a:ext uri="{FF2B5EF4-FFF2-40B4-BE49-F238E27FC236}">
                <a16:creationId xmlns:a16="http://schemas.microsoft.com/office/drawing/2014/main" id="{414AFAE7-1C61-C014-7BBF-66C84EE1CF6E}"/>
              </a:ext>
            </a:extLst>
          </p:cNvPr>
          <p:cNvGrpSpPr/>
          <p:nvPr/>
        </p:nvGrpSpPr>
        <p:grpSpPr>
          <a:xfrm>
            <a:off x="0" y="5020349"/>
            <a:ext cx="12191996" cy="1837651"/>
            <a:chOff x="0" y="5020348"/>
            <a:chExt cx="12191996" cy="1837651"/>
          </a:xfrm>
        </p:grpSpPr>
        <p:sp>
          <p:nvSpPr>
            <p:cNvPr id="3" name="Freeform 25">
              <a:extLst>
                <a:ext uri="{FF2B5EF4-FFF2-40B4-BE49-F238E27FC236}">
                  <a16:creationId xmlns:a16="http://schemas.microsoft.com/office/drawing/2014/main" id="{F2D761AB-AE6E-EF7C-0FEF-3348F03DD663}"/>
                </a:ext>
              </a:extLst>
            </p:cNvPr>
            <p:cNvSpPr/>
            <p:nvPr/>
          </p:nvSpPr>
          <p:spPr>
            <a:xfrm>
              <a:off x="0" y="5100267"/>
              <a:ext cx="7111371" cy="1757732"/>
            </a:xfrm>
            <a:custGeom>
              <a:avLst/>
              <a:gdLst>
                <a:gd name="f0" fmla="val 10800000"/>
                <a:gd name="f1" fmla="val 5400000"/>
                <a:gd name="f2" fmla="val 180"/>
                <a:gd name="f3" fmla="val w"/>
                <a:gd name="f4" fmla="val h"/>
                <a:gd name="f5" fmla="val 0"/>
                <a:gd name="f6" fmla="val 7111369"/>
                <a:gd name="f7" fmla="val 1757730"/>
                <a:gd name="f8" fmla="val 772954"/>
                <a:gd name="f9" fmla="val 2778"/>
                <a:gd name="f10" fmla="val 1769038"/>
                <a:gd name="f11" fmla="val 30799"/>
                <a:gd name="f12" fmla="val 2696750"/>
                <a:gd name="f13" fmla="val 267531"/>
                <a:gd name="f14" fmla="val 3590934"/>
                <a:gd name="f15" fmla="val 566046"/>
                <a:gd name="f16" fmla="val 4684008"/>
                <a:gd name="f17" fmla="val 930921"/>
                <a:gd name="f18" fmla="val 5690778"/>
                <a:gd name="f19" fmla="val 1324625"/>
                <a:gd name="f20" fmla="val 6700767"/>
                <a:gd name="f21" fmla="val 1636882"/>
                <a:gd name="f22" fmla="val 25690"/>
                <a:gd name="f23" fmla="val 2197"/>
                <a:gd name="f24" fmla="val 25414"/>
                <a:gd name="f25" fmla="val 114653"/>
                <a:gd name="f26" fmla="val 14905"/>
                <a:gd name="f27" fmla="val 227801"/>
                <a:gd name="f28" fmla="val 7857"/>
                <a:gd name="f29" fmla="val 341773"/>
                <a:gd name="f30" fmla="val 3976"/>
                <a:gd name="f31" fmla="val 486963"/>
                <a:gd name="f32" fmla="+- 0 0 968"/>
                <a:gd name="f33" fmla="val 630656"/>
                <a:gd name="f34" fmla="+- 0 0 1224"/>
                <a:gd name="f35" fmla="+- 0 0 -90"/>
                <a:gd name="f36" fmla="*/ f3 1 7111369"/>
                <a:gd name="f37" fmla="*/ f4 1 1757730"/>
                <a:gd name="f38" fmla="+- f7 0 f5"/>
                <a:gd name="f39" fmla="+- f6 0 f5"/>
                <a:gd name="f40" fmla="*/ f35 f0 1"/>
                <a:gd name="f41" fmla="*/ f39 1 7111369"/>
                <a:gd name="f42" fmla="*/ f38 1 1757730"/>
                <a:gd name="f43" fmla="*/ 772954 f39 1"/>
                <a:gd name="f44" fmla="*/ 2778 f38 1"/>
                <a:gd name="f45" fmla="*/ 3590934 f39 1"/>
                <a:gd name="f46" fmla="*/ 566046 f38 1"/>
                <a:gd name="f47" fmla="*/ 6700767 f39 1"/>
                <a:gd name="f48" fmla="*/ 1636882 f38 1"/>
                <a:gd name="f49" fmla="*/ 7111369 f39 1"/>
                <a:gd name="f50" fmla="*/ 1757730 f38 1"/>
                <a:gd name="f51" fmla="*/ 0 f39 1"/>
                <a:gd name="f52" fmla="*/ 25690 f38 1"/>
                <a:gd name="f53" fmla="*/ 2197 f39 1"/>
                <a:gd name="f54" fmla="*/ 25414 f38 1"/>
                <a:gd name="f55" fmla="*/ 341773 f39 1"/>
                <a:gd name="f56" fmla="*/ 3976 f38 1"/>
                <a:gd name="f57" fmla="*/ f40 1 f2"/>
                <a:gd name="f58" fmla="*/ f43 1 7111369"/>
                <a:gd name="f59" fmla="*/ f44 1 1757730"/>
                <a:gd name="f60" fmla="*/ f45 1 7111369"/>
                <a:gd name="f61" fmla="*/ f46 1 1757730"/>
                <a:gd name="f62" fmla="*/ f47 1 7111369"/>
                <a:gd name="f63" fmla="*/ f48 1 1757730"/>
                <a:gd name="f64" fmla="*/ f49 1 7111369"/>
                <a:gd name="f65" fmla="*/ f50 1 1757730"/>
                <a:gd name="f66" fmla="*/ f51 1 7111369"/>
                <a:gd name="f67" fmla="*/ f52 1 1757730"/>
                <a:gd name="f68" fmla="*/ f53 1 7111369"/>
                <a:gd name="f69" fmla="*/ f54 1 1757730"/>
                <a:gd name="f70" fmla="*/ f55 1 7111369"/>
                <a:gd name="f71" fmla="*/ f56 1 1757730"/>
                <a:gd name="f72" fmla="*/ f5 1 f41"/>
                <a:gd name="f73" fmla="*/ f6 1 f41"/>
                <a:gd name="f74" fmla="*/ f5 1 f42"/>
                <a:gd name="f75" fmla="*/ f7 1 f42"/>
                <a:gd name="f76" fmla="+- f57 0 f1"/>
                <a:gd name="f77" fmla="*/ f58 1 f41"/>
                <a:gd name="f78" fmla="*/ f59 1 f42"/>
                <a:gd name="f79" fmla="*/ f60 1 f41"/>
                <a:gd name="f80" fmla="*/ f61 1 f42"/>
                <a:gd name="f81" fmla="*/ f62 1 f41"/>
                <a:gd name="f82" fmla="*/ f63 1 f42"/>
                <a:gd name="f83" fmla="*/ f64 1 f41"/>
                <a:gd name="f84" fmla="*/ f65 1 f42"/>
                <a:gd name="f85" fmla="*/ f66 1 f41"/>
                <a:gd name="f86" fmla="*/ f67 1 f42"/>
                <a:gd name="f87" fmla="*/ f68 1 f41"/>
                <a:gd name="f88" fmla="*/ f69 1 f42"/>
                <a:gd name="f89" fmla="*/ f70 1 f41"/>
                <a:gd name="f90" fmla="*/ f71 1 f42"/>
                <a:gd name="f91" fmla="*/ f72 f36 1"/>
                <a:gd name="f92" fmla="*/ f73 f36 1"/>
                <a:gd name="f93" fmla="*/ f75 f37 1"/>
                <a:gd name="f94" fmla="*/ f74 f37 1"/>
                <a:gd name="f95" fmla="*/ f77 f36 1"/>
                <a:gd name="f96" fmla="*/ f78 f37 1"/>
                <a:gd name="f97" fmla="*/ f79 f36 1"/>
                <a:gd name="f98" fmla="*/ f80 f37 1"/>
                <a:gd name="f99" fmla="*/ f81 f36 1"/>
                <a:gd name="f100" fmla="*/ f82 f37 1"/>
                <a:gd name="f101" fmla="*/ f83 f36 1"/>
                <a:gd name="f102" fmla="*/ f84 f37 1"/>
                <a:gd name="f103" fmla="*/ f85 f36 1"/>
                <a:gd name="f104" fmla="*/ f86 f37 1"/>
                <a:gd name="f105" fmla="*/ f87 f36 1"/>
                <a:gd name="f106" fmla="*/ f88 f37 1"/>
                <a:gd name="f107" fmla="*/ f89 f36 1"/>
                <a:gd name="f108" fmla="*/ f90 f37 1"/>
              </a:gdLst>
              <a:ahLst/>
              <a:cxnLst>
                <a:cxn ang="3cd4">
                  <a:pos x="hc" y="t"/>
                </a:cxn>
                <a:cxn ang="0">
                  <a:pos x="r" y="vc"/>
                </a:cxn>
                <a:cxn ang="cd4">
                  <a:pos x="hc" y="b"/>
                </a:cxn>
                <a:cxn ang="cd2">
                  <a:pos x="l" y="vc"/>
                </a:cxn>
                <a:cxn ang="f76">
                  <a:pos x="f95" y="f96"/>
                </a:cxn>
                <a:cxn ang="f76">
                  <a:pos x="f97" y="f98"/>
                </a:cxn>
                <a:cxn ang="f76">
                  <a:pos x="f99" y="f100"/>
                </a:cxn>
                <a:cxn ang="f76">
                  <a:pos x="f101" y="f102"/>
                </a:cxn>
                <a:cxn ang="f76">
                  <a:pos x="f103" y="f102"/>
                </a:cxn>
                <a:cxn ang="f76">
                  <a:pos x="f103" y="f104"/>
                </a:cxn>
                <a:cxn ang="f76">
                  <a:pos x="f105" y="f106"/>
                </a:cxn>
                <a:cxn ang="f76">
                  <a:pos x="f107" y="f108"/>
                </a:cxn>
                <a:cxn ang="f76">
                  <a:pos x="f95" y="f96"/>
                </a:cxn>
              </a:cxnLst>
              <a:rect l="f91" t="f94" r="f92" b="f93"/>
              <a:pathLst>
                <a:path w="7111369" h="1757730">
                  <a:moveTo>
                    <a:pt x="f8" y="f9"/>
                  </a:moveTo>
                  <a:cubicBezTo>
                    <a:pt x="f10" y="f11"/>
                    <a:pt x="f12" y="f13"/>
                    <a:pt x="f14" y="f15"/>
                  </a:cubicBezTo>
                  <a:cubicBezTo>
                    <a:pt x="f16" y="f17"/>
                    <a:pt x="f18" y="f19"/>
                    <a:pt x="f20" y="f21"/>
                  </a:cubicBezTo>
                  <a:lnTo>
                    <a:pt x="f6" y="f7"/>
                  </a:lnTo>
                  <a:lnTo>
                    <a:pt x="f5" y="f7"/>
                  </a:lnTo>
                  <a:lnTo>
                    <a:pt x="f5" y="f22"/>
                  </a:lnTo>
                  <a:lnTo>
                    <a:pt x="f23" y="f24"/>
                  </a:lnTo>
                  <a:cubicBezTo>
                    <a:pt x="f25" y="f26"/>
                    <a:pt x="f27" y="f28"/>
                    <a:pt x="f29" y="f30"/>
                  </a:cubicBezTo>
                  <a:cubicBezTo>
                    <a:pt x="f31" y="f32"/>
                    <a:pt x="f33" y="f34"/>
                    <a:pt x="f8" y="f9"/>
                  </a:cubicBezTo>
                  <a:close/>
                </a:path>
              </a:pathLst>
            </a:cu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4" name="Freeform 19">
              <a:extLst>
                <a:ext uri="{FF2B5EF4-FFF2-40B4-BE49-F238E27FC236}">
                  <a16:creationId xmlns:a16="http://schemas.microsoft.com/office/drawing/2014/main" id="{68495280-B498-B2FD-F531-FA17D96AE171}"/>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5" name="Freeform 14">
              <a:extLst>
                <a:ext uri="{FF2B5EF4-FFF2-40B4-BE49-F238E27FC236}">
                  <a16:creationId xmlns:a16="http://schemas.microsoft.com/office/drawing/2014/main" id="{9A7F548E-3237-4C42-19A5-3E0E6996D3BA}"/>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6" name="Picture 20">
              <a:extLst>
                <a:ext uri="{FF2B5EF4-FFF2-40B4-BE49-F238E27FC236}">
                  <a16:creationId xmlns:a16="http://schemas.microsoft.com/office/drawing/2014/main" id="{18454E8A-412F-6EE7-66C1-3EA1607F30B7}"/>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
        <p:nvSpPr>
          <p:cNvPr id="7" name="Title 10">
            <a:extLst>
              <a:ext uri="{FF2B5EF4-FFF2-40B4-BE49-F238E27FC236}">
                <a16:creationId xmlns:a16="http://schemas.microsoft.com/office/drawing/2014/main" id="{6B52EB0C-C2C5-D136-BFEC-B14574F5EE23}"/>
              </a:ext>
            </a:extLst>
          </p:cNvPr>
          <p:cNvSpPr txBox="1">
            <a:spLocks noGrp="1"/>
          </p:cNvSpPr>
          <p:nvPr>
            <p:ph type="title"/>
          </p:nvPr>
        </p:nvSpPr>
        <p:spPr>
          <a:xfrm>
            <a:off x="1413305" y="701748"/>
            <a:ext cx="9365376" cy="2014679"/>
          </a:xfrm>
        </p:spPr>
        <p:txBody>
          <a:bodyPr anchor="b"/>
          <a:lstStyle>
            <a:lvl1pPr>
              <a:defRPr/>
            </a:lvl1pPr>
          </a:lstStyle>
          <a:p>
            <a:pPr lvl="0"/>
            <a:r>
              <a:rPr lang="en-US"/>
              <a:t>Click to edit Master title style</a:t>
            </a:r>
          </a:p>
        </p:txBody>
      </p:sp>
      <p:sp>
        <p:nvSpPr>
          <p:cNvPr id="8" name="Subtitle 2">
            <a:extLst>
              <a:ext uri="{FF2B5EF4-FFF2-40B4-BE49-F238E27FC236}">
                <a16:creationId xmlns:a16="http://schemas.microsoft.com/office/drawing/2014/main" id="{C0DA4E0A-81E2-5B2F-B0F9-F4964EA2A6BB}"/>
              </a:ext>
            </a:extLst>
          </p:cNvPr>
          <p:cNvSpPr txBox="1">
            <a:spLocks noGrp="1"/>
          </p:cNvSpPr>
          <p:nvPr>
            <p:ph type="subTitle" idx="4294967295"/>
          </p:nvPr>
        </p:nvSpPr>
        <p:spPr>
          <a:xfrm>
            <a:off x="1413305" y="3081637"/>
            <a:ext cx="9365376" cy="986564"/>
          </a:xfrm>
        </p:spPr>
        <p:txBody>
          <a:bodyPr/>
          <a:lstStyle>
            <a:lvl1pPr marL="0" indent="0">
              <a:buNone/>
              <a:defRPr/>
            </a:lvl1pPr>
          </a:lstStyle>
          <a:p>
            <a:pPr lvl="0"/>
            <a:r>
              <a:rPr lang="en-US"/>
              <a:t>Click to edit Master subtitle style</a:t>
            </a:r>
          </a:p>
        </p:txBody>
      </p:sp>
    </p:spTree>
    <p:extLst>
      <p:ext uri="{BB962C8B-B14F-4D97-AF65-F5344CB8AC3E}">
        <p14:creationId xmlns:p14="http://schemas.microsoft.com/office/powerpoint/2010/main" val="1188936889"/>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15_Photo Slide">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10BDB473-B75A-6BBD-D574-2360CF754813}"/>
              </a:ext>
            </a:extLst>
          </p:cNvPr>
          <p:cNvSpPr txBox="1">
            <a:spLocks noGrp="1"/>
          </p:cNvSpPr>
          <p:nvPr>
            <p:ph type="body" idx="4294967295"/>
          </p:nvPr>
        </p:nvSpPr>
        <p:spPr>
          <a:xfrm>
            <a:off x="457200" y="1146255"/>
            <a:ext cx="2350172" cy="2971800"/>
          </a:xfrm>
        </p:spPr>
        <p:txBody>
          <a:bodyPr/>
          <a:lstStyle>
            <a:lvl1pPr marL="0" indent="0">
              <a:buNone/>
              <a:defRPr/>
            </a:lvl1pPr>
          </a:lstStyle>
          <a:p>
            <a:pPr lvl="0"/>
            <a:r>
              <a:rPr lang="en-US"/>
              <a:t>Click to edit Master text styles</a:t>
            </a:r>
          </a:p>
        </p:txBody>
      </p:sp>
      <p:cxnSp>
        <p:nvCxnSpPr>
          <p:cNvPr id="3" name="Straight Connector 5">
            <a:extLst>
              <a:ext uri="{FF2B5EF4-FFF2-40B4-BE49-F238E27FC236}">
                <a16:creationId xmlns:a16="http://schemas.microsoft.com/office/drawing/2014/main" id="{51813FB9-B621-5278-6514-06AA46D876A0}"/>
              </a:ext>
            </a:extLst>
          </p:cNvPr>
          <p:cNvCxnSpPr/>
          <p:nvPr/>
        </p:nvCxnSpPr>
        <p:spPr>
          <a:xfrm>
            <a:off x="457201" y="947985"/>
            <a:ext cx="2350163" cy="0"/>
          </a:xfrm>
          <a:prstGeom prst="straightConnector1">
            <a:avLst/>
          </a:prstGeom>
          <a:noFill/>
          <a:ln w="31747" cap="flat">
            <a:solidFill>
              <a:srgbClr val="F58366"/>
            </a:solidFill>
            <a:prstDash val="solid"/>
            <a:miter/>
          </a:ln>
        </p:spPr>
      </p:cxnSp>
      <p:grpSp>
        <p:nvGrpSpPr>
          <p:cNvPr id="4" name="Group 2">
            <a:extLst>
              <a:ext uri="{FF2B5EF4-FFF2-40B4-BE49-F238E27FC236}">
                <a16:creationId xmlns:a16="http://schemas.microsoft.com/office/drawing/2014/main" id="{F76A540B-6467-D177-C5BA-E1A25E0C3234}"/>
              </a:ext>
            </a:extLst>
          </p:cNvPr>
          <p:cNvGrpSpPr/>
          <p:nvPr/>
        </p:nvGrpSpPr>
        <p:grpSpPr>
          <a:xfrm>
            <a:off x="1" y="5379425"/>
            <a:ext cx="2807363" cy="753895"/>
            <a:chOff x="0" y="5379424"/>
            <a:chExt cx="2807363" cy="753895"/>
          </a:xfrm>
        </p:grpSpPr>
        <p:sp>
          <p:nvSpPr>
            <p:cNvPr id="5" name="Freeform 21">
              <a:extLst>
                <a:ext uri="{FF2B5EF4-FFF2-40B4-BE49-F238E27FC236}">
                  <a16:creationId xmlns:a16="http://schemas.microsoft.com/office/drawing/2014/main" id="{3254A3FC-C138-9E5B-B05C-940D904FB5B6}"/>
                </a:ext>
              </a:extLst>
            </p:cNvPr>
            <p:cNvSpPr/>
            <p:nvPr/>
          </p:nvSpPr>
          <p:spPr>
            <a:xfrm>
              <a:off x="0" y="5532513"/>
              <a:ext cx="2807363" cy="600806"/>
            </a:xfrm>
            <a:custGeom>
              <a:avLst/>
              <a:gdLst>
                <a:gd name="f0" fmla="val 10800000"/>
                <a:gd name="f1" fmla="val 5400000"/>
                <a:gd name="f2" fmla="val 180"/>
                <a:gd name="f3" fmla="val w"/>
                <a:gd name="f4" fmla="val h"/>
                <a:gd name="f5" fmla="val 0"/>
                <a:gd name="f6" fmla="val 2807368"/>
                <a:gd name="f7" fmla="val 600807"/>
                <a:gd name="f8" fmla="val 429971"/>
                <a:gd name="f9" fmla="val 123998"/>
                <a:gd name="f10" fmla="val 1184765"/>
                <a:gd name="f11" fmla="val 325331"/>
                <a:gd name="f12" fmla="val 2014184"/>
                <a:gd name="f13" fmla="val 392492"/>
                <a:gd name="f14" fmla="val 2790212"/>
                <a:gd name="f15" fmla="val 235402"/>
                <a:gd name="f16" fmla="val 231522"/>
                <a:gd name="f17" fmla="val 566106"/>
                <a:gd name="f18" fmla="val 2593885"/>
                <a:gd name="f19" fmla="val 587498"/>
                <a:gd name="f20" fmla="val 1673646"/>
                <a:gd name="f21" fmla="val 651184"/>
                <a:gd name="f22" fmla="val 884869"/>
                <a:gd name="f23" fmla="val 479260"/>
                <a:gd name="f24" fmla="val 100844"/>
                <a:gd name="f25" fmla="val 222653"/>
                <a:gd name="f26" fmla="val 188389"/>
                <a:gd name="f27" fmla="+- 0 0 -90"/>
                <a:gd name="f28" fmla="*/ f3 1 2807368"/>
                <a:gd name="f29" fmla="*/ f4 1 600807"/>
                <a:gd name="f30" fmla="+- f7 0 f5"/>
                <a:gd name="f31" fmla="+- f6 0 f5"/>
                <a:gd name="f32" fmla="*/ f27 f0 1"/>
                <a:gd name="f33" fmla="*/ f31 1 2807368"/>
                <a:gd name="f34" fmla="*/ f30 1 600807"/>
                <a:gd name="f35" fmla="*/ 0 f31 1"/>
                <a:gd name="f36" fmla="*/ 0 f30 1"/>
                <a:gd name="f37" fmla="*/ 429971 f31 1"/>
                <a:gd name="f38" fmla="*/ 123998 f30 1"/>
                <a:gd name="f39" fmla="*/ 2790212 f31 1"/>
                <a:gd name="f40" fmla="*/ 235402 f30 1"/>
                <a:gd name="f41" fmla="*/ 2807368 f31 1"/>
                <a:gd name="f42" fmla="*/ 231522 f30 1"/>
                <a:gd name="f43" fmla="*/ 566106 f30 1"/>
                <a:gd name="f44" fmla="*/ 2593885 f31 1"/>
                <a:gd name="f45" fmla="*/ 587498 f30 1"/>
                <a:gd name="f46" fmla="*/ 100844 f31 1"/>
                <a:gd name="f47" fmla="*/ 222653 f30 1"/>
                <a:gd name="f48" fmla="*/ 188389 f30 1"/>
                <a:gd name="f49" fmla="*/ f32 1 f2"/>
                <a:gd name="f50" fmla="*/ f35 1 2807368"/>
                <a:gd name="f51" fmla="*/ f36 1 600807"/>
                <a:gd name="f52" fmla="*/ f37 1 2807368"/>
                <a:gd name="f53" fmla="*/ f38 1 600807"/>
                <a:gd name="f54" fmla="*/ f39 1 2807368"/>
                <a:gd name="f55" fmla="*/ f40 1 600807"/>
                <a:gd name="f56" fmla="*/ f41 1 2807368"/>
                <a:gd name="f57" fmla="*/ f42 1 600807"/>
                <a:gd name="f58" fmla="*/ f43 1 600807"/>
                <a:gd name="f59" fmla="*/ f44 1 2807368"/>
                <a:gd name="f60" fmla="*/ f45 1 600807"/>
                <a:gd name="f61" fmla="*/ f46 1 2807368"/>
                <a:gd name="f62" fmla="*/ f47 1 600807"/>
                <a:gd name="f63" fmla="*/ f48 1 600807"/>
                <a:gd name="f64" fmla="*/ f5 1 f33"/>
                <a:gd name="f65" fmla="*/ f6 1 f33"/>
                <a:gd name="f66" fmla="*/ f5 1 f34"/>
                <a:gd name="f67" fmla="*/ f7 1 f34"/>
                <a:gd name="f68" fmla="+- f49 0 f1"/>
                <a:gd name="f69" fmla="*/ f50 1 f33"/>
                <a:gd name="f70" fmla="*/ f51 1 f34"/>
                <a:gd name="f71" fmla="*/ f52 1 f33"/>
                <a:gd name="f72" fmla="*/ f53 1 f34"/>
                <a:gd name="f73" fmla="*/ f54 1 f33"/>
                <a:gd name="f74" fmla="*/ f55 1 f34"/>
                <a:gd name="f75" fmla="*/ f56 1 f33"/>
                <a:gd name="f76" fmla="*/ f57 1 f34"/>
                <a:gd name="f77" fmla="*/ f58 1 f34"/>
                <a:gd name="f78" fmla="*/ f59 1 f33"/>
                <a:gd name="f79" fmla="*/ f60 1 f34"/>
                <a:gd name="f80" fmla="*/ f61 1 f33"/>
                <a:gd name="f81" fmla="*/ f62 1 f34"/>
                <a:gd name="f82" fmla="*/ f63 1 f34"/>
                <a:gd name="f83" fmla="*/ f64 f28 1"/>
                <a:gd name="f84" fmla="*/ f65 f28 1"/>
                <a:gd name="f85" fmla="*/ f67 f29 1"/>
                <a:gd name="f86" fmla="*/ f66 f29 1"/>
                <a:gd name="f87" fmla="*/ f69 f28 1"/>
                <a:gd name="f88" fmla="*/ f70 f29 1"/>
                <a:gd name="f89" fmla="*/ f71 f28 1"/>
                <a:gd name="f90" fmla="*/ f72 f29 1"/>
                <a:gd name="f91" fmla="*/ f73 f28 1"/>
                <a:gd name="f92" fmla="*/ f74 f29 1"/>
                <a:gd name="f93" fmla="*/ f75 f28 1"/>
                <a:gd name="f94" fmla="*/ f76 f29 1"/>
                <a:gd name="f95" fmla="*/ f77 f29 1"/>
                <a:gd name="f96" fmla="*/ f78 f28 1"/>
                <a:gd name="f97" fmla="*/ f79 f29 1"/>
                <a:gd name="f98" fmla="*/ f80 f28 1"/>
                <a:gd name="f99" fmla="*/ f81 f29 1"/>
                <a:gd name="f100" fmla="*/ f82 f29 1"/>
              </a:gdLst>
              <a:ahLst/>
              <a:cxnLst>
                <a:cxn ang="3cd4">
                  <a:pos x="hc" y="t"/>
                </a:cxn>
                <a:cxn ang="0">
                  <a:pos x="r" y="vc"/>
                </a:cxn>
                <a:cxn ang="cd4">
                  <a:pos x="hc" y="b"/>
                </a:cxn>
                <a:cxn ang="cd2">
                  <a:pos x="l" y="vc"/>
                </a:cxn>
                <a:cxn ang="f68">
                  <a:pos x="f87" y="f88"/>
                </a:cxn>
                <a:cxn ang="f68">
                  <a:pos x="f89" y="f90"/>
                </a:cxn>
                <a:cxn ang="f68">
                  <a:pos x="f91" y="f92"/>
                </a:cxn>
                <a:cxn ang="f68">
                  <a:pos x="f93" y="f94"/>
                </a:cxn>
                <a:cxn ang="f68">
                  <a:pos x="f93" y="f95"/>
                </a:cxn>
                <a:cxn ang="f68">
                  <a:pos x="f96" y="f97"/>
                </a:cxn>
                <a:cxn ang="f68">
                  <a:pos x="f98" y="f99"/>
                </a:cxn>
                <a:cxn ang="f68">
                  <a:pos x="f87" y="f100"/>
                </a:cxn>
              </a:cxnLst>
              <a:rect l="f83" t="f86" r="f84" b="f85"/>
              <a:pathLst>
                <a:path w="2807368" h="600807">
                  <a:moveTo>
                    <a:pt x="f5" y="f5"/>
                  </a:moveTo>
                  <a:lnTo>
                    <a:pt x="f8" y="f9"/>
                  </a:lnTo>
                  <a:cubicBezTo>
                    <a:pt x="f10" y="f11"/>
                    <a:pt x="f12" y="f13"/>
                    <a:pt x="f14" y="f15"/>
                  </a:cubicBezTo>
                  <a:lnTo>
                    <a:pt x="f6" y="f16"/>
                  </a:lnTo>
                  <a:lnTo>
                    <a:pt x="f6" y="f17"/>
                  </a:lnTo>
                  <a:lnTo>
                    <a:pt x="f18" y="f19"/>
                  </a:lnTo>
                  <a:cubicBezTo>
                    <a:pt x="f20" y="f21"/>
                    <a:pt x="f22" y="f23"/>
                    <a:pt x="f24" y="f25"/>
                  </a:cubicBezTo>
                  <a:lnTo>
                    <a:pt x="f5" y="f26"/>
                  </a:ln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Freeform 19">
              <a:extLst>
                <a:ext uri="{FF2B5EF4-FFF2-40B4-BE49-F238E27FC236}">
                  <a16:creationId xmlns:a16="http://schemas.microsoft.com/office/drawing/2014/main" id="{4F9BF3BD-9BBA-7350-163F-D3E31AA4DE47}"/>
                </a:ext>
              </a:extLst>
            </p:cNvPr>
            <p:cNvSpPr/>
            <p:nvPr/>
          </p:nvSpPr>
          <p:spPr>
            <a:xfrm>
              <a:off x="0" y="5379424"/>
              <a:ext cx="2807363" cy="649800"/>
            </a:xfrm>
            <a:custGeom>
              <a:avLst/>
              <a:gdLst>
                <a:gd name="f0" fmla="val 10800000"/>
                <a:gd name="f1" fmla="val 5400000"/>
                <a:gd name="f2" fmla="val 180"/>
                <a:gd name="f3" fmla="val w"/>
                <a:gd name="f4" fmla="val h"/>
                <a:gd name="f5" fmla="val 0"/>
                <a:gd name="f6" fmla="val 2807368"/>
                <a:gd name="f7" fmla="val 649803"/>
                <a:gd name="f8" fmla="val 282676"/>
                <a:gd name="f9" fmla="val 70799"/>
                <a:gd name="f10" fmla="val 435964"/>
                <a:gd name="f11" fmla="val 106085"/>
                <a:gd name="f12" fmla="val 588770"/>
                <a:gd name="f13" fmla="val 137629"/>
                <a:gd name="f14" fmla="val 740881"/>
                <a:gd name="f15" fmla="val 163828"/>
                <a:gd name="f16" fmla="val 1362800"/>
                <a:gd name="f17" fmla="val 270912"/>
                <a:gd name="f18" fmla="val 2067879"/>
                <a:gd name="f19" fmla="val 253759"/>
                <a:gd name="f20" fmla="val 2706471"/>
                <a:gd name="f21" fmla="val 96397"/>
                <a:gd name="f22" fmla="val 67250"/>
                <a:gd name="f23" fmla="val 605551"/>
                <a:gd name="f24" fmla="val 2602685"/>
                <a:gd name="f25" fmla="val 629466"/>
                <a:gd name="f26" fmla="val 1684237"/>
                <a:gd name="f27" fmla="val 708219"/>
                <a:gd name="f28" fmla="val 893252"/>
                <a:gd name="f29" fmla="val 549395"/>
                <a:gd name="f30" fmla="val 105614"/>
                <a:gd name="f31" fmla="val 305882"/>
                <a:gd name="f32" fmla="val 271926"/>
                <a:gd name="f33" fmla="+- 0 0 -90"/>
                <a:gd name="f34" fmla="*/ f3 1 2807368"/>
                <a:gd name="f35" fmla="*/ f4 1 649803"/>
                <a:gd name="f36" fmla="+- f7 0 f5"/>
                <a:gd name="f37" fmla="+- f6 0 f5"/>
                <a:gd name="f38" fmla="*/ f33 f0 1"/>
                <a:gd name="f39" fmla="*/ f37 1 2807368"/>
                <a:gd name="f40" fmla="*/ f36 1 649803"/>
                <a:gd name="f41" fmla="*/ 0 f37 1"/>
                <a:gd name="f42" fmla="*/ 0 f36 1"/>
                <a:gd name="f43" fmla="*/ 282676 f37 1"/>
                <a:gd name="f44" fmla="*/ 70799 f36 1"/>
                <a:gd name="f45" fmla="*/ 740881 f37 1"/>
                <a:gd name="f46" fmla="*/ 163828 f36 1"/>
                <a:gd name="f47" fmla="*/ 2706471 f37 1"/>
                <a:gd name="f48" fmla="*/ 96397 f36 1"/>
                <a:gd name="f49" fmla="*/ 2807368 f37 1"/>
                <a:gd name="f50" fmla="*/ 67250 f36 1"/>
                <a:gd name="f51" fmla="*/ 605551 f36 1"/>
                <a:gd name="f52" fmla="*/ 2602685 f37 1"/>
                <a:gd name="f53" fmla="*/ 629466 f36 1"/>
                <a:gd name="f54" fmla="*/ 105614 f37 1"/>
                <a:gd name="f55" fmla="*/ 305882 f36 1"/>
                <a:gd name="f56" fmla="*/ 271926 f36 1"/>
                <a:gd name="f57" fmla="*/ f38 1 f2"/>
                <a:gd name="f58" fmla="*/ f41 1 2807368"/>
                <a:gd name="f59" fmla="*/ f42 1 649803"/>
                <a:gd name="f60" fmla="*/ f43 1 2807368"/>
                <a:gd name="f61" fmla="*/ f44 1 649803"/>
                <a:gd name="f62" fmla="*/ f45 1 2807368"/>
                <a:gd name="f63" fmla="*/ f46 1 649803"/>
                <a:gd name="f64" fmla="*/ f47 1 2807368"/>
                <a:gd name="f65" fmla="*/ f48 1 649803"/>
                <a:gd name="f66" fmla="*/ f49 1 2807368"/>
                <a:gd name="f67" fmla="*/ f50 1 649803"/>
                <a:gd name="f68" fmla="*/ f51 1 649803"/>
                <a:gd name="f69" fmla="*/ f52 1 2807368"/>
                <a:gd name="f70" fmla="*/ f53 1 649803"/>
                <a:gd name="f71" fmla="*/ f54 1 2807368"/>
                <a:gd name="f72" fmla="*/ f55 1 649803"/>
                <a:gd name="f73" fmla="*/ f56 1 649803"/>
                <a:gd name="f74" fmla="*/ f5 1 f39"/>
                <a:gd name="f75" fmla="*/ f6 1 f39"/>
                <a:gd name="f76" fmla="*/ f5 1 f40"/>
                <a:gd name="f77" fmla="*/ f7 1 f40"/>
                <a:gd name="f78" fmla="+- f57 0 f1"/>
                <a:gd name="f79" fmla="*/ f58 1 f39"/>
                <a:gd name="f80" fmla="*/ f59 1 f40"/>
                <a:gd name="f81" fmla="*/ f60 1 f39"/>
                <a:gd name="f82" fmla="*/ f61 1 f40"/>
                <a:gd name="f83" fmla="*/ f62 1 f39"/>
                <a:gd name="f84" fmla="*/ f63 1 f40"/>
                <a:gd name="f85" fmla="*/ f64 1 f39"/>
                <a:gd name="f86" fmla="*/ f65 1 f40"/>
                <a:gd name="f87" fmla="*/ f66 1 f39"/>
                <a:gd name="f88" fmla="*/ f67 1 f40"/>
                <a:gd name="f89" fmla="*/ f68 1 f40"/>
                <a:gd name="f90" fmla="*/ f69 1 f39"/>
                <a:gd name="f91" fmla="*/ f70 1 f40"/>
                <a:gd name="f92" fmla="*/ f71 1 f39"/>
                <a:gd name="f93" fmla="*/ f72 1 f40"/>
                <a:gd name="f94" fmla="*/ f73 1 f40"/>
                <a:gd name="f95" fmla="*/ f74 f34 1"/>
                <a:gd name="f96" fmla="*/ f75 f34 1"/>
                <a:gd name="f97" fmla="*/ f77 f35 1"/>
                <a:gd name="f98" fmla="*/ f76 f35 1"/>
                <a:gd name="f99" fmla="*/ f79 f34 1"/>
                <a:gd name="f100" fmla="*/ f80 f35 1"/>
                <a:gd name="f101" fmla="*/ f81 f34 1"/>
                <a:gd name="f102" fmla="*/ f82 f35 1"/>
                <a:gd name="f103" fmla="*/ f83 f34 1"/>
                <a:gd name="f104" fmla="*/ f84 f35 1"/>
                <a:gd name="f105" fmla="*/ f85 f34 1"/>
                <a:gd name="f106" fmla="*/ f86 f35 1"/>
                <a:gd name="f107" fmla="*/ f87 f34 1"/>
                <a:gd name="f108" fmla="*/ f88 f35 1"/>
                <a:gd name="f109" fmla="*/ f89 f35 1"/>
                <a:gd name="f110" fmla="*/ f90 f34 1"/>
                <a:gd name="f111" fmla="*/ f91 f35 1"/>
                <a:gd name="f112" fmla="*/ f92 f34 1"/>
                <a:gd name="f113" fmla="*/ f93 f35 1"/>
                <a:gd name="f114" fmla="*/ f94 f35 1"/>
              </a:gdLst>
              <a:ahLst/>
              <a:cxnLst>
                <a:cxn ang="3cd4">
                  <a:pos x="hc" y="t"/>
                </a:cxn>
                <a:cxn ang="0">
                  <a:pos x="r" y="vc"/>
                </a:cxn>
                <a:cxn ang="cd4">
                  <a:pos x="hc" y="b"/>
                </a:cxn>
                <a:cxn ang="cd2">
                  <a:pos x="l" y="vc"/>
                </a:cxn>
                <a:cxn ang="f78">
                  <a:pos x="f99" y="f100"/>
                </a:cxn>
                <a:cxn ang="f78">
                  <a:pos x="f101" y="f102"/>
                </a:cxn>
                <a:cxn ang="f78">
                  <a:pos x="f103" y="f104"/>
                </a:cxn>
                <a:cxn ang="f78">
                  <a:pos x="f105" y="f106"/>
                </a:cxn>
                <a:cxn ang="f78">
                  <a:pos x="f107" y="f108"/>
                </a:cxn>
                <a:cxn ang="f78">
                  <a:pos x="f107" y="f109"/>
                </a:cxn>
                <a:cxn ang="f78">
                  <a:pos x="f110" y="f111"/>
                </a:cxn>
                <a:cxn ang="f78">
                  <a:pos x="f112" y="f113"/>
                </a:cxn>
                <a:cxn ang="f78">
                  <a:pos x="f99" y="f114"/>
                </a:cxn>
              </a:cxnLst>
              <a:rect l="f95" t="f98" r="f96" b="f97"/>
              <a:pathLst>
                <a:path w="2807368" h="649803">
                  <a:moveTo>
                    <a:pt x="f5" y="f5"/>
                  </a:moveTo>
                  <a:lnTo>
                    <a:pt x="f8" y="f9"/>
                  </a:lnTo>
                  <a:cubicBezTo>
                    <a:pt x="f10" y="f11"/>
                    <a:pt x="f12" y="f13"/>
                    <a:pt x="f14" y="f15"/>
                  </a:cubicBezTo>
                  <a:cubicBezTo>
                    <a:pt x="f16" y="f17"/>
                    <a:pt x="f18" y="f19"/>
                    <a:pt x="f20" y="f21"/>
                  </a:cubicBezTo>
                  <a:lnTo>
                    <a:pt x="f6" y="f22"/>
                  </a:lnTo>
                  <a:lnTo>
                    <a:pt x="f6" y="f23"/>
                  </a:lnTo>
                  <a:lnTo>
                    <a:pt x="f24" y="f25"/>
                  </a:lnTo>
                  <a:cubicBezTo>
                    <a:pt x="f26" y="f27"/>
                    <a:pt x="f28" y="f29"/>
                    <a:pt x="f30" y="f31"/>
                  </a:cubicBezTo>
                  <a:lnTo>
                    <a:pt x="f5" y="f32"/>
                  </a:ln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grpSp>
      <p:sp>
        <p:nvSpPr>
          <p:cNvPr id="7" name="Picture Placeholder 6">
            <a:extLst>
              <a:ext uri="{FF2B5EF4-FFF2-40B4-BE49-F238E27FC236}">
                <a16:creationId xmlns:a16="http://schemas.microsoft.com/office/drawing/2014/main" id="{2E90FDA8-475B-26FE-28EC-0FA86001E196}"/>
              </a:ext>
            </a:extLst>
          </p:cNvPr>
          <p:cNvSpPr txBox="1">
            <a:spLocks noGrp="1"/>
          </p:cNvSpPr>
          <p:nvPr>
            <p:ph type="pic" idx="4294967295"/>
          </p:nvPr>
        </p:nvSpPr>
        <p:spPr>
          <a:xfrm>
            <a:off x="2807363" y="457200"/>
            <a:ext cx="8915400" cy="5943600"/>
          </a:xfrm>
        </p:spPr>
        <p:txBody>
          <a:bodyPr/>
          <a:lstStyle>
            <a:lvl1pPr>
              <a:defRPr/>
            </a:lvl1pPr>
          </a:lstStyle>
          <a:p>
            <a:pPr lvl="0"/>
            <a:endParaRPr lang="en-US"/>
          </a:p>
        </p:txBody>
      </p:sp>
      <p:pic>
        <p:nvPicPr>
          <p:cNvPr id="8" name="Picture 14">
            <a:extLst>
              <a:ext uri="{FF2B5EF4-FFF2-40B4-BE49-F238E27FC236}">
                <a16:creationId xmlns:a16="http://schemas.microsoft.com/office/drawing/2014/main" id="{3A8560F1-A178-DDCB-0208-50BDF6DE730E}"/>
              </a:ext>
            </a:extLst>
          </p:cNvPr>
          <p:cNvPicPr>
            <a:picLocks noChangeAspect="1"/>
          </p:cNvPicPr>
          <p:nvPr/>
        </p:nvPicPr>
        <p:blipFill>
          <a:blip r:embed="rId2"/>
          <a:srcRect/>
          <a:stretch>
            <a:fillRect/>
          </a:stretch>
        </p:blipFill>
        <p:spPr>
          <a:xfrm>
            <a:off x="513354" y="4385535"/>
            <a:ext cx="2025313" cy="911940"/>
          </a:xfrm>
          <a:prstGeom prst="rect">
            <a:avLst/>
          </a:prstGeom>
          <a:noFill/>
          <a:ln cap="flat">
            <a:noFill/>
          </a:ln>
        </p:spPr>
      </p:pic>
    </p:spTree>
    <p:extLst>
      <p:ext uri="{BB962C8B-B14F-4D97-AF65-F5344CB8AC3E}">
        <p14:creationId xmlns:p14="http://schemas.microsoft.com/office/powerpoint/2010/main" val="1010458565"/>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5BA4EB3F-F1DE-E69B-C856-E35857AB3593}"/>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329614C4-FE42-7517-D3BE-F156C515BE35}"/>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2DE3811E-8DC7-A9AD-DD28-9847F203BAF7}"/>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7F14E440-C3B9-6E84-44E1-0741773E4233}"/>
              </a:ext>
            </a:extLst>
          </p:cNvPr>
          <p:cNvSpPr txBox="1">
            <a:spLocks noGrp="1"/>
          </p:cNvSpPr>
          <p:nvPr>
            <p:ph type="sldNum" sz="quarter" idx="8"/>
          </p:nvPr>
        </p:nvSpPr>
        <p:spPr/>
        <p:txBody>
          <a:bodyPr/>
          <a:lstStyle>
            <a:lvl1pPr>
              <a:defRPr>
                <a:solidFill>
                  <a:srgbClr val="AFB3B9"/>
                </a:solidFill>
              </a:defRPr>
            </a:lvl1pPr>
          </a:lstStyle>
          <a:p>
            <a:pPr lvl="0"/>
            <a:fld id="{E44AE018-CE34-452E-8469-B08082756F8F}" type="slidenum">
              <a:t>‹#›</a:t>
            </a:fld>
            <a:endParaRPr lang="en-US"/>
          </a:p>
        </p:txBody>
      </p:sp>
      <p:cxnSp>
        <p:nvCxnSpPr>
          <p:cNvPr id="6" name="Straight Connector 7">
            <a:extLst>
              <a:ext uri="{FF2B5EF4-FFF2-40B4-BE49-F238E27FC236}">
                <a16:creationId xmlns:a16="http://schemas.microsoft.com/office/drawing/2014/main" id="{338F6F63-15DC-0E2B-79A1-0179E3B7A69A}"/>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C1B27CCB-FB96-3A0F-32A5-6CE28A842BD3}"/>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3A294600-7D08-27C5-5EAC-74439C096806}"/>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FDB4D5D8-1937-72EB-1B95-15AF3CC2A5D4}"/>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C0231EA8-1CA6-D285-1E70-1E97E3FDD419}"/>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5D838243-E20D-24E6-5310-557AAC2891F1}"/>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4580E01A-AF83-45FF-BB91-BA8B22A994D1}"/>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BEDF25E7-6D72-FEFB-20BD-187F910A54E4}"/>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358748709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itle and Content">
  <p:cSld name="Title and Content 8 2">
    <p:spTree>
      <p:nvGrpSpPr>
        <p:cNvPr id="1" name="Shape 9350"/>
        <p:cNvGrpSpPr/>
        <p:nvPr/>
      </p:nvGrpSpPr>
      <p:grpSpPr>
        <a:xfrm>
          <a:off x="0" y="0"/>
          <a:ext cx="0" cy="0"/>
          <a:chOff x="0" y="0"/>
          <a:chExt cx="0" cy="0"/>
        </a:xfrm>
      </p:grpSpPr>
      <p:grpSp>
        <p:nvGrpSpPr>
          <p:cNvPr id="9351" name="Google Shape;9351;p1347"/>
          <p:cNvGrpSpPr/>
          <p:nvPr/>
        </p:nvGrpSpPr>
        <p:grpSpPr>
          <a:xfrm>
            <a:off x="7191542" y="1"/>
            <a:ext cx="5000459" cy="1425992"/>
            <a:chOff x="7191542" y="1"/>
            <a:chExt cx="5000459" cy="1425992"/>
          </a:xfrm>
        </p:grpSpPr>
        <p:pic>
          <p:nvPicPr>
            <p:cNvPr id="9352" name="Google Shape;9352;p13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53" name="Google Shape;9353;p1347"/>
            <p:cNvGrpSpPr/>
            <p:nvPr/>
          </p:nvGrpSpPr>
          <p:grpSpPr>
            <a:xfrm>
              <a:off x="7191542" y="1"/>
              <a:ext cx="5000459" cy="1425992"/>
              <a:chOff x="7186272" y="0"/>
              <a:chExt cx="5005729" cy="1427495"/>
            </a:xfrm>
          </p:grpSpPr>
          <p:sp>
            <p:nvSpPr>
              <p:cNvPr id="9354" name="Google Shape;9354;p13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355" name="Google Shape;9355;p13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356" name="Google Shape;9356;p13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357" name="Google Shape;9357;p134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58" name="Google Shape;9358;p13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59" name="Google Shape;9359;p13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60" name="Google Shape;9360;p13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2" name="Group 63">
            <a:extLst>
              <a:ext uri="{FF2B5EF4-FFF2-40B4-BE49-F238E27FC236}">
                <a16:creationId xmlns:a16="http://schemas.microsoft.com/office/drawing/2014/main" id="{98C19194-FD7D-9081-18AD-7A13CB4B0ACB}"/>
              </a:ext>
            </a:extLst>
          </p:cNvPr>
          <p:cNvGrpSpPr/>
          <p:nvPr/>
        </p:nvGrpSpPr>
        <p:grpSpPr>
          <a:xfrm>
            <a:off x="7191545" y="0"/>
            <a:ext cx="5000460" cy="1425988"/>
            <a:chOff x="7191545" y="0"/>
            <a:chExt cx="5000460" cy="1425988"/>
          </a:xfrm>
        </p:grpSpPr>
        <p:pic>
          <p:nvPicPr>
            <p:cNvPr id="3" name="Picture 64">
              <a:extLst>
                <a:ext uri="{FF2B5EF4-FFF2-40B4-BE49-F238E27FC236}">
                  <a16:creationId xmlns:a16="http://schemas.microsoft.com/office/drawing/2014/main" id="{EB1F10F3-A9DF-01D0-8471-D8BE207B9E06}"/>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65">
              <a:extLst>
                <a:ext uri="{FF2B5EF4-FFF2-40B4-BE49-F238E27FC236}">
                  <a16:creationId xmlns:a16="http://schemas.microsoft.com/office/drawing/2014/main" id="{26D96FB3-FAB1-2E57-E308-16B53E3FFF82}"/>
                </a:ext>
              </a:extLst>
            </p:cNvPr>
            <p:cNvGrpSpPr/>
            <p:nvPr/>
          </p:nvGrpSpPr>
          <p:grpSpPr>
            <a:xfrm>
              <a:off x="7191545" y="0"/>
              <a:ext cx="5000460" cy="1425988"/>
              <a:chOff x="7191545" y="0"/>
              <a:chExt cx="5000460" cy="1425988"/>
            </a:xfrm>
          </p:grpSpPr>
          <p:sp>
            <p:nvSpPr>
              <p:cNvPr id="5" name="Freeform 66">
                <a:extLst>
                  <a:ext uri="{FF2B5EF4-FFF2-40B4-BE49-F238E27FC236}">
                    <a16:creationId xmlns:a16="http://schemas.microsoft.com/office/drawing/2014/main" id="{489A6B17-5026-C014-7133-17A23C6C36FF}"/>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67">
                <a:extLst>
                  <a:ext uri="{FF2B5EF4-FFF2-40B4-BE49-F238E27FC236}">
                    <a16:creationId xmlns:a16="http://schemas.microsoft.com/office/drawing/2014/main" id="{950D8AA0-8D42-DE33-A861-4F2EDA48A796}"/>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129181B1-39BB-722C-29BA-9A5FBB947692}"/>
              </a:ext>
            </a:extLst>
          </p:cNvPr>
          <p:cNvSpPr txBox="1">
            <a:spLocks noGrp="1"/>
          </p:cNvSpPr>
          <p:nvPr>
            <p:ph type="title"/>
          </p:nvPr>
        </p:nvSpPr>
        <p:spPr/>
        <p:txBody>
          <a:bodyPr/>
          <a:lstStyle>
            <a:lvl1pPr>
              <a:defRPr/>
            </a:lvl1pPr>
          </a:lstStyle>
          <a:p>
            <a:pPr lvl="0"/>
            <a:r>
              <a:rPr lang="en-US"/>
              <a:t>Click to edit Master title style</a:t>
            </a:r>
          </a:p>
        </p:txBody>
      </p:sp>
      <p:sp>
        <p:nvSpPr>
          <p:cNvPr id="8" name="Content Placeholder 2">
            <a:extLst>
              <a:ext uri="{FF2B5EF4-FFF2-40B4-BE49-F238E27FC236}">
                <a16:creationId xmlns:a16="http://schemas.microsoft.com/office/drawing/2014/main" id="{4A520D17-90F3-58E1-953E-15FBD2CAF905}"/>
              </a:ext>
            </a:extLst>
          </p:cNvPr>
          <p:cNvSpPr txBox="1">
            <a:spLocks noGrp="1"/>
          </p:cNvSpPr>
          <p:nvPr>
            <p:ph idx="1"/>
          </p:nvPr>
        </p:nvSpPr>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6">
            <a:extLst>
              <a:ext uri="{FF2B5EF4-FFF2-40B4-BE49-F238E27FC236}">
                <a16:creationId xmlns:a16="http://schemas.microsoft.com/office/drawing/2014/main" id="{6170D643-D59F-21EF-E5F5-7E8BF18CC08C}"/>
              </a:ext>
            </a:extLst>
          </p:cNvPr>
          <p:cNvSpPr txBox="1">
            <a:spLocks noGrp="1"/>
          </p:cNvSpPr>
          <p:nvPr>
            <p:ph type="sldNum" sz="quarter" idx="8"/>
          </p:nvPr>
        </p:nvSpPr>
        <p:spPr/>
        <p:txBody>
          <a:bodyPr/>
          <a:lstStyle>
            <a:lvl1pPr>
              <a:defRPr>
                <a:solidFill>
                  <a:srgbClr val="AFB3B9"/>
                </a:solidFill>
              </a:defRPr>
            </a:lvl1pPr>
          </a:lstStyle>
          <a:p>
            <a:pPr lvl="0"/>
            <a:fld id="{7D18EB71-32B5-435C-8FA8-FC5161277941}" type="slidenum">
              <a:t>‹#›</a:t>
            </a:fld>
            <a:endParaRPr lang="en-US"/>
          </a:p>
        </p:txBody>
      </p:sp>
      <p:cxnSp>
        <p:nvCxnSpPr>
          <p:cNvPr id="10" name="Straight Connector 7">
            <a:extLst>
              <a:ext uri="{FF2B5EF4-FFF2-40B4-BE49-F238E27FC236}">
                <a16:creationId xmlns:a16="http://schemas.microsoft.com/office/drawing/2014/main" id="{40EE7C9D-CF71-F0D9-CBA8-45E216B9EABD}"/>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1" name="Footer Placeholder 5">
            <a:extLst>
              <a:ext uri="{FF2B5EF4-FFF2-40B4-BE49-F238E27FC236}">
                <a16:creationId xmlns:a16="http://schemas.microsoft.com/office/drawing/2014/main" id="{218AF67E-5640-F64E-68F5-C6B03FC353A9}"/>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1955737938"/>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B4E52-DAFB-116E-EE66-759CB247FCC3}"/>
              </a:ext>
            </a:extLst>
          </p:cNvPr>
          <p:cNvSpPr txBox="1">
            <a:spLocks noGrp="1"/>
          </p:cNvSpPr>
          <p:nvPr>
            <p:ph type="title"/>
          </p:nvPr>
        </p:nvSpPr>
        <p:spPr/>
        <p:txBody>
          <a:bodyPr/>
          <a:lstStyle>
            <a:lvl1pPr>
              <a:defRPr/>
            </a:lvl1pPr>
          </a:lstStyle>
          <a:p>
            <a:pPr lvl="0"/>
            <a:r>
              <a:rPr lang="en-US"/>
              <a:t>Click to edit Master title style</a:t>
            </a:r>
          </a:p>
        </p:txBody>
      </p:sp>
      <p:sp>
        <p:nvSpPr>
          <p:cNvPr id="3" name="Content Placeholder 2">
            <a:extLst>
              <a:ext uri="{FF2B5EF4-FFF2-40B4-BE49-F238E27FC236}">
                <a16:creationId xmlns:a16="http://schemas.microsoft.com/office/drawing/2014/main" id="{65B113D9-97EC-056D-B181-70772171D790}"/>
              </a:ext>
            </a:extLst>
          </p:cNvPr>
          <p:cNvSpPr txBox="1">
            <a:spLocks noGrp="1"/>
          </p:cNvSpPr>
          <p:nvPr>
            <p:ph idx="1"/>
          </p:nvPr>
        </p:nvSpPr>
        <p:spPr>
          <a:xfrm>
            <a:off x="609604" y="1825627"/>
            <a:ext cx="5410203" cy="4351336"/>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43">
            <a:extLst>
              <a:ext uri="{FF2B5EF4-FFF2-40B4-BE49-F238E27FC236}">
                <a16:creationId xmlns:a16="http://schemas.microsoft.com/office/drawing/2014/main" id="{FF943C75-1663-30A5-BDB6-D8896CDDD381}"/>
              </a:ext>
            </a:extLst>
          </p:cNvPr>
          <p:cNvGrpSpPr/>
          <p:nvPr/>
        </p:nvGrpSpPr>
        <p:grpSpPr>
          <a:xfrm>
            <a:off x="7191545" y="0"/>
            <a:ext cx="5000460" cy="1425988"/>
            <a:chOff x="7191545" y="0"/>
            <a:chExt cx="5000460" cy="1425988"/>
          </a:xfrm>
        </p:grpSpPr>
        <p:pic>
          <p:nvPicPr>
            <p:cNvPr id="5" name="Picture 19">
              <a:extLst>
                <a:ext uri="{FF2B5EF4-FFF2-40B4-BE49-F238E27FC236}">
                  <a16:creationId xmlns:a16="http://schemas.microsoft.com/office/drawing/2014/main" id="{32D7D4FC-CB78-6C12-6FA1-0ECE376C5418}"/>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6" name="Group 42">
              <a:extLst>
                <a:ext uri="{FF2B5EF4-FFF2-40B4-BE49-F238E27FC236}">
                  <a16:creationId xmlns:a16="http://schemas.microsoft.com/office/drawing/2014/main" id="{2DC23AA3-38D7-C9B4-6D55-F92203A31DA1}"/>
                </a:ext>
              </a:extLst>
            </p:cNvPr>
            <p:cNvGrpSpPr/>
            <p:nvPr/>
          </p:nvGrpSpPr>
          <p:grpSpPr>
            <a:xfrm>
              <a:off x="7191545" y="0"/>
              <a:ext cx="5000460" cy="1425988"/>
              <a:chOff x="7191545" y="0"/>
              <a:chExt cx="5000460" cy="1425988"/>
            </a:xfrm>
          </p:grpSpPr>
          <p:sp>
            <p:nvSpPr>
              <p:cNvPr id="7" name="Freeform 41">
                <a:extLst>
                  <a:ext uri="{FF2B5EF4-FFF2-40B4-BE49-F238E27FC236}">
                    <a16:creationId xmlns:a16="http://schemas.microsoft.com/office/drawing/2014/main" id="{03ECDF6D-CCF4-346B-4D11-6CBA6E713D86}"/>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8" name="Freeform 39">
                <a:extLst>
                  <a:ext uri="{FF2B5EF4-FFF2-40B4-BE49-F238E27FC236}">
                    <a16:creationId xmlns:a16="http://schemas.microsoft.com/office/drawing/2014/main" id="{29478029-36E6-F455-342B-7688DF341EE6}"/>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9" name="Content Placeholder 3">
            <a:extLst>
              <a:ext uri="{FF2B5EF4-FFF2-40B4-BE49-F238E27FC236}">
                <a16:creationId xmlns:a16="http://schemas.microsoft.com/office/drawing/2014/main" id="{D324213E-77F9-0FAE-7ADE-7C0A13E72BDB}"/>
              </a:ext>
            </a:extLst>
          </p:cNvPr>
          <p:cNvSpPr txBox="1">
            <a:spLocks noGrp="1"/>
          </p:cNvSpPr>
          <p:nvPr>
            <p:ph idx="2"/>
          </p:nvPr>
        </p:nvSpPr>
        <p:spPr>
          <a:xfrm>
            <a:off x="6172201" y="1825627"/>
            <a:ext cx="5410203" cy="4351336"/>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7">
            <a:extLst>
              <a:ext uri="{FF2B5EF4-FFF2-40B4-BE49-F238E27FC236}">
                <a16:creationId xmlns:a16="http://schemas.microsoft.com/office/drawing/2014/main" id="{5536C5FF-88A5-1978-645F-4281BE2F54CD}"/>
              </a:ext>
            </a:extLst>
          </p:cNvPr>
          <p:cNvSpPr txBox="1">
            <a:spLocks noGrp="1"/>
          </p:cNvSpPr>
          <p:nvPr>
            <p:ph type="sldNum" sz="quarter" idx="8"/>
          </p:nvPr>
        </p:nvSpPr>
        <p:spPr>
          <a:xfrm>
            <a:off x="8839193" y="6356352"/>
            <a:ext cx="2743200" cy="365129"/>
          </a:xfrm>
        </p:spPr>
        <p:txBody>
          <a:bodyPr/>
          <a:lstStyle>
            <a:lvl1pPr>
              <a:defRPr/>
            </a:lvl1pPr>
          </a:lstStyle>
          <a:p>
            <a:pPr lvl="0"/>
            <a:fld id="{AF38353D-74B7-49F9-B64A-1B188A156D6D}" type="slidenum">
              <a:t>‹#›</a:t>
            </a:fld>
            <a:endParaRPr lang="en-US"/>
          </a:p>
        </p:txBody>
      </p:sp>
      <p:cxnSp>
        <p:nvCxnSpPr>
          <p:cNvPr id="11" name="Straight Connector 6">
            <a:extLst>
              <a:ext uri="{FF2B5EF4-FFF2-40B4-BE49-F238E27FC236}">
                <a16:creationId xmlns:a16="http://schemas.microsoft.com/office/drawing/2014/main" id="{AD06ABD2-7DC4-FEE3-19A1-1BE3014A7D87}"/>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2" name="Footer Placeholder 4">
            <a:extLst>
              <a:ext uri="{FF2B5EF4-FFF2-40B4-BE49-F238E27FC236}">
                <a16:creationId xmlns:a16="http://schemas.microsoft.com/office/drawing/2014/main" id="{13874082-5D17-7065-ABE2-F598E6230C26}"/>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2935863343"/>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 name="Group 24">
            <a:extLst>
              <a:ext uri="{FF2B5EF4-FFF2-40B4-BE49-F238E27FC236}">
                <a16:creationId xmlns:a16="http://schemas.microsoft.com/office/drawing/2014/main" id="{865F6278-F10C-9A08-C146-0C50EAEE0D1B}"/>
              </a:ext>
            </a:extLst>
          </p:cNvPr>
          <p:cNvGrpSpPr/>
          <p:nvPr/>
        </p:nvGrpSpPr>
        <p:grpSpPr>
          <a:xfrm>
            <a:off x="7191545" y="0"/>
            <a:ext cx="5000460" cy="1425988"/>
            <a:chOff x="7191545" y="0"/>
            <a:chExt cx="5000460" cy="1425988"/>
          </a:xfrm>
        </p:grpSpPr>
        <p:pic>
          <p:nvPicPr>
            <p:cNvPr id="3" name="Picture 25">
              <a:extLst>
                <a:ext uri="{FF2B5EF4-FFF2-40B4-BE49-F238E27FC236}">
                  <a16:creationId xmlns:a16="http://schemas.microsoft.com/office/drawing/2014/main" id="{C2DAFC90-A3DC-B762-286A-F8C448E3784D}"/>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26">
              <a:extLst>
                <a:ext uri="{FF2B5EF4-FFF2-40B4-BE49-F238E27FC236}">
                  <a16:creationId xmlns:a16="http://schemas.microsoft.com/office/drawing/2014/main" id="{66DDAB0A-D6C6-1E5E-FE73-49FAAE53219B}"/>
                </a:ext>
              </a:extLst>
            </p:cNvPr>
            <p:cNvGrpSpPr/>
            <p:nvPr/>
          </p:nvGrpSpPr>
          <p:grpSpPr>
            <a:xfrm>
              <a:off x="7191545" y="0"/>
              <a:ext cx="5000460" cy="1425988"/>
              <a:chOff x="7191545" y="0"/>
              <a:chExt cx="5000460" cy="1425988"/>
            </a:xfrm>
          </p:grpSpPr>
          <p:sp>
            <p:nvSpPr>
              <p:cNvPr id="5" name="Freeform 27">
                <a:extLst>
                  <a:ext uri="{FF2B5EF4-FFF2-40B4-BE49-F238E27FC236}">
                    <a16:creationId xmlns:a16="http://schemas.microsoft.com/office/drawing/2014/main" id="{4B0F6B11-EA8B-1989-10C0-54C6A35892C7}"/>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28">
                <a:extLst>
                  <a:ext uri="{FF2B5EF4-FFF2-40B4-BE49-F238E27FC236}">
                    <a16:creationId xmlns:a16="http://schemas.microsoft.com/office/drawing/2014/main" id="{D60D7D3B-B2D0-DCC0-225F-F59400FE4787}"/>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7921729A-6E56-3A03-0384-95ECD4550072}"/>
              </a:ext>
            </a:extLst>
          </p:cNvPr>
          <p:cNvSpPr txBox="1">
            <a:spLocks noGrp="1"/>
          </p:cNvSpPr>
          <p:nvPr>
            <p:ph type="title"/>
          </p:nvPr>
        </p:nvSpPr>
        <p:spPr/>
        <p:txBody>
          <a:bodyPr/>
          <a:lstStyle>
            <a:lvl1pPr>
              <a:defRPr/>
            </a:lvl1pPr>
          </a:lstStyle>
          <a:p>
            <a:pPr lvl="0"/>
            <a:r>
              <a:rPr lang="en-US"/>
              <a:t>Click to edit Master title style</a:t>
            </a:r>
          </a:p>
        </p:txBody>
      </p:sp>
      <p:sp>
        <p:nvSpPr>
          <p:cNvPr id="8" name="Text Placeholder 2">
            <a:extLst>
              <a:ext uri="{FF2B5EF4-FFF2-40B4-BE49-F238E27FC236}">
                <a16:creationId xmlns:a16="http://schemas.microsoft.com/office/drawing/2014/main" id="{318CED30-74BE-4B01-63A4-E85ECA60FAC9}"/>
              </a:ext>
            </a:extLst>
          </p:cNvPr>
          <p:cNvSpPr txBox="1">
            <a:spLocks noGrp="1"/>
          </p:cNvSpPr>
          <p:nvPr>
            <p:ph type="body" idx="1"/>
          </p:nvPr>
        </p:nvSpPr>
        <p:spPr>
          <a:xfrm>
            <a:off x="609604" y="1681160"/>
            <a:ext cx="5387973" cy="823910"/>
          </a:xfrm>
          <a:solidFill>
            <a:srgbClr val="F3F6FB"/>
          </a:solidFill>
        </p:spPr>
        <p:txBody>
          <a:bodyPr lIns="182880" tIns="0" rIns="182880" bIns="0" anchor="ctr"/>
          <a:lstStyle>
            <a:lvl1pPr marL="0" indent="0">
              <a:buNone/>
              <a:defRPr u="sng">
                <a:uFill>
                  <a:solidFill>
                    <a:srgbClr val="F58366"/>
                  </a:solidFill>
                </a:uFill>
              </a:defRPr>
            </a:lvl1pPr>
          </a:lstStyle>
          <a:p>
            <a:pPr lvl="0"/>
            <a:r>
              <a:rPr lang="en-US"/>
              <a:t>Click to edit Master text styles</a:t>
            </a:r>
          </a:p>
        </p:txBody>
      </p:sp>
      <p:sp>
        <p:nvSpPr>
          <p:cNvPr id="9" name="Content Placeholder 3">
            <a:extLst>
              <a:ext uri="{FF2B5EF4-FFF2-40B4-BE49-F238E27FC236}">
                <a16:creationId xmlns:a16="http://schemas.microsoft.com/office/drawing/2014/main" id="{55649457-5514-5DE2-A571-43514565D24C}"/>
              </a:ext>
            </a:extLst>
          </p:cNvPr>
          <p:cNvSpPr txBox="1">
            <a:spLocks noGrp="1"/>
          </p:cNvSpPr>
          <p:nvPr>
            <p:ph idx="2"/>
          </p:nvPr>
        </p:nvSpPr>
        <p:spPr>
          <a:xfrm>
            <a:off x="609604" y="2505072"/>
            <a:ext cx="5387973" cy="3684583"/>
          </a:xfrm>
          <a:solidFill>
            <a:srgbClr val="F3F6FB"/>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9ED5B1E5-D082-204C-2B15-F42E294F1E82}"/>
              </a:ext>
            </a:extLst>
          </p:cNvPr>
          <p:cNvSpPr txBox="1">
            <a:spLocks noGrp="1"/>
          </p:cNvSpPr>
          <p:nvPr>
            <p:ph type="body" idx="3"/>
          </p:nvPr>
        </p:nvSpPr>
        <p:spPr>
          <a:xfrm>
            <a:off x="6172201" y="1681160"/>
            <a:ext cx="5410203" cy="823910"/>
          </a:xfrm>
          <a:solidFill>
            <a:srgbClr val="F3F6FB"/>
          </a:solidFill>
        </p:spPr>
        <p:txBody>
          <a:bodyPr lIns="182880" tIns="0" rIns="182880" bIns="0" anchor="ctr"/>
          <a:lstStyle>
            <a:lvl1pPr marL="0" indent="0">
              <a:buNone/>
              <a:defRPr u="sng">
                <a:uFill>
                  <a:solidFill>
                    <a:srgbClr val="F58366"/>
                  </a:solidFill>
                </a:uFill>
              </a:defRPr>
            </a:lvl1pPr>
          </a:lstStyle>
          <a:p>
            <a:pPr lvl="0"/>
            <a:r>
              <a:rPr lang="en-US"/>
              <a:t>Click to edit Master text styles</a:t>
            </a:r>
          </a:p>
        </p:txBody>
      </p:sp>
      <p:sp>
        <p:nvSpPr>
          <p:cNvPr id="11" name="Content Placeholder 5">
            <a:extLst>
              <a:ext uri="{FF2B5EF4-FFF2-40B4-BE49-F238E27FC236}">
                <a16:creationId xmlns:a16="http://schemas.microsoft.com/office/drawing/2014/main" id="{6DD95BF5-3876-3279-2115-39FA25D14B61}"/>
              </a:ext>
            </a:extLst>
          </p:cNvPr>
          <p:cNvSpPr txBox="1">
            <a:spLocks noGrp="1"/>
          </p:cNvSpPr>
          <p:nvPr>
            <p:ph idx="4"/>
          </p:nvPr>
        </p:nvSpPr>
        <p:spPr>
          <a:xfrm>
            <a:off x="6172201" y="2505072"/>
            <a:ext cx="5410203" cy="3684583"/>
          </a:xfrm>
          <a:solidFill>
            <a:srgbClr val="F3F6FB"/>
          </a:solidFill>
        </p:spPr>
        <p:txBody>
          <a:bodyPr lIns="182880" tIns="0" rIns="182880" bIns="0"/>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9">
            <a:extLst>
              <a:ext uri="{FF2B5EF4-FFF2-40B4-BE49-F238E27FC236}">
                <a16:creationId xmlns:a16="http://schemas.microsoft.com/office/drawing/2014/main" id="{0C36C0A6-5C03-CE2F-4C6F-8E4F4D131D39}"/>
              </a:ext>
            </a:extLst>
          </p:cNvPr>
          <p:cNvSpPr txBox="1">
            <a:spLocks noGrp="1"/>
          </p:cNvSpPr>
          <p:nvPr>
            <p:ph type="sldNum" sz="quarter" idx="8"/>
          </p:nvPr>
        </p:nvSpPr>
        <p:spPr/>
        <p:txBody>
          <a:bodyPr/>
          <a:lstStyle>
            <a:lvl1pPr>
              <a:defRPr/>
            </a:lvl1pPr>
          </a:lstStyle>
          <a:p>
            <a:pPr lvl="0"/>
            <a:fld id="{5F0DE0C6-ED6E-473B-BEB7-C07F14F5517F}" type="slidenum">
              <a:t>‹#›</a:t>
            </a:fld>
            <a:endParaRPr lang="en-US"/>
          </a:p>
        </p:txBody>
      </p:sp>
      <p:cxnSp>
        <p:nvCxnSpPr>
          <p:cNvPr id="13" name="Straight Connector 8">
            <a:extLst>
              <a:ext uri="{FF2B5EF4-FFF2-40B4-BE49-F238E27FC236}">
                <a16:creationId xmlns:a16="http://schemas.microsoft.com/office/drawing/2014/main" id="{CA551EAD-17A5-829B-113A-98870ADF8437}"/>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4" name="Footer Placeholder 7">
            <a:extLst>
              <a:ext uri="{FF2B5EF4-FFF2-40B4-BE49-F238E27FC236}">
                <a16:creationId xmlns:a16="http://schemas.microsoft.com/office/drawing/2014/main" id="{A158A891-B3A7-B950-8BD5-3AC0235E645B}"/>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1100016981"/>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 name="Group 21">
            <a:extLst>
              <a:ext uri="{FF2B5EF4-FFF2-40B4-BE49-F238E27FC236}">
                <a16:creationId xmlns:a16="http://schemas.microsoft.com/office/drawing/2014/main" id="{2D12C391-C036-30B6-1F4C-766D56F6CF54}"/>
              </a:ext>
            </a:extLst>
          </p:cNvPr>
          <p:cNvGrpSpPr/>
          <p:nvPr/>
        </p:nvGrpSpPr>
        <p:grpSpPr>
          <a:xfrm>
            <a:off x="7191545" y="0"/>
            <a:ext cx="5000460" cy="1425988"/>
            <a:chOff x="7191545" y="0"/>
            <a:chExt cx="5000460" cy="1425988"/>
          </a:xfrm>
        </p:grpSpPr>
        <p:pic>
          <p:nvPicPr>
            <p:cNvPr id="3" name="Picture 22">
              <a:extLst>
                <a:ext uri="{FF2B5EF4-FFF2-40B4-BE49-F238E27FC236}">
                  <a16:creationId xmlns:a16="http://schemas.microsoft.com/office/drawing/2014/main" id="{2F1068D7-24FC-64B7-17A9-EAF7BF872907}"/>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23">
              <a:extLst>
                <a:ext uri="{FF2B5EF4-FFF2-40B4-BE49-F238E27FC236}">
                  <a16:creationId xmlns:a16="http://schemas.microsoft.com/office/drawing/2014/main" id="{AEEF4429-F027-ABE5-1A15-7B467A66A863}"/>
                </a:ext>
              </a:extLst>
            </p:cNvPr>
            <p:cNvGrpSpPr/>
            <p:nvPr/>
          </p:nvGrpSpPr>
          <p:grpSpPr>
            <a:xfrm>
              <a:off x="7191545" y="0"/>
              <a:ext cx="5000460" cy="1425988"/>
              <a:chOff x="7191545" y="0"/>
              <a:chExt cx="5000460" cy="1425988"/>
            </a:xfrm>
          </p:grpSpPr>
          <p:sp>
            <p:nvSpPr>
              <p:cNvPr id="5" name="Freeform 24">
                <a:extLst>
                  <a:ext uri="{FF2B5EF4-FFF2-40B4-BE49-F238E27FC236}">
                    <a16:creationId xmlns:a16="http://schemas.microsoft.com/office/drawing/2014/main" id="{9C3032E2-6B43-0E88-331A-89E4AA9DB018}"/>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25">
                <a:extLst>
                  <a:ext uri="{FF2B5EF4-FFF2-40B4-BE49-F238E27FC236}">
                    <a16:creationId xmlns:a16="http://schemas.microsoft.com/office/drawing/2014/main" id="{98B3DD5B-C6B9-9750-2C9D-3CA288DA2FAB}"/>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DA0893EF-27F2-4594-3998-F1FDCBC20E29}"/>
              </a:ext>
            </a:extLst>
          </p:cNvPr>
          <p:cNvSpPr txBox="1">
            <a:spLocks noGrp="1"/>
          </p:cNvSpPr>
          <p:nvPr>
            <p:ph type="title"/>
          </p:nvPr>
        </p:nvSpPr>
        <p:spPr/>
        <p:txBody>
          <a:bodyPr/>
          <a:lstStyle>
            <a:lvl1pPr>
              <a:defRPr/>
            </a:lvl1pPr>
          </a:lstStyle>
          <a:p>
            <a:pPr lvl="0"/>
            <a:r>
              <a:rPr lang="en-US"/>
              <a:t>Click to edit Master title style</a:t>
            </a:r>
          </a:p>
        </p:txBody>
      </p:sp>
      <p:sp>
        <p:nvSpPr>
          <p:cNvPr id="8" name="Slide Number Placeholder 5">
            <a:extLst>
              <a:ext uri="{FF2B5EF4-FFF2-40B4-BE49-F238E27FC236}">
                <a16:creationId xmlns:a16="http://schemas.microsoft.com/office/drawing/2014/main" id="{5DD58960-DEA8-370F-EEE4-9789DF0B6E1D}"/>
              </a:ext>
            </a:extLst>
          </p:cNvPr>
          <p:cNvSpPr txBox="1">
            <a:spLocks noGrp="1"/>
          </p:cNvSpPr>
          <p:nvPr>
            <p:ph type="sldNum" sz="quarter" idx="8"/>
          </p:nvPr>
        </p:nvSpPr>
        <p:spPr/>
        <p:txBody>
          <a:bodyPr/>
          <a:lstStyle>
            <a:lvl1pPr>
              <a:defRPr/>
            </a:lvl1pPr>
          </a:lstStyle>
          <a:p>
            <a:pPr lvl="0"/>
            <a:fld id="{82CCEB97-75C8-46E2-9142-683A6DA275BC}" type="slidenum">
              <a:t>‹#›</a:t>
            </a:fld>
            <a:endParaRPr lang="en-US"/>
          </a:p>
        </p:txBody>
      </p:sp>
      <p:cxnSp>
        <p:nvCxnSpPr>
          <p:cNvPr id="9" name="Straight Connector 6">
            <a:extLst>
              <a:ext uri="{FF2B5EF4-FFF2-40B4-BE49-F238E27FC236}">
                <a16:creationId xmlns:a16="http://schemas.microsoft.com/office/drawing/2014/main" id="{30E5DB64-05B0-93D2-024D-A0C21A228B5D}"/>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0" name="Footer Placeholder 2">
            <a:extLst>
              <a:ext uri="{FF2B5EF4-FFF2-40B4-BE49-F238E27FC236}">
                <a16:creationId xmlns:a16="http://schemas.microsoft.com/office/drawing/2014/main" id="{BA0302E0-371E-257B-6CC9-3CE297B7C760}"/>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2624925923"/>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15_End">
    <p:spTree>
      <p:nvGrpSpPr>
        <p:cNvPr id="1" name=""/>
        <p:cNvGrpSpPr/>
        <p:nvPr/>
      </p:nvGrpSpPr>
      <p:grpSpPr>
        <a:xfrm>
          <a:off x="0" y="0"/>
          <a:ext cx="0" cy="0"/>
          <a:chOff x="0" y="0"/>
          <a:chExt cx="0" cy="0"/>
        </a:xfrm>
      </p:grpSpPr>
      <p:grpSp>
        <p:nvGrpSpPr>
          <p:cNvPr id="2" name="Group 41">
            <a:extLst>
              <a:ext uri="{FF2B5EF4-FFF2-40B4-BE49-F238E27FC236}">
                <a16:creationId xmlns:a16="http://schemas.microsoft.com/office/drawing/2014/main" id="{5D55D642-7DC8-F784-EA9D-A0CBCB06302E}"/>
              </a:ext>
            </a:extLst>
          </p:cNvPr>
          <p:cNvGrpSpPr/>
          <p:nvPr/>
        </p:nvGrpSpPr>
        <p:grpSpPr>
          <a:xfrm>
            <a:off x="0" y="0"/>
            <a:ext cx="12191996" cy="2148830"/>
            <a:chOff x="0" y="0"/>
            <a:chExt cx="12191996" cy="2148830"/>
          </a:xfrm>
        </p:grpSpPr>
        <p:sp>
          <p:nvSpPr>
            <p:cNvPr id="3" name="Freeform 40">
              <a:extLst>
                <a:ext uri="{FF2B5EF4-FFF2-40B4-BE49-F238E27FC236}">
                  <a16:creationId xmlns:a16="http://schemas.microsoft.com/office/drawing/2014/main" id="{54345A76-67F0-24FC-4A06-08B7E571C974}"/>
                </a:ext>
              </a:extLst>
            </p:cNvPr>
            <p:cNvSpPr/>
            <p:nvPr/>
          </p:nvSpPr>
          <p:spPr>
            <a:xfrm flipH="1">
              <a:off x="0" y="0"/>
              <a:ext cx="12191996" cy="2148830"/>
            </a:xfrm>
            <a:custGeom>
              <a:avLst/>
              <a:gdLst>
                <a:gd name="f0" fmla="val 10800000"/>
                <a:gd name="f1" fmla="val 5400000"/>
                <a:gd name="f2" fmla="val 180"/>
                <a:gd name="f3" fmla="val w"/>
                <a:gd name="f4" fmla="val h"/>
                <a:gd name="f5" fmla="val 0"/>
                <a:gd name="f6" fmla="val 12192000"/>
                <a:gd name="f7" fmla="val 2148830"/>
                <a:gd name="f8" fmla="val 2318293"/>
                <a:gd name="f9" fmla="val 2110341"/>
                <a:gd name="f10" fmla="val 1952334"/>
                <a:gd name="f11" fmla="val 920"/>
                <a:gd name="f12" fmla="val 1343499"/>
                <a:gd name="f13" fmla="val 23864"/>
                <a:gd name="f14" fmla="val 752130"/>
                <a:gd name="f15" fmla="val 152982"/>
                <a:gd name="f16" fmla="val 184205"/>
                <a:gd name="f17" fmla="val 435928"/>
                <a:gd name="f18" fmla="val 536864"/>
                <a:gd name="f19" fmla="val 554713"/>
                <a:gd name="f20" fmla="val 201115"/>
                <a:gd name="f21" fmla="val 452796"/>
                <a:gd name="f22" fmla="val 776357"/>
                <a:gd name="f23" fmla="val 187336"/>
                <a:gd name="f24" fmla="val 1349828"/>
                <a:gd name="f25" fmla="val 76760"/>
                <a:gd name="f26" fmla="val 1947588"/>
                <a:gd name="f27" fmla="val 66249"/>
                <a:gd name="f28" fmla="val 2962940"/>
                <a:gd name="f29" fmla="val 48421"/>
                <a:gd name="f30" fmla="val 3890218"/>
                <a:gd name="f31" fmla="val 291317"/>
                <a:gd name="f32" fmla="val 4778140"/>
                <a:gd name="f33" fmla="val 604018"/>
                <a:gd name="f34" fmla="val 7231510"/>
                <a:gd name="f35" fmla="val 1468126"/>
                <a:gd name="f36" fmla="val 9178927"/>
                <a:gd name="f37" fmla="val 2492024"/>
                <a:gd name="f38" fmla="val 11996242"/>
                <a:gd name="f39" fmla="val 2036894"/>
                <a:gd name="f40" fmla="val 2002266"/>
                <a:gd name="f41" fmla="val 1415250"/>
                <a:gd name="f42" fmla="val 12022971"/>
                <a:gd name="f43" fmla="val 1470801"/>
                <a:gd name="f44" fmla="val 10719696"/>
                <a:gd name="f45" fmla="val 1863939"/>
                <a:gd name="f46" fmla="val 9271154"/>
                <a:gd name="f47" fmla="val 1783804"/>
                <a:gd name="f48" fmla="val 7970940"/>
                <a:gd name="f49" fmla="val 1436986"/>
                <a:gd name="f50" fmla="val 6890984"/>
                <a:gd name="f51" fmla="val 1148958"/>
                <a:gd name="f52" fmla="val 5866930"/>
                <a:gd name="f53" fmla="val 767309"/>
                <a:gd name="f54" fmla="val 4800356"/>
                <a:gd name="f55" fmla="val 456582"/>
                <a:gd name="f56" fmla="val 4068903"/>
                <a:gd name="f57" fmla="val 243471"/>
                <a:gd name="f58" fmla="val 3348204"/>
                <a:gd name="f59" fmla="val 74251"/>
                <a:gd name="f60" fmla="val 2646880"/>
                <a:gd name="f61" fmla="val 17560"/>
                <a:gd name="f62" fmla="+- 0 0 -90"/>
                <a:gd name="f63" fmla="*/ f3 1 12192000"/>
                <a:gd name="f64" fmla="*/ f4 1 2148830"/>
                <a:gd name="f65" fmla="+- f7 0 f5"/>
                <a:gd name="f66" fmla="+- f6 0 f5"/>
                <a:gd name="f67" fmla="*/ f62 f0 1"/>
                <a:gd name="f68" fmla="*/ f66 1 12192000"/>
                <a:gd name="f69" fmla="*/ f65 1 2148830"/>
                <a:gd name="f70" fmla="*/ 2318293 f66 1"/>
                <a:gd name="f71" fmla="*/ 0 f65 1"/>
                <a:gd name="f72" fmla="*/ 2110341 f66 1"/>
                <a:gd name="f73" fmla="*/ 1952334 f66 1"/>
                <a:gd name="f74" fmla="*/ 920 f65 1"/>
                <a:gd name="f75" fmla="*/ 184205 f66 1"/>
                <a:gd name="f76" fmla="*/ 435928 f65 1"/>
                <a:gd name="f77" fmla="*/ 0 f66 1"/>
                <a:gd name="f78" fmla="*/ 536864 f65 1"/>
                <a:gd name="f79" fmla="*/ 554713 f65 1"/>
                <a:gd name="f80" fmla="*/ 201115 f66 1"/>
                <a:gd name="f81" fmla="*/ 452796 f65 1"/>
                <a:gd name="f82" fmla="*/ 1947588 f66 1"/>
                <a:gd name="f83" fmla="*/ 66249 f65 1"/>
                <a:gd name="f84" fmla="*/ 4778140 f66 1"/>
                <a:gd name="f85" fmla="*/ 604018 f65 1"/>
                <a:gd name="f86" fmla="*/ 11996242 f66 1"/>
                <a:gd name="f87" fmla="*/ 2036894 f65 1"/>
                <a:gd name="f88" fmla="*/ 12192000 f66 1"/>
                <a:gd name="f89" fmla="*/ 2002266 f65 1"/>
                <a:gd name="f90" fmla="*/ 1415250 f65 1"/>
                <a:gd name="f91" fmla="*/ 12022971 f66 1"/>
                <a:gd name="f92" fmla="*/ 1470801 f65 1"/>
                <a:gd name="f93" fmla="*/ 7970940 f66 1"/>
                <a:gd name="f94" fmla="*/ 1436986 f65 1"/>
                <a:gd name="f95" fmla="*/ 4800356 f66 1"/>
                <a:gd name="f96" fmla="*/ 456582 f65 1"/>
                <a:gd name="f97" fmla="*/ 2646880 f66 1"/>
                <a:gd name="f98" fmla="*/ 17560 f65 1"/>
                <a:gd name="f99" fmla="*/ f67 1 f2"/>
                <a:gd name="f100" fmla="*/ f70 1 12192000"/>
                <a:gd name="f101" fmla="*/ f71 1 2148830"/>
                <a:gd name="f102" fmla="*/ f72 1 12192000"/>
                <a:gd name="f103" fmla="*/ f73 1 12192000"/>
                <a:gd name="f104" fmla="*/ f74 1 2148830"/>
                <a:gd name="f105" fmla="*/ f75 1 12192000"/>
                <a:gd name="f106" fmla="*/ f76 1 2148830"/>
                <a:gd name="f107" fmla="*/ f77 1 12192000"/>
                <a:gd name="f108" fmla="*/ f78 1 2148830"/>
                <a:gd name="f109" fmla="*/ f79 1 2148830"/>
                <a:gd name="f110" fmla="*/ f80 1 12192000"/>
                <a:gd name="f111" fmla="*/ f81 1 2148830"/>
                <a:gd name="f112" fmla="*/ f82 1 12192000"/>
                <a:gd name="f113" fmla="*/ f83 1 2148830"/>
                <a:gd name="f114" fmla="*/ f84 1 12192000"/>
                <a:gd name="f115" fmla="*/ f85 1 2148830"/>
                <a:gd name="f116" fmla="*/ f86 1 12192000"/>
                <a:gd name="f117" fmla="*/ f87 1 2148830"/>
                <a:gd name="f118" fmla="*/ f88 1 12192000"/>
                <a:gd name="f119" fmla="*/ f89 1 2148830"/>
                <a:gd name="f120" fmla="*/ f90 1 2148830"/>
                <a:gd name="f121" fmla="*/ f91 1 12192000"/>
                <a:gd name="f122" fmla="*/ f92 1 2148830"/>
                <a:gd name="f123" fmla="*/ f93 1 12192000"/>
                <a:gd name="f124" fmla="*/ f94 1 2148830"/>
                <a:gd name="f125" fmla="*/ f95 1 12192000"/>
                <a:gd name="f126" fmla="*/ f96 1 2148830"/>
                <a:gd name="f127" fmla="*/ f97 1 12192000"/>
                <a:gd name="f128" fmla="*/ f98 1 2148830"/>
                <a:gd name="f129" fmla="*/ f5 1 f68"/>
                <a:gd name="f130" fmla="*/ f6 1 f68"/>
                <a:gd name="f131" fmla="*/ f5 1 f69"/>
                <a:gd name="f132" fmla="*/ f7 1 f69"/>
                <a:gd name="f133" fmla="+- f99 0 f1"/>
                <a:gd name="f134" fmla="*/ f100 1 f68"/>
                <a:gd name="f135" fmla="*/ f101 1 f69"/>
                <a:gd name="f136" fmla="*/ f102 1 f68"/>
                <a:gd name="f137" fmla="*/ f103 1 f68"/>
                <a:gd name="f138" fmla="*/ f104 1 f69"/>
                <a:gd name="f139" fmla="*/ f105 1 f68"/>
                <a:gd name="f140" fmla="*/ f106 1 f69"/>
                <a:gd name="f141" fmla="*/ f107 1 f68"/>
                <a:gd name="f142" fmla="*/ f108 1 f69"/>
                <a:gd name="f143" fmla="*/ f109 1 f69"/>
                <a:gd name="f144" fmla="*/ f110 1 f68"/>
                <a:gd name="f145" fmla="*/ f111 1 f69"/>
                <a:gd name="f146" fmla="*/ f112 1 f68"/>
                <a:gd name="f147" fmla="*/ f113 1 f69"/>
                <a:gd name="f148" fmla="*/ f114 1 f68"/>
                <a:gd name="f149" fmla="*/ f115 1 f69"/>
                <a:gd name="f150" fmla="*/ f116 1 f68"/>
                <a:gd name="f151" fmla="*/ f117 1 f69"/>
                <a:gd name="f152" fmla="*/ f118 1 f68"/>
                <a:gd name="f153" fmla="*/ f119 1 f69"/>
                <a:gd name="f154" fmla="*/ f120 1 f69"/>
                <a:gd name="f155" fmla="*/ f121 1 f68"/>
                <a:gd name="f156" fmla="*/ f122 1 f69"/>
                <a:gd name="f157" fmla="*/ f123 1 f68"/>
                <a:gd name="f158" fmla="*/ f124 1 f69"/>
                <a:gd name="f159" fmla="*/ f125 1 f68"/>
                <a:gd name="f160" fmla="*/ f126 1 f69"/>
                <a:gd name="f161" fmla="*/ f127 1 f68"/>
                <a:gd name="f162" fmla="*/ f128 1 f69"/>
                <a:gd name="f163" fmla="*/ f129 f63 1"/>
                <a:gd name="f164" fmla="*/ f130 f63 1"/>
                <a:gd name="f165" fmla="*/ f132 f64 1"/>
                <a:gd name="f166" fmla="*/ f131 f64 1"/>
                <a:gd name="f167" fmla="*/ f134 f63 1"/>
                <a:gd name="f168" fmla="*/ f135 f64 1"/>
                <a:gd name="f169" fmla="*/ f136 f63 1"/>
                <a:gd name="f170" fmla="*/ f137 f63 1"/>
                <a:gd name="f171" fmla="*/ f138 f64 1"/>
                <a:gd name="f172" fmla="*/ f139 f63 1"/>
                <a:gd name="f173" fmla="*/ f140 f64 1"/>
                <a:gd name="f174" fmla="*/ f141 f63 1"/>
                <a:gd name="f175" fmla="*/ f142 f64 1"/>
                <a:gd name="f176" fmla="*/ f143 f64 1"/>
                <a:gd name="f177" fmla="*/ f144 f63 1"/>
                <a:gd name="f178" fmla="*/ f145 f64 1"/>
                <a:gd name="f179" fmla="*/ f146 f63 1"/>
                <a:gd name="f180" fmla="*/ f147 f64 1"/>
                <a:gd name="f181" fmla="*/ f148 f63 1"/>
                <a:gd name="f182" fmla="*/ f149 f64 1"/>
                <a:gd name="f183" fmla="*/ f150 f63 1"/>
                <a:gd name="f184" fmla="*/ f151 f64 1"/>
                <a:gd name="f185" fmla="*/ f152 f63 1"/>
                <a:gd name="f186" fmla="*/ f153 f64 1"/>
                <a:gd name="f187" fmla="*/ f154 f64 1"/>
                <a:gd name="f188" fmla="*/ f155 f63 1"/>
                <a:gd name="f189" fmla="*/ f156 f64 1"/>
                <a:gd name="f190" fmla="*/ f157 f63 1"/>
                <a:gd name="f191" fmla="*/ f158 f64 1"/>
                <a:gd name="f192" fmla="*/ f159 f63 1"/>
                <a:gd name="f193" fmla="*/ f160 f64 1"/>
                <a:gd name="f194" fmla="*/ f161 f63 1"/>
                <a:gd name="f195" fmla="*/ f162 f64 1"/>
              </a:gdLst>
              <a:ahLst/>
              <a:cxnLst>
                <a:cxn ang="3cd4">
                  <a:pos x="hc" y="t"/>
                </a:cxn>
                <a:cxn ang="0">
                  <a:pos x="r" y="vc"/>
                </a:cxn>
                <a:cxn ang="cd4">
                  <a:pos x="hc" y="b"/>
                </a:cxn>
                <a:cxn ang="cd2">
                  <a:pos x="l" y="vc"/>
                </a:cxn>
                <a:cxn ang="f133">
                  <a:pos x="f167" y="f168"/>
                </a:cxn>
                <a:cxn ang="f133">
                  <a:pos x="f169" y="f168"/>
                </a:cxn>
                <a:cxn ang="f133">
                  <a:pos x="f170" y="f171"/>
                </a:cxn>
                <a:cxn ang="f133">
                  <a:pos x="f172" y="f173"/>
                </a:cxn>
                <a:cxn ang="f133">
                  <a:pos x="f174" y="f175"/>
                </a:cxn>
                <a:cxn ang="f133">
                  <a:pos x="f174" y="f176"/>
                </a:cxn>
                <a:cxn ang="f133">
                  <a:pos x="f177" y="f178"/>
                </a:cxn>
                <a:cxn ang="f133">
                  <a:pos x="f179" y="f180"/>
                </a:cxn>
                <a:cxn ang="f133">
                  <a:pos x="f181" y="f182"/>
                </a:cxn>
                <a:cxn ang="f133">
                  <a:pos x="f183" y="f184"/>
                </a:cxn>
                <a:cxn ang="f133">
                  <a:pos x="f185" y="f186"/>
                </a:cxn>
                <a:cxn ang="f133">
                  <a:pos x="f185" y="f187"/>
                </a:cxn>
                <a:cxn ang="f133">
                  <a:pos x="f188" y="f189"/>
                </a:cxn>
                <a:cxn ang="f133">
                  <a:pos x="f190" y="f191"/>
                </a:cxn>
                <a:cxn ang="f133">
                  <a:pos x="f192" y="f193"/>
                </a:cxn>
                <a:cxn ang="f133">
                  <a:pos x="f194" y="f195"/>
                </a:cxn>
              </a:cxnLst>
              <a:rect l="f163" t="f166" r="f164" b="f165"/>
              <a:pathLst>
                <a:path w="12192000" h="2148830">
                  <a:moveTo>
                    <a:pt x="f8" y="f5"/>
                  </a:moveTo>
                  <a:lnTo>
                    <a:pt x="f9" y="f5"/>
                  </a:lnTo>
                  <a:lnTo>
                    <a:pt x="f10" y="f11"/>
                  </a:lnTo>
                  <a:cubicBezTo>
                    <a:pt x="f12" y="f13"/>
                    <a:pt x="f14" y="f15"/>
                    <a:pt x="f16" y="f17"/>
                  </a:cubicBezTo>
                  <a:lnTo>
                    <a:pt x="f5" y="f18"/>
                  </a:lnTo>
                  <a:lnTo>
                    <a:pt x="f5" y="f19"/>
                  </a:lnTo>
                  <a:lnTo>
                    <a:pt x="f20" y="f21"/>
                  </a:lnTo>
                  <a:cubicBezTo>
                    <a:pt x="f22" y="f23"/>
                    <a:pt x="f24" y="f25"/>
                    <a:pt x="f26" y="f27"/>
                  </a:cubicBezTo>
                  <a:cubicBezTo>
                    <a:pt x="f28" y="f29"/>
                    <a:pt x="f30" y="f31"/>
                    <a:pt x="f32" y="f33"/>
                  </a:cubicBezTo>
                  <a:cubicBezTo>
                    <a:pt x="f34" y="f35"/>
                    <a:pt x="f36" y="f37"/>
                    <a:pt x="f38" y="f39"/>
                  </a:cubicBezTo>
                  <a:lnTo>
                    <a:pt x="f6" y="f40"/>
                  </a:lnTo>
                  <a:lnTo>
                    <a:pt x="f6" y="f41"/>
                  </a:lnTo>
                  <a:lnTo>
                    <a:pt x="f42" y="f43"/>
                  </a:lnTo>
                  <a:cubicBezTo>
                    <a:pt x="f44" y="f45"/>
                    <a:pt x="f46" y="f47"/>
                    <a:pt x="f48" y="f49"/>
                  </a:cubicBezTo>
                  <a:cubicBezTo>
                    <a:pt x="f50" y="f51"/>
                    <a:pt x="f52" y="f53"/>
                    <a:pt x="f54" y="f55"/>
                  </a:cubicBezTo>
                  <a:cubicBezTo>
                    <a:pt x="f56" y="f57"/>
                    <a:pt x="f58" y="f59"/>
                    <a:pt x="f60" y="f61"/>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4" name="Freeform 38">
              <a:extLst>
                <a:ext uri="{FF2B5EF4-FFF2-40B4-BE49-F238E27FC236}">
                  <a16:creationId xmlns:a16="http://schemas.microsoft.com/office/drawing/2014/main" id="{FD10CFA8-4AC0-560D-11D9-06BCD986768A}"/>
                </a:ext>
              </a:extLst>
            </p:cNvPr>
            <p:cNvSpPr/>
            <p:nvPr/>
          </p:nvSpPr>
          <p:spPr>
            <a:xfrm flipH="1">
              <a:off x="0" y="0"/>
              <a:ext cx="12191996" cy="1992139"/>
            </a:xfrm>
            <a:custGeom>
              <a:avLst/>
              <a:gdLst>
                <a:gd name="f0" fmla="val 10800000"/>
                <a:gd name="f1" fmla="val 5400000"/>
                <a:gd name="f2" fmla="val 180"/>
                <a:gd name="f3" fmla="val w"/>
                <a:gd name="f4" fmla="val h"/>
                <a:gd name="f5" fmla="val 0"/>
                <a:gd name="f6" fmla="val 12192000"/>
                <a:gd name="f7" fmla="val 1992138"/>
                <a:gd name="f8" fmla="val 2724271"/>
                <a:gd name="f9" fmla="val 1788442"/>
                <a:gd name="f10" fmla="val 1635403"/>
                <a:gd name="f11" fmla="val 12925"/>
                <a:gd name="f12" fmla="val 1134241"/>
                <a:gd name="f13" fmla="val 70905"/>
                <a:gd name="f14" fmla="val 647221"/>
                <a:gd name="f15" fmla="val 207817"/>
                <a:gd name="f16" fmla="val 178220"/>
                <a:gd name="f17" fmla="val 451207"/>
                <a:gd name="f18" fmla="val 552718"/>
                <a:gd name="f19" fmla="val 570885"/>
                <a:gd name="f20" fmla="val 195368"/>
                <a:gd name="f21" fmla="val 467800"/>
                <a:gd name="f22" fmla="val 765758"/>
                <a:gd name="f23" fmla="val 193094"/>
                <a:gd name="f24" fmla="val 1336955"/>
                <a:gd name="f25" fmla="val 73179"/>
                <a:gd name="f26" fmla="val 1934073"/>
                <a:gd name="f27" fmla="val 52850"/>
                <a:gd name="f28" fmla="val 2948304"/>
                <a:gd name="f29" fmla="val 18310"/>
                <a:gd name="f30" fmla="val 3878878"/>
                <a:gd name="f31" fmla="val 245747"/>
                <a:gd name="f32" fmla="val 4771217"/>
                <a:gd name="f33" fmla="val 543645"/>
                <a:gd name="f34" fmla="val 7236913"/>
                <a:gd name="f35" fmla="val 1366709"/>
                <a:gd name="f36" fmla="val 9199689"/>
                <a:gd name="f37" fmla="val 2357774"/>
                <a:gd name="f38" fmla="val 12007222"/>
                <a:gd name="f39" fmla="val 1856729"/>
                <a:gd name="f40" fmla="val 1820900"/>
                <a:gd name="f41" fmla="val 897073"/>
                <a:gd name="f42" fmla="val 12062517"/>
                <a:gd name="f43" fmla="val 950128"/>
                <a:gd name="f44" fmla="val 10950292"/>
                <a:gd name="f45" fmla="val 1376478"/>
                <a:gd name="f46" fmla="val 9595706"/>
                <a:gd name="f47" fmla="val 1466451"/>
                <a:gd name="f48" fmla="val 8435105"/>
                <a:gd name="f49" fmla="val 1266613"/>
                <a:gd name="f50" fmla="val 6618389"/>
                <a:gd name="f51" fmla="val 953715"/>
                <a:gd name="f52" fmla="val 4735222"/>
                <a:gd name="f53" fmla="val 130088"/>
                <a:gd name="f54" fmla="val 2948502"/>
                <a:gd name="f55" fmla="val 20548"/>
                <a:gd name="f56" fmla="+- 0 0 -90"/>
                <a:gd name="f57" fmla="*/ f3 1 12192000"/>
                <a:gd name="f58" fmla="*/ f4 1 1992138"/>
                <a:gd name="f59" fmla="+- f7 0 f5"/>
                <a:gd name="f60" fmla="+- f6 0 f5"/>
                <a:gd name="f61" fmla="*/ f56 f0 1"/>
                <a:gd name="f62" fmla="*/ f60 1 12192000"/>
                <a:gd name="f63" fmla="*/ f59 1 1992138"/>
                <a:gd name="f64" fmla="*/ 2724271 f60 1"/>
                <a:gd name="f65" fmla="*/ 0 f59 1"/>
                <a:gd name="f66" fmla="*/ 1788442 f60 1"/>
                <a:gd name="f67" fmla="*/ 1635403 f60 1"/>
                <a:gd name="f68" fmla="*/ 12925 f59 1"/>
                <a:gd name="f69" fmla="*/ 178220 f60 1"/>
                <a:gd name="f70" fmla="*/ 451207 f59 1"/>
                <a:gd name="f71" fmla="*/ 0 f60 1"/>
                <a:gd name="f72" fmla="*/ 552718 f59 1"/>
                <a:gd name="f73" fmla="*/ 570885 f59 1"/>
                <a:gd name="f74" fmla="*/ 195368 f60 1"/>
                <a:gd name="f75" fmla="*/ 467800 f59 1"/>
                <a:gd name="f76" fmla="*/ 1934073 f60 1"/>
                <a:gd name="f77" fmla="*/ 52850 f59 1"/>
                <a:gd name="f78" fmla="*/ 4771217 f60 1"/>
                <a:gd name="f79" fmla="*/ 543645 f59 1"/>
                <a:gd name="f80" fmla="*/ 12007222 f60 1"/>
                <a:gd name="f81" fmla="*/ 1856729 f59 1"/>
                <a:gd name="f82" fmla="*/ 12192000 f60 1"/>
                <a:gd name="f83" fmla="*/ 1820900 f59 1"/>
                <a:gd name="f84" fmla="*/ 897073 f59 1"/>
                <a:gd name="f85" fmla="*/ 12062517 f60 1"/>
                <a:gd name="f86" fmla="*/ 950128 f59 1"/>
                <a:gd name="f87" fmla="*/ 8435105 f60 1"/>
                <a:gd name="f88" fmla="*/ 1266613 f59 1"/>
                <a:gd name="f89" fmla="*/ 2948502 f60 1"/>
                <a:gd name="f90" fmla="*/ 20548 f59 1"/>
                <a:gd name="f91" fmla="*/ f61 1 f2"/>
                <a:gd name="f92" fmla="*/ f64 1 12192000"/>
                <a:gd name="f93" fmla="*/ f65 1 1992138"/>
                <a:gd name="f94" fmla="*/ f66 1 12192000"/>
                <a:gd name="f95" fmla="*/ f67 1 12192000"/>
                <a:gd name="f96" fmla="*/ f68 1 1992138"/>
                <a:gd name="f97" fmla="*/ f69 1 12192000"/>
                <a:gd name="f98" fmla="*/ f70 1 1992138"/>
                <a:gd name="f99" fmla="*/ f71 1 12192000"/>
                <a:gd name="f100" fmla="*/ f72 1 1992138"/>
                <a:gd name="f101" fmla="*/ f73 1 1992138"/>
                <a:gd name="f102" fmla="*/ f74 1 12192000"/>
                <a:gd name="f103" fmla="*/ f75 1 1992138"/>
                <a:gd name="f104" fmla="*/ f76 1 12192000"/>
                <a:gd name="f105" fmla="*/ f77 1 1992138"/>
                <a:gd name="f106" fmla="*/ f78 1 12192000"/>
                <a:gd name="f107" fmla="*/ f79 1 1992138"/>
                <a:gd name="f108" fmla="*/ f80 1 12192000"/>
                <a:gd name="f109" fmla="*/ f81 1 1992138"/>
                <a:gd name="f110" fmla="*/ f82 1 12192000"/>
                <a:gd name="f111" fmla="*/ f83 1 1992138"/>
                <a:gd name="f112" fmla="*/ f84 1 1992138"/>
                <a:gd name="f113" fmla="*/ f85 1 12192000"/>
                <a:gd name="f114" fmla="*/ f86 1 1992138"/>
                <a:gd name="f115" fmla="*/ f87 1 12192000"/>
                <a:gd name="f116" fmla="*/ f88 1 1992138"/>
                <a:gd name="f117" fmla="*/ f89 1 12192000"/>
                <a:gd name="f118" fmla="*/ f90 1 1992138"/>
                <a:gd name="f119" fmla="*/ f5 1 f62"/>
                <a:gd name="f120" fmla="*/ f6 1 f62"/>
                <a:gd name="f121" fmla="*/ f5 1 f63"/>
                <a:gd name="f122" fmla="*/ f7 1 f63"/>
                <a:gd name="f123" fmla="+- f91 0 f1"/>
                <a:gd name="f124" fmla="*/ f92 1 f62"/>
                <a:gd name="f125" fmla="*/ f93 1 f63"/>
                <a:gd name="f126" fmla="*/ f94 1 f62"/>
                <a:gd name="f127" fmla="*/ f95 1 f62"/>
                <a:gd name="f128" fmla="*/ f96 1 f63"/>
                <a:gd name="f129" fmla="*/ f97 1 f62"/>
                <a:gd name="f130" fmla="*/ f98 1 f63"/>
                <a:gd name="f131" fmla="*/ f99 1 f62"/>
                <a:gd name="f132" fmla="*/ f100 1 f63"/>
                <a:gd name="f133" fmla="*/ f101 1 f63"/>
                <a:gd name="f134" fmla="*/ f102 1 f62"/>
                <a:gd name="f135" fmla="*/ f103 1 f63"/>
                <a:gd name="f136" fmla="*/ f104 1 f62"/>
                <a:gd name="f137" fmla="*/ f105 1 f63"/>
                <a:gd name="f138" fmla="*/ f106 1 f62"/>
                <a:gd name="f139" fmla="*/ f107 1 f63"/>
                <a:gd name="f140" fmla="*/ f108 1 f62"/>
                <a:gd name="f141" fmla="*/ f109 1 f63"/>
                <a:gd name="f142" fmla="*/ f110 1 f62"/>
                <a:gd name="f143" fmla="*/ f111 1 f63"/>
                <a:gd name="f144" fmla="*/ f112 1 f63"/>
                <a:gd name="f145" fmla="*/ f113 1 f62"/>
                <a:gd name="f146" fmla="*/ f114 1 f63"/>
                <a:gd name="f147" fmla="*/ f115 1 f62"/>
                <a:gd name="f148" fmla="*/ f116 1 f63"/>
                <a:gd name="f149" fmla="*/ f117 1 f62"/>
                <a:gd name="f150" fmla="*/ f118 1 f63"/>
                <a:gd name="f151" fmla="*/ f119 f57 1"/>
                <a:gd name="f152" fmla="*/ f120 f57 1"/>
                <a:gd name="f153" fmla="*/ f122 f58 1"/>
                <a:gd name="f154" fmla="*/ f121 f58 1"/>
                <a:gd name="f155" fmla="*/ f124 f57 1"/>
                <a:gd name="f156" fmla="*/ f125 f58 1"/>
                <a:gd name="f157" fmla="*/ f126 f57 1"/>
                <a:gd name="f158" fmla="*/ f127 f57 1"/>
                <a:gd name="f159" fmla="*/ f128 f58 1"/>
                <a:gd name="f160" fmla="*/ f129 f57 1"/>
                <a:gd name="f161" fmla="*/ f130 f58 1"/>
                <a:gd name="f162" fmla="*/ f131 f57 1"/>
                <a:gd name="f163" fmla="*/ f132 f58 1"/>
                <a:gd name="f164" fmla="*/ f133 f58 1"/>
                <a:gd name="f165" fmla="*/ f134 f57 1"/>
                <a:gd name="f166" fmla="*/ f135 f58 1"/>
                <a:gd name="f167" fmla="*/ f136 f57 1"/>
                <a:gd name="f168" fmla="*/ f137 f58 1"/>
                <a:gd name="f169" fmla="*/ f138 f57 1"/>
                <a:gd name="f170" fmla="*/ f139 f58 1"/>
                <a:gd name="f171" fmla="*/ f140 f57 1"/>
                <a:gd name="f172" fmla="*/ f141 f58 1"/>
                <a:gd name="f173" fmla="*/ f142 f57 1"/>
                <a:gd name="f174" fmla="*/ f143 f58 1"/>
                <a:gd name="f175" fmla="*/ f144 f58 1"/>
                <a:gd name="f176" fmla="*/ f145 f57 1"/>
                <a:gd name="f177" fmla="*/ f146 f58 1"/>
                <a:gd name="f178" fmla="*/ f147 f57 1"/>
                <a:gd name="f179" fmla="*/ f148 f58 1"/>
                <a:gd name="f180" fmla="*/ f149 f57 1"/>
                <a:gd name="f181" fmla="*/ f150 f58 1"/>
              </a:gdLst>
              <a:ahLst/>
              <a:cxnLst>
                <a:cxn ang="3cd4">
                  <a:pos x="hc" y="t"/>
                </a:cxn>
                <a:cxn ang="0">
                  <a:pos x="r" y="vc"/>
                </a:cxn>
                <a:cxn ang="cd4">
                  <a:pos x="hc" y="b"/>
                </a:cxn>
                <a:cxn ang="cd2">
                  <a:pos x="l" y="vc"/>
                </a:cxn>
                <a:cxn ang="f123">
                  <a:pos x="f155" y="f156"/>
                </a:cxn>
                <a:cxn ang="f123">
                  <a:pos x="f157" y="f156"/>
                </a:cxn>
                <a:cxn ang="f123">
                  <a:pos x="f158" y="f159"/>
                </a:cxn>
                <a:cxn ang="f123">
                  <a:pos x="f160" y="f161"/>
                </a:cxn>
                <a:cxn ang="f123">
                  <a:pos x="f162" y="f163"/>
                </a:cxn>
                <a:cxn ang="f123">
                  <a:pos x="f162" y="f164"/>
                </a:cxn>
                <a:cxn ang="f123">
                  <a:pos x="f165" y="f166"/>
                </a:cxn>
                <a:cxn ang="f123">
                  <a:pos x="f167" y="f168"/>
                </a:cxn>
                <a:cxn ang="f123">
                  <a:pos x="f169" y="f170"/>
                </a:cxn>
                <a:cxn ang="f123">
                  <a:pos x="f171" y="f172"/>
                </a:cxn>
                <a:cxn ang="f123">
                  <a:pos x="f173" y="f174"/>
                </a:cxn>
                <a:cxn ang="f123">
                  <a:pos x="f173" y="f175"/>
                </a:cxn>
                <a:cxn ang="f123">
                  <a:pos x="f176" y="f177"/>
                </a:cxn>
                <a:cxn ang="f123">
                  <a:pos x="f178" y="f179"/>
                </a:cxn>
                <a:cxn ang="f123">
                  <a:pos x="f180" y="f181"/>
                </a:cxn>
              </a:cxnLst>
              <a:rect l="f151" t="f154" r="f152" b="f153"/>
              <a:pathLst>
                <a:path w="12192000" h="1992138">
                  <a:moveTo>
                    <a:pt x="f8" y="f5"/>
                  </a:moveTo>
                  <a:lnTo>
                    <a:pt x="f9" y="f5"/>
                  </a:lnTo>
                  <a:lnTo>
                    <a:pt x="f10" y="f11"/>
                  </a:lnTo>
                  <a:cubicBezTo>
                    <a:pt x="f12" y="f13"/>
                    <a:pt x="f14" y="f15"/>
                    <a:pt x="f16" y="f17"/>
                  </a:cubicBezTo>
                  <a:lnTo>
                    <a:pt x="f5" y="f18"/>
                  </a:lnTo>
                  <a:lnTo>
                    <a:pt x="f5" y="f19"/>
                  </a:lnTo>
                  <a:lnTo>
                    <a:pt x="f20" y="f21"/>
                  </a:lnTo>
                  <a:cubicBezTo>
                    <a:pt x="f22" y="f23"/>
                    <a:pt x="f24" y="f25"/>
                    <a:pt x="f26" y="f27"/>
                  </a:cubicBezTo>
                  <a:cubicBezTo>
                    <a:pt x="f28" y="f29"/>
                    <a:pt x="f30" y="f31"/>
                    <a:pt x="f32" y="f33"/>
                  </a:cubicBezTo>
                  <a:cubicBezTo>
                    <a:pt x="f34" y="f35"/>
                    <a:pt x="f36" y="f37"/>
                    <a:pt x="f38" y="f39"/>
                  </a:cubicBezTo>
                  <a:lnTo>
                    <a:pt x="f6" y="f40"/>
                  </a:lnTo>
                  <a:lnTo>
                    <a:pt x="f6" y="f41"/>
                  </a:lnTo>
                  <a:lnTo>
                    <a:pt x="f42" y="f43"/>
                  </a:lnTo>
                  <a:cubicBezTo>
                    <a:pt x="f44" y="f45"/>
                    <a:pt x="f46" y="f47"/>
                    <a:pt x="f48" y="f49"/>
                  </a:cubicBezTo>
                  <a:cubicBezTo>
                    <a:pt x="f50" y="f51"/>
                    <a:pt x="f52" y="f53"/>
                    <a:pt x="f54" y="f55"/>
                  </a:cubicBezTo>
                  <a:close/>
                </a:path>
              </a:pathLst>
            </a:custGeom>
            <a:solidFill>
              <a:srgbClr val="00498F"/>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sp>
        <p:nvSpPr>
          <p:cNvPr id="5" name="Rectangle 3">
            <a:extLst>
              <a:ext uri="{FF2B5EF4-FFF2-40B4-BE49-F238E27FC236}">
                <a16:creationId xmlns:a16="http://schemas.microsoft.com/office/drawing/2014/main" id="{BEE7575D-8918-AB92-BF44-DD9F272250C4}"/>
              </a:ext>
            </a:extLst>
          </p:cNvPr>
          <p:cNvSpPr/>
          <p:nvPr/>
        </p:nvSpPr>
        <p:spPr>
          <a:xfrm>
            <a:off x="902366" y="1517694"/>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Content Placeholder 2">
            <a:extLst>
              <a:ext uri="{FF2B5EF4-FFF2-40B4-BE49-F238E27FC236}">
                <a16:creationId xmlns:a16="http://schemas.microsoft.com/office/drawing/2014/main" id="{7A83E948-3197-6478-7DBB-9357D44BB9DD}"/>
              </a:ext>
            </a:extLst>
          </p:cNvPr>
          <p:cNvSpPr txBox="1">
            <a:spLocks noGrp="1"/>
          </p:cNvSpPr>
          <p:nvPr>
            <p:ph idx="4294967295"/>
          </p:nvPr>
        </p:nvSpPr>
        <p:spPr>
          <a:xfrm>
            <a:off x="1219197" y="3429001"/>
            <a:ext cx="5582649" cy="1413561"/>
          </a:xfrm>
        </p:spPr>
        <p:txBody>
          <a:bodyPr/>
          <a:lstStyle>
            <a:lvl1pPr marL="0" indent="0">
              <a:buNone/>
              <a:defRPr sz="2000"/>
            </a:lvl1pPr>
          </a:lstStyle>
          <a:p>
            <a:pPr lvl="0"/>
            <a:r>
              <a:rPr lang="en-US"/>
              <a:t>Click to edit Master text styles</a:t>
            </a:r>
          </a:p>
        </p:txBody>
      </p:sp>
      <p:sp>
        <p:nvSpPr>
          <p:cNvPr id="7" name="Title 11">
            <a:extLst>
              <a:ext uri="{FF2B5EF4-FFF2-40B4-BE49-F238E27FC236}">
                <a16:creationId xmlns:a16="http://schemas.microsoft.com/office/drawing/2014/main" id="{4E6D08C8-F48D-8284-3A46-B4647E473147}"/>
              </a:ext>
            </a:extLst>
          </p:cNvPr>
          <p:cNvSpPr txBox="1">
            <a:spLocks noGrp="1"/>
          </p:cNvSpPr>
          <p:nvPr>
            <p:ph type="title"/>
          </p:nvPr>
        </p:nvSpPr>
        <p:spPr>
          <a:xfrm>
            <a:off x="1219197" y="1887486"/>
            <a:ext cx="5582649" cy="1078260"/>
          </a:xfrm>
        </p:spPr>
        <p:txBody>
          <a:bodyPr/>
          <a:lstStyle>
            <a:lvl1pPr>
              <a:defRPr sz="6000"/>
            </a:lvl1pPr>
          </a:lstStyle>
          <a:p>
            <a:pPr lvl="0"/>
            <a:r>
              <a:rPr lang="en-US"/>
              <a:t>Thank you</a:t>
            </a:r>
          </a:p>
        </p:txBody>
      </p:sp>
      <p:pic>
        <p:nvPicPr>
          <p:cNvPr id="8" name="Picture 32">
            <a:extLst>
              <a:ext uri="{FF2B5EF4-FFF2-40B4-BE49-F238E27FC236}">
                <a16:creationId xmlns:a16="http://schemas.microsoft.com/office/drawing/2014/main" id="{2DC71236-1BAA-A43E-4592-DFAD706A4E3F}"/>
              </a:ext>
            </a:extLst>
          </p:cNvPr>
          <p:cNvPicPr>
            <a:picLocks noChangeAspect="1"/>
          </p:cNvPicPr>
          <p:nvPr/>
        </p:nvPicPr>
        <p:blipFill>
          <a:blip r:embed="rId2"/>
          <a:srcRect/>
          <a:stretch>
            <a:fillRect/>
          </a:stretch>
        </p:blipFill>
        <p:spPr>
          <a:xfrm>
            <a:off x="902366" y="228371"/>
            <a:ext cx="2025313" cy="911940"/>
          </a:xfrm>
          <a:prstGeom prst="rect">
            <a:avLst/>
          </a:prstGeom>
          <a:noFill/>
          <a:ln cap="flat">
            <a:noFill/>
          </a:ln>
        </p:spPr>
      </p:pic>
      <p:sp>
        <p:nvSpPr>
          <p:cNvPr id="9" name="Picture Placeholder 16">
            <a:extLst>
              <a:ext uri="{FF2B5EF4-FFF2-40B4-BE49-F238E27FC236}">
                <a16:creationId xmlns:a16="http://schemas.microsoft.com/office/drawing/2014/main" id="{BAAD1B79-7567-71F2-8255-AF3A9EC71BCF}"/>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spTree>
    <p:extLst>
      <p:ext uri="{BB962C8B-B14F-4D97-AF65-F5344CB8AC3E}">
        <p14:creationId xmlns:p14="http://schemas.microsoft.com/office/powerpoint/2010/main" val="1824815309"/>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2" name="Slide Number Placeholder 4">
            <a:extLst>
              <a:ext uri="{FF2B5EF4-FFF2-40B4-BE49-F238E27FC236}">
                <a16:creationId xmlns:a16="http://schemas.microsoft.com/office/drawing/2014/main" id="{719486F0-86A9-13AB-2F2E-72E1926D7377}"/>
              </a:ext>
            </a:extLst>
          </p:cNvPr>
          <p:cNvSpPr txBox="1">
            <a:spLocks noGrp="1"/>
          </p:cNvSpPr>
          <p:nvPr>
            <p:ph type="sldNum" sz="quarter" idx="8"/>
          </p:nvPr>
        </p:nvSpPr>
        <p:spPr/>
        <p:txBody>
          <a:bodyPr/>
          <a:lstStyle>
            <a:lvl1pPr>
              <a:defRPr/>
            </a:lvl1pPr>
          </a:lstStyle>
          <a:p>
            <a:pPr lvl="0"/>
            <a:fld id="{5226BAED-88EF-4A04-BC21-32D6FB9AD120}" type="slidenum">
              <a:t>‹#›</a:t>
            </a:fld>
            <a:endParaRPr lang="en-US"/>
          </a:p>
        </p:txBody>
      </p:sp>
      <p:cxnSp>
        <p:nvCxnSpPr>
          <p:cNvPr id="3" name="Straight Connector 3">
            <a:extLst>
              <a:ext uri="{FF2B5EF4-FFF2-40B4-BE49-F238E27FC236}">
                <a16:creationId xmlns:a16="http://schemas.microsoft.com/office/drawing/2014/main" id="{A2FFF08B-6F3A-62C4-2C3C-C8F19F374448}"/>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4" name="Footer Placeholder 1">
            <a:extLst>
              <a:ext uri="{FF2B5EF4-FFF2-40B4-BE49-F238E27FC236}">
                <a16:creationId xmlns:a16="http://schemas.microsoft.com/office/drawing/2014/main" id="{CE685A03-36E7-6168-BBC9-5BC8BEF65DC7}"/>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5" name="Group 5">
            <a:extLst>
              <a:ext uri="{FF2B5EF4-FFF2-40B4-BE49-F238E27FC236}">
                <a16:creationId xmlns:a16="http://schemas.microsoft.com/office/drawing/2014/main" id="{A6251D97-3BE9-41FC-D505-20BDF2DEC448}"/>
              </a:ext>
            </a:extLst>
          </p:cNvPr>
          <p:cNvGrpSpPr/>
          <p:nvPr/>
        </p:nvGrpSpPr>
        <p:grpSpPr>
          <a:xfrm>
            <a:off x="7191545" y="0"/>
            <a:ext cx="5000460" cy="1425988"/>
            <a:chOff x="7191545" y="0"/>
            <a:chExt cx="5000460" cy="1425988"/>
          </a:xfrm>
        </p:grpSpPr>
        <p:pic>
          <p:nvPicPr>
            <p:cNvPr id="6" name="Picture 6">
              <a:extLst>
                <a:ext uri="{FF2B5EF4-FFF2-40B4-BE49-F238E27FC236}">
                  <a16:creationId xmlns:a16="http://schemas.microsoft.com/office/drawing/2014/main" id="{E2B3518B-8EB9-DAC3-15E4-BBB4397C1CBE}"/>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7" name="Group 7">
              <a:extLst>
                <a:ext uri="{FF2B5EF4-FFF2-40B4-BE49-F238E27FC236}">
                  <a16:creationId xmlns:a16="http://schemas.microsoft.com/office/drawing/2014/main" id="{C71E8187-D392-B9D7-F6FC-CED203B3B65D}"/>
                </a:ext>
              </a:extLst>
            </p:cNvPr>
            <p:cNvGrpSpPr/>
            <p:nvPr/>
          </p:nvGrpSpPr>
          <p:grpSpPr>
            <a:xfrm>
              <a:off x="7191545" y="0"/>
              <a:ext cx="5000460" cy="1425988"/>
              <a:chOff x="7191545" y="0"/>
              <a:chExt cx="5000460" cy="1425988"/>
            </a:xfrm>
          </p:grpSpPr>
          <p:sp>
            <p:nvSpPr>
              <p:cNvPr id="8" name="Freeform 8">
                <a:extLst>
                  <a:ext uri="{FF2B5EF4-FFF2-40B4-BE49-F238E27FC236}">
                    <a16:creationId xmlns:a16="http://schemas.microsoft.com/office/drawing/2014/main" id="{B3CCFA50-611E-D94D-450C-C94F2815AAE8}"/>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9" name="Freeform 9">
                <a:extLst>
                  <a:ext uri="{FF2B5EF4-FFF2-40B4-BE49-F238E27FC236}">
                    <a16:creationId xmlns:a16="http://schemas.microsoft.com/office/drawing/2014/main" id="{E57CC517-1A3C-D13A-396F-536A2FE84C4E}"/>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Tree>
    <p:extLst>
      <p:ext uri="{BB962C8B-B14F-4D97-AF65-F5344CB8AC3E}">
        <p14:creationId xmlns:p14="http://schemas.microsoft.com/office/powerpoint/2010/main" val="2598769980"/>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p:cSld name="17_Cover">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DE77E697-764C-BD8E-93CD-F2520B9A05DE}"/>
              </a:ext>
            </a:extLst>
          </p:cNvPr>
          <p:cNvSpPr/>
          <p:nvPr/>
        </p:nvSpPr>
        <p:spPr>
          <a:xfrm>
            <a:off x="902366" y="1294416"/>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BE135F2B-215D-8B8A-12D0-F45E14C7CD9E}"/>
              </a:ext>
            </a:extLst>
          </p:cNvPr>
          <p:cNvSpPr txBox="1">
            <a:spLocks noGrp="1"/>
          </p:cNvSpPr>
          <p:nvPr>
            <p:ph type="title"/>
          </p:nvPr>
        </p:nvSpPr>
        <p:spPr>
          <a:xfrm>
            <a:off x="1413314" y="1561328"/>
            <a:ext cx="5194432" cy="1826340"/>
          </a:xfrm>
        </p:spPr>
        <p:txBody>
          <a:bodyPr anchor="b"/>
          <a:lstStyle>
            <a:lvl1pPr>
              <a:defRPr sz="4000">
                <a:solidFill>
                  <a:srgbClr val="444C55"/>
                </a:solidFill>
              </a:defRPr>
            </a:lvl1pPr>
          </a:lstStyle>
          <a:p>
            <a:pPr lvl="0"/>
            <a:r>
              <a:rPr lang="en-US"/>
              <a:t>Click to edit Master title style</a:t>
            </a:r>
          </a:p>
        </p:txBody>
      </p:sp>
      <p:sp>
        <p:nvSpPr>
          <p:cNvPr id="4" name="Subtitle 2">
            <a:extLst>
              <a:ext uri="{FF2B5EF4-FFF2-40B4-BE49-F238E27FC236}">
                <a16:creationId xmlns:a16="http://schemas.microsoft.com/office/drawing/2014/main" id="{D349D6DE-5062-8801-7940-5ABFF69FE399}"/>
              </a:ext>
            </a:extLst>
          </p:cNvPr>
          <p:cNvSpPr txBox="1">
            <a:spLocks noGrp="1"/>
          </p:cNvSpPr>
          <p:nvPr>
            <p:ph type="subTitle" idx="4294967295"/>
          </p:nvPr>
        </p:nvSpPr>
        <p:spPr>
          <a:xfrm>
            <a:off x="1413314" y="3766861"/>
            <a:ext cx="5194432" cy="986564"/>
          </a:xfrm>
        </p:spPr>
        <p:txBody>
          <a:bodyPr/>
          <a:lstStyle>
            <a:lvl1pPr marL="0" indent="0">
              <a:buNone/>
              <a:defRPr/>
            </a:lvl1pPr>
          </a:lstStyle>
          <a:p>
            <a:pPr lvl="0"/>
            <a:r>
              <a:rPr lang="en-US"/>
              <a:t>Click to edit Master subtitle style</a:t>
            </a:r>
          </a:p>
        </p:txBody>
      </p:sp>
      <p:sp>
        <p:nvSpPr>
          <p:cNvPr id="5" name="Picture Placeholder 21">
            <a:extLst>
              <a:ext uri="{FF2B5EF4-FFF2-40B4-BE49-F238E27FC236}">
                <a16:creationId xmlns:a16="http://schemas.microsoft.com/office/drawing/2014/main" id="{BCE74720-E5E3-4E47-8CBC-AE8B9796FE0D}"/>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grpSp>
        <p:nvGrpSpPr>
          <p:cNvPr id="6" name="Group 26">
            <a:extLst>
              <a:ext uri="{FF2B5EF4-FFF2-40B4-BE49-F238E27FC236}">
                <a16:creationId xmlns:a16="http://schemas.microsoft.com/office/drawing/2014/main" id="{6F51BAC6-BE0E-6F09-FD27-5EA873860C8D}"/>
              </a:ext>
            </a:extLst>
          </p:cNvPr>
          <p:cNvGrpSpPr/>
          <p:nvPr/>
        </p:nvGrpSpPr>
        <p:grpSpPr>
          <a:xfrm>
            <a:off x="0" y="5020349"/>
            <a:ext cx="12191996" cy="1837651"/>
            <a:chOff x="0" y="5020348"/>
            <a:chExt cx="12191996" cy="1837651"/>
          </a:xfrm>
        </p:grpSpPr>
        <p:sp>
          <p:nvSpPr>
            <p:cNvPr id="7" name="Freeform 27">
              <a:extLst>
                <a:ext uri="{FF2B5EF4-FFF2-40B4-BE49-F238E27FC236}">
                  <a16:creationId xmlns:a16="http://schemas.microsoft.com/office/drawing/2014/main" id="{34C88438-322C-A88E-EBD8-F41CDC2E2642}"/>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8" name="Freeform 28">
              <a:extLst>
                <a:ext uri="{FF2B5EF4-FFF2-40B4-BE49-F238E27FC236}">
                  <a16:creationId xmlns:a16="http://schemas.microsoft.com/office/drawing/2014/main" id="{15DCDCF3-DC7F-1489-FB98-79F15D613A12}"/>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9" name="Picture 29">
              <a:extLst>
                <a:ext uri="{FF2B5EF4-FFF2-40B4-BE49-F238E27FC236}">
                  <a16:creationId xmlns:a16="http://schemas.microsoft.com/office/drawing/2014/main" id="{A2548946-54C8-D0A2-A36A-100027A95EAD}"/>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1916478952"/>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17_Divider">
    <p:spTree>
      <p:nvGrpSpPr>
        <p:cNvPr id="1" name=""/>
        <p:cNvGrpSpPr/>
        <p:nvPr/>
      </p:nvGrpSpPr>
      <p:grpSpPr>
        <a:xfrm>
          <a:off x="0" y="0"/>
          <a:ext cx="0" cy="0"/>
          <a:chOff x="0" y="0"/>
          <a:chExt cx="0" cy="0"/>
        </a:xfrm>
      </p:grpSpPr>
      <p:grpSp>
        <p:nvGrpSpPr>
          <p:cNvPr id="2" name="Group 9">
            <a:extLst>
              <a:ext uri="{FF2B5EF4-FFF2-40B4-BE49-F238E27FC236}">
                <a16:creationId xmlns:a16="http://schemas.microsoft.com/office/drawing/2014/main" id="{2AAE9AA6-AC19-8BE9-DEAD-B598B836E06E}"/>
              </a:ext>
            </a:extLst>
          </p:cNvPr>
          <p:cNvGrpSpPr/>
          <p:nvPr/>
        </p:nvGrpSpPr>
        <p:grpSpPr>
          <a:xfrm>
            <a:off x="0" y="5020349"/>
            <a:ext cx="12191996" cy="1837651"/>
            <a:chOff x="0" y="5020348"/>
            <a:chExt cx="12191996" cy="1837651"/>
          </a:xfrm>
        </p:grpSpPr>
        <p:sp>
          <p:nvSpPr>
            <p:cNvPr id="3" name="Freeform 25">
              <a:extLst>
                <a:ext uri="{FF2B5EF4-FFF2-40B4-BE49-F238E27FC236}">
                  <a16:creationId xmlns:a16="http://schemas.microsoft.com/office/drawing/2014/main" id="{20EAF3BC-7A4A-056E-AF3C-51B1891306D4}"/>
                </a:ext>
              </a:extLst>
            </p:cNvPr>
            <p:cNvSpPr/>
            <p:nvPr/>
          </p:nvSpPr>
          <p:spPr>
            <a:xfrm>
              <a:off x="0" y="5100267"/>
              <a:ext cx="7111371" cy="1757732"/>
            </a:xfrm>
            <a:custGeom>
              <a:avLst/>
              <a:gdLst>
                <a:gd name="f0" fmla="val 10800000"/>
                <a:gd name="f1" fmla="val 5400000"/>
                <a:gd name="f2" fmla="val 180"/>
                <a:gd name="f3" fmla="val w"/>
                <a:gd name="f4" fmla="val h"/>
                <a:gd name="f5" fmla="val 0"/>
                <a:gd name="f6" fmla="val 7111369"/>
                <a:gd name="f7" fmla="val 1757730"/>
                <a:gd name="f8" fmla="val 772954"/>
                <a:gd name="f9" fmla="val 2778"/>
                <a:gd name="f10" fmla="val 1769038"/>
                <a:gd name="f11" fmla="val 30799"/>
                <a:gd name="f12" fmla="val 2696750"/>
                <a:gd name="f13" fmla="val 267531"/>
                <a:gd name="f14" fmla="val 3590934"/>
                <a:gd name="f15" fmla="val 566046"/>
                <a:gd name="f16" fmla="val 4684008"/>
                <a:gd name="f17" fmla="val 930921"/>
                <a:gd name="f18" fmla="val 5690778"/>
                <a:gd name="f19" fmla="val 1324625"/>
                <a:gd name="f20" fmla="val 6700767"/>
                <a:gd name="f21" fmla="val 1636882"/>
                <a:gd name="f22" fmla="val 25690"/>
                <a:gd name="f23" fmla="val 2197"/>
                <a:gd name="f24" fmla="val 25414"/>
                <a:gd name="f25" fmla="val 114653"/>
                <a:gd name="f26" fmla="val 14905"/>
                <a:gd name="f27" fmla="val 227801"/>
                <a:gd name="f28" fmla="val 7857"/>
                <a:gd name="f29" fmla="val 341773"/>
                <a:gd name="f30" fmla="val 3976"/>
                <a:gd name="f31" fmla="val 486963"/>
                <a:gd name="f32" fmla="+- 0 0 968"/>
                <a:gd name="f33" fmla="val 630656"/>
                <a:gd name="f34" fmla="+- 0 0 1224"/>
                <a:gd name="f35" fmla="+- 0 0 -90"/>
                <a:gd name="f36" fmla="*/ f3 1 7111369"/>
                <a:gd name="f37" fmla="*/ f4 1 1757730"/>
                <a:gd name="f38" fmla="+- f7 0 f5"/>
                <a:gd name="f39" fmla="+- f6 0 f5"/>
                <a:gd name="f40" fmla="*/ f35 f0 1"/>
                <a:gd name="f41" fmla="*/ f39 1 7111369"/>
                <a:gd name="f42" fmla="*/ f38 1 1757730"/>
                <a:gd name="f43" fmla="*/ 772954 f39 1"/>
                <a:gd name="f44" fmla="*/ 2778 f38 1"/>
                <a:gd name="f45" fmla="*/ 3590934 f39 1"/>
                <a:gd name="f46" fmla="*/ 566046 f38 1"/>
                <a:gd name="f47" fmla="*/ 6700767 f39 1"/>
                <a:gd name="f48" fmla="*/ 1636882 f38 1"/>
                <a:gd name="f49" fmla="*/ 7111369 f39 1"/>
                <a:gd name="f50" fmla="*/ 1757730 f38 1"/>
                <a:gd name="f51" fmla="*/ 0 f39 1"/>
                <a:gd name="f52" fmla="*/ 25690 f38 1"/>
                <a:gd name="f53" fmla="*/ 2197 f39 1"/>
                <a:gd name="f54" fmla="*/ 25414 f38 1"/>
                <a:gd name="f55" fmla="*/ 341773 f39 1"/>
                <a:gd name="f56" fmla="*/ 3976 f38 1"/>
                <a:gd name="f57" fmla="*/ f40 1 f2"/>
                <a:gd name="f58" fmla="*/ f43 1 7111369"/>
                <a:gd name="f59" fmla="*/ f44 1 1757730"/>
                <a:gd name="f60" fmla="*/ f45 1 7111369"/>
                <a:gd name="f61" fmla="*/ f46 1 1757730"/>
                <a:gd name="f62" fmla="*/ f47 1 7111369"/>
                <a:gd name="f63" fmla="*/ f48 1 1757730"/>
                <a:gd name="f64" fmla="*/ f49 1 7111369"/>
                <a:gd name="f65" fmla="*/ f50 1 1757730"/>
                <a:gd name="f66" fmla="*/ f51 1 7111369"/>
                <a:gd name="f67" fmla="*/ f52 1 1757730"/>
                <a:gd name="f68" fmla="*/ f53 1 7111369"/>
                <a:gd name="f69" fmla="*/ f54 1 1757730"/>
                <a:gd name="f70" fmla="*/ f55 1 7111369"/>
                <a:gd name="f71" fmla="*/ f56 1 1757730"/>
                <a:gd name="f72" fmla="*/ f5 1 f41"/>
                <a:gd name="f73" fmla="*/ f6 1 f41"/>
                <a:gd name="f74" fmla="*/ f5 1 f42"/>
                <a:gd name="f75" fmla="*/ f7 1 f42"/>
                <a:gd name="f76" fmla="+- f57 0 f1"/>
                <a:gd name="f77" fmla="*/ f58 1 f41"/>
                <a:gd name="f78" fmla="*/ f59 1 f42"/>
                <a:gd name="f79" fmla="*/ f60 1 f41"/>
                <a:gd name="f80" fmla="*/ f61 1 f42"/>
                <a:gd name="f81" fmla="*/ f62 1 f41"/>
                <a:gd name="f82" fmla="*/ f63 1 f42"/>
                <a:gd name="f83" fmla="*/ f64 1 f41"/>
                <a:gd name="f84" fmla="*/ f65 1 f42"/>
                <a:gd name="f85" fmla="*/ f66 1 f41"/>
                <a:gd name="f86" fmla="*/ f67 1 f42"/>
                <a:gd name="f87" fmla="*/ f68 1 f41"/>
                <a:gd name="f88" fmla="*/ f69 1 f42"/>
                <a:gd name="f89" fmla="*/ f70 1 f41"/>
                <a:gd name="f90" fmla="*/ f71 1 f42"/>
                <a:gd name="f91" fmla="*/ f72 f36 1"/>
                <a:gd name="f92" fmla="*/ f73 f36 1"/>
                <a:gd name="f93" fmla="*/ f75 f37 1"/>
                <a:gd name="f94" fmla="*/ f74 f37 1"/>
                <a:gd name="f95" fmla="*/ f77 f36 1"/>
                <a:gd name="f96" fmla="*/ f78 f37 1"/>
                <a:gd name="f97" fmla="*/ f79 f36 1"/>
                <a:gd name="f98" fmla="*/ f80 f37 1"/>
                <a:gd name="f99" fmla="*/ f81 f36 1"/>
                <a:gd name="f100" fmla="*/ f82 f37 1"/>
                <a:gd name="f101" fmla="*/ f83 f36 1"/>
                <a:gd name="f102" fmla="*/ f84 f37 1"/>
                <a:gd name="f103" fmla="*/ f85 f36 1"/>
                <a:gd name="f104" fmla="*/ f86 f37 1"/>
                <a:gd name="f105" fmla="*/ f87 f36 1"/>
                <a:gd name="f106" fmla="*/ f88 f37 1"/>
                <a:gd name="f107" fmla="*/ f89 f36 1"/>
                <a:gd name="f108" fmla="*/ f90 f37 1"/>
              </a:gdLst>
              <a:ahLst/>
              <a:cxnLst>
                <a:cxn ang="3cd4">
                  <a:pos x="hc" y="t"/>
                </a:cxn>
                <a:cxn ang="0">
                  <a:pos x="r" y="vc"/>
                </a:cxn>
                <a:cxn ang="cd4">
                  <a:pos x="hc" y="b"/>
                </a:cxn>
                <a:cxn ang="cd2">
                  <a:pos x="l" y="vc"/>
                </a:cxn>
                <a:cxn ang="f76">
                  <a:pos x="f95" y="f96"/>
                </a:cxn>
                <a:cxn ang="f76">
                  <a:pos x="f97" y="f98"/>
                </a:cxn>
                <a:cxn ang="f76">
                  <a:pos x="f99" y="f100"/>
                </a:cxn>
                <a:cxn ang="f76">
                  <a:pos x="f101" y="f102"/>
                </a:cxn>
                <a:cxn ang="f76">
                  <a:pos x="f103" y="f102"/>
                </a:cxn>
                <a:cxn ang="f76">
                  <a:pos x="f103" y="f104"/>
                </a:cxn>
                <a:cxn ang="f76">
                  <a:pos x="f105" y="f106"/>
                </a:cxn>
                <a:cxn ang="f76">
                  <a:pos x="f107" y="f108"/>
                </a:cxn>
                <a:cxn ang="f76">
                  <a:pos x="f95" y="f96"/>
                </a:cxn>
              </a:cxnLst>
              <a:rect l="f91" t="f94" r="f92" b="f93"/>
              <a:pathLst>
                <a:path w="7111369" h="1757730">
                  <a:moveTo>
                    <a:pt x="f8" y="f9"/>
                  </a:moveTo>
                  <a:cubicBezTo>
                    <a:pt x="f10" y="f11"/>
                    <a:pt x="f12" y="f13"/>
                    <a:pt x="f14" y="f15"/>
                  </a:cubicBezTo>
                  <a:cubicBezTo>
                    <a:pt x="f16" y="f17"/>
                    <a:pt x="f18" y="f19"/>
                    <a:pt x="f20" y="f21"/>
                  </a:cubicBezTo>
                  <a:lnTo>
                    <a:pt x="f6" y="f7"/>
                  </a:lnTo>
                  <a:lnTo>
                    <a:pt x="f5" y="f7"/>
                  </a:lnTo>
                  <a:lnTo>
                    <a:pt x="f5" y="f22"/>
                  </a:lnTo>
                  <a:lnTo>
                    <a:pt x="f23" y="f24"/>
                  </a:lnTo>
                  <a:cubicBezTo>
                    <a:pt x="f25" y="f26"/>
                    <a:pt x="f27" y="f28"/>
                    <a:pt x="f29" y="f30"/>
                  </a:cubicBezTo>
                  <a:cubicBezTo>
                    <a:pt x="f31" y="f32"/>
                    <a:pt x="f33" y="f34"/>
                    <a:pt x="f8" y="f9"/>
                  </a:cubicBezTo>
                  <a:close/>
                </a:path>
              </a:pathLst>
            </a:cu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4" name="Freeform 19">
              <a:extLst>
                <a:ext uri="{FF2B5EF4-FFF2-40B4-BE49-F238E27FC236}">
                  <a16:creationId xmlns:a16="http://schemas.microsoft.com/office/drawing/2014/main" id="{C382156D-BA65-4B6A-1D8C-DBE3EAC21920}"/>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5" name="Freeform 14">
              <a:extLst>
                <a:ext uri="{FF2B5EF4-FFF2-40B4-BE49-F238E27FC236}">
                  <a16:creationId xmlns:a16="http://schemas.microsoft.com/office/drawing/2014/main" id="{7C6116B5-83BA-CFD8-C885-2DE19DD49C94}"/>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6" name="Picture 20">
              <a:extLst>
                <a:ext uri="{FF2B5EF4-FFF2-40B4-BE49-F238E27FC236}">
                  <a16:creationId xmlns:a16="http://schemas.microsoft.com/office/drawing/2014/main" id="{2C4F5173-C95B-9060-D7F2-15183652EB36}"/>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
        <p:nvSpPr>
          <p:cNvPr id="7" name="Title 10">
            <a:extLst>
              <a:ext uri="{FF2B5EF4-FFF2-40B4-BE49-F238E27FC236}">
                <a16:creationId xmlns:a16="http://schemas.microsoft.com/office/drawing/2014/main" id="{D7D0EA4D-3B31-10BE-408C-A26DC63332BB}"/>
              </a:ext>
            </a:extLst>
          </p:cNvPr>
          <p:cNvSpPr txBox="1">
            <a:spLocks noGrp="1"/>
          </p:cNvSpPr>
          <p:nvPr>
            <p:ph type="title"/>
          </p:nvPr>
        </p:nvSpPr>
        <p:spPr>
          <a:xfrm>
            <a:off x="1413305" y="701748"/>
            <a:ext cx="9365376" cy="2014679"/>
          </a:xfrm>
        </p:spPr>
        <p:txBody>
          <a:bodyPr anchor="b"/>
          <a:lstStyle>
            <a:lvl1pPr>
              <a:defRPr/>
            </a:lvl1pPr>
          </a:lstStyle>
          <a:p>
            <a:pPr lvl="0"/>
            <a:r>
              <a:rPr lang="en-US"/>
              <a:t>Click to edit Master title style</a:t>
            </a:r>
          </a:p>
        </p:txBody>
      </p:sp>
      <p:sp>
        <p:nvSpPr>
          <p:cNvPr id="8" name="Subtitle 2">
            <a:extLst>
              <a:ext uri="{FF2B5EF4-FFF2-40B4-BE49-F238E27FC236}">
                <a16:creationId xmlns:a16="http://schemas.microsoft.com/office/drawing/2014/main" id="{805A0042-4025-C074-C7FF-B8F10A9C05FD}"/>
              </a:ext>
            </a:extLst>
          </p:cNvPr>
          <p:cNvSpPr txBox="1">
            <a:spLocks noGrp="1"/>
          </p:cNvSpPr>
          <p:nvPr>
            <p:ph type="subTitle" idx="4294967295"/>
          </p:nvPr>
        </p:nvSpPr>
        <p:spPr>
          <a:xfrm>
            <a:off x="1413305" y="3081637"/>
            <a:ext cx="9365376" cy="986564"/>
          </a:xfrm>
        </p:spPr>
        <p:txBody>
          <a:bodyPr/>
          <a:lstStyle>
            <a:lvl1pPr marL="0" indent="0">
              <a:buNone/>
              <a:defRPr/>
            </a:lvl1pPr>
          </a:lstStyle>
          <a:p>
            <a:pPr lvl="0"/>
            <a:r>
              <a:rPr lang="en-US"/>
              <a:t>Click to edit Master subtitle style</a:t>
            </a:r>
          </a:p>
        </p:txBody>
      </p:sp>
    </p:spTree>
    <p:extLst>
      <p:ext uri="{BB962C8B-B14F-4D97-AF65-F5344CB8AC3E}">
        <p14:creationId xmlns:p14="http://schemas.microsoft.com/office/powerpoint/2010/main" val="3473437324"/>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17_Photo Slide">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D451CB07-0380-475E-1351-1A81E8195A58}"/>
              </a:ext>
            </a:extLst>
          </p:cNvPr>
          <p:cNvSpPr txBox="1">
            <a:spLocks noGrp="1"/>
          </p:cNvSpPr>
          <p:nvPr>
            <p:ph type="body" idx="4294967295"/>
          </p:nvPr>
        </p:nvSpPr>
        <p:spPr>
          <a:xfrm>
            <a:off x="457200" y="1146255"/>
            <a:ext cx="2350172" cy="2971800"/>
          </a:xfrm>
        </p:spPr>
        <p:txBody>
          <a:bodyPr/>
          <a:lstStyle>
            <a:lvl1pPr marL="0" indent="0">
              <a:buNone/>
              <a:defRPr/>
            </a:lvl1pPr>
          </a:lstStyle>
          <a:p>
            <a:pPr lvl="0"/>
            <a:r>
              <a:rPr lang="en-US"/>
              <a:t>Click to edit Master text styles</a:t>
            </a:r>
          </a:p>
        </p:txBody>
      </p:sp>
      <p:cxnSp>
        <p:nvCxnSpPr>
          <p:cNvPr id="3" name="Straight Connector 5">
            <a:extLst>
              <a:ext uri="{FF2B5EF4-FFF2-40B4-BE49-F238E27FC236}">
                <a16:creationId xmlns:a16="http://schemas.microsoft.com/office/drawing/2014/main" id="{D7DE5F2E-93F0-BA9F-694C-0B761FE3A27F}"/>
              </a:ext>
            </a:extLst>
          </p:cNvPr>
          <p:cNvCxnSpPr/>
          <p:nvPr/>
        </p:nvCxnSpPr>
        <p:spPr>
          <a:xfrm>
            <a:off x="457201" y="947985"/>
            <a:ext cx="2350163" cy="0"/>
          </a:xfrm>
          <a:prstGeom prst="straightConnector1">
            <a:avLst/>
          </a:prstGeom>
          <a:noFill/>
          <a:ln w="31747" cap="flat">
            <a:solidFill>
              <a:srgbClr val="F58366"/>
            </a:solidFill>
            <a:prstDash val="solid"/>
            <a:miter/>
          </a:ln>
        </p:spPr>
      </p:cxnSp>
      <p:grpSp>
        <p:nvGrpSpPr>
          <p:cNvPr id="4" name="Group 2">
            <a:extLst>
              <a:ext uri="{FF2B5EF4-FFF2-40B4-BE49-F238E27FC236}">
                <a16:creationId xmlns:a16="http://schemas.microsoft.com/office/drawing/2014/main" id="{97F91F70-57B0-22AC-86B2-6FC624CFBD8E}"/>
              </a:ext>
            </a:extLst>
          </p:cNvPr>
          <p:cNvGrpSpPr/>
          <p:nvPr/>
        </p:nvGrpSpPr>
        <p:grpSpPr>
          <a:xfrm>
            <a:off x="1" y="5379425"/>
            <a:ext cx="2807363" cy="753895"/>
            <a:chOff x="0" y="5379424"/>
            <a:chExt cx="2807363" cy="753895"/>
          </a:xfrm>
        </p:grpSpPr>
        <p:sp>
          <p:nvSpPr>
            <p:cNvPr id="5" name="Freeform 21">
              <a:extLst>
                <a:ext uri="{FF2B5EF4-FFF2-40B4-BE49-F238E27FC236}">
                  <a16:creationId xmlns:a16="http://schemas.microsoft.com/office/drawing/2014/main" id="{483AF8A5-842F-6333-70A1-943255A2BC25}"/>
                </a:ext>
              </a:extLst>
            </p:cNvPr>
            <p:cNvSpPr/>
            <p:nvPr/>
          </p:nvSpPr>
          <p:spPr>
            <a:xfrm>
              <a:off x="0" y="5532513"/>
              <a:ext cx="2807363" cy="600806"/>
            </a:xfrm>
            <a:custGeom>
              <a:avLst/>
              <a:gdLst>
                <a:gd name="f0" fmla="val 10800000"/>
                <a:gd name="f1" fmla="val 5400000"/>
                <a:gd name="f2" fmla="val 180"/>
                <a:gd name="f3" fmla="val w"/>
                <a:gd name="f4" fmla="val h"/>
                <a:gd name="f5" fmla="val 0"/>
                <a:gd name="f6" fmla="val 2807368"/>
                <a:gd name="f7" fmla="val 600807"/>
                <a:gd name="f8" fmla="val 429971"/>
                <a:gd name="f9" fmla="val 123998"/>
                <a:gd name="f10" fmla="val 1184765"/>
                <a:gd name="f11" fmla="val 325331"/>
                <a:gd name="f12" fmla="val 2014184"/>
                <a:gd name="f13" fmla="val 392492"/>
                <a:gd name="f14" fmla="val 2790212"/>
                <a:gd name="f15" fmla="val 235402"/>
                <a:gd name="f16" fmla="val 231522"/>
                <a:gd name="f17" fmla="val 566106"/>
                <a:gd name="f18" fmla="val 2593885"/>
                <a:gd name="f19" fmla="val 587498"/>
                <a:gd name="f20" fmla="val 1673646"/>
                <a:gd name="f21" fmla="val 651184"/>
                <a:gd name="f22" fmla="val 884869"/>
                <a:gd name="f23" fmla="val 479260"/>
                <a:gd name="f24" fmla="val 100844"/>
                <a:gd name="f25" fmla="val 222653"/>
                <a:gd name="f26" fmla="val 188389"/>
                <a:gd name="f27" fmla="+- 0 0 -90"/>
                <a:gd name="f28" fmla="*/ f3 1 2807368"/>
                <a:gd name="f29" fmla="*/ f4 1 600807"/>
                <a:gd name="f30" fmla="+- f7 0 f5"/>
                <a:gd name="f31" fmla="+- f6 0 f5"/>
                <a:gd name="f32" fmla="*/ f27 f0 1"/>
                <a:gd name="f33" fmla="*/ f31 1 2807368"/>
                <a:gd name="f34" fmla="*/ f30 1 600807"/>
                <a:gd name="f35" fmla="*/ 0 f31 1"/>
                <a:gd name="f36" fmla="*/ 0 f30 1"/>
                <a:gd name="f37" fmla="*/ 429971 f31 1"/>
                <a:gd name="f38" fmla="*/ 123998 f30 1"/>
                <a:gd name="f39" fmla="*/ 2790212 f31 1"/>
                <a:gd name="f40" fmla="*/ 235402 f30 1"/>
                <a:gd name="f41" fmla="*/ 2807368 f31 1"/>
                <a:gd name="f42" fmla="*/ 231522 f30 1"/>
                <a:gd name="f43" fmla="*/ 566106 f30 1"/>
                <a:gd name="f44" fmla="*/ 2593885 f31 1"/>
                <a:gd name="f45" fmla="*/ 587498 f30 1"/>
                <a:gd name="f46" fmla="*/ 100844 f31 1"/>
                <a:gd name="f47" fmla="*/ 222653 f30 1"/>
                <a:gd name="f48" fmla="*/ 188389 f30 1"/>
                <a:gd name="f49" fmla="*/ f32 1 f2"/>
                <a:gd name="f50" fmla="*/ f35 1 2807368"/>
                <a:gd name="f51" fmla="*/ f36 1 600807"/>
                <a:gd name="f52" fmla="*/ f37 1 2807368"/>
                <a:gd name="f53" fmla="*/ f38 1 600807"/>
                <a:gd name="f54" fmla="*/ f39 1 2807368"/>
                <a:gd name="f55" fmla="*/ f40 1 600807"/>
                <a:gd name="f56" fmla="*/ f41 1 2807368"/>
                <a:gd name="f57" fmla="*/ f42 1 600807"/>
                <a:gd name="f58" fmla="*/ f43 1 600807"/>
                <a:gd name="f59" fmla="*/ f44 1 2807368"/>
                <a:gd name="f60" fmla="*/ f45 1 600807"/>
                <a:gd name="f61" fmla="*/ f46 1 2807368"/>
                <a:gd name="f62" fmla="*/ f47 1 600807"/>
                <a:gd name="f63" fmla="*/ f48 1 600807"/>
                <a:gd name="f64" fmla="*/ f5 1 f33"/>
                <a:gd name="f65" fmla="*/ f6 1 f33"/>
                <a:gd name="f66" fmla="*/ f5 1 f34"/>
                <a:gd name="f67" fmla="*/ f7 1 f34"/>
                <a:gd name="f68" fmla="+- f49 0 f1"/>
                <a:gd name="f69" fmla="*/ f50 1 f33"/>
                <a:gd name="f70" fmla="*/ f51 1 f34"/>
                <a:gd name="f71" fmla="*/ f52 1 f33"/>
                <a:gd name="f72" fmla="*/ f53 1 f34"/>
                <a:gd name="f73" fmla="*/ f54 1 f33"/>
                <a:gd name="f74" fmla="*/ f55 1 f34"/>
                <a:gd name="f75" fmla="*/ f56 1 f33"/>
                <a:gd name="f76" fmla="*/ f57 1 f34"/>
                <a:gd name="f77" fmla="*/ f58 1 f34"/>
                <a:gd name="f78" fmla="*/ f59 1 f33"/>
                <a:gd name="f79" fmla="*/ f60 1 f34"/>
                <a:gd name="f80" fmla="*/ f61 1 f33"/>
                <a:gd name="f81" fmla="*/ f62 1 f34"/>
                <a:gd name="f82" fmla="*/ f63 1 f34"/>
                <a:gd name="f83" fmla="*/ f64 f28 1"/>
                <a:gd name="f84" fmla="*/ f65 f28 1"/>
                <a:gd name="f85" fmla="*/ f67 f29 1"/>
                <a:gd name="f86" fmla="*/ f66 f29 1"/>
                <a:gd name="f87" fmla="*/ f69 f28 1"/>
                <a:gd name="f88" fmla="*/ f70 f29 1"/>
                <a:gd name="f89" fmla="*/ f71 f28 1"/>
                <a:gd name="f90" fmla="*/ f72 f29 1"/>
                <a:gd name="f91" fmla="*/ f73 f28 1"/>
                <a:gd name="f92" fmla="*/ f74 f29 1"/>
                <a:gd name="f93" fmla="*/ f75 f28 1"/>
                <a:gd name="f94" fmla="*/ f76 f29 1"/>
                <a:gd name="f95" fmla="*/ f77 f29 1"/>
                <a:gd name="f96" fmla="*/ f78 f28 1"/>
                <a:gd name="f97" fmla="*/ f79 f29 1"/>
                <a:gd name="f98" fmla="*/ f80 f28 1"/>
                <a:gd name="f99" fmla="*/ f81 f29 1"/>
                <a:gd name="f100" fmla="*/ f82 f29 1"/>
              </a:gdLst>
              <a:ahLst/>
              <a:cxnLst>
                <a:cxn ang="3cd4">
                  <a:pos x="hc" y="t"/>
                </a:cxn>
                <a:cxn ang="0">
                  <a:pos x="r" y="vc"/>
                </a:cxn>
                <a:cxn ang="cd4">
                  <a:pos x="hc" y="b"/>
                </a:cxn>
                <a:cxn ang="cd2">
                  <a:pos x="l" y="vc"/>
                </a:cxn>
                <a:cxn ang="f68">
                  <a:pos x="f87" y="f88"/>
                </a:cxn>
                <a:cxn ang="f68">
                  <a:pos x="f89" y="f90"/>
                </a:cxn>
                <a:cxn ang="f68">
                  <a:pos x="f91" y="f92"/>
                </a:cxn>
                <a:cxn ang="f68">
                  <a:pos x="f93" y="f94"/>
                </a:cxn>
                <a:cxn ang="f68">
                  <a:pos x="f93" y="f95"/>
                </a:cxn>
                <a:cxn ang="f68">
                  <a:pos x="f96" y="f97"/>
                </a:cxn>
                <a:cxn ang="f68">
                  <a:pos x="f98" y="f99"/>
                </a:cxn>
                <a:cxn ang="f68">
                  <a:pos x="f87" y="f100"/>
                </a:cxn>
              </a:cxnLst>
              <a:rect l="f83" t="f86" r="f84" b="f85"/>
              <a:pathLst>
                <a:path w="2807368" h="600807">
                  <a:moveTo>
                    <a:pt x="f5" y="f5"/>
                  </a:moveTo>
                  <a:lnTo>
                    <a:pt x="f8" y="f9"/>
                  </a:lnTo>
                  <a:cubicBezTo>
                    <a:pt x="f10" y="f11"/>
                    <a:pt x="f12" y="f13"/>
                    <a:pt x="f14" y="f15"/>
                  </a:cubicBezTo>
                  <a:lnTo>
                    <a:pt x="f6" y="f16"/>
                  </a:lnTo>
                  <a:lnTo>
                    <a:pt x="f6" y="f17"/>
                  </a:lnTo>
                  <a:lnTo>
                    <a:pt x="f18" y="f19"/>
                  </a:lnTo>
                  <a:cubicBezTo>
                    <a:pt x="f20" y="f21"/>
                    <a:pt x="f22" y="f23"/>
                    <a:pt x="f24" y="f25"/>
                  </a:cubicBezTo>
                  <a:lnTo>
                    <a:pt x="f5" y="f26"/>
                  </a:ln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Freeform 19">
              <a:extLst>
                <a:ext uri="{FF2B5EF4-FFF2-40B4-BE49-F238E27FC236}">
                  <a16:creationId xmlns:a16="http://schemas.microsoft.com/office/drawing/2014/main" id="{6CF1830A-4970-BD8C-C3B0-655D412E4F23}"/>
                </a:ext>
              </a:extLst>
            </p:cNvPr>
            <p:cNvSpPr/>
            <p:nvPr/>
          </p:nvSpPr>
          <p:spPr>
            <a:xfrm>
              <a:off x="0" y="5379424"/>
              <a:ext cx="2807363" cy="649800"/>
            </a:xfrm>
            <a:custGeom>
              <a:avLst/>
              <a:gdLst>
                <a:gd name="f0" fmla="val 10800000"/>
                <a:gd name="f1" fmla="val 5400000"/>
                <a:gd name="f2" fmla="val 180"/>
                <a:gd name="f3" fmla="val w"/>
                <a:gd name="f4" fmla="val h"/>
                <a:gd name="f5" fmla="val 0"/>
                <a:gd name="f6" fmla="val 2807368"/>
                <a:gd name="f7" fmla="val 649803"/>
                <a:gd name="f8" fmla="val 282676"/>
                <a:gd name="f9" fmla="val 70799"/>
                <a:gd name="f10" fmla="val 435964"/>
                <a:gd name="f11" fmla="val 106085"/>
                <a:gd name="f12" fmla="val 588770"/>
                <a:gd name="f13" fmla="val 137629"/>
                <a:gd name="f14" fmla="val 740881"/>
                <a:gd name="f15" fmla="val 163828"/>
                <a:gd name="f16" fmla="val 1362800"/>
                <a:gd name="f17" fmla="val 270912"/>
                <a:gd name="f18" fmla="val 2067879"/>
                <a:gd name="f19" fmla="val 253759"/>
                <a:gd name="f20" fmla="val 2706471"/>
                <a:gd name="f21" fmla="val 96397"/>
                <a:gd name="f22" fmla="val 67250"/>
                <a:gd name="f23" fmla="val 605551"/>
                <a:gd name="f24" fmla="val 2602685"/>
                <a:gd name="f25" fmla="val 629466"/>
                <a:gd name="f26" fmla="val 1684237"/>
                <a:gd name="f27" fmla="val 708219"/>
                <a:gd name="f28" fmla="val 893252"/>
                <a:gd name="f29" fmla="val 549395"/>
                <a:gd name="f30" fmla="val 105614"/>
                <a:gd name="f31" fmla="val 305882"/>
                <a:gd name="f32" fmla="val 271926"/>
                <a:gd name="f33" fmla="+- 0 0 -90"/>
                <a:gd name="f34" fmla="*/ f3 1 2807368"/>
                <a:gd name="f35" fmla="*/ f4 1 649803"/>
                <a:gd name="f36" fmla="+- f7 0 f5"/>
                <a:gd name="f37" fmla="+- f6 0 f5"/>
                <a:gd name="f38" fmla="*/ f33 f0 1"/>
                <a:gd name="f39" fmla="*/ f37 1 2807368"/>
                <a:gd name="f40" fmla="*/ f36 1 649803"/>
                <a:gd name="f41" fmla="*/ 0 f37 1"/>
                <a:gd name="f42" fmla="*/ 0 f36 1"/>
                <a:gd name="f43" fmla="*/ 282676 f37 1"/>
                <a:gd name="f44" fmla="*/ 70799 f36 1"/>
                <a:gd name="f45" fmla="*/ 740881 f37 1"/>
                <a:gd name="f46" fmla="*/ 163828 f36 1"/>
                <a:gd name="f47" fmla="*/ 2706471 f37 1"/>
                <a:gd name="f48" fmla="*/ 96397 f36 1"/>
                <a:gd name="f49" fmla="*/ 2807368 f37 1"/>
                <a:gd name="f50" fmla="*/ 67250 f36 1"/>
                <a:gd name="f51" fmla="*/ 605551 f36 1"/>
                <a:gd name="f52" fmla="*/ 2602685 f37 1"/>
                <a:gd name="f53" fmla="*/ 629466 f36 1"/>
                <a:gd name="f54" fmla="*/ 105614 f37 1"/>
                <a:gd name="f55" fmla="*/ 305882 f36 1"/>
                <a:gd name="f56" fmla="*/ 271926 f36 1"/>
                <a:gd name="f57" fmla="*/ f38 1 f2"/>
                <a:gd name="f58" fmla="*/ f41 1 2807368"/>
                <a:gd name="f59" fmla="*/ f42 1 649803"/>
                <a:gd name="f60" fmla="*/ f43 1 2807368"/>
                <a:gd name="f61" fmla="*/ f44 1 649803"/>
                <a:gd name="f62" fmla="*/ f45 1 2807368"/>
                <a:gd name="f63" fmla="*/ f46 1 649803"/>
                <a:gd name="f64" fmla="*/ f47 1 2807368"/>
                <a:gd name="f65" fmla="*/ f48 1 649803"/>
                <a:gd name="f66" fmla="*/ f49 1 2807368"/>
                <a:gd name="f67" fmla="*/ f50 1 649803"/>
                <a:gd name="f68" fmla="*/ f51 1 649803"/>
                <a:gd name="f69" fmla="*/ f52 1 2807368"/>
                <a:gd name="f70" fmla="*/ f53 1 649803"/>
                <a:gd name="f71" fmla="*/ f54 1 2807368"/>
                <a:gd name="f72" fmla="*/ f55 1 649803"/>
                <a:gd name="f73" fmla="*/ f56 1 649803"/>
                <a:gd name="f74" fmla="*/ f5 1 f39"/>
                <a:gd name="f75" fmla="*/ f6 1 f39"/>
                <a:gd name="f76" fmla="*/ f5 1 f40"/>
                <a:gd name="f77" fmla="*/ f7 1 f40"/>
                <a:gd name="f78" fmla="+- f57 0 f1"/>
                <a:gd name="f79" fmla="*/ f58 1 f39"/>
                <a:gd name="f80" fmla="*/ f59 1 f40"/>
                <a:gd name="f81" fmla="*/ f60 1 f39"/>
                <a:gd name="f82" fmla="*/ f61 1 f40"/>
                <a:gd name="f83" fmla="*/ f62 1 f39"/>
                <a:gd name="f84" fmla="*/ f63 1 f40"/>
                <a:gd name="f85" fmla="*/ f64 1 f39"/>
                <a:gd name="f86" fmla="*/ f65 1 f40"/>
                <a:gd name="f87" fmla="*/ f66 1 f39"/>
                <a:gd name="f88" fmla="*/ f67 1 f40"/>
                <a:gd name="f89" fmla="*/ f68 1 f40"/>
                <a:gd name="f90" fmla="*/ f69 1 f39"/>
                <a:gd name="f91" fmla="*/ f70 1 f40"/>
                <a:gd name="f92" fmla="*/ f71 1 f39"/>
                <a:gd name="f93" fmla="*/ f72 1 f40"/>
                <a:gd name="f94" fmla="*/ f73 1 f40"/>
                <a:gd name="f95" fmla="*/ f74 f34 1"/>
                <a:gd name="f96" fmla="*/ f75 f34 1"/>
                <a:gd name="f97" fmla="*/ f77 f35 1"/>
                <a:gd name="f98" fmla="*/ f76 f35 1"/>
                <a:gd name="f99" fmla="*/ f79 f34 1"/>
                <a:gd name="f100" fmla="*/ f80 f35 1"/>
                <a:gd name="f101" fmla="*/ f81 f34 1"/>
                <a:gd name="f102" fmla="*/ f82 f35 1"/>
                <a:gd name="f103" fmla="*/ f83 f34 1"/>
                <a:gd name="f104" fmla="*/ f84 f35 1"/>
                <a:gd name="f105" fmla="*/ f85 f34 1"/>
                <a:gd name="f106" fmla="*/ f86 f35 1"/>
                <a:gd name="f107" fmla="*/ f87 f34 1"/>
                <a:gd name="f108" fmla="*/ f88 f35 1"/>
                <a:gd name="f109" fmla="*/ f89 f35 1"/>
                <a:gd name="f110" fmla="*/ f90 f34 1"/>
                <a:gd name="f111" fmla="*/ f91 f35 1"/>
                <a:gd name="f112" fmla="*/ f92 f34 1"/>
                <a:gd name="f113" fmla="*/ f93 f35 1"/>
                <a:gd name="f114" fmla="*/ f94 f35 1"/>
              </a:gdLst>
              <a:ahLst/>
              <a:cxnLst>
                <a:cxn ang="3cd4">
                  <a:pos x="hc" y="t"/>
                </a:cxn>
                <a:cxn ang="0">
                  <a:pos x="r" y="vc"/>
                </a:cxn>
                <a:cxn ang="cd4">
                  <a:pos x="hc" y="b"/>
                </a:cxn>
                <a:cxn ang="cd2">
                  <a:pos x="l" y="vc"/>
                </a:cxn>
                <a:cxn ang="f78">
                  <a:pos x="f99" y="f100"/>
                </a:cxn>
                <a:cxn ang="f78">
                  <a:pos x="f101" y="f102"/>
                </a:cxn>
                <a:cxn ang="f78">
                  <a:pos x="f103" y="f104"/>
                </a:cxn>
                <a:cxn ang="f78">
                  <a:pos x="f105" y="f106"/>
                </a:cxn>
                <a:cxn ang="f78">
                  <a:pos x="f107" y="f108"/>
                </a:cxn>
                <a:cxn ang="f78">
                  <a:pos x="f107" y="f109"/>
                </a:cxn>
                <a:cxn ang="f78">
                  <a:pos x="f110" y="f111"/>
                </a:cxn>
                <a:cxn ang="f78">
                  <a:pos x="f112" y="f113"/>
                </a:cxn>
                <a:cxn ang="f78">
                  <a:pos x="f99" y="f114"/>
                </a:cxn>
              </a:cxnLst>
              <a:rect l="f95" t="f98" r="f96" b="f97"/>
              <a:pathLst>
                <a:path w="2807368" h="649803">
                  <a:moveTo>
                    <a:pt x="f5" y="f5"/>
                  </a:moveTo>
                  <a:lnTo>
                    <a:pt x="f8" y="f9"/>
                  </a:lnTo>
                  <a:cubicBezTo>
                    <a:pt x="f10" y="f11"/>
                    <a:pt x="f12" y="f13"/>
                    <a:pt x="f14" y="f15"/>
                  </a:cubicBezTo>
                  <a:cubicBezTo>
                    <a:pt x="f16" y="f17"/>
                    <a:pt x="f18" y="f19"/>
                    <a:pt x="f20" y="f21"/>
                  </a:cubicBezTo>
                  <a:lnTo>
                    <a:pt x="f6" y="f22"/>
                  </a:lnTo>
                  <a:lnTo>
                    <a:pt x="f6" y="f23"/>
                  </a:lnTo>
                  <a:lnTo>
                    <a:pt x="f24" y="f25"/>
                  </a:lnTo>
                  <a:cubicBezTo>
                    <a:pt x="f26" y="f27"/>
                    <a:pt x="f28" y="f29"/>
                    <a:pt x="f30" y="f31"/>
                  </a:cubicBezTo>
                  <a:lnTo>
                    <a:pt x="f5" y="f32"/>
                  </a:ln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grpSp>
      <p:sp>
        <p:nvSpPr>
          <p:cNvPr id="7" name="Picture Placeholder 6">
            <a:extLst>
              <a:ext uri="{FF2B5EF4-FFF2-40B4-BE49-F238E27FC236}">
                <a16:creationId xmlns:a16="http://schemas.microsoft.com/office/drawing/2014/main" id="{82D1552B-7190-F6E0-DAA9-410767C311C5}"/>
              </a:ext>
            </a:extLst>
          </p:cNvPr>
          <p:cNvSpPr txBox="1">
            <a:spLocks noGrp="1"/>
          </p:cNvSpPr>
          <p:nvPr>
            <p:ph type="pic" idx="4294967295"/>
          </p:nvPr>
        </p:nvSpPr>
        <p:spPr>
          <a:xfrm>
            <a:off x="2807363" y="457200"/>
            <a:ext cx="8915400" cy="5943600"/>
          </a:xfrm>
        </p:spPr>
        <p:txBody>
          <a:bodyPr/>
          <a:lstStyle>
            <a:lvl1pPr>
              <a:defRPr/>
            </a:lvl1pPr>
          </a:lstStyle>
          <a:p>
            <a:pPr lvl="0"/>
            <a:endParaRPr lang="en-US"/>
          </a:p>
        </p:txBody>
      </p:sp>
      <p:pic>
        <p:nvPicPr>
          <p:cNvPr id="8" name="Picture 14">
            <a:extLst>
              <a:ext uri="{FF2B5EF4-FFF2-40B4-BE49-F238E27FC236}">
                <a16:creationId xmlns:a16="http://schemas.microsoft.com/office/drawing/2014/main" id="{70030CCC-3CB7-4962-DD13-72077E3102C3}"/>
              </a:ext>
            </a:extLst>
          </p:cNvPr>
          <p:cNvPicPr>
            <a:picLocks noChangeAspect="1"/>
          </p:cNvPicPr>
          <p:nvPr/>
        </p:nvPicPr>
        <p:blipFill>
          <a:blip r:embed="rId2"/>
          <a:srcRect/>
          <a:stretch>
            <a:fillRect/>
          </a:stretch>
        </p:blipFill>
        <p:spPr>
          <a:xfrm>
            <a:off x="513354" y="4385535"/>
            <a:ext cx="2025313" cy="911940"/>
          </a:xfrm>
          <a:prstGeom prst="rect">
            <a:avLst/>
          </a:prstGeom>
          <a:noFill/>
          <a:ln cap="flat">
            <a:noFill/>
          </a:ln>
        </p:spPr>
      </p:pic>
    </p:spTree>
    <p:extLst>
      <p:ext uri="{BB962C8B-B14F-4D97-AF65-F5344CB8AC3E}">
        <p14:creationId xmlns:p14="http://schemas.microsoft.com/office/powerpoint/2010/main" val="2089984647"/>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B6510BB3-1ACB-B5C8-BF6B-BD2792279746}"/>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E5FA4530-5855-D693-E1E9-938D12767C14}"/>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E95DCAD5-CA70-F719-D23F-2FAF85290247}"/>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E51D3BBD-68B4-24BE-2EFF-9FAAB8F4017F}"/>
              </a:ext>
            </a:extLst>
          </p:cNvPr>
          <p:cNvSpPr txBox="1">
            <a:spLocks noGrp="1"/>
          </p:cNvSpPr>
          <p:nvPr>
            <p:ph type="sldNum" sz="quarter" idx="8"/>
          </p:nvPr>
        </p:nvSpPr>
        <p:spPr/>
        <p:txBody>
          <a:bodyPr/>
          <a:lstStyle>
            <a:lvl1pPr>
              <a:defRPr>
                <a:solidFill>
                  <a:srgbClr val="AFB3B9"/>
                </a:solidFill>
              </a:defRPr>
            </a:lvl1pPr>
          </a:lstStyle>
          <a:p>
            <a:pPr lvl="0"/>
            <a:fld id="{9BB731D3-AC57-4BE8-9704-F519D93E65F7}" type="slidenum">
              <a:t>‹#›</a:t>
            </a:fld>
            <a:endParaRPr lang="en-US"/>
          </a:p>
        </p:txBody>
      </p:sp>
      <p:cxnSp>
        <p:nvCxnSpPr>
          <p:cNvPr id="6" name="Straight Connector 7">
            <a:extLst>
              <a:ext uri="{FF2B5EF4-FFF2-40B4-BE49-F238E27FC236}">
                <a16:creationId xmlns:a16="http://schemas.microsoft.com/office/drawing/2014/main" id="{CE104F19-96FC-A061-E4B7-E1816DFC7580}"/>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04C7272C-B953-0CDA-3C10-B95A01DB450F}"/>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3DE24EED-0791-1026-DBDE-ECCA549E17AF}"/>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B388EC3C-8675-2F90-1D3E-7E21E194B477}"/>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EA30B692-9288-1B37-45F9-FF193B224DF2}"/>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D9E88388-47C5-0D63-6C1F-ABFB81E18124}"/>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95391A39-1FF8-943A-08DC-1E14A1D885DF}"/>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C2DD94B3-54B4-5C38-4DCE-273FF9C7758F}"/>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83280905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wo Content">
  <p:cSld name="Two Content 2 2">
    <p:spTree>
      <p:nvGrpSpPr>
        <p:cNvPr id="1" name="Shape 9361"/>
        <p:cNvGrpSpPr/>
        <p:nvPr/>
      </p:nvGrpSpPr>
      <p:grpSpPr>
        <a:xfrm>
          <a:off x="0" y="0"/>
          <a:ext cx="0" cy="0"/>
          <a:chOff x="0" y="0"/>
          <a:chExt cx="0" cy="0"/>
        </a:xfrm>
      </p:grpSpPr>
      <p:sp>
        <p:nvSpPr>
          <p:cNvPr id="9362" name="Google Shape;9362;p134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363" name="Google Shape;9363;p134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364" name="Google Shape;9364;p1348"/>
          <p:cNvGrpSpPr/>
          <p:nvPr/>
        </p:nvGrpSpPr>
        <p:grpSpPr>
          <a:xfrm>
            <a:off x="7191542" y="1"/>
            <a:ext cx="5000459" cy="1425992"/>
            <a:chOff x="7191542" y="1"/>
            <a:chExt cx="5000459" cy="1425992"/>
          </a:xfrm>
        </p:grpSpPr>
        <p:pic>
          <p:nvPicPr>
            <p:cNvPr id="9365" name="Google Shape;9365;p13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66" name="Google Shape;9366;p1348"/>
            <p:cNvGrpSpPr/>
            <p:nvPr/>
          </p:nvGrpSpPr>
          <p:grpSpPr>
            <a:xfrm>
              <a:off x="7191542" y="1"/>
              <a:ext cx="5000459" cy="1425992"/>
              <a:chOff x="7186272" y="0"/>
              <a:chExt cx="5005729" cy="1427495"/>
            </a:xfrm>
          </p:grpSpPr>
          <p:sp>
            <p:nvSpPr>
              <p:cNvPr id="9367" name="Google Shape;9367;p13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368" name="Google Shape;9368;p13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369" name="Google Shape;9369;p134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70" name="Google Shape;9370;p134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71" name="Google Shape;9371;p13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72" name="Google Shape;9372;p13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2" name="Group 63">
            <a:extLst>
              <a:ext uri="{FF2B5EF4-FFF2-40B4-BE49-F238E27FC236}">
                <a16:creationId xmlns:a16="http://schemas.microsoft.com/office/drawing/2014/main" id="{AC5E1A81-9E72-6534-208F-EFB323366B6A}"/>
              </a:ext>
            </a:extLst>
          </p:cNvPr>
          <p:cNvGrpSpPr/>
          <p:nvPr/>
        </p:nvGrpSpPr>
        <p:grpSpPr>
          <a:xfrm>
            <a:off x="7191545" y="0"/>
            <a:ext cx="5000460" cy="1425988"/>
            <a:chOff x="7191545" y="0"/>
            <a:chExt cx="5000460" cy="1425988"/>
          </a:xfrm>
        </p:grpSpPr>
        <p:pic>
          <p:nvPicPr>
            <p:cNvPr id="3" name="Picture 64">
              <a:extLst>
                <a:ext uri="{FF2B5EF4-FFF2-40B4-BE49-F238E27FC236}">
                  <a16:creationId xmlns:a16="http://schemas.microsoft.com/office/drawing/2014/main" id="{53D29404-53E6-A3FC-3F5A-FC890C614EF2}"/>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65">
              <a:extLst>
                <a:ext uri="{FF2B5EF4-FFF2-40B4-BE49-F238E27FC236}">
                  <a16:creationId xmlns:a16="http://schemas.microsoft.com/office/drawing/2014/main" id="{F334C382-82D3-05C0-3A44-E340C745B274}"/>
                </a:ext>
              </a:extLst>
            </p:cNvPr>
            <p:cNvGrpSpPr/>
            <p:nvPr/>
          </p:nvGrpSpPr>
          <p:grpSpPr>
            <a:xfrm>
              <a:off x="7191545" y="0"/>
              <a:ext cx="5000460" cy="1425988"/>
              <a:chOff x="7191545" y="0"/>
              <a:chExt cx="5000460" cy="1425988"/>
            </a:xfrm>
          </p:grpSpPr>
          <p:sp>
            <p:nvSpPr>
              <p:cNvPr id="5" name="Freeform 66">
                <a:extLst>
                  <a:ext uri="{FF2B5EF4-FFF2-40B4-BE49-F238E27FC236}">
                    <a16:creationId xmlns:a16="http://schemas.microsoft.com/office/drawing/2014/main" id="{6746C30A-F7D3-1A87-05BA-28A4B105EDB3}"/>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67">
                <a:extLst>
                  <a:ext uri="{FF2B5EF4-FFF2-40B4-BE49-F238E27FC236}">
                    <a16:creationId xmlns:a16="http://schemas.microsoft.com/office/drawing/2014/main" id="{A612EE98-A0A0-D7DE-943F-AE69D732BCC0}"/>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EA35DE95-CFA4-57CF-5B53-1A124522EEB6}"/>
              </a:ext>
            </a:extLst>
          </p:cNvPr>
          <p:cNvSpPr txBox="1">
            <a:spLocks noGrp="1"/>
          </p:cNvSpPr>
          <p:nvPr>
            <p:ph type="title"/>
          </p:nvPr>
        </p:nvSpPr>
        <p:spPr/>
        <p:txBody>
          <a:bodyPr/>
          <a:lstStyle>
            <a:lvl1pPr>
              <a:defRPr/>
            </a:lvl1pPr>
          </a:lstStyle>
          <a:p>
            <a:pPr lvl="0"/>
            <a:r>
              <a:rPr lang="en-US"/>
              <a:t>Click to edit Master title style</a:t>
            </a:r>
          </a:p>
        </p:txBody>
      </p:sp>
      <p:sp>
        <p:nvSpPr>
          <p:cNvPr id="8" name="Content Placeholder 2">
            <a:extLst>
              <a:ext uri="{FF2B5EF4-FFF2-40B4-BE49-F238E27FC236}">
                <a16:creationId xmlns:a16="http://schemas.microsoft.com/office/drawing/2014/main" id="{A655F993-0E82-415E-71C9-C6391761B343}"/>
              </a:ext>
            </a:extLst>
          </p:cNvPr>
          <p:cNvSpPr txBox="1">
            <a:spLocks noGrp="1"/>
          </p:cNvSpPr>
          <p:nvPr>
            <p:ph idx="1"/>
          </p:nvPr>
        </p:nvSpPr>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6">
            <a:extLst>
              <a:ext uri="{FF2B5EF4-FFF2-40B4-BE49-F238E27FC236}">
                <a16:creationId xmlns:a16="http://schemas.microsoft.com/office/drawing/2014/main" id="{E1AEDE9D-9204-A9A6-5EFA-77598F617110}"/>
              </a:ext>
            </a:extLst>
          </p:cNvPr>
          <p:cNvSpPr txBox="1">
            <a:spLocks noGrp="1"/>
          </p:cNvSpPr>
          <p:nvPr>
            <p:ph type="sldNum" sz="quarter" idx="8"/>
          </p:nvPr>
        </p:nvSpPr>
        <p:spPr/>
        <p:txBody>
          <a:bodyPr/>
          <a:lstStyle>
            <a:lvl1pPr>
              <a:defRPr>
                <a:solidFill>
                  <a:srgbClr val="AFB3B9"/>
                </a:solidFill>
              </a:defRPr>
            </a:lvl1pPr>
          </a:lstStyle>
          <a:p>
            <a:pPr lvl="0"/>
            <a:fld id="{EF129FA2-FA3D-4831-BE8D-A2FD05716554}" type="slidenum">
              <a:t>‹#›</a:t>
            </a:fld>
            <a:endParaRPr lang="en-US"/>
          </a:p>
        </p:txBody>
      </p:sp>
      <p:cxnSp>
        <p:nvCxnSpPr>
          <p:cNvPr id="10" name="Straight Connector 7">
            <a:extLst>
              <a:ext uri="{FF2B5EF4-FFF2-40B4-BE49-F238E27FC236}">
                <a16:creationId xmlns:a16="http://schemas.microsoft.com/office/drawing/2014/main" id="{B18CBFD1-7D6C-6231-701D-0BFB343A81E4}"/>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1" name="Footer Placeholder 5">
            <a:extLst>
              <a:ext uri="{FF2B5EF4-FFF2-40B4-BE49-F238E27FC236}">
                <a16:creationId xmlns:a16="http://schemas.microsoft.com/office/drawing/2014/main" id="{837962C9-E8D9-40AA-B1B8-4C89A2A3554E}"/>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2097527710"/>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F17C2F-3FDC-AE2C-A49D-35CBD5A2B9CC}"/>
              </a:ext>
            </a:extLst>
          </p:cNvPr>
          <p:cNvSpPr txBox="1">
            <a:spLocks noGrp="1"/>
          </p:cNvSpPr>
          <p:nvPr>
            <p:ph type="title"/>
          </p:nvPr>
        </p:nvSpPr>
        <p:spPr/>
        <p:txBody>
          <a:bodyPr/>
          <a:lstStyle>
            <a:lvl1pPr>
              <a:defRPr/>
            </a:lvl1pPr>
          </a:lstStyle>
          <a:p>
            <a:pPr lvl="0"/>
            <a:r>
              <a:rPr lang="en-US"/>
              <a:t>Click to edit Master title style</a:t>
            </a:r>
          </a:p>
        </p:txBody>
      </p:sp>
      <p:sp>
        <p:nvSpPr>
          <p:cNvPr id="3" name="Content Placeholder 2">
            <a:extLst>
              <a:ext uri="{FF2B5EF4-FFF2-40B4-BE49-F238E27FC236}">
                <a16:creationId xmlns:a16="http://schemas.microsoft.com/office/drawing/2014/main" id="{A59CBCD4-154A-28D3-BC65-2CBBA45B6A4E}"/>
              </a:ext>
            </a:extLst>
          </p:cNvPr>
          <p:cNvSpPr txBox="1">
            <a:spLocks noGrp="1"/>
          </p:cNvSpPr>
          <p:nvPr>
            <p:ph idx="1"/>
          </p:nvPr>
        </p:nvSpPr>
        <p:spPr>
          <a:xfrm>
            <a:off x="609604" y="1825627"/>
            <a:ext cx="5410203" cy="4351336"/>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43">
            <a:extLst>
              <a:ext uri="{FF2B5EF4-FFF2-40B4-BE49-F238E27FC236}">
                <a16:creationId xmlns:a16="http://schemas.microsoft.com/office/drawing/2014/main" id="{FB7C82ED-8290-DE04-ABA0-5EE77EFF7CE4}"/>
              </a:ext>
            </a:extLst>
          </p:cNvPr>
          <p:cNvGrpSpPr/>
          <p:nvPr/>
        </p:nvGrpSpPr>
        <p:grpSpPr>
          <a:xfrm>
            <a:off x="7191545" y="0"/>
            <a:ext cx="5000460" cy="1425988"/>
            <a:chOff x="7191545" y="0"/>
            <a:chExt cx="5000460" cy="1425988"/>
          </a:xfrm>
        </p:grpSpPr>
        <p:pic>
          <p:nvPicPr>
            <p:cNvPr id="5" name="Picture 19">
              <a:extLst>
                <a:ext uri="{FF2B5EF4-FFF2-40B4-BE49-F238E27FC236}">
                  <a16:creationId xmlns:a16="http://schemas.microsoft.com/office/drawing/2014/main" id="{2FDE4CE9-8699-A182-6E5A-EB9C6EAD9157}"/>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6" name="Group 42">
              <a:extLst>
                <a:ext uri="{FF2B5EF4-FFF2-40B4-BE49-F238E27FC236}">
                  <a16:creationId xmlns:a16="http://schemas.microsoft.com/office/drawing/2014/main" id="{537A5FDD-B779-CE83-F62A-5E33576314A0}"/>
                </a:ext>
              </a:extLst>
            </p:cNvPr>
            <p:cNvGrpSpPr/>
            <p:nvPr/>
          </p:nvGrpSpPr>
          <p:grpSpPr>
            <a:xfrm>
              <a:off x="7191545" y="0"/>
              <a:ext cx="5000460" cy="1425988"/>
              <a:chOff x="7191545" y="0"/>
              <a:chExt cx="5000460" cy="1425988"/>
            </a:xfrm>
          </p:grpSpPr>
          <p:sp>
            <p:nvSpPr>
              <p:cNvPr id="7" name="Freeform 41">
                <a:extLst>
                  <a:ext uri="{FF2B5EF4-FFF2-40B4-BE49-F238E27FC236}">
                    <a16:creationId xmlns:a16="http://schemas.microsoft.com/office/drawing/2014/main" id="{19F83275-68C7-FC0B-DDEE-577985081B00}"/>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8" name="Freeform 39">
                <a:extLst>
                  <a:ext uri="{FF2B5EF4-FFF2-40B4-BE49-F238E27FC236}">
                    <a16:creationId xmlns:a16="http://schemas.microsoft.com/office/drawing/2014/main" id="{B3BD5254-271F-E1F1-403E-02C15A882B58}"/>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9" name="Content Placeholder 3">
            <a:extLst>
              <a:ext uri="{FF2B5EF4-FFF2-40B4-BE49-F238E27FC236}">
                <a16:creationId xmlns:a16="http://schemas.microsoft.com/office/drawing/2014/main" id="{EEB8D500-DDDA-0352-BA3B-1CEBE63142AB}"/>
              </a:ext>
            </a:extLst>
          </p:cNvPr>
          <p:cNvSpPr txBox="1">
            <a:spLocks noGrp="1"/>
          </p:cNvSpPr>
          <p:nvPr>
            <p:ph idx="2"/>
          </p:nvPr>
        </p:nvSpPr>
        <p:spPr>
          <a:xfrm>
            <a:off x="6172201" y="1825627"/>
            <a:ext cx="5410203" cy="4351336"/>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7">
            <a:extLst>
              <a:ext uri="{FF2B5EF4-FFF2-40B4-BE49-F238E27FC236}">
                <a16:creationId xmlns:a16="http://schemas.microsoft.com/office/drawing/2014/main" id="{96E8D5E7-29E9-F550-9AFD-7C7DE341726A}"/>
              </a:ext>
            </a:extLst>
          </p:cNvPr>
          <p:cNvSpPr txBox="1">
            <a:spLocks noGrp="1"/>
          </p:cNvSpPr>
          <p:nvPr>
            <p:ph type="sldNum" sz="quarter" idx="8"/>
          </p:nvPr>
        </p:nvSpPr>
        <p:spPr>
          <a:xfrm>
            <a:off x="8839193" y="6356352"/>
            <a:ext cx="2743200" cy="365129"/>
          </a:xfrm>
        </p:spPr>
        <p:txBody>
          <a:bodyPr/>
          <a:lstStyle>
            <a:lvl1pPr>
              <a:defRPr/>
            </a:lvl1pPr>
          </a:lstStyle>
          <a:p>
            <a:pPr lvl="0"/>
            <a:fld id="{D796F944-30EF-41CB-AC19-BB1A53B5C94B}" type="slidenum">
              <a:t>‹#›</a:t>
            </a:fld>
            <a:endParaRPr lang="en-US"/>
          </a:p>
        </p:txBody>
      </p:sp>
      <p:cxnSp>
        <p:nvCxnSpPr>
          <p:cNvPr id="11" name="Straight Connector 6">
            <a:extLst>
              <a:ext uri="{FF2B5EF4-FFF2-40B4-BE49-F238E27FC236}">
                <a16:creationId xmlns:a16="http://schemas.microsoft.com/office/drawing/2014/main" id="{652FF63D-D104-B70F-09CB-1FC31CA89316}"/>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2" name="Footer Placeholder 4">
            <a:extLst>
              <a:ext uri="{FF2B5EF4-FFF2-40B4-BE49-F238E27FC236}">
                <a16:creationId xmlns:a16="http://schemas.microsoft.com/office/drawing/2014/main" id="{6A3419E9-954C-052E-0E3E-35D6E99AE4FD}"/>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986849951"/>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 name="Group 24">
            <a:extLst>
              <a:ext uri="{FF2B5EF4-FFF2-40B4-BE49-F238E27FC236}">
                <a16:creationId xmlns:a16="http://schemas.microsoft.com/office/drawing/2014/main" id="{69C5029B-40E2-665D-8CDB-B179C0755C98}"/>
              </a:ext>
            </a:extLst>
          </p:cNvPr>
          <p:cNvGrpSpPr/>
          <p:nvPr/>
        </p:nvGrpSpPr>
        <p:grpSpPr>
          <a:xfrm>
            <a:off x="7191545" y="0"/>
            <a:ext cx="5000460" cy="1425988"/>
            <a:chOff x="7191545" y="0"/>
            <a:chExt cx="5000460" cy="1425988"/>
          </a:xfrm>
        </p:grpSpPr>
        <p:pic>
          <p:nvPicPr>
            <p:cNvPr id="3" name="Picture 25">
              <a:extLst>
                <a:ext uri="{FF2B5EF4-FFF2-40B4-BE49-F238E27FC236}">
                  <a16:creationId xmlns:a16="http://schemas.microsoft.com/office/drawing/2014/main" id="{D682F2D1-9EAC-C402-3240-31648D701B60}"/>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26">
              <a:extLst>
                <a:ext uri="{FF2B5EF4-FFF2-40B4-BE49-F238E27FC236}">
                  <a16:creationId xmlns:a16="http://schemas.microsoft.com/office/drawing/2014/main" id="{C8CD19F3-E1DE-BA14-6C04-96BA38DDB7BE}"/>
                </a:ext>
              </a:extLst>
            </p:cNvPr>
            <p:cNvGrpSpPr/>
            <p:nvPr/>
          </p:nvGrpSpPr>
          <p:grpSpPr>
            <a:xfrm>
              <a:off x="7191545" y="0"/>
              <a:ext cx="5000460" cy="1425988"/>
              <a:chOff x="7191545" y="0"/>
              <a:chExt cx="5000460" cy="1425988"/>
            </a:xfrm>
          </p:grpSpPr>
          <p:sp>
            <p:nvSpPr>
              <p:cNvPr id="5" name="Freeform 27">
                <a:extLst>
                  <a:ext uri="{FF2B5EF4-FFF2-40B4-BE49-F238E27FC236}">
                    <a16:creationId xmlns:a16="http://schemas.microsoft.com/office/drawing/2014/main" id="{C4B6FE84-A911-9C43-86E4-C959FCD6FEA4}"/>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28">
                <a:extLst>
                  <a:ext uri="{FF2B5EF4-FFF2-40B4-BE49-F238E27FC236}">
                    <a16:creationId xmlns:a16="http://schemas.microsoft.com/office/drawing/2014/main" id="{25D79423-CFD5-83BA-CD0D-A55C155D2961}"/>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A8FBA5CB-E25B-FF8F-FA47-DA34C5AE391D}"/>
              </a:ext>
            </a:extLst>
          </p:cNvPr>
          <p:cNvSpPr txBox="1">
            <a:spLocks noGrp="1"/>
          </p:cNvSpPr>
          <p:nvPr>
            <p:ph type="title"/>
          </p:nvPr>
        </p:nvSpPr>
        <p:spPr/>
        <p:txBody>
          <a:bodyPr/>
          <a:lstStyle>
            <a:lvl1pPr>
              <a:defRPr/>
            </a:lvl1pPr>
          </a:lstStyle>
          <a:p>
            <a:pPr lvl="0"/>
            <a:r>
              <a:rPr lang="en-US"/>
              <a:t>Click to edit Master title style</a:t>
            </a:r>
          </a:p>
        </p:txBody>
      </p:sp>
      <p:sp>
        <p:nvSpPr>
          <p:cNvPr id="8" name="Text Placeholder 2">
            <a:extLst>
              <a:ext uri="{FF2B5EF4-FFF2-40B4-BE49-F238E27FC236}">
                <a16:creationId xmlns:a16="http://schemas.microsoft.com/office/drawing/2014/main" id="{C720C7DE-CD14-58BA-6E68-F6DF1AFFDF93}"/>
              </a:ext>
            </a:extLst>
          </p:cNvPr>
          <p:cNvSpPr txBox="1">
            <a:spLocks noGrp="1"/>
          </p:cNvSpPr>
          <p:nvPr>
            <p:ph type="body" idx="1"/>
          </p:nvPr>
        </p:nvSpPr>
        <p:spPr>
          <a:xfrm>
            <a:off x="609604" y="1681160"/>
            <a:ext cx="5387973" cy="823910"/>
          </a:xfrm>
          <a:solidFill>
            <a:srgbClr val="F3F6FB"/>
          </a:solidFill>
        </p:spPr>
        <p:txBody>
          <a:bodyPr lIns="182880" tIns="0" rIns="182880" bIns="0" anchor="ctr"/>
          <a:lstStyle>
            <a:lvl1pPr marL="0" indent="0">
              <a:buNone/>
              <a:defRPr u="sng">
                <a:uFill>
                  <a:solidFill>
                    <a:srgbClr val="F58366"/>
                  </a:solidFill>
                </a:uFill>
              </a:defRPr>
            </a:lvl1pPr>
          </a:lstStyle>
          <a:p>
            <a:pPr lvl="0"/>
            <a:r>
              <a:rPr lang="en-US"/>
              <a:t>Click to edit Master text styles</a:t>
            </a:r>
          </a:p>
        </p:txBody>
      </p:sp>
      <p:sp>
        <p:nvSpPr>
          <p:cNvPr id="9" name="Content Placeholder 3">
            <a:extLst>
              <a:ext uri="{FF2B5EF4-FFF2-40B4-BE49-F238E27FC236}">
                <a16:creationId xmlns:a16="http://schemas.microsoft.com/office/drawing/2014/main" id="{94524775-40AE-2B57-6B65-1D68125A7877}"/>
              </a:ext>
            </a:extLst>
          </p:cNvPr>
          <p:cNvSpPr txBox="1">
            <a:spLocks noGrp="1"/>
          </p:cNvSpPr>
          <p:nvPr>
            <p:ph idx="2"/>
          </p:nvPr>
        </p:nvSpPr>
        <p:spPr>
          <a:xfrm>
            <a:off x="609604" y="2505072"/>
            <a:ext cx="5387973" cy="3684583"/>
          </a:xfrm>
          <a:solidFill>
            <a:srgbClr val="F3F6FB"/>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E7C74ADB-1BEB-CF18-F695-59C98301010D}"/>
              </a:ext>
            </a:extLst>
          </p:cNvPr>
          <p:cNvSpPr txBox="1">
            <a:spLocks noGrp="1"/>
          </p:cNvSpPr>
          <p:nvPr>
            <p:ph type="body" idx="3"/>
          </p:nvPr>
        </p:nvSpPr>
        <p:spPr>
          <a:xfrm>
            <a:off x="6172201" y="1681160"/>
            <a:ext cx="5410203" cy="823910"/>
          </a:xfrm>
          <a:solidFill>
            <a:srgbClr val="F3F6FB"/>
          </a:solidFill>
        </p:spPr>
        <p:txBody>
          <a:bodyPr lIns="182880" tIns="0" rIns="182880" bIns="0" anchor="ctr"/>
          <a:lstStyle>
            <a:lvl1pPr marL="0" indent="0">
              <a:buNone/>
              <a:defRPr u="sng">
                <a:uFill>
                  <a:solidFill>
                    <a:srgbClr val="F58366"/>
                  </a:solidFill>
                </a:uFill>
              </a:defRPr>
            </a:lvl1pPr>
          </a:lstStyle>
          <a:p>
            <a:pPr lvl="0"/>
            <a:r>
              <a:rPr lang="en-US"/>
              <a:t>Click to edit Master text styles</a:t>
            </a:r>
          </a:p>
        </p:txBody>
      </p:sp>
      <p:sp>
        <p:nvSpPr>
          <p:cNvPr id="11" name="Content Placeholder 5">
            <a:extLst>
              <a:ext uri="{FF2B5EF4-FFF2-40B4-BE49-F238E27FC236}">
                <a16:creationId xmlns:a16="http://schemas.microsoft.com/office/drawing/2014/main" id="{7D3FA9BB-2ABD-92B8-B0C8-782D19362BA8}"/>
              </a:ext>
            </a:extLst>
          </p:cNvPr>
          <p:cNvSpPr txBox="1">
            <a:spLocks noGrp="1"/>
          </p:cNvSpPr>
          <p:nvPr>
            <p:ph idx="4"/>
          </p:nvPr>
        </p:nvSpPr>
        <p:spPr>
          <a:xfrm>
            <a:off x="6172201" y="2505072"/>
            <a:ext cx="5410203" cy="3684583"/>
          </a:xfrm>
          <a:solidFill>
            <a:srgbClr val="F3F6FB"/>
          </a:solidFill>
        </p:spPr>
        <p:txBody>
          <a:bodyPr lIns="182880" tIns="0" rIns="182880" bIns="0"/>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9">
            <a:extLst>
              <a:ext uri="{FF2B5EF4-FFF2-40B4-BE49-F238E27FC236}">
                <a16:creationId xmlns:a16="http://schemas.microsoft.com/office/drawing/2014/main" id="{7E31ED45-09CE-BACE-E2F8-9CA3E1B2562F}"/>
              </a:ext>
            </a:extLst>
          </p:cNvPr>
          <p:cNvSpPr txBox="1">
            <a:spLocks noGrp="1"/>
          </p:cNvSpPr>
          <p:nvPr>
            <p:ph type="sldNum" sz="quarter" idx="8"/>
          </p:nvPr>
        </p:nvSpPr>
        <p:spPr/>
        <p:txBody>
          <a:bodyPr/>
          <a:lstStyle>
            <a:lvl1pPr>
              <a:defRPr/>
            </a:lvl1pPr>
          </a:lstStyle>
          <a:p>
            <a:pPr lvl="0"/>
            <a:fld id="{DC009D4C-3B4C-49F1-BD64-33CE197B2063}" type="slidenum">
              <a:t>‹#›</a:t>
            </a:fld>
            <a:endParaRPr lang="en-US"/>
          </a:p>
        </p:txBody>
      </p:sp>
      <p:cxnSp>
        <p:nvCxnSpPr>
          <p:cNvPr id="13" name="Straight Connector 8">
            <a:extLst>
              <a:ext uri="{FF2B5EF4-FFF2-40B4-BE49-F238E27FC236}">
                <a16:creationId xmlns:a16="http://schemas.microsoft.com/office/drawing/2014/main" id="{5838E48B-5D4C-02F4-E8FF-8254DBC0C7A2}"/>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4" name="Footer Placeholder 7">
            <a:extLst>
              <a:ext uri="{FF2B5EF4-FFF2-40B4-BE49-F238E27FC236}">
                <a16:creationId xmlns:a16="http://schemas.microsoft.com/office/drawing/2014/main" id="{9842B240-D2FD-19E5-F0C8-CB885C058DF6}"/>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550015724"/>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 name="Group 21">
            <a:extLst>
              <a:ext uri="{FF2B5EF4-FFF2-40B4-BE49-F238E27FC236}">
                <a16:creationId xmlns:a16="http://schemas.microsoft.com/office/drawing/2014/main" id="{2792F57A-4554-99B4-7DE4-5DB267CE8D20}"/>
              </a:ext>
            </a:extLst>
          </p:cNvPr>
          <p:cNvGrpSpPr/>
          <p:nvPr/>
        </p:nvGrpSpPr>
        <p:grpSpPr>
          <a:xfrm>
            <a:off x="7191545" y="0"/>
            <a:ext cx="5000460" cy="1425988"/>
            <a:chOff x="7191545" y="0"/>
            <a:chExt cx="5000460" cy="1425988"/>
          </a:xfrm>
        </p:grpSpPr>
        <p:pic>
          <p:nvPicPr>
            <p:cNvPr id="3" name="Picture 22">
              <a:extLst>
                <a:ext uri="{FF2B5EF4-FFF2-40B4-BE49-F238E27FC236}">
                  <a16:creationId xmlns:a16="http://schemas.microsoft.com/office/drawing/2014/main" id="{959D7BE0-57C9-8CF5-EEC3-6CEF31F2C71D}"/>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23">
              <a:extLst>
                <a:ext uri="{FF2B5EF4-FFF2-40B4-BE49-F238E27FC236}">
                  <a16:creationId xmlns:a16="http://schemas.microsoft.com/office/drawing/2014/main" id="{1E16F594-E2EE-5149-87A9-E6E094037CF7}"/>
                </a:ext>
              </a:extLst>
            </p:cNvPr>
            <p:cNvGrpSpPr/>
            <p:nvPr/>
          </p:nvGrpSpPr>
          <p:grpSpPr>
            <a:xfrm>
              <a:off x="7191545" y="0"/>
              <a:ext cx="5000460" cy="1425988"/>
              <a:chOff x="7191545" y="0"/>
              <a:chExt cx="5000460" cy="1425988"/>
            </a:xfrm>
          </p:grpSpPr>
          <p:sp>
            <p:nvSpPr>
              <p:cNvPr id="5" name="Freeform 24">
                <a:extLst>
                  <a:ext uri="{FF2B5EF4-FFF2-40B4-BE49-F238E27FC236}">
                    <a16:creationId xmlns:a16="http://schemas.microsoft.com/office/drawing/2014/main" id="{ACA32B10-1746-27E1-135D-58085022DEC6}"/>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25">
                <a:extLst>
                  <a:ext uri="{FF2B5EF4-FFF2-40B4-BE49-F238E27FC236}">
                    <a16:creationId xmlns:a16="http://schemas.microsoft.com/office/drawing/2014/main" id="{9D88D184-2464-7EC5-22B9-49FF6489730A}"/>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B7539130-09EE-A0A7-EDC8-BD2F9E1F9EED}"/>
              </a:ext>
            </a:extLst>
          </p:cNvPr>
          <p:cNvSpPr txBox="1">
            <a:spLocks noGrp="1"/>
          </p:cNvSpPr>
          <p:nvPr>
            <p:ph type="title"/>
          </p:nvPr>
        </p:nvSpPr>
        <p:spPr/>
        <p:txBody>
          <a:bodyPr/>
          <a:lstStyle>
            <a:lvl1pPr>
              <a:defRPr/>
            </a:lvl1pPr>
          </a:lstStyle>
          <a:p>
            <a:pPr lvl="0"/>
            <a:r>
              <a:rPr lang="en-US"/>
              <a:t>Click to edit Master title style</a:t>
            </a:r>
          </a:p>
        </p:txBody>
      </p:sp>
      <p:sp>
        <p:nvSpPr>
          <p:cNvPr id="8" name="Slide Number Placeholder 5">
            <a:extLst>
              <a:ext uri="{FF2B5EF4-FFF2-40B4-BE49-F238E27FC236}">
                <a16:creationId xmlns:a16="http://schemas.microsoft.com/office/drawing/2014/main" id="{514B5356-6478-ADAB-18FA-E56FEC28C32B}"/>
              </a:ext>
            </a:extLst>
          </p:cNvPr>
          <p:cNvSpPr txBox="1">
            <a:spLocks noGrp="1"/>
          </p:cNvSpPr>
          <p:nvPr>
            <p:ph type="sldNum" sz="quarter" idx="8"/>
          </p:nvPr>
        </p:nvSpPr>
        <p:spPr/>
        <p:txBody>
          <a:bodyPr/>
          <a:lstStyle>
            <a:lvl1pPr>
              <a:defRPr/>
            </a:lvl1pPr>
          </a:lstStyle>
          <a:p>
            <a:pPr lvl="0"/>
            <a:fld id="{D7FB1E0F-D261-40CB-807B-9A98CAE02FDC}" type="slidenum">
              <a:t>‹#›</a:t>
            </a:fld>
            <a:endParaRPr lang="en-US"/>
          </a:p>
        </p:txBody>
      </p:sp>
      <p:cxnSp>
        <p:nvCxnSpPr>
          <p:cNvPr id="9" name="Straight Connector 6">
            <a:extLst>
              <a:ext uri="{FF2B5EF4-FFF2-40B4-BE49-F238E27FC236}">
                <a16:creationId xmlns:a16="http://schemas.microsoft.com/office/drawing/2014/main" id="{19028126-C4D7-8611-17BD-C386F88E5CC7}"/>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0" name="Footer Placeholder 2">
            <a:extLst>
              <a:ext uri="{FF2B5EF4-FFF2-40B4-BE49-F238E27FC236}">
                <a16:creationId xmlns:a16="http://schemas.microsoft.com/office/drawing/2014/main" id="{062FED30-EBCB-380C-0155-3404768839B6}"/>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3635985247"/>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p:cSld name="17_End">
    <p:spTree>
      <p:nvGrpSpPr>
        <p:cNvPr id="1" name=""/>
        <p:cNvGrpSpPr/>
        <p:nvPr/>
      </p:nvGrpSpPr>
      <p:grpSpPr>
        <a:xfrm>
          <a:off x="0" y="0"/>
          <a:ext cx="0" cy="0"/>
          <a:chOff x="0" y="0"/>
          <a:chExt cx="0" cy="0"/>
        </a:xfrm>
      </p:grpSpPr>
      <p:grpSp>
        <p:nvGrpSpPr>
          <p:cNvPr id="2" name="Group 41">
            <a:extLst>
              <a:ext uri="{FF2B5EF4-FFF2-40B4-BE49-F238E27FC236}">
                <a16:creationId xmlns:a16="http://schemas.microsoft.com/office/drawing/2014/main" id="{E7B22ED6-FEFD-9D29-9A6C-4407E4850DB8}"/>
              </a:ext>
            </a:extLst>
          </p:cNvPr>
          <p:cNvGrpSpPr/>
          <p:nvPr/>
        </p:nvGrpSpPr>
        <p:grpSpPr>
          <a:xfrm>
            <a:off x="0" y="0"/>
            <a:ext cx="12191996" cy="2148830"/>
            <a:chOff x="0" y="0"/>
            <a:chExt cx="12191996" cy="2148830"/>
          </a:xfrm>
        </p:grpSpPr>
        <p:sp>
          <p:nvSpPr>
            <p:cNvPr id="3" name="Freeform 40">
              <a:extLst>
                <a:ext uri="{FF2B5EF4-FFF2-40B4-BE49-F238E27FC236}">
                  <a16:creationId xmlns:a16="http://schemas.microsoft.com/office/drawing/2014/main" id="{1FB4907B-9D30-1CC8-EF61-FEF704DE86A2}"/>
                </a:ext>
              </a:extLst>
            </p:cNvPr>
            <p:cNvSpPr/>
            <p:nvPr/>
          </p:nvSpPr>
          <p:spPr>
            <a:xfrm flipH="1">
              <a:off x="0" y="0"/>
              <a:ext cx="12191996" cy="2148830"/>
            </a:xfrm>
            <a:custGeom>
              <a:avLst/>
              <a:gdLst>
                <a:gd name="f0" fmla="val 10800000"/>
                <a:gd name="f1" fmla="val 5400000"/>
                <a:gd name="f2" fmla="val 180"/>
                <a:gd name="f3" fmla="val w"/>
                <a:gd name="f4" fmla="val h"/>
                <a:gd name="f5" fmla="val 0"/>
                <a:gd name="f6" fmla="val 12192000"/>
                <a:gd name="f7" fmla="val 2148830"/>
                <a:gd name="f8" fmla="val 2318293"/>
                <a:gd name="f9" fmla="val 2110341"/>
                <a:gd name="f10" fmla="val 1952334"/>
                <a:gd name="f11" fmla="val 920"/>
                <a:gd name="f12" fmla="val 1343499"/>
                <a:gd name="f13" fmla="val 23864"/>
                <a:gd name="f14" fmla="val 752130"/>
                <a:gd name="f15" fmla="val 152982"/>
                <a:gd name="f16" fmla="val 184205"/>
                <a:gd name="f17" fmla="val 435928"/>
                <a:gd name="f18" fmla="val 536864"/>
                <a:gd name="f19" fmla="val 554713"/>
                <a:gd name="f20" fmla="val 201115"/>
                <a:gd name="f21" fmla="val 452796"/>
                <a:gd name="f22" fmla="val 776357"/>
                <a:gd name="f23" fmla="val 187336"/>
                <a:gd name="f24" fmla="val 1349828"/>
                <a:gd name="f25" fmla="val 76760"/>
                <a:gd name="f26" fmla="val 1947588"/>
                <a:gd name="f27" fmla="val 66249"/>
                <a:gd name="f28" fmla="val 2962940"/>
                <a:gd name="f29" fmla="val 48421"/>
                <a:gd name="f30" fmla="val 3890218"/>
                <a:gd name="f31" fmla="val 291317"/>
                <a:gd name="f32" fmla="val 4778140"/>
                <a:gd name="f33" fmla="val 604018"/>
                <a:gd name="f34" fmla="val 7231510"/>
                <a:gd name="f35" fmla="val 1468126"/>
                <a:gd name="f36" fmla="val 9178927"/>
                <a:gd name="f37" fmla="val 2492024"/>
                <a:gd name="f38" fmla="val 11996242"/>
                <a:gd name="f39" fmla="val 2036894"/>
                <a:gd name="f40" fmla="val 2002266"/>
                <a:gd name="f41" fmla="val 1415250"/>
                <a:gd name="f42" fmla="val 12022971"/>
                <a:gd name="f43" fmla="val 1470801"/>
                <a:gd name="f44" fmla="val 10719696"/>
                <a:gd name="f45" fmla="val 1863939"/>
                <a:gd name="f46" fmla="val 9271154"/>
                <a:gd name="f47" fmla="val 1783804"/>
                <a:gd name="f48" fmla="val 7970940"/>
                <a:gd name="f49" fmla="val 1436986"/>
                <a:gd name="f50" fmla="val 6890984"/>
                <a:gd name="f51" fmla="val 1148958"/>
                <a:gd name="f52" fmla="val 5866930"/>
                <a:gd name="f53" fmla="val 767309"/>
                <a:gd name="f54" fmla="val 4800356"/>
                <a:gd name="f55" fmla="val 456582"/>
                <a:gd name="f56" fmla="val 4068903"/>
                <a:gd name="f57" fmla="val 243471"/>
                <a:gd name="f58" fmla="val 3348204"/>
                <a:gd name="f59" fmla="val 74251"/>
                <a:gd name="f60" fmla="val 2646880"/>
                <a:gd name="f61" fmla="val 17560"/>
                <a:gd name="f62" fmla="+- 0 0 -90"/>
                <a:gd name="f63" fmla="*/ f3 1 12192000"/>
                <a:gd name="f64" fmla="*/ f4 1 2148830"/>
                <a:gd name="f65" fmla="+- f7 0 f5"/>
                <a:gd name="f66" fmla="+- f6 0 f5"/>
                <a:gd name="f67" fmla="*/ f62 f0 1"/>
                <a:gd name="f68" fmla="*/ f66 1 12192000"/>
                <a:gd name="f69" fmla="*/ f65 1 2148830"/>
                <a:gd name="f70" fmla="*/ 2318293 f66 1"/>
                <a:gd name="f71" fmla="*/ 0 f65 1"/>
                <a:gd name="f72" fmla="*/ 2110341 f66 1"/>
                <a:gd name="f73" fmla="*/ 1952334 f66 1"/>
                <a:gd name="f74" fmla="*/ 920 f65 1"/>
                <a:gd name="f75" fmla="*/ 184205 f66 1"/>
                <a:gd name="f76" fmla="*/ 435928 f65 1"/>
                <a:gd name="f77" fmla="*/ 0 f66 1"/>
                <a:gd name="f78" fmla="*/ 536864 f65 1"/>
                <a:gd name="f79" fmla="*/ 554713 f65 1"/>
                <a:gd name="f80" fmla="*/ 201115 f66 1"/>
                <a:gd name="f81" fmla="*/ 452796 f65 1"/>
                <a:gd name="f82" fmla="*/ 1947588 f66 1"/>
                <a:gd name="f83" fmla="*/ 66249 f65 1"/>
                <a:gd name="f84" fmla="*/ 4778140 f66 1"/>
                <a:gd name="f85" fmla="*/ 604018 f65 1"/>
                <a:gd name="f86" fmla="*/ 11996242 f66 1"/>
                <a:gd name="f87" fmla="*/ 2036894 f65 1"/>
                <a:gd name="f88" fmla="*/ 12192000 f66 1"/>
                <a:gd name="f89" fmla="*/ 2002266 f65 1"/>
                <a:gd name="f90" fmla="*/ 1415250 f65 1"/>
                <a:gd name="f91" fmla="*/ 12022971 f66 1"/>
                <a:gd name="f92" fmla="*/ 1470801 f65 1"/>
                <a:gd name="f93" fmla="*/ 7970940 f66 1"/>
                <a:gd name="f94" fmla="*/ 1436986 f65 1"/>
                <a:gd name="f95" fmla="*/ 4800356 f66 1"/>
                <a:gd name="f96" fmla="*/ 456582 f65 1"/>
                <a:gd name="f97" fmla="*/ 2646880 f66 1"/>
                <a:gd name="f98" fmla="*/ 17560 f65 1"/>
                <a:gd name="f99" fmla="*/ f67 1 f2"/>
                <a:gd name="f100" fmla="*/ f70 1 12192000"/>
                <a:gd name="f101" fmla="*/ f71 1 2148830"/>
                <a:gd name="f102" fmla="*/ f72 1 12192000"/>
                <a:gd name="f103" fmla="*/ f73 1 12192000"/>
                <a:gd name="f104" fmla="*/ f74 1 2148830"/>
                <a:gd name="f105" fmla="*/ f75 1 12192000"/>
                <a:gd name="f106" fmla="*/ f76 1 2148830"/>
                <a:gd name="f107" fmla="*/ f77 1 12192000"/>
                <a:gd name="f108" fmla="*/ f78 1 2148830"/>
                <a:gd name="f109" fmla="*/ f79 1 2148830"/>
                <a:gd name="f110" fmla="*/ f80 1 12192000"/>
                <a:gd name="f111" fmla="*/ f81 1 2148830"/>
                <a:gd name="f112" fmla="*/ f82 1 12192000"/>
                <a:gd name="f113" fmla="*/ f83 1 2148830"/>
                <a:gd name="f114" fmla="*/ f84 1 12192000"/>
                <a:gd name="f115" fmla="*/ f85 1 2148830"/>
                <a:gd name="f116" fmla="*/ f86 1 12192000"/>
                <a:gd name="f117" fmla="*/ f87 1 2148830"/>
                <a:gd name="f118" fmla="*/ f88 1 12192000"/>
                <a:gd name="f119" fmla="*/ f89 1 2148830"/>
                <a:gd name="f120" fmla="*/ f90 1 2148830"/>
                <a:gd name="f121" fmla="*/ f91 1 12192000"/>
                <a:gd name="f122" fmla="*/ f92 1 2148830"/>
                <a:gd name="f123" fmla="*/ f93 1 12192000"/>
                <a:gd name="f124" fmla="*/ f94 1 2148830"/>
                <a:gd name="f125" fmla="*/ f95 1 12192000"/>
                <a:gd name="f126" fmla="*/ f96 1 2148830"/>
                <a:gd name="f127" fmla="*/ f97 1 12192000"/>
                <a:gd name="f128" fmla="*/ f98 1 2148830"/>
                <a:gd name="f129" fmla="*/ f5 1 f68"/>
                <a:gd name="f130" fmla="*/ f6 1 f68"/>
                <a:gd name="f131" fmla="*/ f5 1 f69"/>
                <a:gd name="f132" fmla="*/ f7 1 f69"/>
                <a:gd name="f133" fmla="+- f99 0 f1"/>
                <a:gd name="f134" fmla="*/ f100 1 f68"/>
                <a:gd name="f135" fmla="*/ f101 1 f69"/>
                <a:gd name="f136" fmla="*/ f102 1 f68"/>
                <a:gd name="f137" fmla="*/ f103 1 f68"/>
                <a:gd name="f138" fmla="*/ f104 1 f69"/>
                <a:gd name="f139" fmla="*/ f105 1 f68"/>
                <a:gd name="f140" fmla="*/ f106 1 f69"/>
                <a:gd name="f141" fmla="*/ f107 1 f68"/>
                <a:gd name="f142" fmla="*/ f108 1 f69"/>
                <a:gd name="f143" fmla="*/ f109 1 f69"/>
                <a:gd name="f144" fmla="*/ f110 1 f68"/>
                <a:gd name="f145" fmla="*/ f111 1 f69"/>
                <a:gd name="f146" fmla="*/ f112 1 f68"/>
                <a:gd name="f147" fmla="*/ f113 1 f69"/>
                <a:gd name="f148" fmla="*/ f114 1 f68"/>
                <a:gd name="f149" fmla="*/ f115 1 f69"/>
                <a:gd name="f150" fmla="*/ f116 1 f68"/>
                <a:gd name="f151" fmla="*/ f117 1 f69"/>
                <a:gd name="f152" fmla="*/ f118 1 f68"/>
                <a:gd name="f153" fmla="*/ f119 1 f69"/>
                <a:gd name="f154" fmla="*/ f120 1 f69"/>
                <a:gd name="f155" fmla="*/ f121 1 f68"/>
                <a:gd name="f156" fmla="*/ f122 1 f69"/>
                <a:gd name="f157" fmla="*/ f123 1 f68"/>
                <a:gd name="f158" fmla="*/ f124 1 f69"/>
                <a:gd name="f159" fmla="*/ f125 1 f68"/>
                <a:gd name="f160" fmla="*/ f126 1 f69"/>
                <a:gd name="f161" fmla="*/ f127 1 f68"/>
                <a:gd name="f162" fmla="*/ f128 1 f69"/>
                <a:gd name="f163" fmla="*/ f129 f63 1"/>
                <a:gd name="f164" fmla="*/ f130 f63 1"/>
                <a:gd name="f165" fmla="*/ f132 f64 1"/>
                <a:gd name="f166" fmla="*/ f131 f64 1"/>
                <a:gd name="f167" fmla="*/ f134 f63 1"/>
                <a:gd name="f168" fmla="*/ f135 f64 1"/>
                <a:gd name="f169" fmla="*/ f136 f63 1"/>
                <a:gd name="f170" fmla="*/ f137 f63 1"/>
                <a:gd name="f171" fmla="*/ f138 f64 1"/>
                <a:gd name="f172" fmla="*/ f139 f63 1"/>
                <a:gd name="f173" fmla="*/ f140 f64 1"/>
                <a:gd name="f174" fmla="*/ f141 f63 1"/>
                <a:gd name="f175" fmla="*/ f142 f64 1"/>
                <a:gd name="f176" fmla="*/ f143 f64 1"/>
                <a:gd name="f177" fmla="*/ f144 f63 1"/>
                <a:gd name="f178" fmla="*/ f145 f64 1"/>
                <a:gd name="f179" fmla="*/ f146 f63 1"/>
                <a:gd name="f180" fmla="*/ f147 f64 1"/>
                <a:gd name="f181" fmla="*/ f148 f63 1"/>
                <a:gd name="f182" fmla="*/ f149 f64 1"/>
                <a:gd name="f183" fmla="*/ f150 f63 1"/>
                <a:gd name="f184" fmla="*/ f151 f64 1"/>
                <a:gd name="f185" fmla="*/ f152 f63 1"/>
                <a:gd name="f186" fmla="*/ f153 f64 1"/>
                <a:gd name="f187" fmla="*/ f154 f64 1"/>
                <a:gd name="f188" fmla="*/ f155 f63 1"/>
                <a:gd name="f189" fmla="*/ f156 f64 1"/>
                <a:gd name="f190" fmla="*/ f157 f63 1"/>
                <a:gd name="f191" fmla="*/ f158 f64 1"/>
                <a:gd name="f192" fmla="*/ f159 f63 1"/>
                <a:gd name="f193" fmla="*/ f160 f64 1"/>
                <a:gd name="f194" fmla="*/ f161 f63 1"/>
                <a:gd name="f195" fmla="*/ f162 f64 1"/>
              </a:gdLst>
              <a:ahLst/>
              <a:cxnLst>
                <a:cxn ang="3cd4">
                  <a:pos x="hc" y="t"/>
                </a:cxn>
                <a:cxn ang="0">
                  <a:pos x="r" y="vc"/>
                </a:cxn>
                <a:cxn ang="cd4">
                  <a:pos x="hc" y="b"/>
                </a:cxn>
                <a:cxn ang="cd2">
                  <a:pos x="l" y="vc"/>
                </a:cxn>
                <a:cxn ang="f133">
                  <a:pos x="f167" y="f168"/>
                </a:cxn>
                <a:cxn ang="f133">
                  <a:pos x="f169" y="f168"/>
                </a:cxn>
                <a:cxn ang="f133">
                  <a:pos x="f170" y="f171"/>
                </a:cxn>
                <a:cxn ang="f133">
                  <a:pos x="f172" y="f173"/>
                </a:cxn>
                <a:cxn ang="f133">
                  <a:pos x="f174" y="f175"/>
                </a:cxn>
                <a:cxn ang="f133">
                  <a:pos x="f174" y="f176"/>
                </a:cxn>
                <a:cxn ang="f133">
                  <a:pos x="f177" y="f178"/>
                </a:cxn>
                <a:cxn ang="f133">
                  <a:pos x="f179" y="f180"/>
                </a:cxn>
                <a:cxn ang="f133">
                  <a:pos x="f181" y="f182"/>
                </a:cxn>
                <a:cxn ang="f133">
                  <a:pos x="f183" y="f184"/>
                </a:cxn>
                <a:cxn ang="f133">
                  <a:pos x="f185" y="f186"/>
                </a:cxn>
                <a:cxn ang="f133">
                  <a:pos x="f185" y="f187"/>
                </a:cxn>
                <a:cxn ang="f133">
                  <a:pos x="f188" y="f189"/>
                </a:cxn>
                <a:cxn ang="f133">
                  <a:pos x="f190" y="f191"/>
                </a:cxn>
                <a:cxn ang="f133">
                  <a:pos x="f192" y="f193"/>
                </a:cxn>
                <a:cxn ang="f133">
                  <a:pos x="f194" y="f195"/>
                </a:cxn>
              </a:cxnLst>
              <a:rect l="f163" t="f166" r="f164" b="f165"/>
              <a:pathLst>
                <a:path w="12192000" h="2148830">
                  <a:moveTo>
                    <a:pt x="f8" y="f5"/>
                  </a:moveTo>
                  <a:lnTo>
                    <a:pt x="f9" y="f5"/>
                  </a:lnTo>
                  <a:lnTo>
                    <a:pt x="f10" y="f11"/>
                  </a:lnTo>
                  <a:cubicBezTo>
                    <a:pt x="f12" y="f13"/>
                    <a:pt x="f14" y="f15"/>
                    <a:pt x="f16" y="f17"/>
                  </a:cubicBezTo>
                  <a:lnTo>
                    <a:pt x="f5" y="f18"/>
                  </a:lnTo>
                  <a:lnTo>
                    <a:pt x="f5" y="f19"/>
                  </a:lnTo>
                  <a:lnTo>
                    <a:pt x="f20" y="f21"/>
                  </a:lnTo>
                  <a:cubicBezTo>
                    <a:pt x="f22" y="f23"/>
                    <a:pt x="f24" y="f25"/>
                    <a:pt x="f26" y="f27"/>
                  </a:cubicBezTo>
                  <a:cubicBezTo>
                    <a:pt x="f28" y="f29"/>
                    <a:pt x="f30" y="f31"/>
                    <a:pt x="f32" y="f33"/>
                  </a:cubicBezTo>
                  <a:cubicBezTo>
                    <a:pt x="f34" y="f35"/>
                    <a:pt x="f36" y="f37"/>
                    <a:pt x="f38" y="f39"/>
                  </a:cubicBezTo>
                  <a:lnTo>
                    <a:pt x="f6" y="f40"/>
                  </a:lnTo>
                  <a:lnTo>
                    <a:pt x="f6" y="f41"/>
                  </a:lnTo>
                  <a:lnTo>
                    <a:pt x="f42" y="f43"/>
                  </a:lnTo>
                  <a:cubicBezTo>
                    <a:pt x="f44" y="f45"/>
                    <a:pt x="f46" y="f47"/>
                    <a:pt x="f48" y="f49"/>
                  </a:cubicBezTo>
                  <a:cubicBezTo>
                    <a:pt x="f50" y="f51"/>
                    <a:pt x="f52" y="f53"/>
                    <a:pt x="f54" y="f55"/>
                  </a:cubicBezTo>
                  <a:cubicBezTo>
                    <a:pt x="f56" y="f57"/>
                    <a:pt x="f58" y="f59"/>
                    <a:pt x="f60" y="f61"/>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4" name="Freeform 38">
              <a:extLst>
                <a:ext uri="{FF2B5EF4-FFF2-40B4-BE49-F238E27FC236}">
                  <a16:creationId xmlns:a16="http://schemas.microsoft.com/office/drawing/2014/main" id="{9CBC9C28-EBF2-E3B7-9C0C-587F9FE99976}"/>
                </a:ext>
              </a:extLst>
            </p:cNvPr>
            <p:cNvSpPr/>
            <p:nvPr/>
          </p:nvSpPr>
          <p:spPr>
            <a:xfrm flipH="1">
              <a:off x="0" y="0"/>
              <a:ext cx="12191996" cy="1992139"/>
            </a:xfrm>
            <a:custGeom>
              <a:avLst/>
              <a:gdLst>
                <a:gd name="f0" fmla="val 10800000"/>
                <a:gd name="f1" fmla="val 5400000"/>
                <a:gd name="f2" fmla="val 180"/>
                <a:gd name="f3" fmla="val w"/>
                <a:gd name="f4" fmla="val h"/>
                <a:gd name="f5" fmla="val 0"/>
                <a:gd name="f6" fmla="val 12192000"/>
                <a:gd name="f7" fmla="val 1992138"/>
                <a:gd name="f8" fmla="val 2724271"/>
                <a:gd name="f9" fmla="val 1788442"/>
                <a:gd name="f10" fmla="val 1635403"/>
                <a:gd name="f11" fmla="val 12925"/>
                <a:gd name="f12" fmla="val 1134241"/>
                <a:gd name="f13" fmla="val 70905"/>
                <a:gd name="f14" fmla="val 647221"/>
                <a:gd name="f15" fmla="val 207817"/>
                <a:gd name="f16" fmla="val 178220"/>
                <a:gd name="f17" fmla="val 451207"/>
                <a:gd name="f18" fmla="val 552718"/>
                <a:gd name="f19" fmla="val 570885"/>
                <a:gd name="f20" fmla="val 195368"/>
                <a:gd name="f21" fmla="val 467800"/>
                <a:gd name="f22" fmla="val 765758"/>
                <a:gd name="f23" fmla="val 193094"/>
                <a:gd name="f24" fmla="val 1336955"/>
                <a:gd name="f25" fmla="val 73179"/>
                <a:gd name="f26" fmla="val 1934073"/>
                <a:gd name="f27" fmla="val 52850"/>
                <a:gd name="f28" fmla="val 2948304"/>
                <a:gd name="f29" fmla="val 18310"/>
                <a:gd name="f30" fmla="val 3878878"/>
                <a:gd name="f31" fmla="val 245747"/>
                <a:gd name="f32" fmla="val 4771217"/>
                <a:gd name="f33" fmla="val 543645"/>
                <a:gd name="f34" fmla="val 7236913"/>
                <a:gd name="f35" fmla="val 1366709"/>
                <a:gd name="f36" fmla="val 9199689"/>
                <a:gd name="f37" fmla="val 2357774"/>
                <a:gd name="f38" fmla="val 12007222"/>
                <a:gd name="f39" fmla="val 1856729"/>
                <a:gd name="f40" fmla="val 1820900"/>
                <a:gd name="f41" fmla="val 897073"/>
                <a:gd name="f42" fmla="val 12062517"/>
                <a:gd name="f43" fmla="val 950128"/>
                <a:gd name="f44" fmla="val 10950292"/>
                <a:gd name="f45" fmla="val 1376478"/>
                <a:gd name="f46" fmla="val 9595706"/>
                <a:gd name="f47" fmla="val 1466451"/>
                <a:gd name="f48" fmla="val 8435105"/>
                <a:gd name="f49" fmla="val 1266613"/>
                <a:gd name="f50" fmla="val 6618389"/>
                <a:gd name="f51" fmla="val 953715"/>
                <a:gd name="f52" fmla="val 4735222"/>
                <a:gd name="f53" fmla="val 130088"/>
                <a:gd name="f54" fmla="val 2948502"/>
                <a:gd name="f55" fmla="val 20548"/>
                <a:gd name="f56" fmla="+- 0 0 -90"/>
                <a:gd name="f57" fmla="*/ f3 1 12192000"/>
                <a:gd name="f58" fmla="*/ f4 1 1992138"/>
                <a:gd name="f59" fmla="+- f7 0 f5"/>
                <a:gd name="f60" fmla="+- f6 0 f5"/>
                <a:gd name="f61" fmla="*/ f56 f0 1"/>
                <a:gd name="f62" fmla="*/ f60 1 12192000"/>
                <a:gd name="f63" fmla="*/ f59 1 1992138"/>
                <a:gd name="f64" fmla="*/ 2724271 f60 1"/>
                <a:gd name="f65" fmla="*/ 0 f59 1"/>
                <a:gd name="f66" fmla="*/ 1788442 f60 1"/>
                <a:gd name="f67" fmla="*/ 1635403 f60 1"/>
                <a:gd name="f68" fmla="*/ 12925 f59 1"/>
                <a:gd name="f69" fmla="*/ 178220 f60 1"/>
                <a:gd name="f70" fmla="*/ 451207 f59 1"/>
                <a:gd name="f71" fmla="*/ 0 f60 1"/>
                <a:gd name="f72" fmla="*/ 552718 f59 1"/>
                <a:gd name="f73" fmla="*/ 570885 f59 1"/>
                <a:gd name="f74" fmla="*/ 195368 f60 1"/>
                <a:gd name="f75" fmla="*/ 467800 f59 1"/>
                <a:gd name="f76" fmla="*/ 1934073 f60 1"/>
                <a:gd name="f77" fmla="*/ 52850 f59 1"/>
                <a:gd name="f78" fmla="*/ 4771217 f60 1"/>
                <a:gd name="f79" fmla="*/ 543645 f59 1"/>
                <a:gd name="f80" fmla="*/ 12007222 f60 1"/>
                <a:gd name="f81" fmla="*/ 1856729 f59 1"/>
                <a:gd name="f82" fmla="*/ 12192000 f60 1"/>
                <a:gd name="f83" fmla="*/ 1820900 f59 1"/>
                <a:gd name="f84" fmla="*/ 897073 f59 1"/>
                <a:gd name="f85" fmla="*/ 12062517 f60 1"/>
                <a:gd name="f86" fmla="*/ 950128 f59 1"/>
                <a:gd name="f87" fmla="*/ 8435105 f60 1"/>
                <a:gd name="f88" fmla="*/ 1266613 f59 1"/>
                <a:gd name="f89" fmla="*/ 2948502 f60 1"/>
                <a:gd name="f90" fmla="*/ 20548 f59 1"/>
                <a:gd name="f91" fmla="*/ f61 1 f2"/>
                <a:gd name="f92" fmla="*/ f64 1 12192000"/>
                <a:gd name="f93" fmla="*/ f65 1 1992138"/>
                <a:gd name="f94" fmla="*/ f66 1 12192000"/>
                <a:gd name="f95" fmla="*/ f67 1 12192000"/>
                <a:gd name="f96" fmla="*/ f68 1 1992138"/>
                <a:gd name="f97" fmla="*/ f69 1 12192000"/>
                <a:gd name="f98" fmla="*/ f70 1 1992138"/>
                <a:gd name="f99" fmla="*/ f71 1 12192000"/>
                <a:gd name="f100" fmla="*/ f72 1 1992138"/>
                <a:gd name="f101" fmla="*/ f73 1 1992138"/>
                <a:gd name="f102" fmla="*/ f74 1 12192000"/>
                <a:gd name="f103" fmla="*/ f75 1 1992138"/>
                <a:gd name="f104" fmla="*/ f76 1 12192000"/>
                <a:gd name="f105" fmla="*/ f77 1 1992138"/>
                <a:gd name="f106" fmla="*/ f78 1 12192000"/>
                <a:gd name="f107" fmla="*/ f79 1 1992138"/>
                <a:gd name="f108" fmla="*/ f80 1 12192000"/>
                <a:gd name="f109" fmla="*/ f81 1 1992138"/>
                <a:gd name="f110" fmla="*/ f82 1 12192000"/>
                <a:gd name="f111" fmla="*/ f83 1 1992138"/>
                <a:gd name="f112" fmla="*/ f84 1 1992138"/>
                <a:gd name="f113" fmla="*/ f85 1 12192000"/>
                <a:gd name="f114" fmla="*/ f86 1 1992138"/>
                <a:gd name="f115" fmla="*/ f87 1 12192000"/>
                <a:gd name="f116" fmla="*/ f88 1 1992138"/>
                <a:gd name="f117" fmla="*/ f89 1 12192000"/>
                <a:gd name="f118" fmla="*/ f90 1 1992138"/>
                <a:gd name="f119" fmla="*/ f5 1 f62"/>
                <a:gd name="f120" fmla="*/ f6 1 f62"/>
                <a:gd name="f121" fmla="*/ f5 1 f63"/>
                <a:gd name="f122" fmla="*/ f7 1 f63"/>
                <a:gd name="f123" fmla="+- f91 0 f1"/>
                <a:gd name="f124" fmla="*/ f92 1 f62"/>
                <a:gd name="f125" fmla="*/ f93 1 f63"/>
                <a:gd name="f126" fmla="*/ f94 1 f62"/>
                <a:gd name="f127" fmla="*/ f95 1 f62"/>
                <a:gd name="f128" fmla="*/ f96 1 f63"/>
                <a:gd name="f129" fmla="*/ f97 1 f62"/>
                <a:gd name="f130" fmla="*/ f98 1 f63"/>
                <a:gd name="f131" fmla="*/ f99 1 f62"/>
                <a:gd name="f132" fmla="*/ f100 1 f63"/>
                <a:gd name="f133" fmla="*/ f101 1 f63"/>
                <a:gd name="f134" fmla="*/ f102 1 f62"/>
                <a:gd name="f135" fmla="*/ f103 1 f63"/>
                <a:gd name="f136" fmla="*/ f104 1 f62"/>
                <a:gd name="f137" fmla="*/ f105 1 f63"/>
                <a:gd name="f138" fmla="*/ f106 1 f62"/>
                <a:gd name="f139" fmla="*/ f107 1 f63"/>
                <a:gd name="f140" fmla="*/ f108 1 f62"/>
                <a:gd name="f141" fmla="*/ f109 1 f63"/>
                <a:gd name="f142" fmla="*/ f110 1 f62"/>
                <a:gd name="f143" fmla="*/ f111 1 f63"/>
                <a:gd name="f144" fmla="*/ f112 1 f63"/>
                <a:gd name="f145" fmla="*/ f113 1 f62"/>
                <a:gd name="f146" fmla="*/ f114 1 f63"/>
                <a:gd name="f147" fmla="*/ f115 1 f62"/>
                <a:gd name="f148" fmla="*/ f116 1 f63"/>
                <a:gd name="f149" fmla="*/ f117 1 f62"/>
                <a:gd name="f150" fmla="*/ f118 1 f63"/>
                <a:gd name="f151" fmla="*/ f119 f57 1"/>
                <a:gd name="f152" fmla="*/ f120 f57 1"/>
                <a:gd name="f153" fmla="*/ f122 f58 1"/>
                <a:gd name="f154" fmla="*/ f121 f58 1"/>
                <a:gd name="f155" fmla="*/ f124 f57 1"/>
                <a:gd name="f156" fmla="*/ f125 f58 1"/>
                <a:gd name="f157" fmla="*/ f126 f57 1"/>
                <a:gd name="f158" fmla="*/ f127 f57 1"/>
                <a:gd name="f159" fmla="*/ f128 f58 1"/>
                <a:gd name="f160" fmla="*/ f129 f57 1"/>
                <a:gd name="f161" fmla="*/ f130 f58 1"/>
                <a:gd name="f162" fmla="*/ f131 f57 1"/>
                <a:gd name="f163" fmla="*/ f132 f58 1"/>
                <a:gd name="f164" fmla="*/ f133 f58 1"/>
                <a:gd name="f165" fmla="*/ f134 f57 1"/>
                <a:gd name="f166" fmla="*/ f135 f58 1"/>
                <a:gd name="f167" fmla="*/ f136 f57 1"/>
                <a:gd name="f168" fmla="*/ f137 f58 1"/>
                <a:gd name="f169" fmla="*/ f138 f57 1"/>
                <a:gd name="f170" fmla="*/ f139 f58 1"/>
                <a:gd name="f171" fmla="*/ f140 f57 1"/>
                <a:gd name="f172" fmla="*/ f141 f58 1"/>
                <a:gd name="f173" fmla="*/ f142 f57 1"/>
                <a:gd name="f174" fmla="*/ f143 f58 1"/>
                <a:gd name="f175" fmla="*/ f144 f58 1"/>
                <a:gd name="f176" fmla="*/ f145 f57 1"/>
                <a:gd name="f177" fmla="*/ f146 f58 1"/>
                <a:gd name="f178" fmla="*/ f147 f57 1"/>
                <a:gd name="f179" fmla="*/ f148 f58 1"/>
                <a:gd name="f180" fmla="*/ f149 f57 1"/>
                <a:gd name="f181" fmla="*/ f150 f58 1"/>
              </a:gdLst>
              <a:ahLst/>
              <a:cxnLst>
                <a:cxn ang="3cd4">
                  <a:pos x="hc" y="t"/>
                </a:cxn>
                <a:cxn ang="0">
                  <a:pos x="r" y="vc"/>
                </a:cxn>
                <a:cxn ang="cd4">
                  <a:pos x="hc" y="b"/>
                </a:cxn>
                <a:cxn ang="cd2">
                  <a:pos x="l" y="vc"/>
                </a:cxn>
                <a:cxn ang="f123">
                  <a:pos x="f155" y="f156"/>
                </a:cxn>
                <a:cxn ang="f123">
                  <a:pos x="f157" y="f156"/>
                </a:cxn>
                <a:cxn ang="f123">
                  <a:pos x="f158" y="f159"/>
                </a:cxn>
                <a:cxn ang="f123">
                  <a:pos x="f160" y="f161"/>
                </a:cxn>
                <a:cxn ang="f123">
                  <a:pos x="f162" y="f163"/>
                </a:cxn>
                <a:cxn ang="f123">
                  <a:pos x="f162" y="f164"/>
                </a:cxn>
                <a:cxn ang="f123">
                  <a:pos x="f165" y="f166"/>
                </a:cxn>
                <a:cxn ang="f123">
                  <a:pos x="f167" y="f168"/>
                </a:cxn>
                <a:cxn ang="f123">
                  <a:pos x="f169" y="f170"/>
                </a:cxn>
                <a:cxn ang="f123">
                  <a:pos x="f171" y="f172"/>
                </a:cxn>
                <a:cxn ang="f123">
                  <a:pos x="f173" y="f174"/>
                </a:cxn>
                <a:cxn ang="f123">
                  <a:pos x="f173" y="f175"/>
                </a:cxn>
                <a:cxn ang="f123">
                  <a:pos x="f176" y="f177"/>
                </a:cxn>
                <a:cxn ang="f123">
                  <a:pos x="f178" y="f179"/>
                </a:cxn>
                <a:cxn ang="f123">
                  <a:pos x="f180" y="f181"/>
                </a:cxn>
              </a:cxnLst>
              <a:rect l="f151" t="f154" r="f152" b="f153"/>
              <a:pathLst>
                <a:path w="12192000" h="1992138">
                  <a:moveTo>
                    <a:pt x="f8" y="f5"/>
                  </a:moveTo>
                  <a:lnTo>
                    <a:pt x="f9" y="f5"/>
                  </a:lnTo>
                  <a:lnTo>
                    <a:pt x="f10" y="f11"/>
                  </a:lnTo>
                  <a:cubicBezTo>
                    <a:pt x="f12" y="f13"/>
                    <a:pt x="f14" y="f15"/>
                    <a:pt x="f16" y="f17"/>
                  </a:cubicBezTo>
                  <a:lnTo>
                    <a:pt x="f5" y="f18"/>
                  </a:lnTo>
                  <a:lnTo>
                    <a:pt x="f5" y="f19"/>
                  </a:lnTo>
                  <a:lnTo>
                    <a:pt x="f20" y="f21"/>
                  </a:lnTo>
                  <a:cubicBezTo>
                    <a:pt x="f22" y="f23"/>
                    <a:pt x="f24" y="f25"/>
                    <a:pt x="f26" y="f27"/>
                  </a:cubicBezTo>
                  <a:cubicBezTo>
                    <a:pt x="f28" y="f29"/>
                    <a:pt x="f30" y="f31"/>
                    <a:pt x="f32" y="f33"/>
                  </a:cubicBezTo>
                  <a:cubicBezTo>
                    <a:pt x="f34" y="f35"/>
                    <a:pt x="f36" y="f37"/>
                    <a:pt x="f38" y="f39"/>
                  </a:cubicBezTo>
                  <a:lnTo>
                    <a:pt x="f6" y="f40"/>
                  </a:lnTo>
                  <a:lnTo>
                    <a:pt x="f6" y="f41"/>
                  </a:lnTo>
                  <a:lnTo>
                    <a:pt x="f42" y="f43"/>
                  </a:lnTo>
                  <a:cubicBezTo>
                    <a:pt x="f44" y="f45"/>
                    <a:pt x="f46" y="f47"/>
                    <a:pt x="f48" y="f49"/>
                  </a:cubicBezTo>
                  <a:cubicBezTo>
                    <a:pt x="f50" y="f51"/>
                    <a:pt x="f52" y="f53"/>
                    <a:pt x="f54" y="f55"/>
                  </a:cubicBezTo>
                  <a:close/>
                </a:path>
              </a:pathLst>
            </a:custGeom>
            <a:solidFill>
              <a:srgbClr val="00498F"/>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sp>
        <p:nvSpPr>
          <p:cNvPr id="5" name="Rectangle 3">
            <a:extLst>
              <a:ext uri="{FF2B5EF4-FFF2-40B4-BE49-F238E27FC236}">
                <a16:creationId xmlns:a16="http://schemas.microsoft.com/office/drawing/2014/main" id="{89C43CF8-8209-9DB4-CFE6-348895C18049}"/>
              </a:ext>
            </a:extLst>
          </p:cNvPr>
          <p:cNvSpPr/>
          <p:nvPr/>
        </p:nvSpPr>
        <p:spPr>
          <a:xfrm>
            <a:off x="902366" y="1517694"/>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Content Placeholder 2">
            <a:extLst>
              <a:ext uri="{FF2B5EF4-FFF2-40B4-BE49-F238E27FC236}">
                <a16:creationId xmlns:a16="http://schemas.microsoft.com/office/drawing/2014/main" id="{A368F830-6226-6A10-63BC-1B9A45CF6547}"/>
              </a:ext>
            </a:extLst>
          </p:cNvPr>
          <p:cNvSpPr txBox="1">
            <a:spLocks noGrp="1"/>
          </p:cNvSpPr>
          <p:nvPr>
            <p:ph idx="4294967295"/>
          </p:nvPr>
        </p:nvSpPr>
        <p:spPr>
          <a:xfrm>
            <a:off x="1219197" y="3429001"/>
            <a:ext cx="5582649" cy="1413561"/>
          </a:xfrm>
        </p:spPr>
        <p:txBody>
          <a:bodyPr/>
          <a:lstStyle>
            <a:lvl1pPr marL="0" indent="0">
              <a:buNone/>
              <a:defRPr sz="2000"/>
            </a:lvl1pPr>
          </a:lstStyle>
          <a:p>
            <a:pPr lvl="0"/>
            <a:r>
              <a:rPr lang="en-US"/>
              <a:t>Click to edit Master text styles</a:t>
            </a:r>
          </a:p>
        </p:txBody>
      </p:sp>
      <p:sp>
        <p:nvSpPr>
          <p:cNvPr id="7" name="Title 11">
            <a:extLst>
              <a:ext uri="{FF2B5EF4-FFF2-40B4-BE49-F238E27FC236}">
                <a16:creationId xmlns:a16="http://schemas.microsoft.com/office/drawing/2014/main" id="{62FD1261-0563-87FE-5F43-2D4F41E03902}"/>
              </a:ext>
            </a:extLst>
          </p:cNvPr>
          <p:cNvSpPr txBox="1">
            <a:spLocks noGrp="1"/>
          </p:cNvSpPr>
          <p:nvPr>
            <p:ph type="title"/>
          </p:nvPr>
        </p:nvSpPr>
        <p:spPr>
          <a:xfrm>
            <a:off x="1219197" y="1887486"/>
            <a:ext cx="5582649" cy="1078260"/>
          </a:xfrm>
        </p:spPr>
        <p:txBody>
          <a:bodyPr/>
          <a:lstStyle>
            <a:lvl1pPr>
              <a:defRPr sz="6000"/>
            </a:lvl1pPr>
          </a:lstStyle>
          <a:p>
            <a:pPr lvl="0"/>
            <a:r>
              <a:rPr lang="en-US"/>
              <a:t>Thank you</a:t>
            </a:r>
          </a:p>
        </p:txBody>
      </p:sp>
      <p:pic>
        <p:nvPicPr>
          <p:cNvPr id="8" name="Picture 32">
            <a:extLst>
              <a:ext uri="{FF2B5EF4-FFF2-40B4-BE49-F238E27FC236}">
                <a16:creationId xmlns:a16="http://schemas.microsoft.com/office/drawing/2014/main" id="{39E7A7CF-B6C8-92CA-BF7D-2926684AC19A}"/>
              </a:ext>
            </a:extLst>
          </p:cNvPr>
          <p:cNvPicPr>
            <a:picLocks noChangeAspect="1"/>
          </p:cNvPicPr>
          <p:nvPr/>
        </p:nvPicPr>
        <p:blipFill>
          <a:blip r:embed="rId2"/>
          <a:srcRect/>
          <a:stretch>
            <a:fillRect/>
          </a:stretch>
        </p:blipFill>
        <p:spPr>
          <a:xfrm>
            <a:off x="902366" y="228371"/>
            <a:ext cx="2025313" cy="911940"/>
          </a:xfrm>
          <a:prstGeom prst="rect">
            <a:avLst/>
          </a:prstGeom>
          <a:noFill/>
          <a:ln cap="flat">
            <a:noFill/>
          </a:ln>
        </p:spPr>
      </p:pic>
      <p:sp>
        <p:nvSpPr>
          <p:cNvPr id="9" name="Picture Placeholder 16">
            <a:extLst>
              <a:ext uri="{FF2B5EF4-FFF2-40B4-BE49-F238E27FC236}">
                <a16:creationId xmlns:a16="http://schemas.microsoft.com/office/drawing/2014/main" id="{0D71C650-A7F4-29FA-762D-C63E90781284}"/>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spTree>
    <p:extLst>
      <p:ext uri="{BB962C8B-B14F-4D97-AF65-F5344CB8AC3E}">
        <p14:creationId xmlns:p14="http://schemas.microsoft.com/office/powerpoint/2010/main" val="3133799237"/>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2" name="Slide Number Placeholder 4">
            <a:extLst>
              <a:ext uri="{FF2B5EF4-FFF2-40B4-BE49-F238E27FC236}">
                <a16:creationId xmlns:a16="http://schemas.microsoft.com/office/drawing/2014/main" id="{4ABDEC4B-9EF5-3AF0-D7BF-8B160816FE5A}"/>
              </a:ext>
            </a:extLst>
          </p:cNvPr>
          <p:cNvSpPr txBox="1">
            <a:spLocks noGrp="1"/>
          </p:cNvSpPr>
          <p:nvPr>
            <p:ph type="sldNum" sz="quarter" idx="8"/>
          </p:nvPr>
        </p:nvSpPr>
        <p:spPr/>
        <p:txBody>
          <a:bodyPr/>
          <a:lstStyle>
            <a:lvl1pPr>
              <a:defRPr/>
            </a:lvl1pPr>
          </a:lstStyle>
          <a:p>
            <a:pPr lvl="0"/>
            <a:fld id="{4D21C4A5-9162-41B4-86F6-680EE5D27018}" type="slidenum">
              <a:t>‹#›</a:t>
            </a:fld>
            <a:endParaRPr lang="en-US"/>
          </a:p>
        </p:txBody>
      </p:sp>
      <p:cxnSp>
        <p:nvCxnSpPr>
          <p:cNvPr id="3" name="Straight Connector 3">
            <a:extLst>
              <a:ext uri="{FF2B5EF4-FFF2-40B4-BE49-F238E27FC236}">
                <a16:creationId xmlns:a16="http://schemas.microsoft.com/office/drawing/2014/main" id="{36546AC3-70E8-3519-DC6A-67025899890D}"/>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4" name="Footer Placeholder 1">
            <a:extLst>
              <a:ext uri="{FF2B5EF4-FFF2-40B4-BE49-F238E27FC236}">
                <a16:creationId xmlns:a16="http://schemas.microsoft.com/office/drawing/2014/main" id="{E418A638-5CFD-27A4-B691-89989283E5FB}"/>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5" name="Group 5">
            <a:extLst>
              <a:ext uri="{FF2B5EF4-FFF2-40B4-BE49-F238E27FC236}">
                <a16:creationId xmlns:a16="http://schemas.microsoft.com/office/drawing/2014/main" id="{5CE01442-1F0D-F945-E2B4-316CF1DCAF7F}"/>
              </a:ext>
            </a:extLst>
          </p:cNvPr>
          <p:cNvGrpSpPr/>
          <p:nvPr/>
        </p:nvGrpSpPr>
        <p:grpSpPr>
          <a:xfrm>
            <a:off x="7191545" y="0"/>
            <a:ext cx="5000460" cy="1425988"/>
            <a:chOff x="7191545" y="0"/>
            <a:chExt cx="5000460" cy="1425988"/>
          </a:xfrm>
        </p:grpSpPr>
        <p:pic>
          <p:nvPicPr>
            <p:cNvPr id="6" name="Picture 6">
              <a:extLst>
                <a:ext uri="{FF2B5EF4-FFF2-40B4-BE49-F238E27FC236}">
                  <a16:creationId xmlns:a16="http://schemas.microsoft.com/office/drawing/2014/main" id="{2C943C8F-902F-F169-12CB-A760CA674400}"/>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7" name="Group 7">
              <a:extLst>
                <a:ext uri="{FF2B5EF4-FFF2-40B4-BE49-F238E27FC236}">
                  <a16:creationId xmlns:a16="http://schemas.microsoft.com/office/drawing/2014/main" id="{15F86AF1-C8AC-A4BD-3FFF-19E7AED94BB6}"/>
                </a:ext>
              </a:extLst>
            </p:cNvPr>
            <p:cNvGrpSpPr/>
            <p:nvPr/>
          </p:nvGrpSpPr>
          <p:grpSpPr>
            <a:xfrm>
              <a:off x="7191545" y="0"/>
              <a:ext cx="5000460" cy="1425988"/>
              <a:chOff x="7191545" y="0"/>
              <a:chExt cx="5000460" cy="1425988"/>
            </a:xfrm>
          </p:grpSpPr>
          <p:sp>
            <p:nvSpPr>
              <p:cNvPr id="8" name="Freeform 8">
                <a:extLst>
                  <a:ext uri="{FF2B5EF4-FFF2-40B4-BE49-F238E27FC236}">
                    <a16:creationId xmlns:a16="http://schemas.microsoft.com/office/drawing/2014/main" id="{EF10B5F5-5108-B7AF-A298-8A4BC978D2E9}"/>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9" name="Freeform 9">
                <a:extLst>
                  <a:ext uri="{FF2B5EF4-FFF2-40B4-BE49-F238E27FC236}">
                    <a16:creationId xmlns:a16="http://schemas.microsoft.com/office/drawing/2014/main" id="{410EA36B-7333-52CA-A87B-96A27FCD73DB}"/>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Tree>
    <p:extLst>
      <p:ext uri="{BB962C8B-B14F-4D97-AF65-F5344CB8AC3E}">
        <p14:creationId xmlns:p14="http://schemas.microsoft.com/office/powerpoint/2010/main" val="715530441"/>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EF2602CE-577C-2E69-E0D6-F817853930F9}"/>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C0A8D453-6412-41A7-4190-E28C8E8A1125}"/>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8ED680AB-A99C-AE72-418A-18D044D3B735}"/>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B681A5E2-8A46-0C76-2C2E-F4B3C3894C40}"/>
              </a:ext>
            </a:extLst>
          </p:cNvPr>
          <p:cNvSpPr txBox="1">
            <a:spLocks noGrp="1"/>
          </p:cNvSpPr>
          <p:nvPr>
            <p:ph type="sldNum" sz="quarter" idx="8"/>
          </p:nvPr>
        </p:nvSpPr>
        <p:spPr/>
        <p:txBody>
          <a:bodyPr/>
          <a:lstStyle>
            <a:lvl1pPr>
              <a:defRPr>
                <a:solidFill>
                  <a:srgbClr val="AFB3B9"/>
                </a:solidFill>
              </a:defRPr>
            </a:lvl1pPr>
          </a:lstStyle>
          <a:p>
            <a:pPr lvl="0"/>
            <a:fld id="{BE2FC66C-57BF-4AD2-B2EF-F9BF9B673D51}" type="slidenum">
              <a:t>‹#›</a:t>
            </a:fld>
            <a:endParaRPr lang="en-US"/>
          </a:p>
        </p:txBody>
      </p:sp>
      <p:cxnSp>
        <p:nvCxnSpPr>
          <p:cNvPr id="6" name="Straight Connector 7">
            <a:extLst>
              <a:ext uri="{FF2B5EF4-FFF2-40B4-BE49-F238E27FC236}">
                <a16:creationId xmlns:a16="http://schemas.microsoft.com/office/drawing/2014/main" id="{F0BE18C9-FD8D-6691-0C7F-D0CA7608AB64}"/>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512FBC1A-3895-620B-F72A-B29ED887EE1A}"/>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91F8B8C4-4D78-C573-ABDF-EF126EEA0D99}"/>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F93DC5D3-D187-4A14-F4C8-3B6D9C535530}"/>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F3AABEE2-7670-1162-CF90-ADDF45C856C5}"/>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A241DB40-F25C-69AA-8153-57C466F25EA3}"/>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2FC5D63D-EAFE-A21F-BA6D-E7A6F2BEF4FC}"/>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C5AF0FB2-FC73-173E-F5D7-1376F4F9074D}"/>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1149733516"/>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1612FD-333B-18E9-B848-78679F5C5ACE}"/>
              </a:ext>
            </a:extLst>
          </p:cNvPr>
          <p:cNvSpPr txBox="1">
            <a:spLocks noGrp="1"/>
          </p:cNvSpPr>
          <p:nvPr>
            <p:ph type="ctrTitle"/>
          </p:nvPr>
        </p:nvSpPr>
        <p:spPr>
          <a:xfrm>
            <a:off x="1524003" y="1122362"/>
            <a:ext cx="9144000" cy="2387598"/>
          </a:xfrm>
        </p:spPr>
        <p:txBody>
          <a:bodyPr anchor="b" anchorCtr="1"/>
          <a:lstStyle>
            <a:lvl1pPr algn="ctr">
              <a:defRPr sz="6000"/>
            </a:lvl1pPr>
          </a:lstStyle>
          <a:p>
            <a:pPr lvl="0"/>
            <a:r>
              <a:rPr lang="en-US"/>
              <a:t>Click to edit Master title style</a:t>
            </a:r>
          </a:p>
        </p:txBody>
      </p:sp>
      <p:sp>
        <p:nvSpPr>
          <p:cNvPr id="3" name="Subtitle 2">
            <a:extLst>
              <a:ext uri="{FF2B5EF4-FFF2-40B4-BE49-F238E27FC236}">
                <a16:creationId xmlns:a16="http://schemas.microsoft.com/office/drawing/2014/main" id="{AD5AB0EB-B246-0026-EAD3-9B3FB02E881E}"/>
              </a:ext>
            </a:extLst>
          </p:cNvPr>
          <p:cNvSpPr txBox="1">
            <a:spLocks noGrp="1"/>
          </p:cNvSpPr>
          <p:nvPr>
            <p:ph type="subTitle" idx="1"/>
          </p:nvPr>
        </p:nvSpPr>
        <p:spPr>
          <a:xfrm>
            <a:off x="1524003" y="3602041"/>
            <a:ext cx="9144000" cy="1655758"/>
          </a:xfrm>
        </p:spPr>
        <p:txBody>
          <a:bodyPr anchorCtr="1"/>
          <a:lstStyle>
            <a:lvl1pPr marL="0" indent="0" algn="ctr">
              <a:buNone/>
              <a:defRPr/>
            </a:lvl1pPr>
          </a:lstStyle>
          <a:p>
            <a:pPr lvl="0"/>
            <a:r>
              <a:rPr lang="en-US"/>
              <a:t>Click to edit Master subtitle style</a:t>
            </a:r>
          </a:p>
        </p:txBody>
      </p:sp>
      <p:sp>
        <p:nvSpPr>
          <p:cNvPr id="4" name="Date Placeholder 3">
            <a:extLst>
              <a:ext uri="{FF2B5EF4-FFF2-40B4-BE49-F238E27FC236}">
                <a16:creationId xmlns:a16="http://schemas.microsoft.com/office/drawing/2014/main" id="{B353EE60-778E-2FF0-C4E7-B2B41ADDFF91}"/>
              </a:ext>
            </a:extLst>
          </p:cNvPr>
          <p:cNvSpPr txBox="1">
            <a:spLocks noGrp="1"/>
          </p:cNvSpPr>
          <p:nvPr>
            <p:ph type="dt" sz="quarter" idx="7"/>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914446"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defRPr>
            </a:lvl1pPr>
          </a:lstStyle>
          <a:p>
            <a:pPr lvl="0"/>
            <a:fld id="{E7FF1377-FA44-4680-ACF0-93A9CCCE8A00}" type="datetime1">
              <a:rPr lang="en-US"/>
              <a:pPr lvl="0"/>
              <a:t>5/20/2026</a:t>
            </a:fld>
            <a:endParaRPr lang="en-US"/>
          </a:p>
        </p:txBody>
      </p:sp>
      <p:sp>
        <p:nvSpPr>
          <p:cNvPr id="5" name="Footer Placeholder 4">
            <a:extLst>
              <a:ext uri="{FF2B5EF4-FFF2-40B4-BE49-F238E27FC236}">
                <a16:creationId xmlns:a16="http://schemas.microsoft.com/office/drawing/2014/main" id="{37F23E3A-0FCF-5098-5809-63D11834E40B}"/>
              </a:ext>
            </a:extLst>
          </p:cNvPr>
          <p:cNvSpPr txBox="1">
            <a:spLocks noGrp="1"/>
          </p:cNvSpPr>
          <p:nvPr>
            <p:ph type="ftr" sz="quarter" idx="9"/>
          </p:nvPr>
        </p:nvSpPr>
        <p:spPr/>
        <p:txBody>
          <a:bodyPr anchorCtr="1"/>
          <a:lstStyle>
            <a:lvl1pPr algn="ctr">
              <a:defRPr/>
            </a:lvl1pPr>
          </a:lstStyle>
          <a:p>
            <a:pPr lvl="0"/>
            <a:endParaRPr lang="en-US"/>
          </a:p>
        </p:txBody>
      </p:sp>
      <p:sp>
        <p:nvSpPr>
          <p:cNvPr id="6" name="Slide Number Placeholder 5">
            <a:extLst>
              <a:ext uri="{FF2B5EF4-FFF2-40B4-BE49-F238E27FC236}">
                <a16:creationId xmlns:a16="http://schemas.microsoft.com/office/drawing/2014/main" id="{F0DE4501-07A6-B65C-3683-0BBB6ABF23E4}"/>
              </a:ext>
            </a:extLst>
          </p:cNvPr>
          <p:cNvSpPr txBox="1">
            <a:spLocks noGrp="1"/>
          </p:cNvSpPr>
          <p:nvPr>
            <p:ph type="sldNum" sz="quarter" idx="8"/>
          </p:nvPr>
        </p:nvSpPr>
        <p:spPr/>
        <p:txBody>
          <a:bodyPr/>
          <a:lstStyle>
            <a:lvl1pPr>
              <a:defRPr/>
            </a:lvl1pPr>
          </a:lstStyle>
          <a:p>
            <a:pPr lvl="0"/>
            <a:fld id="{BAAA8BE3-48C5-4557-879F-C058C3ED0347}" type="slidenum">
              <a:t>‹#›</a:t>
            </a:fld>
            <a:endParaRPr lang="en-US"/>
          </a:p>
        </p:txBody>
      </p:sp>
    </p:spTree>
    <p:extLst>
      <p:ext uri="{BB962C8B-B14F-4D97-AF65-F5344CB8AC3E}">
        <p14:creationId xmlns:p14="http://schemas.microsoft.com/office/powerpoint/2010/main" val="3225557058"/>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3_Title Slide_Yale Blue">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A03BC2E4-417D-D07C-0087-D652BA869424}"/>
              </a:ext>
            </a:extLst>
          </p:cNvPr>
          <p:cNvSpPr txBox="1">
            <a:spLocks noGrp="1"/>
          </p:cNvSpPr>
          <p:nvPr>
            <p:ph type="body" idx="4294967295"/>
          </p:nvPr>
        </p:nvSpPr>
        <p:spPr>
          <a:xfrm>
            <a:off x="2826557" y="5400857"/>
            <a:ext cx="8178613" cy="379656"/>
          </a:xfrm>
        </p:spPr>
        <p:txBody>
          <a:bodyPr wrap="square">
            <a:spAutoFit/>
          </a:bodyPr>
          <a:lstStyle>
            <a:lvl1pPr marL="0" indent="0" algn="r">
              <a:buNone/>
              <a:defRPr sz="1867">
                <a:solidFill>
                  <a:srgbClr val="616364"/>
                </a:solidFill>
                <a:latin typeface="Verdana"/>
                <a:ea typeface="Verdana"/>
                <a:cs typeface="Verdana"/>
              </a:defRPr>
            </a:lvl1pPr>
          </a:lstStyle>
          <a:p>
            <a:pPr lvl="0"/>
            <a:r>
              <a:rPr lang="en-US"/>
              <a:t>Date | Presenter Information (14 pt)</a:t>
            </a:r>
          </a:p>
        </p:txBody>
      </p:sp>
      <p:sp>
        <p:nvSpPr>
          <p:cNvPr id="3" name="Title 1">
            <a:extLst>
              <a:ext uri="{FF2B5EF4-FFF2-40B4-BE49-F238E27FC236}">
                <a16:creationId xmlns:a16="http://schemas.microsoft.com/office/drawing/2014/main" id="{3481F4DE-0860-8897-0878-CEFFDB813668}"/>
              </a:ext>
            </a:extLst>
          </p:cNvPr>
          <p:cNvSpPr txBox="1">
            <a:spLocks noGrp="1"/>
          </p:cNvSpPr>
          <p:nvPr>
            <p:ph type="title"/>
          </p:nvPr>
        </p:nvSpPr>
        <p:spPr>
          <a:xfrm>
            <a:off x="2826557" y="1807156"/>
            <a:ext cx="8178613" cy="1629460"/>
          </a:xfrm>
        </p:spPr>
        <p:txBody>
          <a:bodyPr anchor="b"/>
          <a:lstStyle>
            <a:lvl1pPr>
              <a:defRPr sz="5334">
                <a:solidFill>
                  <a:srgbClr val="00314C"/>
                </a:solidFill>
                <a:latin typeface="Verdana"/>
                <a:ea typeface="Verdana"/>
                <a:cs typeface="Verdana"/>
              </a:defRPr>
            </a:lvl1pPr>
          </a:lstStyle>
          <a:p>
            <a:pPr lvl="0"/>
            <a:r>
              <a:rPr lang="en-US"/>
              <a:t>Presentation Title (40pt)</a:t>
            </a:r>
          </a:p>
        </p:txBody>
      </p:sp>
      <p:sp>
        <p:nvSpPr>
          <p:cNvPr id="4" name="Date Placeholder 3">
            <a:extLst>
              <a:ext uri="{FF2B5EF4-FFF2-40B4-BE49-F238E27FC236}">
                <a16:creationId xmlns:a16="http://schemas.microsoft.com/office/drawing/2014/main" id="{6160C9A3-6BF5-429C-A11C-6DC3C83AC414}"/>
              </a:ext>
            </a:extLst>
          </p:cNvPr>
          <p:cNvSpPr txBox="1">
            <a:spLocks noGrp="1"/>
          </p:cNvSpPr>
          <p:nvPr>
            <p:ph type="dt" sz="quarter" idx="7"/>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914446"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defRPr>
            </a:lvl1pPr>
          </a:lstStyle>
          <a:p>
            <a:pPr lvl="0"/>
            <a:fld id="{AA99FC58-4628-4C80-AE4C-DC99136353F6}" type="datetime1">
              <a:rPr lang="en-US"/>
              <a:pPr lvl="0"/>
              <a:t>5/20/2026</a:t>
            </a:fld>
            <a:endParaRPr lang="en-US"/>
          </a:p>
        </p:txBody>
      </p:sp>
      <p:sp>
        <p:nvSpPr>
          <p:cNvPr id="5" name="Footer Placeholder 4">
            <a:extLst>
              <a:ext uri="{FF2B5EF4-FFF2-40B4-BE49-F238E27FC236}">
                <a16:creationId xmlns:a16="http://schemas.microsoft.com/office/drawing/2014/main" id="{EE8AE06A-B8B7-308E-06F7-0F66178969F2}"/>
              </a:ext>
            </a:extLst>
          </p:cNvPr>
          <p:cNvSpPr txBox="1">
            <a:spLocks noGrp="1"/>
          </p:cNvSpPr>
          <p:nvPr>
            <p:ph type="ftr" sz="quarter" idx="9"/>
          </p:nvPr>
        </p:nvSpPr>
        <p:spPr/>
        <p:txBody>
          <a:bodyPr anchorCtr="1"/>
          <a:lstStyle>
            <a:lvl1pPr algn="ctr">
              <a:defRPr/>
            </a:lvl1pPr>
          </a:lstStyle>
          <a:p>
            <a:pPr lvl="0"/>
            <a:endParaRPr lang="en-US"/>
          </a:p>
        </p:txBody>
      </p:sp>
      <p:sp>
        <p:nvSpPr>
          <p:cNvPr id="6" name="Slide Number Placeholder 5">
            <a:extLst>
              <a:ext uri="{FF2B5EF4-FFF2-40B4-BE49-F238E27FC236}">
                <a16:creationId xmlns:a16="http://schemas.microsoft.com/office/drawing/2014/main" id="{B473F202-9925-C2A1-AFD2-F91EAC309350}"/>
              </a:ext>
            </a:extLst>
          </p:cNvPr>
          <p:cNvSpPr txBox="1">
            <a:spLocks noGrp="1"/>
          </p:cNvSpPr>
          <p:nvPr>
            <p:ph type="sldNum" sz="quarter" idx="8"/>
          </p:nvPr>
        </p:nvSpPr>
        <p:spPr/>
        <p:txBody>
          <a:bodyPr/>
          <a:lstStyle>
            <a:lvl1pPr>
              <a:defRPr/>
            </a:lvl1pPr>
          </a:lstStyle>
          <a:p>
            <a:pPr lvl="0"/>
            <a:fld id="{A1E427F1-EBC0-4C99-ACAC-DCBAA0730E29}" type="slidenum">
              <a:t>‹#›</a:t>
            </a:fld>
            <a:endParaRPr lang="en-US"/>
          </a:p>
        </p:txBody>
      </p:sp>
      <p:sp>
        <p:nvSpPr>
          <p:cNvPr id="7" name="Rectangle 12">
            <a:extLst>
              <a:ext uri="{FF2B5EF4-FFF2-40B4-BE49-F238E27FC236}">
                <a16:creationId xmlns:a16="http://schemas.microsoft.com/office/drawing/2014/main" id="{F25AD7EA-D12E-9500-0170-E39C1B53AED8}"/>
              </a:ext>
            </a:extLst>
          </p:cNvPr>
          <p:cNvSpPr/>
          <p:nvPr/>
        </p:nvSpPr>
        <p:spPr>
          <a:xfrm rot="10799991">
            <a:off x="-28" y="2000224"/>
            <a:ext cx="2785070" cy="2042851"/>
          </a:xfrm>
          <a:custGeom>
            <a:avLst/>
            <a:gdLst>
              <a:gd name="f0" fmla="val 10800000"/>
              <a:gd name="f1" fmla="val 5400000"/>
              <a:gd name="f2" fmla="val 180"/>
              <a:gd name="f3" fmla="val w"/>
              <a:gd name="f4" fmla="val h"/>
              <a:gd name="f5" fmla="val 0"/>
              <a:gd name="f6" fmla="val 10293751"/>
              <a:gd name="f7" fmla="val 1031873"/>
              <a:gd name="f8" fmla="val 3579068"/>
              <a:gd name="f9" fmla="val 1"/>
              <a:gd name="f10" fmla="val 1031872"/>
              <a:gd name="f11" fmla="+- 0 0 -90"/>
              <a:gd name="f12" fmla="*/ f3 1 10293751"/>
              <a:gd name="f13" fmla="*/ f4 1 1031873"/>
              <a:gd name="f14" fmla="+- f7 0 f5"/>
              <a:gd name="f15" fmla="+- f6 0 f5"/>
              <a:gd name="f16" fmla="*/ f11 f0 1"/>
              <a:gd name="f17" fmla="*/ f15 1 10293751"/>
              <a:gd name="f18" fmla="*/ f14 1 1031873"/>
              <a:gd name="f19" fmla="*/ 10293751 f15 1"/>
              <a:gd name="f20" fmla="*/ 0 f15 1"/>
              <a:gd name="f21" fmla="*/ 0 f14 1"/>
              <a:gd name="f22" fmla="*/ 1 f14 1"/>
              <a:gd name="f23" fmla="*/ 1031873 f14 1"/>
              <a:gd name="f24" fmla="*/ 1031872 f14 1"/>
              <a:gd name="f25" fmla="*/ 3579068 f15 1"/>
              <a:gd name="f26" fmla="*/ f16 1 f2"/>
              <a:gd name="f27" fmla="*/ f19 1 10293751"/>
              <a:gd name="f28" fmla="*/ f20 1 10293751"/>
              <a:gd name="f29" fmla="*/ f21 1 1031873"/>
              <a:gd name="f30" fmla="*/ f22 1 1031873"/>
              <a:gd name="f31" fmla="*/ f23 1 1031873"/>
              <a:gd name="f32" fmla="*/ f24 1 1031873"/>
              <a:gd name="f33" fmla="*/ f25 1 10293751"/>
              <a:gd name="f34" fmla="*/ f5 1 f17"/>
              <a:gd name="f35" fmla="*/ f6 1 f17"/>
              <a:gd name="f36" fmla="*/ f5 1 f18"/>
              <a:gd name="f37" fmla="*/ f7 1 f18"/>
              <a:gd name="f38" fmla="+- f26 0 f1"/>
              <a:gd name="f39" fmla="*/ f33 1 f17"/>
              <a:gd name="f40" fmla="*/ f29 1 f18"/>
              <a:gd name="f41" fmla="*/ f27 1 f17"/>
              <a:gd name="f42" fmla="*/ f30 1 f18"/>
              <a:gd name="f43" fmla="*/ f31 1 f18"/>
              <a:gd name="f44" fmla="*/ f28 1 f17"/>
              <a:gd name="f45" fmla="*/ f32 1 f18"/>
              <a:gd name="f46" fmla="*/ f34 f12 1"/>
              <a:gd name="f47" fmla="*/ f35 f12 1"/>
              <a:gd name="f48" fmla="*/ f37 f13 1"/>
              <a:gd name="f49" fmla="*/ f36 f13 1"/>
              <a:gd name="f50" fmla="*/ f39 f12 1"/>
              <a:gd name="f51" fmla="*/ f40 f13 1"/>
              <a:gd name="f52" fmla="*/ f41 f12 1"/>
              <a:gd name="f53" fmla="*/ f42 f13 1"/>
              <a:gd name="f54" fmla="*/ f43 f13 1"/>
              <a:gd name="f55" fmla="*/ f44 f12 1"/>
              <a:gd name="f56" fmla="*/ f45 f13 1"/>
            </a:gdLst>
            <a:ahLst/>
            <a:cxnLst>
              <a:cxn ang="3cd4">
                <a:pos x="hc" y="t"/>
              </a:cxn>
              <a:cxn ang="0">
                <a:pos x="r" y="vc"/>
              </a:cxn>
              <a:cxn ang="cd4">
                <a:pos x="hc" y="b"/>
              </a:cxn>
              <a:cxn ang="cd2">
                <a:pos x="l" y="vc"/>
              </a:cxn>
              <a:cxn ang="f38">
                <a:pos x="f50" y="f51"/>
              </a:cxn>
              <a:cxn ang="f38">
                <a:pos x="f52" y="f53"/>
              </a:cxn>
              <a:cxn ang="f38">
                <a:pos x="f52" y="f54"/>
              </a:cxn>
              <a:cxn ang="f38">
                <a:pos x="f55" y="f56"/>
              </a:cxn>
              <a:cxn ang="f38">
                <a:pos x="f50" y="f51"/>
              </a:cxn>
            </a:cxnLst>
            <a:rect l="f46" t="f49" r="f47" b="f48"/>
            <a:pathLst>
              <a:path w="10293751" h="1031873">
                <a:moveTo>
                  <a:pt x="f8" y="f5"/>
                </a:moveTo>
                <a:lnTo>
                  <a:pt x="f6" y="f9"/>
                </a:lnTo>
                <a:lnTo>
                  <a:pt x="f6" y="f7"/>
                </a:lnTo>
                <a:lnTo>
                  <a:pt x="f5" y="f10"/>
                </a:lnTo>
                <a:lnTo>
                  <a:pt x="f8" y="f5"/>
                </a:lnTo>
                <a:close/>
              </a:path>
            </a:pathLst>
          </a:cu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8" name="Rectangle 8">
            <a:extLst>
              <a:ext uri="{FF2B5EF4-FFF2-40B4-BE49-F238E27FC236}">
                <a16:creationId xmlns:a16="http://schemas.microsoft.com/office/drawing/2014/main" id="{9FEADAB1-7F1B-D0F4-0FF3-A09EFFEB3823}"/>
              </a:ext>
            </a:extLst>
          </p:cNvPr>
          <p:cNvSpPr/>
          <p:nvPr/>
        </p:nvSpPr>
        <p:spPr>
          <a:xfrm>
            <a:off x="0" y="6115050"/>
            <a:ext cx="12191996" cy="742950"/>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9" name="Text Placeholder 11">
            <a:extLst>
              <a:ext uri="{FF2B5EF4-FFF2-40B4-BE49-F238E27FC236}">
                <a16:creationId xmlns:a16="http://schemas.microsoft.com/office/drawing/2014/main" id="{72E83407-FB87-814E-44A9-6C87E0D45B19}"/>
              </a:ext>
            </a:extLst>
          </p:cNvPr>
          <p:cNvSpPr txBox="1">
            <a:spLocks noGrp="1"/>
          </p:cNvSpPr>
          <p:nvPr>
            <p:ph type="body" idx="4294967295"/>
          </p:nvPr>
        </p:nvSpPr>
        <p:spPr>
          <a:xfrm>
            <a:off x="2826557" y="3447397"/>
            <a:ext cx="8178613" cy="713314"/>
          </a:xfrm>
        </p:spPr>
        <p:txBody>
          <a:bodyPr/>
          <a:lstStyle>
            <a:lvl1pPr marL="0" indent="0">
              <a:buNone/>
              <a:defRPr sz="3200">
                <a:solidFill>
                  <a:srgbClr val="00314C"/>
                </a:solidFill>
                <a:latin typeface="Verdana"/>
                <a:ea typeface="Verdana"/>
                <a:cs typeface="Verdana"/>
              </a:defRPr>
            </a:lvl1pPr>
          </a:lstStyle>
          <a:p>
            <a:pPr lvl="0"/>
            <a:r>
              <a:rPr lang="en-US"/>
              <a:t>Subtitle (24)</a:t>
            </a:r>
          </a:p>
        </p:txBody>
      </p:sp>
      <p:pic>
        <p:nvPicPr>
          <p:cNvPr id="10" name="Picture 12">
            <a:extLst>
              <a:ext uri="{FF2B5EF4-FFF2-40B4-BE49-F238E27FC236}">
                <a16:creationId xmlns:a16="http://schemas.microsoft.com/office/drawing/2014/main" id="{DCD802B3-E7CC-8077-CF09-CF65ACBD8909}"/>
              </a:ext>
            </a:extLst>
          </p:cNvPr>
          <p:cNvPicPr>
            <a:picLocks noChangeAspect="1"/>
          </p:cNvPicPr>
          <p:nvPr/>
        </p:nvPicPr>
        <p:blipFill>
          <a:blip r:embed="rId2"/>
          <a:srcRect/>
          <a:stretch>
            <a:fillRect/>
          </a:stretch>
        </p:blipFill>
        <p:spPr>
          <a:xfrm>
            <a:off x="2829840" y="4178333"/>
            <a:ext cx="4395959" cy="1140165"/>
          </a:xfrm>
          <a:prstGeom prst="rect">
            <a:avLst/>
          </a:prstGeom>
          <a:noFill/>
          <a:ln cap="flat">
            <a:noFill/>
          </a:ln>
        </p:spPr>
      </p:pic>
    </p:spTree>
    <p:extLst>
      <p:ext uri="{BB962C8B-B14F-4D97-AF65-F5344CB8AC3E}">
        <p14:creationId xmlns:p14="http://schemas.microsoft.com/office/powerpoint/2010/main" val="3447992795"/>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4_Title Slide_Yale Blue">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45EEE54A-3A32-5E7B-D589-6C244EF427A9}"/>
              </a:ext>
            </a:extLst>
          </p:cNvPr>
          <p:cNvSpPr txBox="1">
            <a:spLocks noGrp="1"/>
          </p:cNvSpPr>
          <p:nvPr>
            <p:ph type="body" idx="4294967295"/>
          </p:nvPr>
        </p:nvSpPr>
        <p:spPr>
          <a:xfrm>
            <a:off x="2826557" y="5400857"/>
            <a:ext cx="8178613" cy="379656"/>
          </a:xfrm>
        </p:spPr>
        <p:txBody>
          <a:bodyPr wrap="square">
            <a:spAutoFit/>
          </a:bodyPr>
          <a:lstStyle>
            <a:lvl1pPr marL="0" indent="0" algn="r">
              <a:buNone/>
              <a:defRPr sz="1867">
                <a:solidFill>
                  <a:srgbClr val="616364"/>
                </a:solidFill>
                <a:latin typeface="Verdana"/>
                <a:ea typeface="Verdana"/>
                <a:cs typeface="Verdana"/>
              </a:defRPr>
            </a:lvl1pPr>
          </a:lstStyle>
          <a:p>
            <a:pPr lvl="0"/>
            <a:r>
              <a:rPr lang="en-US"/>
              <a:t>Date | Presenter Information (14 pt)</a:t>
            </a:r>
          </a:p>
        </p:txBody>
      </p:sp>
      <p:sp>
        <p:nvSpPr>
          <p:cNvPr id="3" name="Title 1">
            <a:extLst>
              <a:ext uri="{FF2B5EF4-FFF2-40B4-BE49-F238E27FC236}">
                <a16:creationId xmlns:a16="http://schemas.microsoft.com/office/drawing/2014/main" id="{A5906698-E767-1659-41DB-75A526D6085F}"/>
              </a:ext>
            </a:extLst>
          </p:cNvPr>
          <p:cNvSpPr txBox="1">
            <a:spLocks noGrp="1"/>
          </p:cNvSpPr>
          <p:nvPr>
            <p:ph type="title"/>
          </p:nvPr>
        </p:nvSpPr>
        <p:spPr>
          <a:xfrm>
            <a:off x="2826557" y="1807156"/>
            <a:ext cx="8178613" cy="1629460"/>
          </a:xfrm>
        </p:spPr>
        <p:txBody>
          <a:bodyPr anchor="b"/>
          <a:lstStyle>
            <a:lvl1pPr>
              <a:defRPr sz="5334">
                <a:solidFill>
                  <a:srgbClr val="00314C"/>
                </a:solidFill>
                <a:latin typeface="Verdana"/>
                <a:ea typeface="Verdana"/>
                <a:cs typeface="Verdana"/>
              </a:defRPr>
            </a:lvl1pPr>
          </a:lstStyle>
          <a:p>
            <a:pPr lvl="0"/>
            <a:r>
              <a:rPr lang="en-US"/>
              <a:t>Presentation Title (40pt)</a:t>
            </a:r>
          </a:p>
        </p:txBody>
      </p:sp>
      <p:sp>
        <p:nvSpPr>
          <p:cNvPr id="4" name="Date Placeholder 3">
            <a:extLst>
              <a:ext uri="{FF2B5EF4-FFF2-40B4-BE49-F238E27FC236}">
                <a16:creationId xmlns:a16="http://schemas.microsoft.com/office/drawing/2014/main" id="{BB0E70A1-D615-ED83-E4FF-4385443CC375}"/>
              </a:ext>
            </a:extLst>
          </p:cNvPr>
          <p:cNvSpPr txBox="1">
            <a:spLocks noGrp="1"/>
          </p:cNvSpPr>
          <p:nvPr>
            <p:ph type="dt" sz="quarter" idx="7"/>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914446"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defRPr>
            </a:lvl1pPr>
          </a:lstStyle>
          <a:p>
            <a:pPr lvl="0"/>
            <a:fld id="{A6554521-86CB-443B-AC4C-A3251EF19DB7}" type="datetime1">
              <a:rPr lang="en-US"/>
              <a:pPr lvl="0"/>
              <a:t>5/20/2026</a:t>
            </a:fld>
            <a:endParaRPr lang="en-US"/>
          </a:p>
        </p:txBody>
      </p:sp>
      <p:sp>
        <p:nvSpPr>
          <p:cNvPr id="5" name="Footer Placeholder 4">
            <a:extLst>
              <a:ext uri="{FF2B5EF4-FFF2-40B4-BE49-F238E27FC236}">
                <a16:creationId xmlns:a16="http://schemas.microsoft.com/office/drawing/2014/main" id="{8311AA10-8713-6674-AC03-03B76E5340BF}"/>
              </a:ext>
            </a:extLst>
          </p:cNvPr>
          <p:cNvSpPr txBox="1">
            <a:spLocks noGrp="1"/>
          </p:cNvSpPr>
          <p:nvPr>
            <p:ph type="ftr" sz="quarter" idx="9"/>
          </p:nvPr>
        </p:nvSpPr>
        <p:spPr/>
        <p:txBody>
          <a:bodyPr anchorCtr="1"/>
          <a:lstStyle>
            <a:lvl1pPr algn="ctr">
              <a:defRPr/>
            </a:lvl1pPr>
          </a:lstStyle>
          <a:p>
            <a:pPr lvl="0"/>
            <a:endParaRPr lang="en-US"/>
          </a:p>
        </p:txBody>
      </p:sp>
      <p:sp>
        <p:nvSpPr>
          <p:cNvPr id="6" name="Slide Number Placeholder 5">
            <a:extLst>
              <a:ext uri="{FF2B5EF4-FFF2-40B4-BE49-F238E27FC236}">
                <a16:creationId xmlns:a16="http://schemas.microsoft.com/office/drawing/2014/main" id="{B22FE2C8-9211-AC60-02CF-B35770EAD34F}"/>
              </a:ext>
            </a:extLst>
          </p:cNvPr>
          <p:cNvSpPr txBox="1">
            <a:spLocks noGrp="1"/>
          </p:cNvSpPr>
          <p:nvPr>
            <p:ph type="sldNum" sz="quarter" idx="8"/>
          </p:nvPr>
        </p:nvSpPr>
        <p:spPr/>
        <p:txBody>
          <a:bodyPr/>
          <a:lstStyle>
            <a:lvl1pPr>
              <a:defRPr/>
            </a:lvl1pPr>
          </a:lstStyle>
          <a:p>
            <a:pPr lvl="0"/>
            <a:fld id="{AF0A3D8B-0027-44CB-A957-56140F42A7D0}" type="slidenum">
              <a:t>‹#›</a:t>
            </a:fld>
            <a:endParaRPr lang="en-US"/>
          </a:p>
        </p:txBody>
      </p:sp>
      <p:sp>
        <p:nvSpPr>
          <p:cNvPr id="7" name="Rectangle 12">
            <a:extLst>
              <a:ext uri="{FF2B5EF4-FFF2-40B4-BE49-F238E27FC236}">
                <a16:creationId xmlns:a16="http://schemas.microsoft.com/office/drawing/2014/main" id="{98EAB653-102A-5CDD-041B-4C53DF5B065A}"/>
              </a:ext>
            </a:extLst>
          </p:cNvPr>
          <p:cNvSpPr/>
          <p:nvPr/>
        </p:nvSpPr>
        <p:spPr>
          <a:xfrm rot="10799991">
            <a:off x="-28" y="2000224"/>
            <a:ext cx="2785070" cy="2042851"/>
          </a:xfrm>
          <a:custGeom>
            <a:avLst/>
            <a:gdLst>
              <a:gd name="f0" fmla="val 10800000"/>
              <a:gd name="f1" fmla="val 5400000"/>
              <a:gd name="f2" fmla="val 180"/>
              <a:gd name="f3" fmla="val w"/>
              <a:gd name="f4" fmla="val h"/>
              <a:gd name="f5" fmla="val 0"/>
              <a:gd name="f6" fmla="val 10293751"/>
              <a:gd name="f7" fmla="val 1031873"/>
              <a:gd name="f8" fmla="val 3579068"/>
              <a:gd name="f9" fmla="val 1"/>
              <a:gd name="f10" fmla="val 1031872"/>
              <a:gd name="f11" fmla="+- 0 0 -90"/>
              <a:gd name="f12" fmla="*/ f3 1 10293751"/>
              <a:gd name="f13" fmla="*/ f4 1 1031873"/>
              <a:gd name="f14" fmla="+- f7 0 f5"/>
              <a:gd name="f15" fmla="+- f6 0 f5"/>
              <a:gd name="f16" fmla="*/ f11 f0 1"/>
              <a:gd name="f17" fmla="*/ f15 1 10293751"/>
              <a:gd name="f18" fmla="*/ f14 1 1031873"/>
              <a:gd name="f19" fmla="*/ 10293751 f15 1"/>
              <a:gd name="f20" fmla="*/ 0 f15 1"/>
              <a:gd name="f21" fmla="*/ 0 f14 1"/>
              <a:gd name="f22" fmla="*/ 1 f14 1"/>
              <a:gd name="f23" fmla="*/ 1031873 f14 1"/>
              <a:gd name="f24" fmla="*/ 1031872 f14 1"/>
              <a:gd name="f25" fmla="*/ 3579068 f15 1"/>
              <a:gd name="f26" fmla="*/ f16 1 f2"/>
              <a:gd name="f27" fmla="*/ f19 1 10293751"/>
              <a:gd name="f28" fmla="*/ f20 1 10293751"/>
              <a:gd name="f29" fmla="*/ f21 1 1031873"/>
              <a:gd name="f30" fmla="*/ f22 1 1031873"/>
              <a:gd name="f31" fmla="*/ f23 1 1031873"/>
              <a:gd name="f32" fmla="*/ f24 1 1031873"/>
              <a:gd name="f33" fmla="*/ f25 1 10293751"/>
              <a:gd name="f34" fmla="*/ f5 1 f17"/>
              <a:gd name="f35" fmla="*/ f6 1 f17"/>
              <a:gd name="f36" fmla="*/ f5 1 f18"/>
              <a:gd name="f37" fmla="*/ f7 1 f18"/>
              <a:gd name="f38" fmla="+- f26 0 f1"/>
              <a:gd name="f39" fmla="*/ f33 1 f17"/>
              <a:gd name="f40" fmla="*/ f29 1 f18"/>
              <a:gd name="f41" fmla="*/ f27 1 f17"/>
              <a:gd name="f42" fmla="*/ f30 1 f18"/>
              <a:gd name="f43" fmla="*/ f31 1 f18"/>
              <a:gd name="f44" fmla="*/ f28 1 f17"/>
              <a:gd name="f45" fmla="*/ f32 1 f18"/>
              <a:gd name="f46" fmla="*/ f34 f12 1"/>
              <a:gd name="f47" fmla="*/ f35 f12 1"/>
              <a:gd name="f48" fmla="*/ f37 f13 1"/>
              <a:gd name="f49" fmla="*/ f36 f13 1"/>
              <a:gd name="f50" fmla="*/ f39 f12 1"/>
              <a:gd name="f51" fmla="*/ f40 f13 1"/>
              <a:gd name="f52" fmla="*/ f41 f12 1"/>
              <a:gd name="f53" fmla="*/ f42 f13 1"/>
              <a:gd name="f54" fmla="*/ f43 f13 1"/>
              <a:gd name="f55" fmla="*/ f44 f12 1"/>
              <a:gd name="f56" fmla="*/ f45 f13 1"/>
            </a:gdLst>
            <a:ahLst/>
            <a:cxnLst>
              <a:cxn ang="3cd4">
                <a:pos x="hc" y="t"/>
              </a:cxn>
              <a:cxn ang="0">
                <a:pos x="r" y="vc"/>
              </a:cxn>
              <a:cxn ang="cd4">
                <a:pos x="hc" y="b"/>
              </a:cxn>
              <a:cxn ang="cd2">
                <a:pos x="l" y="vc"/>
              </a:cxn>
              <a:cxn ang="f38">
                <a:pos x="f50" y="f51"/>
              </a:cxn>
              <a:cxn ang="f38">
                <a:pos x="f52" y="f53"/>
              </a:cxn>
              <a:cxn ang="f38">
                <a:pos x="f52" y="f54"/>
              </a:cxn>
              <a:cxn ang="f38">
                <a:pos x="f55" y="f56"/>
              </a:cxn>
              <a:cxn ang="f38">
                <a:pos x="f50" y="f51"/>
              </a:cxn>
            </a:cxnLst>
            <a:rect l="f46" t="f49" r="f47" b="f48"/>
            <a:pathLst>
              <a:path w="10293751" h="1031873">
                <a:moveTo>
                  <a:pt x="f8" y="f5"/>
                </a:moveTo>
                <a:lnTo>
                  <a:pt x="f6" y="f9"/>
                </a:lnTo>
                <a:lnTo>
                  <a:pt x="f6" y="f7"/>
                </a:lnTo>
                <a:lnTo>
                  <a:pt x="f5" y="f10"/>
                </a:lnTo>
                <a:lnTo>
                  <a:pt x="f8" y="f5"/>
                </a:lnTo>
                <a:close/>
              </a:path>
            </a:pathLst>
          </a:cu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8" name="Rectangle 8">
            <a:extLst>
              <a:ext uri="{FF2B5EF4-FFF2-40B4-BE49-F238E27FC236}">
                <a16:creationId xmlns:a16="http://schemas.microsoft.com/office/drawing/2014/main" id="{5CE3849A-C762-3FF6-BC5F-8C9809530485}"/>
              </a:ext>
            </a:extLst>
          </p:cNvPr>
          <p:cNvSpPr/>
          <p:nvPr/>
        </p:nvSpPr>
        <p:spPr>
          <a:xfrm>
            <a:off x="0" y="6115050"/>
            <a:ext cx="12191996" cy="742950"/>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9" name="Text Placeholder 11">
            <a:extLst>
              <a:ext uri="{FF2B5EF4-FFF2-40B4-BE49-F238E27FC236}">
                <a16:creationId xmlns:a16="http://schemas.microsoft.com/office/drawing/2014/main" id="{7C2450DE-9717-8B88-9BBE-05D8E6EAF599}"/>
              </a:ext>
            </a:extLst>
          </p:cNvPr>
          <p:cNvSpPr txBox="1">
            <a:spLocks noGrp="1"/>
          </p:cNvSpPr>
          <p:nvPr>
            <p:ph type="body" idx="4294967295"/>
          </p:nvPr>
        </p:nvSpPr>
        <p:spPr>
          <a:xfrm>
            <a:off x="2826557" y="3447397"/>
            <a:ext cx="8178613" cy="713314"/>
          </a:xfrm>
        </p:spPr>
        <p:txBody>
          <a:bodyPr/>
          <a:lstStyle>
            <a:lvl1pPr marL="0" indent="0">
              <a:buNone/>
              <a:defRPr sz="3200">
                <a:solidFill>
                  <a:srgbClr val="00314C"/>
                </a:solidFill>
                <a:latin typeface="Verdana"/>
                <a:ea typeface="Verdana"/>
                <a:cs typeface="Verdana"/>
              </a:defRPr>
            </a:lvl1pPr>
          </a:lstStyle>
          <a:p>
            <a:pPr lvl="0"/>
            <a:r>
              <a:rPr lang="en-US"/>
              <a:t>Subtitle (24)</a:t>
            </a:r>
          </a:p>
        </p:txBody>
      </p:sp>
      <p:pic>
        <p:nvPicPr>
          <p:cNvPr id="10" name="Picture 12">
            <a:extLst>
              <a:ext uri="{FF2B5EF4-FFF2-40B4-BE49-F238E27FC236}">
                <a16:creationId xmlns:a16="http://schemas.microsoft.com/office/drawing/2014/main" id="{654301C6-C009-48B5-4A14-CB165720F5D7}"/>
              </a:ext>
            </a:extLst>
          </p:cNvPr>
          <p:cNvPicPr>
            <a:picLocks noChangeAspect="1"/>
          </p:cNvPicPr>
          <p:nvPr/>
        </p:nvPicPr>
        <p:blipFill>
          <a:blip r:embed="rId2"/>
          <a:srcRect/>
          <a:stretch>
            <a:fillRect/>
          </a:stretch>
        </p:blipFill>
        <p:spPr>
          <a:xfrm>
            <a:off x="2829840" y="4178333"/>
            <a:ext cx="4395959" cy="1140165"/>
          </a:xfrm>
          <a:prstGeom prst="rect">
            <a:avLst/>
          </a:prstGeom>
          <a:noFill/>
          <a:ln cap="flat">
            <a:noFill/>
          </a:ln>
        </p:spPr>
      </p:pic>
    </p:spTree>
    <p:extLst>
      <p:ext uri="{BB962C8B-B14F-4D97-AF65-F5344CB8AC3E}">
        <p14:creationId xmlns:p14="http://schemas.microsoft.com/office/powerpoint/2010/main" val="253823340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Comparison">
  <p:cSld name="TWO_OBJECTS_WITH_TEXT 2">
    <p:spTree>
      <p:nvGrpSpPr>
        <p:cNvPr id="1" name="Shape 9373"/>
        <p:cNvGrpSpPr/>
        <p:nvPr/>
      </p:nvGrpSpPr>
      <p:grpSpPr>
        <a:xfrm>
          <a:off x="0" y="0"/>
          <a:ext cx="0" cy="0"/>
          <a:chOff x="0" y="0"/>
          <a:chExt cx="0" cy="0"/>
        </a:xfrm>
      </p:grpSpPr>
      <p:grpSp>
        <p:nvGrpSpPr>
          <p:cNvPr id="9374" name="Google Shape;9374;p1349"/>
          <p:cNvGrpSpPr/>
          <p:nvPr/>
        </p:nvGrpSpPr>
        <p:grpSpPr>
          <a:xfrm>
            <a:off x="7191542" y="1"/>
            <a:ext cx="5000459" cy="1425992"/>
            <a:chOff x="7191542" y="1"/>
            <a:chExt cx="5000459" cy="1425992"/>
          </a:xfrm>
        </p:grpSpPr>
        <p:pic>
          <p:nvPicPr>
            <p:cNvPr id="9375" name="Google Shape;9375;p13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76" name="Google Shape;9376;p1349"/>
            <p:cNvGrpSpPr/>
            <p:nvPr/>
          </p:nvGrpSpPr>
          <p:grpSpPr>
            <a:xfrm>
              <a:off x="7191542" y="1"/>
              <a:ext cx="5000459" cy="1425992"/>
              <a:chOff x="7186272" y="0"/>
              <a:chExt cx="5005729" cy="1427495"/>
            </a:xfrm>
          </p:grpSpPr>
          <p:sp>
            <p:nvSpPr>
              <p:cNvPr id="9377" name="Google Shape;9377;p13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378" name="Google Shape;9378;p13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379" name="Google Shape;9379;p13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380" name="Google Shape;9380;p134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381" name="Google Shape;9381;p134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82" name="Google Shape;9382;p134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383" name="Google Shape;9383;p134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84" name="Google Shape;9384;p13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85" name="Google Shape;9385;p13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86" name="Google Shape;9386;p13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p:cSld name="Title and Bullets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30AE91-B6C3-3E7C-2151-E4499F7F0065}"/>
              </a:ext>
            </a:extLst>
          </p:cNvPr>
          <p:cNvSpPr txBox="1">
            <a:spLocks noGrp="1"/>
          </p:cNvSpPr>
          <p:nvPr>
            <p:ph type="title"/>
          </p:nvPr>
        </p:nvSpPr>
        <p:spPr>
          <a:xfrm>
            <a:off x="848992" y="783842"/>
            <a:ext cx="10177756"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sp>
        <p:nvSpPr>
          <p:cNvPr id="3" name="Rectangle 9">
            <a:extLst>
              <a:ext uri="{FF2B5EF4-FFF2-40B4-BE49-F238E27FC236}">
                <a16:creationId xmlns:a16="http://schemas.microsoft.com/office/drawing/2014/main" id="{5A106850-DB13-A884-441E-C6CF6CE6AB6C}"/>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4" name="Rectangle 10">
            <a:extLst>
              <a:ext uri="{FF2B5EF4-FFF2-40B4-BE49-F238E27FC236}">
                <a16:creationId xmlns:a16="http://schemas.microsoft.com/office/drawing/2014/main" id="{DB3BDC58-5F7F-B8C9-42B4-0B4E994D079D}"/>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5" name="Text Placeholder 4">
            <a:extLst>
              <a:ext uri="{FF2B5EF4-FFF2-40B4-BE49-F238E27FC236}">
                <a16:creationId xmlns:a16="http://schemas.microsoft.com/office/drawing/2014/main" id="{2D412F36-B93C-F6A9-23CA-61193C21B444}"/>
              </a:ext>
            </a:extLst>
          </p:cNvPr>
          <p:cNvSpPr txBox="1">
            <a:spLocks noGrp="1"/>
          </p:cNvSpPr>
          <p:nvPr>
            <p:ph type="body" idx="4294967295"/>
          </p:nvPr>
        </p:nvSpPr>
        <p:spPr>
          <a:xfrm>
            <a:off x="848783" y="1615023"/>
            <a:ext cx="10176933" cy="3812115"/>
          </a:xfrm>
        </p:spPr>
        <p:txBody>
          <a:bodyPr/>
          <a:lstStyle>
            <a:lvl1pPr marL="381031" indent="-381031">
              <a:defRPr sz="2133">
                <a:latin typeface="Verdana"/>
                <a:ea typeface="Verdana"/>
                <a:cs typeface="Verdana"/>
              </a:defRPr>
            </a:lvl1pPr>
            <a:lvl2pPr marL="381031" lvl="0" indent="-381031">
              <a:spcBef>
                <a:spcPts val="1000"/>
              </a:spcBef>
              <a:buClr>
                <a:srgbClr val="F5668F"/>
              </a:buClr>
              <a:defRPr sz="2133">
                <a:latin typeface="Verdana"/>
                <a:ea typeface="Verdana"/>
                <a:cs typeface="Verdana"/>
              </a:defRPr>
            </a:lvl2pPr>
          </a:lstStyle>
          <a:p>
            <a:pPr lvl="0"/>
            <a:r>
              <a:rPr lang="en-US"/>
              <a:t>Copy goes here</a:t>
            </a:r>
          </a:p>
          <a:p>
            <a:pPr lvl="0"/>
            <a:endParaRPr lang="en-US"/>
          </a:p>
        </p:txBody>
      </p:sp>
      <p:pic>
        <p:nvPicPr>
          <p:cNvPr id="6" name="Picture 6">
            <a:extLst>
              <a:ext uri="{FF2B5EF4-FFF2-40B4-BE49-F238E27FC236}">
                <a16:creationId xmlns:a16="http://schemas.microsoft.com/office/drawing/2014/main" id="{451B8335-1D9D-5BA9-4A0E-218F3E439FEA}"/>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Tree>
    <p:extLst>
      <p:ext uri="{BB962C8B-B14F-4D97-AF65-F5344CB8AC3E}">
        <p14:creationId xmlns:p14="http://schemas.microsoft.com/office/powerpoint/2010/main" val="810923153"/>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p:cSld name="19_Title and Content">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55E36857-B4CF-ED2E-5160-452077116C7D}"/>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pic>
        <p:nvPicPr>
          <p:cNvPr id="3" name="Picture 10">
            <a:extLst>
              <a:ext uri="{FF2B5EF4-FFF2-40B4-BE49-F238E27FC236}">
                <a16:creationId xmlns:a16="http://schemas.microsoft.com/office/drawing/2014/main" id="{BD3F5EF0-2763-7E06-E595-5C895796EFA1}"/>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
        <p:nvSpPr>
          <p:cNvPr id="4" name="Rectangle 11">
            <a:extLst>
              <a:ext uri="{FF2B5EF4-FFF2-40B4-BE49-F238E27FC236}">
                <a16:creationId xmlns:a16="http://schemas.microsoft.com/office/drawing/2014/main" id="{D668B424-4D5F-A574-70D5-5AFC23E6269C}"/>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5" name="Title 1">
            <a:extLst>
              <a:ext uri="{FF2B5EF4-FFF2-40B4-BE49-F238E27FC236}">
                <a16:creationId xmlns:a16="http://schemas.microsoft.com/office/drawing/2014/main" id="{123B0F77-62D8-5C2C-A6B3-3C5C03F3951B}"/>
              </a:ext>
            </a:extLst>
          </p:cNvPr>
          <p:cNvSpPr txBox="1">
            <a:spLocks noGrp="1"/>
          </p:cNvSpPr>
          <p:nvPr>
            <p:ph type="title"/>
          </p:nvPr>
        </p:nvSpPr>
        <p:spPr>
          <a:xfrm>
            <a:off x="848992" y="806858"/>
            <a:ext cx="10156176"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sp>
        <p:nvSpPr>
          <p:cNvPr id="6" name="Text Placeholder 15">
            <a:extLst>
              <a:ext uri="{FF2B5EF4-FFF2-40B4-BE49-F238E27FC236}">
                <a16:creationId xmlns:a16="http://schemas.microsoft.com/office/drawing/2014/main" id="{8B754805-FF2C-9085-7AC5-D4CA4DE5B226}"/>
              </a:ext>
            </a:extLst>
          </p:cNvPr>
          <p:cNvSpPr txBox="1">
            <a:spLocks noGrp="1"/>
          </p:cNvSpPr>
          <p:nvPr>
            <p:ph type="body" idx="4294967295"/>
          </p:nvPr>
        </p:nvSpPr>
        <p:spPr>
          <a:xfrm>
            <a:off x="848992" y="1637855"/>
            <a:ext cx="10156176" cy="4117159"/>
          </a:xfrm>
        </p:spPr>
        <p:txBody>
          <a:bodyPr/>
          <a:lstStyle>
            <a:lvl1pPr marL="0" indent="0" defTabSz="914473">
              <a:lnSpc>
                <a:spcPct val="90000"/>
              </a:lnSpc>
              <a:spcAft>
                <a:spcPts val="0"/>
              </a:spcAft>
              <a:buNone/>
              <a:defRPr sz="2133">
                <a:latin typeface="Verdana"/>
                <a:ea typeface="Verdana"/>
                <a:cs typeface="Verdana"/>
              </a:defRPr>
            </a:lvl1pPr>
          </a:lstStyle>
          <a:p>
            <a:pPr lvl="0"/>
            <a:r>
              <a:rPr lang="en-US"/>
              <a:t>Copy goes here. </a:t>
            </a:r>
          </a:p>
        </p:txBody>
      </p:sp>
    </p:spTree>
    <p:extLst>
      <p:ext uri="{BB962C8B-B14F-4D97-AF65-F5344CB8AC3E}">
        <p14:creationId xmlns:p14="http://schemas.microsoft.com/office/powerpoint/2010/main" val="3953421727"/>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p:cSld name="Two Section | Picture and Copy Layout">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AB96C226-3678-9D91-F371-27B23C4BB17D}"/>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3" name="Rectangle 11">
            <a:extLst>
              <a:ext uri="{FF2B5EF4-FFF2-40B4-BE49-F238E27FC236}">
                <a16:creationId xmlns:a16="http://schemas.microsoft.com/office/drawing/2014/main" id="{D41399D9-F028-9635-3A0D-5A30BC166083}"/>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4" name="Content Placeholder 2">
            <a:extLst>
              <a:ext uri="{FF2B5EF4-FFF2-40B4-BE49-F238E27FC236}">
                <a16:creationId xmlns:a16="http://schemas.microsoft.com/office/drawing/2014/main" id="{75FE013E-ADDB-64DC-55F7-933868B9B2E4}"/>
              </a:ext>
            </a:extLst>
          </p:cNvPr>
          <p:cNvSpPr txBox="1">
            <a:spLocks noGrp="1"/>
          </p:cNvSpPr>
          <p:nvPr>
            <p:ph idx="4294967295"/>
          </p:nvPr>
        </p:nvSpPr>
        <p:spPr>
          <a:xfrm>
            <a:off x="1186836" y="1294452"/>
            <a:ext cx="3983336" cy="3788084"/>
          </a:xfrm>
        </p:spPr>
        <p:txBody>
          <a:bodyPr/>
          <a:lstStyle>
            <a:lvl1pPr marL="0" indent="0">
              <a:buNone/>
              <a:defRPr sz="1200" i="1">
                <a:solidFill>
                  <a:srgbClr val="003B5C"/>
                </a:solidFill>
                <a:latin typeface="Verdana"/>
                <a:ea typeface="Verdana"/>
                <a:cs typeface="Verdana"/>
              </a:defRPr>
            </a:lvl1pPr>
          </a:lstStyle>
          <a:p>
            <a:pPr lvl="0"/>
            <a:r>
              <a:rPr lang="en-US"/>
              <a:t>*Insert Image Here</a:t>
            </a:r>
          </a:p>
        </p:txBody>
      </p:sp>
      <p:sp>
        <p:nvSpPr>
          <p:cNvPr id="5" name="Content Placeholder 3">
            <a:extLst>
              <a:ext uri="{FF2B5EF4-FFF2-40B4-BE49-F238E27FC236}">
                <a16:creationId xmlns:a16="http://schemas.microsoft.com/office/drawing/2014/main" id="{820348AC-BCC1-17DF-46AB-93B75A6D82C1}"/>
              </a:ext>
            </a:extLst>
          </p:cNvPr>
          <p:cNvSpPr txBox="1">
            <a:spLocks noGrp="1"/>
          </p:cNvSpPr>
          <p:nvPr>
            <p:ph idx="4294967295"/>
          </p:nvPr>
        </p:nvSpPr>
        <p:spPr>
          <a:xfrm>
            <a:off x="5549394" y="1997132"/>
            <a:ext cx="5466557" cy="3085414"/>
          </a:xfrm>
        </p:spPr>
        <p:txBody>
          <a:bodyPr/>
          <a:lstStyle>
            <a:lvl1pPr marL="0" indent="0" defTabSz="914473">
              <a:lnSpc>
                <a:spcPct val="90000"/>
              </a:lnSpc>
              <a:spcAft>
                <a:spcPts val="0"/>
              </a:spcAft>
              <a:buNone/>
              <a:defRPr sz="2133">
                <a:latin typeface="Verdana"/>
                <a:ea typeface="Verdana"/>
                <a:cs typeface="Verdana"/>
              </a:defRPr>
            </a:lvl1pPr>
          </a:lstStyle>
          <a:p>
            <a:pPr lvl="0"/>
            <a:r>
              <a:rPr lang="en-US"/>
              <a:t>Copy goes here. </a:t>
            </a:r>
          </a:p>
        </p:txBody>
      </p:sp>
      <p:sp>
        <p:nvSpPr>
          <p:cNvPr id="6" name="Title 16">
            <a:extLst>
              <a:ext uri="{FF2B5EF4-FFF2-40B4-BE49-F238E27FC236}">
                <a16:creationId xmlns:a16="http://schemas.microsoft.com/office/drawing/2014/main" id="{D9A0B7B5-FFC8-E550-91C7-717EDC651627}"/>
              </a:ext>
            </a:extLst>
          </p:cNvPr>
          <p:cNvSpPr txBox="1">
            <a:spLocks noGrp="1"/>
          </p:cNvSpPr>
          <p:nvPr>
            <p:ph type="title"/>
          </p:nvPr>
        </p:nvSpPr>
        <p:spPr>
          <a:xfrm>
            <a:off x="5549394" y="1154531"/>
            <a:ext cx="5466557"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pic>
        <p:nvPicPr>
          <p:cNvPr id="7" name="Picture 7">
            <a:extLst>
              <a:ext uri="{FF2B5EF4-FFF2-40B4-BE49-F238E27FC236}">
                <a16:creationId xmlns:a16="http://schemas.microsoft.com/office/drawing/2014/main" id="{C4B028E0-F600-E459-B9AA-6A1B55FFD62E}"/>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Tree>
    <p:extLst>
      <p:ext uri="{BB962C8B-B14F-4D97-AF65-F5344CB8AC3E}">
        <p14:creationId xmlns:p14="http://schemas.microsoft.com/office/powerpoint/2010/main" val="1538031194"/>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p:cSld name="5_Title Slide_Yale Blue">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1BFE479E-10DE-096C-0375-6595DD485C34}"/>
              </a:ext>
            </a:extLst>
          </p:cNvPr>
          <p:cNvSpPr txBox="1">
            <a:spLocks noGrp="1"/>
          </p:cNvSpPr>
          <p:nvPr>
            <p:ph type="body" idx="4294967295"/>
          </p:nvPr>
        </p:nvSpPr>
        <p:spPr>
          <a:xfrm>
            <a:off x="2826557" y="5400857"/>
            <a:ext cx="8178613" cy="379656"/>
          </a:xfrm>
        </p:spPr>
        <p:txBody>
          <a:bodyPr wrap="square">
            <a:spAutoFit/>
          </a:bodyPr>
          <a:lstStyle>
            <a:lvl1pPr marL="0" indent="0" algn="r">
              <a:buNone/>
              <a:defRPr sz="1867">
                <a:solidFill>
                  <a:srgbClr val="616364"/>
                </a:solidFill>
                <a:latin typeface="Verdana"/>
                <a:ea typeface="Verdana"/>
                <a:cs typeface="Verdana"/>
              </a:defRPr>
            </a:lvl1pPr>
          </a:lstStyle>
          <a:p>
            <a:pPr lvl="0"/>
            <a:r>
              <a:rPr lang="en-US"/>
              <a:t>Date | Presenter Information (14 pt)</a:t>
            </a:r>
          </a:p>
        </p:txBody>
      </p:sp>
      <p:sp>
        <p:nvSpPr>
          <p:cNvPr id="3" name="Title 1">
            <a:extLst>
              <a:ext uri="{FF2B5EF4-FFF2-40B4-BE49-F238E27FC236}">
                <a16:creationId xmlns:a16="http://schemas.microsoft.com/office/drawing/2014/main" id="{955579DE-2A66-7754-59DB-6EDC58778A59}"/>
              </a:ext>
            </a:extLst>
          </p:cNvPr>
          <p:cNvSpPr txBox="1">
            <a:spLocks noGrp="1"/>
          </p:cNvSpPr>
          <p:nvPr>
            <p:ph type="title"/>
          </p:nvPr>
        </p:nvSpPr>
        <p:spPr>
          <a:xfrm>
            <a:off x="2826557" y="1807156"/>
            <a:ext cx="8178613" cy="1629460"/>
          </a:xfrm>
        </p:spPr>
        <p:txBody>
          <a:bodyPr anchor="b"/>
          <a:lstStyle>
            <a:lvl1pPr>
              <a:defRPr sz="5334">
                <a:solidFill>
                  <a:srgbClr val="00314C"/>
                </a:solidFill>
                <a:latin typeface="Verdana"/>
                <a:ea typeface="Verdana"/>
                <a:cs typeface="Verdana"/>
              </a:defRPr>
            </a:lvl1pPr>
          </a:lstStyle>
          <a:p>
            <a:pPr lvl="0"/>
            <a:r>
              <a:rPr lang="en-US"/>
              <a:t>Presentation Title (40pt)</a:t>
            </a:r>
          </a:p>
        </p:txBody>
      </p:sp>
      <p:sp>
        <p:nvSpPr>
          <p:cNvPr id="4" name="Date Placeholder 3">
            <a:extLst>
              <a:ext uri="{FF2B5EF4-FFF2-40B4-BE49-F238E27FC236}">
                <a16:creationId xmlns:a16="http://schemas.microsoft.com/office/drawing/2014/main" id="{682BDCE2-2603-BE85-F270-1F950C60D512}"/>
              </a:ext>
            </a:extLst>
          </p:cNvPr>
          <p:cNvSpPr txBox="1">
            <a:spLocks noGrp="1"/>
          </p:cNvSpPr>
          <p:nvPr>
            <p:ph type="dt" sz="quarter" idx="7"/>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914446"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defRPr>
            </a:lvl1pPr>
          </a:lstStyle>
          <a:p>
            <a:pPr lvl="0"/>
            <a:fld id="{5E47F3C7-9407-4D57-B456-A3667E156729}" type="datetime1">
              <a:rPr lang="en-US"/>
              <a:pPr lvl="0"/>
              <a:t>5/20/2026</a:t>
            </a:fld>
            <a:endParaRPr lang="en-US"/>
          </a:p>
        </p:txBody>
      </p:sp>
      <p:sp>
        <p:nvSpPr>
          <p:cNvPr id="5" name="Footer Placeholder 4">
            <a:extLst>
              <a:ext uri="{FF2B5EF4-FFF2-40B4-BE49-F238E27FC236}">
                <a16:creationId xmlns:a16="http://schemas.microsoft.com/office/drawing/2014/main" id="{63264616-DCCE-E442-ED4D-8C00623982A3}"/>
              </a:ext>
            </a:extLst>
          </p:cNvPr>
          <p:cNvSpPr txBox="1">
            <a:spLocks noGrp="1"/>
          </p:cNvSpPr>
          <p:nvPr>
            <p:ph type="ftr" sz="quarter" idx="9"/>
          </p:nvPr>
        </p:nvSpPr>
        <p:spPr/>
        <p:txBody>
          <a:bodyPr anchorCtr="1"/>
          <a:lstStyle>
            <a:lvl1pPr algn="ctr">
              <a:defRPr/>
            </a:lvl1pPr>
          </a:lstStyle>
          <a:p>
            <a:pPr lvl="0"/>
            <a:endParaRPr lang="en-US"/>
          </a:p>
        </p:txBody>
      </p:sp>
      <p:sp>
        <p:nvSpPr>
          <p:cNvPr id="6" name="Slide Number Placeholder 5">
            <a:extLst>
              <a:ext uri="{FF2B5EF4-FFF2-40B4-BE49-F238E27FC236}">
                <a16:creationId xmlns:a16="http://schemas.microsoft.com/office/drawing/2014/main" id="{D0B53C84-3415-78C6-4BF1-EC5E87C99742}"/>
              </a:ext>
            </a:extLst>
          </p:cNvPr>
          <p:cNvSpPr txBox="1">
            <a:spLocks noGrp="1"/>
          </p:cNvSpPr>
          <p:nvPr>
            <p:ph type="sldNum" sz="quarter" idx="8"/>
          </p:nvPr>
        </p:nvSpPr>
        <p:spPr/>
        <p:txBody>
          <a:bodyPr/>
          <a:lstStyle>
            <a:lvl1pPr>
              <a:defRPr/>
            </a:lvl1pPr>
          </a:lstStyle>
          <a:p>
            <a:pPr lvl="0"/>
            <a:fld id="{A2FA5273-E05B-4A0F-9845-D276A5C64058}" type="slidenum">
              <a:t>‹#›</a:t>
            </a:fld>
            <a:endParaRPr lang="en-US"/>
          </a:p>
        </p:txBody>
      </p:sp>
      <p:sp>
        <p:nvSpPr>
          <p:cNvPr id="7" name="Rectangle 12">
            <a:extLst>
              <a:ext uri="{FF2B5EF4-FFF2-40B4-BE49-F238E27FC236}">
                <a16:creationId xmlns:a16="http://schemas.microsoft.com/office/drawing/2014/main" id="{051F2A1B-E749-333A-809C-9B2BC8BA1C2E}"/>
              </a:ext>
            </a:extLst>
          </p:cNvPr>
          <p:cNvSpPr/>
          <p:nvPr/>
        </p:nvSpPr>
        <p:spPr>
          <a:xfrm rot="10799991">
            <a:off x="-28" y="2000224"/>
            <a:ext cx="2785070" cy="2042851"/>
          </a:xfrm>
          <a:custGeom>
            <a:avLst/>
            <a:gdLst>
              <a:gd name="f0" fmla="val 10800000"/>
              <a:gd name="f1" fmla="val 5400000"/>
              <a:gd name="f2" fmla="val 180"/>
              <a:gd name="f3" fmla="val w"/>
              <a:gd name="f4" fmla="val h"/>
              <a:gd name="f5" fmla="val 0"/>
              <a:gd name="f6" fmla="val 10293751"/>
              <a:gd name="f7" fmla="val 1031873"/>
              <a:gd name="f8" fmla="val 3579068"/>
              <a:gd name="f9" fmla="val 1"/>
              <a:gd name="f10" fmla="val 1031872"/>
              <a:gd name="f11" fmla="+- 0 0 -90"/>
              <a:gd name="f12" fmla="*/ f3 1 10293751"/>
              <a:gd name="f13" fmla="*/ f4 1 1031873"/>
              <a:gd name="f14" fmla="+- f7 0 f5"/>
              <a:gd name="f15" fmla="+- f6 0 f5"/>
              <a:gd name="f16" fmla="*/ f11 f0 1"/>
              <a:gd name="f17" fmla="*/ f15 1 10293751"/>
              <a:gd name="f18" fmla="*/ f14 1 1031873"/>
              <a:gd name="f19" fmla="*/ 10293751 f15 1"/>
              <a:gd name="f20" fmla="*/ 0 f15 1"/>
              <a:gd name="f21" fmla="*/ 0 f14 1"/>
              <a:gd name="f22" fmla="*/ 1 f14 1"/>
              <a:gd name="f23" fmla="*/ 1031873 f14 1"/>
              <a:gd name="f24" fmla="*/ 1031872 f14 1"/>
              <a:gd name="f25" fmla="*/ 3579068 f15 1"/>
              <a:gd name="f26" fmla="*/ f16 1 f2"/>
              <a:gd name="f27" fmla="*/ f19 1 10293751"/>
              <a:gd name="f28" fmla="*/ f20 1 10293751"/>
              <a:gd name="f29" fmla="*/ f21 1 1031873"/>
              <a:gd name="f30" fmla="*/ f22 1 1031873"/>
              <a:gd name="f31" fmla="*/ f23 1 1031873"/>
              <a:gd name="f32" fmla="*/ f24 1 1031873"/>
              <a:gd name="f33" fmla="*/ f25 1 10293751"/>
              <a:gd name="f34" fmla="*/ f5 1 f17"/>
              <a:gd name="f35" fmla="*/ f6 1 f17"/>
              <a:gd name="f36" fmla="*/ f5 1 f18"/>
              <a:gd name="f37" fmla="*/ f7 1 f18"/>
              <a:gd name="f38" fmla="+- f26 0 f1"/>
              <a:gd name="f39" fmla="*/ f33 1 f17"/>
              <a:gd name="f40" fmla="*/ f29 1 f18"/>
              <a:gd name="f41" fmla="*/ f27 1 f17"/>
              <a:gd name="f42" fmla="*/ f30 1 f18"/>
              <a:gd name="f43" fmla="*/ f31 1 f18"/>
              <a:gd name="f44" fmla="*/ f28 1 f17"/>
              <a:gd name="f45" fmla="*/ f32 1 f18"/>
              <a:gd name="f46" fmla="*/ f34 f12 1"/>
              <a:gd name="f47" fmla="*/ f35 f12 1"/>
              <a:gd name="f48" fmla="*/ f37 f13 1"/>
              <a:gd name="f49" fmla="*/ f36 f13 1"/>
              <a:gd name="f50" fmla="*/ f39 f12 1"/>
              <a:gd name="f51" fmla="*/ f40 f13 1"/>
              <a:gd name="f52" fmla="*/ f41 f12 1"/>
              <a:gd name="f53" fmla="*/ f42 f13 1"/>
              <a:gd name="f54" fmla="*/ f43 f13 1"/>
              <a:gd name="f55" fmla="*/ f44 f12 1"/>
              <a:gd name="f56" fmla="*/ f45 f13 1"/>
            </a:gdLst>
            <a:ahLst/>
            <a:cxnLst>
              <a:cxn ang="3cd4">
                <a:pos x="hc" y="t"/>
              </a:cxn>
              <a:cxn ang="0">
                <a:pos x="r" y="vc"/>
              </a:cxn>
              <a:cxn ang="cd4">
                <a:pos x="hc" y="b"/>
              </a:cxn>
              <a:cxn ang="cd2">
                <a:pos x="l" y="vc"/>
              </a:cxn>
              <a:cxn ang="f38">
                <a:pos x="f50" y="f51"/>
              </a:cxn>
              <a:cxn ang="f38">
                <a:pos x="f52" y="f53"/>
              </a:cxn>
              <a:cxn ang="f38">
                <a:pos x="f52" y="f54"/>
              </a:cxn>
              <a:cxn ang="f38">
                <a:pos x="f55" y="f56"/>
              </a:cxn>
              <a:cxn ang="f38">
                <a:pos x="f50" y="f51"/>
              </a:cxn>
            </a:cxnLst>
            <a:rect l="f46" t="f49" r="f47" b="f48"/>
            <a:pathLst>
              <a:path w="10293751" h="1031873">
                <a:moveTo>
                  <a:pt x="f8" y="f5"/>
                </a:moveTo>
                <a:lnTo>
                  <a:pt x="f6" y="f9"/>
                </a:lnTo>
                <a:lnTo>
                  <a:pt x="f6" y="f7"/>
                </a:lnTo>
                <a:lnTo>
                  <a:pt x="f5" y="f10"/>
                </a:lnTo>
                <a:lnTo>
                  <a:pt x="f8" y="f5"/>
                </a:lnTo>
                <a:close/>
              </a:path>
            </a:pathLst>
          </a:cu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8" name="Rectangle 8">
            <a:extLst>
              <a:ext uri="{FF2B5EF4-FFF2-40B4-BE49-F238E27FC236}">
                <a16:creationId xmlns:a16="http://schemas.microsoft.com/office/drawing/2014/main" id="{392B8461-2533-C1EE-DC56-C42B9898B245}"/>
              </a:ext>
            </a:extLst>
          </p:cNvPr>
          <p:cNvSpPr/>
          <p:nvPr/>
        </p:nvSpPr>
        <p:spPr>
          <a:xfrm>
            <a:off x="0" y="6115050"/>
            <a:ext cx="12191996" cy="742950"/>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9" name="Text Placeholder 11">
            <a:extLst>
              <a:ext uri="{FF2B5EF4-FFF2-40B4-BE49-F238E27FC236}">
                <a16:creationId xmlns:a16="http://schemas.microsoft.com/office/drawing/2014/main" id="{5715CF6D-2792-DDB5-AAD8-C42AD9C6653C}"/>
              </a:ext>
            </a:extLst>
          </p:cNvPr>
          <p:cNvSpPr txBox="1">
            <a:spLocks noGrp="1"/>
          </p:cNvSpPr>
          <p:nvPr>
            <p:ph type="body" idx="4294967295"/>
          </p:nvPr>
        </p:nvSpPr>
        <p:spPr>
          <a:xfrm>
            <a:off x="2826557" y="3447397"/>
            <a:ext cx="8178613" cy="713314"/>
          </a:xfrm>
        </p:spPr>
        <p:txBody>
          <a:bodyPr/>
          <a:lstStyle>
            <a:lvl1pPr marL="0" indent="0">
              <a:buNone/>
              <a:defRPr sz="3200">
                <a:solidFill>
                  <a:srgbClr val="00314C"/>
                </a:solidFill>
                <a:latin typeface="Verdana"/>
                <a:ea typeface="Verdana"/>
                <a:cs typeface="Verdana"/>
              </a:defRPr>
            </a:lvl1pPr>
          </a:lstStyle>
          <a:p>
            <a:pPr lvl="0"/>
            <a:r>
              <a:rPr lang="en-US"/>
              <a:t>Subtitle (24)</a:t>
            </a:r>
          </a:p>
        </p:txBody>
      </p:sp>
      <p:pic>
        <p:nvPicPr>
          <p:cNvPr id="10" name="Picture 12">
            <a:extLst>
              <a:ext uri="{FF2B5EF4-FFF2-40B4-BE49-F238E27FC236}">
                <a16:creationId xmlns:a16="http://schemas.microsoft.com/office/drawing/2014/main" id="{F1FC32B2-7F44-B681-F82C-34710C5A3F32}"/>
              </a:ext>
            </a:extLst>
          </p:cNvPr>
          <p:cNvPicPr>
            <a:picLocks noChangeAspect="1"/>
          </p:cNvPicPr>
          <p:nvPr/>
        </p:nvPicPr>
        <p:blipFill>
          <a:blip r:embed="rId2"/>
          <a:srcRect/>
          <a:stretch>
            <a:fillRect/>
          </a:stretch>
        </p:blipFill>
        <p:spPr>
          <a:xfrm>
            <a:off x="2829840" y="4178333"/>
            <a:ext cx="4395959" cy="1140165"/>
          </a:xfrm>
          <a:prstGeom prst="rect">
            <a:avLst/>
          </a:prstGeom>
          <a:noFill/>
          <a:ln cap="flat">
            <a:noFill/>
          </a:ln>
        </p:spPr>
      </p:pic>
    </p:spTree>
    <p:extLst>
      <p:ext uri="{BB962C8B-B14F-4D97-AF65-F5344CB8AC3E}">
        <p14:creationId xmlns:p14="http://schemas.microsoft.com/office/powerpoint/2010/main" val="4093476105"/>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p:cSld name="1_Title and Bullets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4ABBF9-F6DA-7837-B823-EDCCCFE4C1E9}"/>
              </a:ext>
            </a:extLst>
          </p:cNvPr>
          <p:cNvSpPr txBox="1">
            <a:spLocks noGrp="1"/>
          </p:cNvSpPr>
          <p:nvPr>
            <p:ph type="title"/>
          </p:nvPr>
        </p:nvSpPr>
        <p:spPr>
          <a:xfrm>
            <a:off x="848992" y="783842"/>
            <a:ext cx="10177756"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sp>
        <p:nvSpPr>
          <p:cNvPr id="3" name="Rectangle 9">
            <a:extLst>
              <a:ext uri="{FF2B5EF4-FFF2-40B4-BE49-F238E27FC236}">
                <a16:creationId xmlns:a16="http://schemas.microsoft.com/office/drawing/2014/main" id="{4B857130-6BCA-1078-0A80-F63D925F4EF2}"/>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4" name="Rectangle 10">
            <a:extLst>
              <a:ext uri="{FF2B5EF4-FFF2-40B4-BE49-F238E27FC236}">
                <a16:creationId xmlns:a16="http://schemas.microsoft.com/office/drawing/2014/main" id="{32774968-A25E-B98B-6898-6C830448797E}"/>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5" name="Text Placeholder 4">
            <a:extLst>
              <a:ext uri="{FF2B5EF4-FFF2-40B4-BE49-F238E27FC236}">
                <a16:creationId xmlns:a16="http://schemas.microsoft.com/office/drawing/2014/main" id="{9EDF6011-7E4E-4036-7BA2-C077D47EB405}"/>
              </a:ext>
            </a:extLst>
          </p:cNvPr>
          <p:cNvSpPr txBox="1">
            <a:spLocks noGrp="1"/>
          </p:cNvSpPr>
          <p:nvPr>
            <p:ph type="body" idx="4294967295"/>
          </p:nvPr>
        </p:nvSpPr>
        <p:spPr>
          <a:xfrm>
            <a:off x="848783" y="1615023"/>
            <a:ext cx="10176933" cy="3812115"/>
          </a:xfrm>
        </p:spPr>
        <p:txBody>
          <a:bodyPr/>
          <a:lstStyle>
            <a:lvl1pPr marL="381031" indent="-381031">
              <a:defRPr sz="2133">
                <a:latin typeface="Verdana"/>
                <a:ea typeface="Verdana"/>
                <a:cs typeface="Verdana"/>
              </a:defRPr>
            </a:lvl1pPr>
            <a:lvl2pPr marL="381031" lvl="0" indent="-381031">
              <a:spcBef>
                <a:spcPts val="1000"/>
              </a:spcBef>
              <a:buClr>
                <a:srgbClr val="F5668F"/>
              </a:buClr>
              <a:defRPr sz="2133">
                <a:latin typeface="Verdana"/>
                <a:ea typeface="Verdana"/>
                <a:cs typeface="Verdana"/>
              </a:defRPr>
            </a:lvl2pPr>
          </a:lstStyle>
          <a:p>
            <a:pPr lvl="0"/>
            <a:r>
              <a:rPr lang="en-US"/>
              <a:t>Copy goes here</a:t>
            </a:r>
          </a:p>
          <a:p>
            <a:pPr lvl="0"/>
            <a:endParaRPr lang="en-US"/>
          </a:p>
        </p:txBody>
      </p:sp>
      <p:pic>
        <p:nvPicPr>
          <p:cNvPr id="6" name="Picture 6">
            <a:extLst>
              <a:ext uri="{FF2B5EF4-FFF2-40B4-BE49-F238E27FC236}">
                <a16:creationId xmlns:a16="http://schemas.microsoft.com/office/drawing/2014/main" id="{63835AFA-C964-C6B5-4B65-A11C1F574F8C}"/>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Tree>
    <p:extLst>
      <p:ext uri="{BB962C8B-B14F-4D97-AF65-F5344CB8AC3E}">
        <p14:creationId xmlns:p14="http://schemas.microsoft.com/office/powerpoint/2010/main" val="2247455708"/>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p:cSld name="20_Title and Content">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A440371E-B548-0616-8D68-ED6AD7054DD3}"/>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pic>
        <p:nvPicPr>
          <p:cNvPr id="3" name="Picture 10">
            <a:extLst>
              <a:ext uri="{FF2B5EF4-FFF2-40B4-BE49-F238E27FC236}">
                <a16:creationId xmlns:a16="http://schemas.microsoft.com/office/drawing/2014/main" id="{9556CC05-2967-0A67-1FB7-7DE713A030F8}"/>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
        <p:nvSpPr>
          <p:cNvPr id="4" name="Rectangle 11">
            <a:extLst>
              <a:ext uri="{FF2B5EF4-FFF2-40B4-BE49-F238E27FC236}">
                <a16:creationId xmlns:a16="http://schemas.microsoft.com/office/drawing/2014/main" id="{06F878D5-B63A-77B9-9B4A-400EF5983DCA}"/>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5" name="Title 1">
            <a:extLst>
              <a:ext uri="{FF2B5EF4-FFF2-40B4-BE49-F238E27FC236}">
                <a16:creationId xmlns:a16="http://schemas.microsoft.com/office/drawing/2014/main" id="{FCCFD576-05B0-2778-C8BD-906109AE2657}"/>
              </a:ext>
            </a:extLst>
          </p:cNvPr>
          <p:cNvSpPr txBox="1">
            <a:spLocks noGrp="1"/>
          </p:cNvSpPr>
          <p:nvPr>
            <p:ph type="title"/>
          </p:nvPr>
        </p:nvSpPr>
        <p:spPr>
          <a:xfrm>
            <a:off x="848992" y="806858"/>
            <a:ext cx="10156176"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sp>
        <p:nvSpPr>
          <p:cNvPr id="6" name="Text Placeholder 15">
            <a:extLst>
              <a:ext uri="{FF2B5EF4-FFF2-40B4-BE49-F238E27FC236}">
                <a16:creationId xmlns:a16="http://schemas.microsoft.com/office/drawing/2014/main" id="{8B80A86A-8940-F45F-DA57-40A6F10EE457}"/>
              </a:ext>
            </a:extLst>
          </p:cNvPr>
          <p:cNvSpPr txBox="1">
            <a:spLocks noGrp="1"/>
          </p:cNvSpPr>
          <p:nvPr>
            <p:ph type="body" idx="4294967295"/>
          </p:nvPr>
        </p:nvSpPr>
        <p:spPr>
          <a:xfrm>
            <a:off x="848992" y="1637855"/>
            <a:ext cx="10156176" cy="4117159"/>
          </a:xfrm>
        </p:spPr>
        <p:txBody>
          <a:bodyPr/>
          <a:lstStyle>
            <a:lvl1pPr marL="0" indent="0" defTabSz="914473">
              <a:lnSpc>
                <a:spcPct val="90000"/>
              </a:lnSpc>
              <a:spcAft>
                <a:spcPts val="0"/>
              </a:spcAft>
              <a:buNone/>
              <a:defRPr sz="2133">
                <a:latin typeface="Verdana"/>
                <a:ea typeface="Verdana"/>
                <a:cs typeface="Verdana"/>
              </a:defRPr>
            </a:lvl1pPr>
          </a:lstStyle>
          <a:p>
            <a:pPr lvl="0"/>
            <a:r>
              <a:rPr lang="en-US"/>
              <a:t>Copy goes here. </a:t>
            </a:r>
          </a:p>
        </p:txBody>
      </p:sp>
    </p:spTree>
    <p:extLst>
      <p:ext uri="{BB962C8B-B14F-4D97-AF65-F5344CB8AC3E}">
        <p14:creationId xmlns:p14="http://schemas.microsoft.com/office/powerpoint/2010/main" val="1077162757"/>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p:cSld name="1_Two Section | Picture and Copy Layout">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FA239D77-ECD7-59AA-2C88-F7CA4EC15FE9}"/>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3" name="Rectangle 11">
            <a:extLst>
              <a:ext uri="{FF2B5EF4-FFF2-40B4-BE49-F238E27FC236}">
                <a16:creationId xmlns:a16="http://schemas.microsoft.com/office/drawing/2014/main" id="{8664ED8A-C92A-DCFF-88B6-C7E977A822CF}"/>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4" name="Content Placeholder 2">
            <a:extLst>
              <a:ext uri="{FF2B5EF4-FFF2-40B4-BE49-F238E27FC236}">
                <a16:creationId xmlns:a16="http://schemas.microsoft.com/office/drawing/2014/main" id="{35321956-8514-32FF-AD99-15394FAE8E5D}"/>
              </a:ext>
            </a:extLst>
          </p:cNvPr>
          <p:cNvSpPr txBox="1">
            <a:spLocks noGrp="1"/>
          </p:cNvSpPr>
          <p:nvPr>
            <p:ph idx="4294967295"/>
          </p:nvPr>
        </p:nvSpPr>
        <p:spPr>
          <a:xfrm>
            <a:off x="1186836" y="1294452"/>
            <a:ext cx="3983336" cy="3788084"/>
          </a:xfrm>
        </p:spPr>
        <p:txBody>
          <a:bodyPr/>
          <a:lstStyle>
            <a:lvl1pPr marL="0" indent="0">
              <a:buNone/>
              <a:defRPr sz="1200" i="1">
                <a:solidFill>
                  <a:srgbClr val="003B5C"/>
                </a:solidFill>
                <a:latin typeface="Verdana"/>
                <a:ea typeface="Verdana"/>
                <a:cs typeface="Verdana"/>
              </a:defRPr>
            </a:lvl1pPr>
          </a:lstStyle>
          <a:p>
            <a:pPr lvl="0"/>
            <a:r>
              <a:rPr lang="en-US"/>
              <a:t>*Insert Image Here</a:t>
            </a:r>
          </a:p>
        </p:txBody>
      </p:sp>
      <p:sp>
        <p:nvSpPr>
          <p:cNvPr id="5" name="Content Placeholder 3">
            <a:extLst>
              <a:ext uri="{FF2B5EF4-FFF2-40B4-BE49-F238E27FC236}">
                <a16:creationId xmlns:a16="http://schemas.microsoft.com/office/drawing/2014/main" id="{D83FB267-099E-1707-AF3B-2D9D280AC98A}"/>
              </a:ext>
            </a:extLst>
          </p:cNvPr>
          <p:cNvSpPr txBox="1">
            <a:spLocks noGrp="1"/>
          </p:cNvSpPr>
          <p:nvPr>
            <p:ph idx="4294967295"/>
          </p:nvPr>
        </p:nvSpPr>
        <p:spPr>
          <a:xfrm>
            <a:off x="5549394" y="1997132"/>
            <a:ext cx="5466557" cy="3085414"/>
          </a:xfrm>
        </p:spPr>
        <p:txBody>
          <a:bodyPr/>
          <a:lstStyle>
            <a:lvl1pPr marL="0" indent="0" defTabSz="914473">
              <a:lnSpc>
                <a:spcPct val="90000"/>
              </a:lnSpc>
              <a:spcAft>
                <a:spcPts val="0"/>
              </a:spcAft>
              <a:buNone/>
              <a:defRPr sz="2133">
                <a:latin typeface="Verdana"/>
                <a:ea typeface="Verdana"/>
                <a:cs typeface="Verdana"/>
              </a:defRPr>
            </a:lvl1pPr>
          </a:lstStyle>
          <a:p>
            <a:pPr lvl="0"/>
            <a:r>
              <a:rPr lang="en-US"/>
              <a:t>Copy goes here. </a:t>
            </a:r>
          </a:p>
        </p:txBody>
      </p:sp>
      <p:sp>
        <p:nvSpPr>
          <p:cNvPr id="6" name="Title 16">
            <a:extLst>
              <a:ext uri="{FF2B5EF4-FFF2-40B4-BE49-F238E27FC236}">
                <a16:creationId xmlns:a16="http://schemas.microsoft.com/office/drawing/2014/main" id="{E42F70C9-CDF3-4235-37B7-F407D9E4A821}"/>
              </a:ext>
            </a:extLst>
          </p:cNvPr>
          <p:cNvSpPr txBox="1">
            <a:spLocks noGrp="1"/>
          </p:cNvSpPr>
          <p:nvPr>
            <p:ph type="title"/>
          </p:nvPr>
        </p:nvSpPr>
        <p:spPr>
          <a:xfrm>
            <a:off x="5549394" y="1154531"/>
            <a:ext cx="5466557"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pic>
        <p:nvPicPr>
          <p:cNvPr id="7" name="Picture 7">
            <a:extLst>
              <a:ext uri="{FF2B5EF4-FFF2-40B4-BE49-F238E27FC236}">
                <a16:creationId xmlns:a16="http://schemas.microsoft.com/office/drawing/2014/main" id="{B91FE0E7-5B69-3DD9-282A-CB33403E41B9}"/>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Tree>
    <p:extLst>
      <p:ext uri="{BB962C8B-B14F-4D97-AF65-F5344CB8AC3E}">
        <p14:creationId xmlns:p14="http://schemas.microsoft.com/office/powerpoint/2010/main" val="2079398689"/>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p:cSld name="6_Title Slide_Yale Blue">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34C5D2FE-F51F-6DD0-7692-71E5C4AA382C}"/>
              </a:ext>
            </a:extLst>
          </p:cNvPr>
          <p:cNvSpPr txBox="1">
            <a:spLocks noGrp="1"/>
          </p:cNvSpPr>
          <p:nvPr>
            <p:ph type="body" idx="4294967295"/>
          </p:nvPr>
        </p:nvSpPr>
        <p:spPr>
          <a:xfrm>
            <a:off x="2826557" y="5400857"/>
            <a:ext cx="8178613" cy="379656"/>
          </a:xfrm>
        </p:spPr>
        <p:txBody>
          <a:bodyPr wrap="square">
            <a:spAutoFit/>
          </a:bodyPr>
          <a:lstStyle>
            <a:lvl1pPr marL="0" indent="0" algn="r">
              <a:buNone/>
              <a:defRPr sz="1867">
                <a:solidFill>
                  <a:srgbClr val="616364"/>
                </a:solidFill>
                <a:latin typeface="Verdana"/>
                <a:ea typeface="Verdana"/>
                <a:cs typeface="Verdana"/>
              </a:defRPr>
            </a:lvl1pPr>
          </a:lstStyle>
          <a:p>
            <a:pPr lvl="0"/>
            <a:r>
              <a:rPr lang="en-US"/>
              <a:t>Date | Presenter Information (14 pt)</a:t>
            </a:r>
          </a:p>
        </p:txBody>
      </p:sp>
      <p:sp>
        <p:nvSpPr>
          <p:cNvPr id="3" name="Title 1">
            <a:extLst>
              <a:ext uri="{FF2B5EF4-FFF2-40B4-BE49-F238E27FC236}">
                <a16:creationId xmlns:a16="http://schemas.microsoft.com/office/drawing/2014/main" id="{864A37FD-D32D-8FE9-634C-1B914150D227}"/>
              </a:ext>
            </a:extLst>
          </p:cNvPr>
          <p:cNvSpPr txBox="1">
            <a:spLocks noGrp="1"/>
          </p:cNvSpPr>
          <p:nvPr>
            <p:ph type="title"/>
          </p:nvPr>
        </p:nvSpPr>
        <p:spPr>
          <a:xfrm>
            <a:off x="2826557" y="1807156"/>
            <a:ext cx="8178613" cy="1629460"/>
          </a:xfrm>
        </p:spPr>
        <p:txBody>
          <a:bodyPr anchor="b"/>
          <a:lstStyle>
            <a:lvl1pPr>
              <a:defRPr sz="5334">
                <a:solidFill>
                  <a:srgbClr val="00314C"/>
                </a:solidFill>
                <a:latin typeface="Verdana"/>
                <a:ea typeface="Verdana"/>
                <a:cs typeface="Verdana"/>
              </a:defRPr>
            </a:lvl1pPr>
          </a:lstStyle>
          <a:p>
            <a:pPr lvl="0"/>
            <a:r>
              <a:rPr lang="en-US"/>
              <a:t>Presentation Title (40pt)</a:t>
            </a:r>
          </a:p>
        </p:txBody>
      </p:sp>
      <p:sp>
        <p:nvSpPr>
          <p:cNvPr id="4" name="Date Placeholder 3">
            <a:extLst>
              <a:ext uri="{FF2B5EF4-FFF2-40B4-BE49-F238E27FC236}">
                <a16:creationId xmlns:a16="http://schemas.microsoft.com/office/drawing/2014/main" id="{F15174CE-0A15-1513-BB5B-7F8446AE095D}"/>
              </a:ext>
            </a:extLst>
          </p:cNvPr>
          <p:cNvSpPr txBox="1">
            <a:spLocks noGrp="1"/>
          </p:cNvSpPr>
          <p:nvPr>
            <p:ph type="dt" sz="quarter" idx="7"/>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914446"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defRPr>
            </a:lvl1pPr>
          </a:lstStyle>
          <a:p>
            <a:pPr lvl="0"/>
            <a:fld id="{167CF25F-93A0-4F08-B982-A8F9F08E808D}" type="datetime1">
              <a:rPr lang="en-US"/>
              <a:pPr lvl="0"/>
              <a:t>5/20/2026</a:t>
            </a:fld>
            <a:endParaRPr lang="en-US"/>
          </a:p>
        </p:txBody>
      </p:sp>
      <p:sp>
        <p:nvSpPr>
          <p:cNvPr id="5" name="Footer Placeholder 4">
            <a:extLst>
              <a:ext uri="{FF2B5EF4-FFF2-40B4-BE49-F238E27FC236}">
                <a16:creationId xmlns:a16="http://schemas.microsoft.com/office/drawing/2014/main" id="{47BBBB41-1FA8-9ACF-5EAB-12A4394514B2}"/>
              </a:ext>
            </a:extLst>
          </p:cNvPr>
          <p:cNvSpPr txBox="1">
            <a:spLocks noGrp="1"/>
          </p:cNvSpPr>
          <p:nvPr>
            <p:ph type="ftr" sz="quarter" idx="9"/>
          </p:nvPr>
        </p:nvSpPr>
        <p:spPr/>
        <p:txBody>
          <a:bodyPr anchorCtr="1"/>
          <a:lstStyle>
            <a:lvl1pPr algn="ctr">
              <a:defRPr/>
            </a:lvl1pPr>
          </a:lstStyle>
          <a:p>
            <a:pPr lvl="0"/>
            <a:endParaRPr lang="en-US"/>
          </a:p>
        </p:txBody>
      </p:sp>
      <p:sp>
        <p:nvSpPr>
          <p:cNvPr id="6" name="Slide Number Placeholder 5">
            <a:extLst>
              <a:ext uri="{FF2B5EF4-FFF2-40B4-BE49-F238E27FC236}">
                <a16:creationId xmlns:a16="http://schemas.microsoft.com/office/drawing/2014/main" id="{1AF0B8CF-4971-5853-FE19-7417EB81831A}"/>
              </a:ext>
            </a:extLst>
          </p:cNvPr>
          <p:cNvSpPr txBox="1">
            <a:spLocks noGrp="1"/>
          </p:cNvSpPr>
          <p:nvPr>
            <p:ph type="sldNum" sz="quarter" idx="8"/>
          </p:nvPr>
        </p:nvSpPr>
        <p:spPr/>
        <p:txBody>
          <a:bodyPr/>
          <a:lstStyle>
            <a:lvl1pPr>
              <a:defRPr/>
            </a:lvl1pPr>
          </a:lstStyle>
          <a:p>
            <a:pPr lvl="0"/>
            <a:fld id="{69D14DE0-FA8F-4636-9837-EC7FCB6B9A49}" type="slidenum">
              <a:t>‹#›</a:t>
            </a:fld>
            <a:endParaRPr lang="en-US"/>
          </a:p>
        </p:txBody>
      </p:sp>
      <p:sp>
        <p:nvSpPr>
          <p:cNvPr id="7" name="Rectangle 12">
            <a:extLst>
              <a:ext uri="{FF2B5EF4-FFF2-40B4-BE49-F238E27FC236}">
                <a16:creationId xmlns:a16="http://schemas.microsoft.com/office/drawing/2014/main" id="{A1270AAD-AAB6-6B68-18A1-350F4499CA04}"/>
              </a:ext>
            </a:extLst>
          </p:cNvPr>
          <p:cNvSpPr/>
          <p:nvPr/>
        </p:nvSpPr>
        <p:spPr>
          <a:xfrm rot="10799991">
            <a:off x="-28" y="2000224"/>
            <a:ext cx="2785070" cy="2042851"/>
          </a:xfrm>
          <a:custGeom>
            <a:avLst/>
            <a:gdLst>
              <a:gd name="f0" fmla="val 10800000"/>
              <a:gd name="f1" fmla="val 5400000"/>
              <a:gd name="f2" fmla="val 180"/>
              <a:gd name="f3" fmla="val w"/>
              <a:gd name="f4" fmla="val h"/>
              <a:gd name="f5" fmla="val 0"/>
              <a:gd name="f6" fmla="val 10293751"/>
              <a:gd name="f7" fmla="val 1031873"/>
              <a:gd name="f8" fmla="val 3579068"/>
              <a:gd name="f9" fmla="val 1"/>
              <a:gd name="f10" fmla="val 1031872"/>
              <a:gd name="f11" fmla="+- 0 0 -90"/>
              <a:gd name="f12" fmla="*/ f3 1 10293751"/>
              <a:gd name="f13" fmla="*/ f4 1 1031873"/>
              <a:gd name="f14" fmla="+- f7 0 f5"/>
              <a:gd name="f15" fmla="+- f6 0 f5"/>
              <a:gd name="f16" fmla="*/ f11 f0 1"/>
              <a:gd name="f17" fmla="*/ f15 1 10293751"/>
              <a:gd name="f18" fmla="*/ f14 1 1031873"/>
              <a:gd name="f19" fmla="*/ 10293751 f15 1"/>
              <a:gd name="f20" fmla="*/ 0 f15 1"/>
              <a:gd name="f21" fmla="*/ 0 f14 1"/>
              <a:gd name="f22" fmla="*/ 1 f14 1"/>
              <a:gd name="f23" fmla="*/ 1031873 f14 1"/>
              <a:gd name="f24" fmla="*/ 1031872 f14 1"/>
              <a:gd name="f25" fmla="*/ 3579068 f15 1"/>
              <a:gd name="f26" fmla="*/ f16 1 f2"/>
              <a:gd name="f27" fmla="*/ f19 1 10293751"/>
              <a:gd name="f28" fmla="*/ f20 1 10293751"/>
              <a:gd name="f29" fmla="*/ f21 1 1031873"/>
              <a:gd name="f30" fmla="*/ f22 1 1031873"/>
              <a:gd name="f31" fmla="*/ f23 1 1031873"/>
              <a:gd name="f32" fmla="*/ f24 1 1031873"/>
              <a:gd name="f33" fmla="*/ f25 1 10293751"/>
              <a:gd name="f34" fmla="*/ f5 1 f17"/>
              <a:gd name="f35" fmla="*/ f6 1 f17"/>
              <a:gd name="f36" fmla="*/ f5 1 f18"/>
              <a:gd name="f37" fmla="*/ f7 1 f18"/>
              <a:gd name="f38" fmla="+- f26 0 f1"/>
              <a:gd name="f39" fmla="*/ f33 1 f17"/>
              <a:gd name="f40" fmla="*/ f29 1 f18"/>
              <a:gd name="f41" fmla="*/ f27 1 f17"/>
              <a:gd name="f42" fmla="*/ f30 1 f18"/>
              <a:gd name="f43" fmla="*/ f31 1 f18"/>
              <a:gd name="f44" fmla="*/ f28 1 f17"/>
              <a:gd name="f45" fmla="*/ f32 1 f18"/>
              <a:gd name="f46" fmla="*/ f34 f12 1"/>
              <a:gd name="f47" fmla="*/ f35 f12 1"/>
              <a:gd name="f48" fmla="*/ f37 f13 1"/>
              <a:gd name="f49" fmla="*/ f36 f13 1"/>
              <a:gd name="f50" fmla="*/ f39 f12 1"/>
              <a:gd name="f51" fmla="*/ f40 f13 1"/>
              <a:gd name="f52" fmla="*/ f41 f12 1"/>
              <a:gd name="f53" fmla="*/ f42 f13 1"/>
              <a:gd name="f54" fmla="*/ f43 f13 1"/>
              <a:gd name="f55" fmla="*/ f44 f12 1"/>
              <a:gd name="f56" fmla="*/ f45 f13 1"/>
            </a:gdLst>
            <a:ahLst/>
            <a:cxnLst>
              <a:cxn ang="3cd4">
                <a:pos x="hc" y="t"/>
              </a:cxn>
              <a:cxn ang="0">
                <a:pos x="r" y="vc"/>
              </a:cxn>
              <a:cxn ang="cd4">
                <a:pos x="hc" y="b"/>
              </a:cxn>
              <a:cxn ang="cd2">
                <a:pos x="l" y="vc"/>
              </a:cxn>
              <a:cxn ang="f38">
                <a:pos x="f50" y="f51"/>
              </a:cxn>
              <a:cxn ang="f38">
                <a:pos x="f52" y="f53"/>
              </a:cxn>
              <a:cxn ang="f38">
                <a:pos x="f52" y="f54"/>
              </a:cxn>
              <a:cxn ang="f38">
                <a:pos x="f55" y="f56"/>
              </a:cxn>
              <a:cxn ang="f38">
                <a:pos x="f50" y="f51"/>
              </a:cxn>
            </a:cxnLst>
            <a:rect l="f46" t="f49" r="f47" b="f48"/>
            <a:pathLst>
              <a:path w="10293751" h="1031873">
                <a:moveTo>
                  <a:pt x="f8" y="f5"/>
                </a:moveTo>
                <a:lnTo>
                  <a:pt x="f6" y="f9"/>
                </a:lnTo>
                <a:lnTo>
                  <a:pt x="f6" y="f7"/>
                </a:lnTo>
                <a:lnTo>
                  <a:pt x="f5" y="f10"/>
                </a:lnTo>
                <a:lnTo>
                  <a:pt x="f8" y="f5"/>
                </a:lnTo>
                <a:close/>
              </a:path>
            </a:pathLst>
          </a:cu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8" name="Rectangle 8">
            <a:extLst>
              <a:ext uri="{FF2B5EF4-FFF2-40B4-BE49-F238E27FC236}">
                <a16:creationId xmlns:a16="http://schemas.microsoft.com/office/drawing/2014/main" id="{D24FF495-C5E0-DC7F-6AEA-F95EB8E7B96B}"/>
              </a:ext>
            </a:extLst>
          </p:cNvPr>
          <p:cNvSpPr/>
          <p:nvPr/>
        </p:nvSpPr>
        <p:spPr>
          <a:xfrm>
            <a:off x="0" y="6115050"/>
            <a:ext cx="12191996" cy="742950"/>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9" name="Text Placeholder 11">
            <a:extLst>
              <a:ext uri="{FF2B5EF4-FFF2-40B4-BE49-F238E27FC236}">
                <a16:creationId xmlns:a16="http://schemas.microsoft.com/office/drawing/2014/main" id="{D081072F-556E-D424-28AD-C3AD771F9EE4}"/>
              </a:ext>
            </a:extLst>
          </p:cNvPr>
          <p:cNvSpPr txBox="1">
            <a:spLocks noGrp="1"/>
          </p:cNvSpPr>
          <p:nvPr>
            <p:ph type="body" idx="4294967295"/>
          </p:nvPr>
        </p:nvSpPr>
        <p:spPr>
          <a:xfrm>
            <a:off x="2826557" y="3447397"/>
            <a:ext cx="8178613" cy="713314"/>
          </a:xfrm>
        </p:spPr>
        <p:txBody>
          <a:bodyPr/>
          <a:lstStyle>
            <a:lvl1pPr marL="0" indent="0">
              <a:buNone/>
              <a:defRPr sz="3200">
                <a:solidFill>
                  <a:srgbClr val="00314C"/>
                </a:solidFill>
                <a:latin typeface="Verdana"/>
                <a:ea typeface="Verdana"/>
                <a:cs typeface="Verdana"/>
              </a:defRPr>
            </a:lvl1pPr>
          </a:lstStyle>
          <a:p>
            <a:pPr lvl="0"/>
            <a:r>
              <a:rPr lang="en-US"/>
              <a:t>Subtitle (24)</a:t>
            </a:r>
          </a:p>
        </p:txBody>
      </p:sp>
      <p:pic>
        <p:nvPicPr>
          <p:cNvPr id="10" name="Picture 12">
            <a:extLst>
              <a:ext uri="{FF2B5EF4-FFF2-40B4-BE49-F238E27FC236}">
                <a16:creationId xmlns:a16="http://schemas.microsoft.com/office/drawing/2014/main" id="{7D228E7B-FD6E-7502-67F6-4D65D131B8CC}"/>
              </a:ext>
            </a:extLst>
          </p:cNvPr>
          <p:cNvPicPr>
            <a:picLocks noChangeAspect="1"/>
          </p:cNvPicPr>
          <p:nvPr/>
        </p:nvPicPr>
        <p:blipFill>
          <a:blip r:embed="rId2"/>
          <a:srcRect/>
          <a:stretch>
            <a:fillRect/>
          </a:stretch>
        </p:blipFill>
        <p:spPr>
          <a:xfrm>
            <a:off x="2829840" y="4178333"/>
            <a:ext cx="4395959" cy="1140165"/>
          </a:xfrm>
          <a:prstGeom prst="rect">
            <a:avLst/>
          </a:prstGeom>
          <a:noFill/>
          <a:ln cap="flat">
            <a:noFill/>
          </a:ln>
        </p:spPr>
      </p:pic>
    </p:spTree>
    <p:extLst>
      <p:ext uri="{BB962C8B-B14F-4D97-AF65-F5344CB8AC3E}">
        <p14:creationId xmlns:p14="http://schemas.microsoft.com/office/powerpoint/2010/main" val="3880498887"/>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p:cSld name="7_Title Slide_Yale Blue">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AC540B94-2351-3702-DE79-971D8D911721}"/>
              </a:ext>
            </a:extLst>
          </p:cNvPr>
          <p:cNvSpPr txBox="1">
            <a:spLocks noGrp="1"/>
          </p:cNvSpPr>
          <p:nvPr>
            <p:ph type="body" idx="4294967295"/>
          </p:nvPr>
        </p:nvSpPr>
        <p:spPr>
          <a:xfrm>
            <a:off x="2826557" y="5400857"/>
            <a:ext cx="8178613" cy="379656"/>
          </a:xfrm>
        </p:spPr>
        <p:txBody>
          <a:bodyPr wrap="square">
            <a:spAutoFit/>
          </a:bodyPr>
          <a:lstStyle>
            <a:lvl1pPr marL="0" indent="0" algn="r">
              <a:buNone/>
              <a:defRPr sz="1867">
                <a:solidFill>
                  <a:srgbClr val="616364"/>
                </a:solidFill>
                <a:latin typeface="Verdana"/>
                <a:ea typeface="Verdana"/>
                <a:cs typeface="Verdana"/>
              </a:defRPr>
            </a:lvl1pPr>
          </a:lstStyle>
          <a:p>
            <a:pPr lvl="0"/>
            <a:r>
              <a:rPr lang="en-US"/>
              <a:t>Date | Presenter Information (14 pt)</a:t>
            </a:r>
          </a:p>
        </p:txBody>
      </p:sp>
      <p:sp>
        <p:nvSpPr>
          <p:cNvPr id="3" name="Title 1">
            <a:extLst>
              <a:ext uri="{FF2B5EF4-FFF2-40B4-BE49-F238E27FC236}">
                <a16:creationId xmlns:a16="http://schemas.microsoft.com/office/drawing/2014/main" id="{40747BE2-9B36-827E-E373-26370BA37EA8}"/>
              </a:ext>
            </a:extLst>
          </p:cNvPr>
          <p:cNvSpPr txBox="1">
            <a:spLocks noGrp="1"/>
          </p:cNvSpPr>
          <p:nvPr>
            <p:ph type="title"/>
          </p:nvPr>
        </p:nvSpPr>
        <p:spPr>
          <a:xfrm>
            <a:off x="2826557" y="1807156"/>
            <a:ext cx="8178613" cy="1629460"/>
          </a:xfrm>
        </p:spPr>
        <p:txBody>
          <a:bodyPr anchor="b"/>
          <a:lstStyle>
            <a:lvl1pPr>
              <a:defRPr sz="5334">
                <a:solidFill>
                  <a:srgbClr val="00314C"/>
                </a:solidFill>
                <a:latin typeface="Verdana"/>
                <a:ea typeface="Verdana"/>
                <a:cs typeface="Verdana"/>
              </a:defRPr>
            </a:lvl1pPr>
          </a:lstStyle>
          <a:p>
            <a:pPr lvl="0"/>
            <a:r>
              <a:rPr lang="en-US"/>
              <a:t>Presentation Title (40pt)</a:t>
            </a:r>
          </a:p>
        </p:txBody>
      </p:sp>
      <p:sp>
        <p:nvSpPr>
          <p:cNvPr id="4" name="Date Placeholder 3">
            <a:extLst>
              <a:ext uri="{FF2B5EF4-FFF2-40B4-BE49-F238E27FC236}">
                <a16:creationId xmlns:a16="http://schemas.microsoft.com/office/drawing/2014/main" id="{EADC6DA7-CE59-BC67-3611-2EFB433620D9}"/>
              </a:ext>
            </a:extLst>
          </p:cNvPr>
          <p:cNvSpPr txBox="1">
            <a:spLocks noGrp="1"/>
          </p:cNvSpPr>
          <p:nvPr>
            <p:ph type="dt" sz="quarter" idx="7"/>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914446"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defRPr>
            </a:lvl1pPr>
          </a:lstStyle>
          <a:p>
            <a:pPr lvl="0"/>
            <a:fld id="{B101A90C-FCE1-466A-92A8-15050CFBA3CF}" type="datetime1">
              <a:rPr lang="en-US"/>
              <a:pPr lvl="0"/>
              <a:t>5/20/2026</a:t>
            </a:fld>
            <a:endParaRPr lang="en-US"/>
          </a:p>
        </p:txBody>
      </p:sp>
      <p:sp>
        <p:nvSpPr>
          <p:cNvPr id="5" name="Footer Placeholder 4">
            <a:extLst>
              <a:ext uri="{FF2B5EF4-FFF2-40B4-BE49-F238E27FC236}">
                <a16:creationId xmlns:a16="http://schemas.microsoft.com/office/drawing/2014/main" id="{BDC46D23-9C37-E54E-0DDF-387DF28503F1}"/>
              </a:ext>
            </a:extLst>
          </p:cNvPr>
          <p:cNvSpPr txBox="1">
            <a:spLocks noGrp="1"/>
          </p:cNvSpPr>
          <p:nvPr>
            <p:ph type="ftr" sz="quarter" idx="9"/>
          </p:nvPr>
        </p:nvSpPr>
        <p:spPr/>
        <p:txBody>
          <a:bodyPr anchorCtr="1"/>
          <a:lstStyle>
            <a:lvl1pPr algn="ctr">
              <a:defRPr/>
            </a:lvl1pPr>
          </a:lstStyle>
          <a:p>
            <a:pPr lvl="0"/>
            <a:endParaRPr lang="en-US"/>
          </a:p>
        </p:txBody>
      </p:sp>
      <p:sp>
        <p:nvSpPr>
          <p:cNvPr id="6" name="Slide Number Placeholder 5">
            <a:extLst>
              <a:ext uri="{FF2B5EF4-FFF2-40B4-BE49-F238E27FC236}">
                <a16:creationId xmlns:a16="http://schemas.microsoft.com/office/drawing/2014/main" id="{D1D1D0B8-BC1E-A1ED-78C6-DC27E1469A53}"/>
              </a:ext>
            </a:extLst>
          </p:cNvPr>
          <p:cNvSpPr txBox="1">
            <a:spLocks noGrp="1"/>
          </p:cNvSpPr>
          <p:nvPr>
            <p:ph type="sldNum" sz="quarter" idx="8"/>
          </p:nvPr>
        </p:nvSpPr>
        <p:spPr/>
        <p:txBody>
          <a:bodyPr/>
          <a:lstStyle>
            <a:lvl1pPr>
              <a:defRPr/>
            </a:lvl1pPr>
          </a:lstStyle>
          <a:p>
            <a:pPr lvl="0"/>
            <a:fld id="{D677256B-2ACC-4337-89FF-C6556FD651ED}" type="slidenum">
              <a:t>‹#›</a:t>
            </a:fld>
            <a:endParaRPr lang="en-US"/>
          </a:p>
        </p:txBody>
      </p:sp>
      <p:sp>
        <p:nvSpPr>
          <p:cNvPr id="7" name="Rectangle 12">
            <a:extLst>
              <a:ext uri="{FF2B5EF4-FFF2-40B4-BE49-F238E27FC236}">
                <a16:creationId xmlns:a16="http://schemas.microsoft.com/office/drawing/2014/main" id="{D7BA3646-1EA5-FF10-E421-47AA89A10CB2}"/>
              </a:ext>
            </a:extLst>
          </p:cNvPr>
          <p:cNvSpPr/>
          <p:nvPr/>
        </p:nvSpPr>
        <p:spPr>
          <a:xfrm rot="10799991">
            <a:off x="-28" y="2000224"/>
            <a:ext cx="2785070" cy="2042851"/>
          </a:xfrm>
          <a:custGeom>
            <a:avLst/>
            <a:gdLst>
              <a:gd name="f0" fmla="val 10800000"/>
              <a:gd name="f1" fmla="val 5400000"/>
              <a:gd name="f2" fmla="val 180"/>
              <a:gd name="f3" fmla="val w"/>
              <a:gd name="f4" fmla="val h"/>
              <a:gd name="f5" fmla="val 0"/>
              <a:gd name="f6" fmla="val 10293751"/>
              <a:gd name="f7" fmla="val 1031873"/>
              <a:gd name="f8" fmla="val 3579068"/>
              <a:gd name="f9" fmla="val 1"/>
              <a:gd name="f10" fmla="val 1031872"/>
              <a:gd name="f11" fmla="+- 0 0 -90"/>
              <a:gd name="f12" fmla="*/ f3 1 10293751"/>
              <a:gd name="f13" fmla="*/ f4 1 1031873"/>
              <a:gd name="f14" fmla="+- f7 0 f5"/>
              <a:gd name="f15" fmla="+- f6 0 f5"/>
              <a:gd name="f16" fmla="*/ f11 f0 1"/>
              <a:gd name="f17" fmla="*/ f15 1 10293751"/>
              <a:gd name="f18" fmla="*/ f14 1 1031873"/>
              <a:gd name="f19" fmla="*/ 10293751 f15 1"/>
              <a:gd name="f20" fmla="*/ 0 f15 1"/>
              <a:gd name="f21" fmla="*/ 0 f14 1"/>
              <a:gd name="f22" fmla="*/ 1 f14 1"/>
              <a:gd name="f23" fmla="*/ 1031873 f14 1"/>
              <a:gd name="f24" fmla="*/ 1031872 f14 1"/>
              <a:gd name="f25" fmla="*/ 3579068 f15 1"/>
              <a:gd name="f26" fmla="*/ f16 1 f2"/>
              <a:gd name="f27" fmla="*/ f19 1 10293751"/>
              <a:gd name="f28" fmla="*/ f20 1 10293751"/>
              <a:gd name="f29" fmla="*/ f21 1 1031873"/>
              <a:gd name="f30" fmla="*/ f22 1 1031873"/>
              <a:gd name="f31" fmla="*/ f23 1 1031873"/>
              <a:gd name="f32" fmla="*/ f24 1 1031873"/>
              <a:gd name="f33" fmla="*/ f25 1 10293751"/>
              <a:gd name="f34" fmla="*/ f5 1 f17"/>
              <a:gd name="f35" fmla="*/ f6 1 f17"/>
              <a:gd name="f36" fmla="*/ f5 1 f18"/>
              <a:gd name="f37" fmla="*/ f7 1 f18"/>
              <a:gd name="f38" fmla="+- f26 0 f1"/>
              <a:gd name="f39" fmla="*/ f33 1 f17"/>
              <a:gd name="f40" fmla="*/ f29 1 f18"/>
              <a:gd name="f41" fmla="*/ f27 1 f17"/>
              <a:gd name="f42" fmla="*/ f30 1 f18"/>
              <a:gd name="f43" fmla="*/ f31 1 f18"/>
              <a:gd name="f44" fmla="*/ f28 1 f17"/>
              <a:gd name="f45" fmla="*/ f32 1 f18"/>
              <a:gd name="f46" fmla="*/ f34 f12 1"/>
              <a:gd name="f47" fmla="*/ f35 f12 1"/>
              <a:gd name="f48" fmla="*/ f37 f13 1"/>
              <a:gd name="f49" fmla="*/ f36 f13 1"/>
              <a:gd name="f50" fmla="*/ f39 f12 1"/>
              <a:gd name="f51" fmla="*/ f40 f13 1"/>
              <a:gd name="f52" fmla="*/ f41 f12 1"/>
              <a:gd name="f53" fmla="*/ f42 f13 1"/>
              <a:gd name="f54" fmla="*/ f43 f13 1"/>
              <a:gd name="f55" fmla="*/ f44 f12 1"/>
              <a:gd name="f56" fmla="*/ f45 f13 1"/>
            </a:gdLst>
            <a:ahLst/>
            <a:cxnLst>
              <a:cxn ang="3cd4">
                <a:pos x="hc" y="t"/>
              </a:cxn>
              <a:cxn ang="0">
                <a:pos x="r" y="vc"/>
              </a:cxn>
              <a:cxn ang="cd4">
                <a:pos x="hc" y="b"/>
              </a:cxn>
              <a:cxn ang="cd2">
                <a:pos x="l" y="vc"/>
              </a:cxn>
              <a:cxn ang="f38">
                <a:pos x="f50" y="f51"/>
              </a:cxn>
              <a:cxn ang="f38">
                <a:pos x="f52" y="f53"/>
              </a:cxn>
              <a:cxn ang="f38">
                <a:pos x="f52" y="f54"/>
              </a:cxn>
              <a:cxn ang="f38">
                <a:pos x="f55" y="f56"/>
              </a:cxn>
              <a:cxn ang="f38">
                <a:pos x="f50" y="f51"/>
              </a:cxn>
            </a:cxnLst>
            <a:rect l="f46" t="f49" r="f47" b="f48"/>
            <a:pathLst>
              <a:path w="10293751" h="1031873">
                <a:moveTo>
                  <a:pt x="f8" y="f5"/>
                </a:moveTo>
                <a:lnTo>
                  <a:pt x="f6" y="f9"/>
                </a:lnTo>
                <a:lnTo>
                  <a:pt x="f6" y="f7"/>
                </a:lnTo>
                <a:lnTo>
                  <a:pt x="f5" y="f10"/>
                </a:lnTo>
                <a:lnTo>
                  <a:pt x="f8" y="f5"/>
                </a:lnTo>
                <a:close/>
              </a:path>
            </a:pathLst>
          </a:cu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8" name="Rectangle 8">
            <a:extLst>
              <a:ext uri="{FF2B5EF4-FFF2-40B4-BE49-F238E27FC236}">
                <a16:creationId xmlns:a16="http://schemas.microsoft.com/office/drawing/2014/main" id="{6D299A72-6A97-9997-7076-A84F5BFC85A6}"/>
              </a:ext>
            </a:extLst>
          </p:cNvPr>
          <p:cNvSpPr/>
          <p:nvPr/>
        </p:nvSpPr>
        <p:spPr>
          <a:xfrm>
            <a:off x="0" y="6115050"/>
            <a:ext cx="12191996" cy="742950"/>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9" name="Text Placeholder 11">
            <a:extLst>
              <a:ext uri="{FF2B5EF4-FFF2-40B4-BE49-F238E27FC236}">
                <a16:creationId xmlns:a16="http://schemas.microsoft.com/office/drawing/2014/main" id="{655DB487-C72C-5F8B-A114-A0A695E9C55F}"/>
              </a:ext>
            </a:extLst>
          </p:cNvPr>
          <p:cNvSpPr txBox="1">
            <a:spLocks noGrp="1"/>
          </p:cNvSpPr>
          <p:nvPr>
            <p:ph type="body" idx="4294967295"/>
          </p:nvPr>
        </p:nvSpPr>
        <p:spPr>
          <a:xfrm>
            <a:off x="2826557" y="3447397"/>
            <a:ext cx="8178613" cy="713314"/>
          </a:xfrm>
        </p:spPr>
        <p:txBody>
          <a:bodyPr/>
          <a:lstStyle>
            <a:lvl1pPr marL="0" indent="0">
              <a:buNone/>
              <a:defRPr sz="3200">
                <a:solidFill>
                  <a:srgbClr val="00314C"/>
                </a:solidFill>
                <a:latin typeface="Verdana"/>
                <a:ea typeface="Verdana"/>
                <a:cs typeface="Verdana"/>
              </a:defRPr>
            </a:lvl1pPr>
          </a:lstStyle>
          <a:p>
            <a:pPr lvl="0"/>
            <a:r>
              <a:rPr lang="en-US"/>
              <a:t>Subtitle (24)</a:t>
            </a:r>
          </a:p>
        </p:txBody>
      </p:sp>
      <p:pic>
        <p:nvPicPr>
          <p:cNvPr id="10" name="Picture 12">
            <a:extLst>
              <a:ext uri="{FF2B5EF4-FFF2-40B4-BE49-F238E27FC236}">
                <a16:creationId xmlns:a16="http://schemas.microsoft.com/office/drawing/2014/main" id="{85A26038-51A6-404A-76EF-91B1B390D4F3}"/>
              </a:ext>
            </a:extLst>
          </p:cNvPr>
          <p:cNvPicPr>
            <a:picLocks noChangeAspect="1"/>
          </p:cNvPicPr>
          <p:nvPr/>
        </p:nvPicPr>
        <p:blipFill>
          <a:blip r:embed="rId2"/>
          <a:srcRect/>
          <a:stretch>
            <a:fillRect/>
          </a:stretch>
        </p:blipFill>
        <p:spPr>
          <a:xfrm>
            <a:off x="2829840" y="4178333"/>
            <a:ext cx="4395959" cy="1140165"/>
          </a:xfrm>
          <a:prstGeom prst="rect">
            <a:avLst/>
          </a:prstGeom>
          <a:noFill/>
          <a:ln cap="flat">
            <a:noFill/>
          </a:ln>
        </p:spPr>
      </p:pic>
    </p:spTree>
    <p:extLst>
      <p:ext uri="{BB962C8B-B14F-4D97-AF65-F5344CB8AC3E}">
        <p14:creationId xmlns:p14="http://schemas.microsoft.com/office/powerpoint/2010/main" val="2408743217"/>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p:cSld name="8_Title Slide_Yale Blue">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DADB42F3-7EFF-E94B-04BC-EEC52346CAEC}"/>
              </a:ext>
            </a:extLst>
          </p:cNvPr>
          <p:cNvSpPr txBox="1">
            <a:spLocks noGrp="1"/>
          </p:cNvSpPr>
          <p:nvPr>
            <p:ph type="body" idx="4294967295"/>
          </p:nvPr>
        </p:nvSpPr>
        <p:spPr>
          <a:xfrm>
            <a:off x="2826557" y="5400857"/>
            <a:ext cx="8178613" cy="379656"/>
          </a:xfrm>
        </p:spPr>
        <p:txBody>
          <a:bodyPr wrap="square">
            <a:spAutoFit/>
          </a:bodyPr>
          <a:lstStyle>
            <a:lvl1pPr marL="0" indent="0" algn="r">
              <a:buNone/>
              <a:defRPr sz="1867">
                <a:solidFill>
                  <a:srgbClr val="616364"/>
                </a:solidFill>
                <a:latin typeface="Verdana"/>
                <a:ea typeface="Verdana"/>
                <a:cs typeface="Verdana"/>
              </a:defRPr>
            </a:lvl1pPr>
          </a:lstStyle>
          <a:p>
            <a:pPr lvl="0"/>
            <a:r>
              <a:rPr lang="en-US"/>
              <a:t>Date | Presenter Information (14 pt)</a:t>
            </a:r>
          </a:p>
        </p:txBody>
      </p:sp>
      <p:sp>
        <p:nvSpPr>
          <p:cNvPr id="3" name="Title 1">
            <a:extLst>
              <a:ext uri="{FF2B5EF4-FFF2-40B4-BE49-F238E27FC236}">
                <a16:creationId xmlns:a16="http://schemas.microsoft.com/office/drawing/2014/main" id="{F49D8857-038B-251F-4308-16871169D67A}"/>
              </a:ext>
            </a:extLst>
          </p:cNvPr>
          <p:cNvSpPr txBox="1">
            <a:spLocks noGrp="1"/>
          </p:cNvSpPr>
          <p:nvPr>
            <p:ph type="title"/>
          </p:nvPr>
        </p:nvSpPr>
        <p:spPr>
          <a:xfrm>
            <a:off x="2826557" y="1807156"/>
            <a:ext cx="8178613" cy="1629460"/>
          </a:xfrm>
        </p:spPr>
        <p:txBody>
          <a:bodyPr anchor="b"/>
          <a:lstStyle>
            <a:lvl1pPr>
              <a:defRPr sz="5334">
                <a:solidFill>
                  <a:srgbClr val="00314C"/>
                </a:solidFill>
                <a:latin typeface="Verdana"/>
                <a:ea typeface="Verdana"/>
                <a:cs typeface="Verdana"/>
              </a:defRPr>
            </a:lvl1pPr>
          </a:lstStyle>
          <a:p>
            <a:pPr lvl="0"/>
            <a:r>
              <a:rPr lang="en-US"/>
              <a:t>Presentation Title (40pt)</a:t>
            </a:r>
          </a:p>
        </p:txBody>
      </p:sp>
      <p:sp>
        <p:nvSpPr>
          <p:cNvPr id="4" name="Date Placeholder 3">
            <a:extLst>
              <a:ext uri="{FF2B5EF4-FFF2-40B4-BE49-F238E27FC236}">
                <a16:creationId xmlns:a16="http://schemas.microsoft.com/office/drawing/2014/main" id="{85400810-BE29-025D-F8BF-A9246562F70C}"/>
              </a:ext>
            </a:extLst>
          </p:cNvPr>
          <p:cNvSpPr txBox="1">
            <a:spLocks noGrp="1"/>
          </p:cNvSpPr>
          <p:nvPr>
            <p:ph type="dt" sz="quarter" idx="7"/>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914446"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defRPr>
            </a:lvl1pPr>
          </a:lstStyle>
          <a:p>
            <a:pPr lvl="0"/>
            <a:fld id="{B1AE6663-3445-4E28-BF25-AC2097CD636E}" type="datetime1">
              <a:rPr lang="en-US"/>
              <a:pPr lvl="0"/>
              <a:t>5/20/2026</a:t>
            </a:fld>
            <a:endParaRPr lang="en-US"/>
          </a:p>
        </p:txBody>
      </p:sp>
      <p:sp>
        <p:nvSpPr>
          <p:cNvPr id="5" name="Footer Placeholder 4">
            <a:extLst>
              <a:ext uri="{FF2B5EF4-FFF2-40B4-BE49-F238E27FC236}">
                <a16:creationId xmlns:a16="http://schemas.microsoft.com/office/drawing/2014/main" id="{747DE171-373D-26FE-B956-E6619B516F34}"/>
              </a:ext>
            </a:extLst>
          </p:cNvPr>
          <p:cNvSpPr txBox="1">
            <a:spLocks noGrp="1"/>
          </p:cNvSpPr>
          <p:nvPr>
            <p:ph type="ftr" sz="quarter" idx="9"/>
          </p:nvPr>
        </p:nvSpPr>
        <p:spPr/>
        <p:txBody>
          <a:bodyPr anchorCtr="1"/>
          <a:lstStyle>
            <a:lvl1pPr algn="ctr">
              <a:defRPr/>
            </a:lvl1pPr>
          </a:lstStyle>
          <a:p>
            <a:pPr lvl="0"/>
            <a:endParaRPr lang="en-US"/>
          </a:p>
        </p:txBody>
      </p:sp>
      <p:sp>
        <p:nvSpPr>
          <p:cNvPr id="6" name="Slide Number Placeholder 5">
            <a:extLst>
              <a:ext uri="{FF2B5EF4-FFF2-40B4-BE49-F238E27FC236}">
                <a16:creationId xmlns:a16="http://schemas.microsoft.com/office/drawing/2014/main" id="{E3828994-1388-39B0-3A46-7647D1B03C98}"/>
              </a:ext>
            </a:extLst>
          </p:cNvPr>
          <p:cNvSpPr txBox="1">
            <a:spLocks noGrp="1"/>
          </p:cNvSpPr>
          <p:nvPr>
            <p:ph type="sldNum" sz="quarter" idx="8"/>
          </p:nvPr>
        </p:nvSpPr>
        <p:spPr/>
        <p:txBody>
          <a:bodyPr/>
          <a:lstStyle>
            <a:lvl1pPr>
              <a:defRPr/>
            </a:lvl1pPr>
          </a:lstStyle>
          <a:p>
            <a:pPr lvl="0"/>
            <a:fld id="{CE69C5B0-5C4A-4CC8-AE06-182E04D9EB68}" type="slidenum">
              <a:t>‹#›</a:t>
            </a:fld>
            <a:endParaRPr lang="en-US"/>
          </a:p>
        </p:txBody>
      </p:sp>
      <p:sp>
        <p:nvSpPr>
          <p:cNvPr id="7" name="Rectangle 12">
            <a:extLst>
              <a:ext uri="{FF2B5EF4-FFF2-40B4-BE49-F238E27FC236}">
                <a16:creationId xmlns:a16="http://schemas.microsoft.com/office/drawing/2014/main" id="{4251B9F8-A467-6072-F2CF-928B78F52F6F}"/>
              </a:ext>
            </a:extLst>
          </p:cNvPr>
          <p:cNvSpPr/>
          <p:nvPr/>
        </p:nvSpPr>
        <p:spPr>
          <a:xfrm rot="10799991">
            <a:off x="-28" y="2000224"/>
            <a:ext cx="2785070" cy="2042851"/>
          </a:xfrm>
          <a:custGeom>
            <a:avLst/>
            <a:gdLst>
              <a:gd name="f0" fmla="val 10800000"/>
              <a:gd name="f1" fmla="val 5400000"/>
              <a:gd name="f2" fmla="val 180"/>
              <a:gd name="f3" fmla="val w"/>
              <a:gd name="f4" fmla="val h"/>
              <a:gd name="f5" fmla="val 0"/>
              <a:gd name="f6" fmla="val 10293751"/>
              <a:gd name="f7" fmla="val 1031873"/>
              <a:gd name="f8" fmla="val 3579068"/>
              <a:gd name="f9" fmla="val 1"/>
              <a:gd name="f10" fmla="val 1031872"/>
              <a:gd name="f11" fmla="+- 0 0 -90"/>
              <a:gd name="f12" fmla="*/ f3 1 10293751"/>
              <a:gd name="f13" fmla="*/ f4 1 1031873"/>
              <a:gd name="f14" fmla="+- f7 0 f5"/>
              <a:gd name="f15" fmla="+- f6 0 f5"/>
              <a:gd name="f16" fmla="*/ f11 f0 1"/>
              <a:gd name="f17" fmla="*/ f15 1 10293751"/>
              <a:gd name="f18" fmla="*/ f14 1 1031873"/>
              <a:gd name="f19" fmla="*/ 10293751 f15 1"/>
              <a:gd name="f20" fmla="*/ 0 f15 1"/>
              <a:gd name="f21" fmla="*/ 0 f14 1"/>
              <a:gd name="f22" fmla="*/ 1 f14 1"/>
              <a:gd name="f23" fmla="*/ 1031873 f14 1"/>
              <a:gd name="f24" fmla="*/ 1031872 f14 1"/>
              <a:gd name="f25" fmla="*/ 3579068 f15 1"/>
              <a:gd name="f26" fmla="*/ f16 1 f2"/>
              <a:gd name="f27" fmla="*/ f19 1 10293751"/>
              <a:gd name="f28" fmla="*/ f20 1 10293751"/>
              <a:gd name="f29" fmla="*/ f21 1 1031873"/>
              <a:gd name="f30" fmla="*/ f22 1 1031873"/>
              <a:gd name="f31" fmla="*/ f23 1 1031873"/>
              <a:gd name="f32" fmla="*/ f24 1 1031873"/>
              <a:gd name="f33" fmla="*/ f25 1 10293751"/>
              <a:gd name="f34" fmla="*/ f5 1 f17"/>
              <a:gd name="f35" fmla="*/ f6 1 f17"/>
              <a:gd name="f36" fmla="*/ f5 1 f18"/>
              <a:gd name="f37" fmla="*/ f7 1 f18"/>
              <a:gd name="f38" fmla="+- f26 0 f1"/>
              <a:gd name="f39" fmla="*/ f33 1 f17"/>
              <a:gd name="f40" fmla="*/ f29 1 f18"/>
              <a:gd name="f41" fmla="*/ f27 1 f17"/>
              <a:gd name="f42" fmla="*/ f30 1 f18"/>
              <a:gd name="f43" fmla="*/ f31 1 f18"/>
              <a:gd name="f44" fmla="*/ f28 1 f17"/>
              <a:gd name="f45" fmla="*/ f32 1 f18"/>
              <a:gd name="f46" fmla="*/ f34 f12 1"/>
              <a:gd name="f47" fmla="*/ f35 f12 1"/>
              <a:gd name="f48" fmla="*/ f37 f13 1"/>
              <a:gd name="f49" fmla="*/ f36 f13 1"/>
              <a:gd name="f50" fmla="*/ f39 f12 1"/>
              <a:gd name="f51" fmla="*/ f40 f13 1"/>
              <a:gd name="f52" fmla="*/ f41 f12 1"/>
              <a:gd name="f53" fmla="*/ f42 f13 1"/>
              <a:gd name="f54" fmla="*/ f43 f13 1"/>
              <a:gd name="f55" fmla="*/ f44 f12 1"/>
              <a:gd name="f56" fmla="*/ f45 f13 1"/>
            </a:gdLst>
            <a:ahLst/>
            <a:cxnLst>
              <a:cxn ang="3cd4">
                <a:pos x="hc" y="t"/>
              </a:cxn>
              <a:cxn ang="0">
                <a:pos x="r" y="vc"/>
              </a:cxn>
              <a:cxn ang="cd4">
                <a:pos x="hc" y="b"/>
              </a:cxn>
              <a:cxn ang="cd2">
                <a:pos x="l" y="vc"/>
              </a:cxn>
              <a:cxn ang="f38">
                <a:pos x="f50" y="f51"/>
              </a:cxn>
              <a:cxn ang="f38">
                <a:pos x="f52" y="f53"/>
              </a:cxn>
              <a:cxn ang="f38">
                <a:pos x="f52" y="f54"/>
              </a:cxn>
              <a:cxn ang="f38">
                <a:pos x="f55" y="f56"/>
              </a:cxn>
              <a:cxn ang="f38">
                <a:pos x="f50" y="f51"/>
              </a:cxn>
            </a:cxnLst>
            <a:rect l="f46" t="f49" r="f47" b="f48"/>
            <a:pathLst>
              <a:path w="10293751" h="1031873">
                <a:moveTo>
                  <a:pt x="f8" y="f5"/>
                </a:moveTo>
                <a:lnTo>
                  <a:pt x="f6" y="f9"/>
                </a:lnTo>
                <a:lnTo>
                  <a:pt x="f6" y="f7"/>
                </a:lnTo>
                <a:lnTo>
                  <a:pt x="f5" y="f10"/>
                </a:lnTo>
                <a:lnTo>
                  <a:pt x="f8" y="f5"/>
                </a:lnTo>
                <a:close/>
              </a:path>
            </a:pathLst>
          </a:cu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8" name="Rectangle 8">
            <a:extLst>
              <a:ext uri="{FF2B5EF4-FFF2-40B4-BE49-F238E27FC236}">
                <a16:creationId xmlns:a16="http://schemas.microsoft.com/office/drawing/2014/main" id="{343E860A-E3CE-C55B-8269-1B9CAEB6BC69}"/>
              </a:ext>
            </a:extLst>
          </p:cNvPr>
          <p:cNvSpPr/>
          <p:nvPr/>
        </p:nvSpPr>
        <p:spPr>
          <a:xfrm>
            <a:off x="0" y="6115050"/>
            <a:ext cx="12191996" cy="742950"/>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9" name="Text Placeholder 11">
            <a:extLst>
              <a:ext uri="{FF2B5EF4-FFF2-40B4-BE49-F238E27FC236}">
                <a16:creationId xmlns:a16="http://schemas.microsoft.com/office/drawing/2014/main" id="{D2352175-7965-708B-3C95-4D7FB2600EBC}"/>
              </a:ext>
            </a:extLst>
          </p:cNvPr>
          <p:cNvSpPr txBox="1">
            <a:spLocks noGrp="1"/>
          </p:cNvSpPr>
          <p:nvPr>
            <p:ph type="body" idx="4294967295"/>
          </p:nvPr>
        </p:nvSpPr>
        <p:spPr>
          <a:xfrm>
            <a:off x="2826557" y="3447397"/>
            <a:ext cx="8178613" cy="713314"/>
          </a:xfrm>
        </p:spPr>
        <p:txBody>
          <a:bodyPr/>
          <a:lstStyle>
            <a:lvl1pPr marL="0" indent="0">
              <a:buNone/>
              <a:defRPr sz="3200">
                <a:solidFill>
                  <a:srgbClr val="00314C"/>
                </a:solidFill>
                <a:latin typeface="Verdana"/>
                <a:ea typeface="Verdana"/>
                <a:cs typeface="Verdana"/>
              </a:defRPr>
            </a:lvl1pPr>
          </a:lstStyle>
          <a:p>
            <a:pPr lvl="0"/>
            <a:r>
              <a:rPr lang="en-US"/>
              <a:t>Subtitle (24)</a:t>
            </a:r>
          </a:p>
        </p:txBody>
      </p:sp>
      <p:pic>
        <p:nvPicPr>
          <p:cNvPr id="10" name="Picture 12">
            <a:extLst>
              <a:ext uri="{FF2B5EF4-FFF2-40B4-BE49-F238E27FC236}">
                <a16:creationId xmlns:a16="http://schemas.microsoft.com/office/drawing/2014/main" id="{2C44C388-F000-8EBB-1102-01BE1AF3420C}"/>
              </a:ext>
            </a:extLst>
          </p:cNvPr>
          <p:cNvPicPr>
            <a:picLocks noChangeAspect="1"/>
          </p:cNvPicPr>
          <p:nvPr/>
        </p:nvPicPr>
        <p:blipFill>
          <a:blip r:embed="rId2"/>
          <a:srcRect/>
          <a:stretch>
            <a:fillRect/>
          </a:stretch>
        </p:blipFill>
        <p:spPr>
          <a:xfrm>
            <a:off x="2829840" y="4178333"/>
            <a:ext cx="4395959" cy="1140165"/>
          </a:xfrm>
          <a:prstGeom prst="rect">
            <a:avLst/>
          </a:prstGeom>
          <a:noFill/>
          <a:ln cap="flat">
            <a:noFill/>
          </a:ln>
        </p:spPr>
      </p:pic>
    </p:spTree>
    <p:extLst>
      <p:ext uri="{BB962C8B-B14F-4D97-AF65-F5344CB8AC3E}">
        <p14:creationId xmlns:p14="http://schemas.microsoft.com/office/powerpoint/2010/main" val="78788126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Title Only">
  <p:cSld name="TITLE_ONLY 2">
    <p:spTree>
      <p:nvGrpSpPr>
        <p:cNvPr id="1" name="Shape 9387"/>
        <p:cNvGrpSpPr/>
        <p:nvPr/>
      </p:nvGrpSpPr>
      <p:grpSpPr>
        <a:xfrm>
          <a:off x="0" y="0"/>
          <a:ext cx="0" cy="0"/>
          <a:chOff x="0" y="0"/>
          <a:chExt cx="0" cy="0"/>
        </a:xfrm>
      </p:grpSpPr>
      <p:grpSp>
        <p:nvGrpSpPr>
          <p:cNvPr id="9388" name="Google Shape;9388;p1350"/>
          <p:cNvGrpSpPr/>
          <p:nvPr/>
        </p:nvGrpSpPr>
        <p:grpSpPr>
          <a:xfrm>
            <a:off x="7191542" y="1"/>
            <a:ext cx="5000459" cy="1425992"/>
            <a:chOff x="7191542" y="1"/>
            <a:chExt cx="5000459" cy="1425992"/>
          </a:xfrm>
        </p:grpSpPr>
        <p:pic>
          <p:nvPicPr>
            <p:cNvPr id="9389" name="Google Shape;9389;p13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90" name="Google Shape;9390;p1350"/>
            <p:cNvGrpSpPr/>
            <p:nvPr/>
          </p:nvGrpSpPr>
          <p:grpSpPr>
            <a:xfrm>
              <a:off x="7191542" y="1"/>
              <a:ext cx="5000459" cy="1425992"/>
              <a:chOff x="7186272" y="0"/>
              <a:chExt cx="5005729" cy="1427495"/>
            </a:xfrm>
          </p:grpSpPr>
          <p:sp>
            <p:nvSpPr>
              <p:cNvPr id="9391" name="Google Shape;9391;p13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392" name="Google Shape;9392;p13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393" name="Google Shape;9393;p135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394" name="Google Shape;9394;p13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95" name="Google Shape;9395;p13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96" name="Google Shape;9396;p13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p:cSld name="2_Title and Bullets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274E3-3504-6712-0BF2-1466230DE55A}"/>
              </a:ext>
            </a:extLst>
          </p:cNvPr>
          <p:cNvSpPr txBox="1">
            <a:spLocks noGrp="1"/>
          </p:cNvSpPr>
          <p:nvPr>
            <p:ph type="title"/>
          </p:nvPr>
        </p:nvSpPr>
        <p:spPr>
          <a:xfrm>
            <a:off x="848992" y="783842"/>
            <a:ext cx="10177756"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sp>
        <p:nvSpPr>
          <p:cNvPr id="3" name="Rectangle 9">
            <a:extLst>
              <a:ext uri="{FF2B5EF4-FFF2-40B4-BE49-F238E27FC236}">
                <a16:creationId xmlns:a16="http://schemas.microsoft.com/office/drawing/2014/main" id="{D24F9B5E-BDC4-FAC2-C78D-151993DCFD60}"/>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4" name="Rectangle 10">
            <a:extLst>
              <a:ext uri="{FF2B5EF4-FFF2-40B4-BE49-F238E27FC236}">
                <a16:creationId xmlns:a16="http://schemas.microsoft.com/office/drawing/2014/main" id="{0C48FCEF-645F-AE6C-D8C4-97801088FB48}"/>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5" name="Text Placeholder 4">
            <a:extLst>
              <a:ext uri="{FF2B5EF4-FFF2-40B4-BE49-F238E27FC236}">
                <a16:creationId xmlns:a16="http://schemas.microsoft.com/office/drawing/2014/main" id="{882E3606-5799-EF0F-23AA-22A913B360AB}"/>
              </a:ext>
            </a:extLst>
          </p:cNvPr>
          <p:cNvSpPr txBox="1">
            <a:spLocks noGrp="1"/>
          </p:cNvSpPr>
          <p:nvPr>
            <p:ph type="body" idx="4294967295"/>
          </p:nvPr>
        </p:nvSpPr>
        <p:spPr>
          <a:xfrm>
            <a:off x="848783" y="1615023"/>
            <a:ext cx="10176933" cy="3812115"/>
          </a:xfrm>
        </p:spPr>
        <p:txBody>
          <a:bodyPr/>
          <a:lstStyle>
            <a:lvl1pPr marL="381031" indent="-381031">
              <a:defRPr sz="2133">
                <a:latin typeface="Verdana"/>
                <a:ea typeface="Verdana"/>
                <a:cs typeface="Verdana"/>
              </a:defRPr>
            </a:lvl1pPr>
            <a:lvl2pPr marL="381031" lvl="0" indent="-381031">
              <a:spcBef>
                <a:spcPts val="1000"/>
              </a:spcBef>
              <a:buClr>
                <a:srgbClr val="F5668F"/>
              </a:buClr>
              <a:defRPr sz="2133">
                <a:latin typeface="Verdana"/>
                <a:ea typeface="Verdana"/>
                <a:cs typeface="Verdana"/>
              </a:defRPr>
            </a:lvl2pPr>
          </a:lstStyle>
          <a:p>
            <a:pPr lvl="0"/>
            <a:r>
              <a:rPr lang="en-US"/>
              <a:t>Copy goes here</a:t>
            </a:r>
          </a:p>
          <a:p>
            <a:pPr lvl="0"/>
            <a:endParaRPr lang="en-US"/>
          </a:p>
        </p:txBody>
      </p:sp>
      <p:pic>
        <p:nvPicPr>
          <p:cNvPr id="6" name="Picture 6">
            <a:extLst>
              <a:ext uri="{FF2B5EF4-FFF2-40B4-BE49-F238E27FC236}">
                <a16:creationId xmlns:a16="http://schemas.microsoft.com/office/drawing/2014/main" id="{EC7D909D-022E-8A51-5DE6-6248E0375FA3}"/>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Tree>
    <p:extLst>
      <p:ext uri="{BB962C8B-B14F-4D97-AF65-F5344CB8AC3E}">
        <p14:creationId xmlns:p14="http://schemas.microsoft.com/office/powerpoint/2010/main" val="2858335881"/>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p:cSld name="21_Title and Content">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E1B428EB-BE18-9B08-16B2-F7AC8E484104}"/>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pic>
        <p:nvPicPr>
          <p:cNvPr id="3" name="Picture 10">
            <a:extLst>
              <a:ext uri="{FF2B5EF4-FFF2-40B4-BE49-F238E27FC236}">
                <a16:creationId xmlns:a16="http://schemas.microsoft.com/office/drawing/2014/main" id="{1BDE01B3-B9F7-A1E8-39F5-1BA5A5000C62}"/>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
        <p:nvSpPr>
          <p:cNvPr id="4" name="Rectangle 11">
            <a:extLst>
              <a:ext uri="{FF2B5EF4-FFF2-40B4-BE49-F238E27FC236}">
                <a16:creationId xmlns:a16="http://schemas.microsoft.com/office/drawing/2014/main" id="{17E58525-0408-BFA7-0845-0174CD7E734E}"/>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5" name="Title 1">
            <a:extLst>
              <a:ext uri="{FF2B5EF4-FFF2-40B4-BE49-F238E27FC236}">
                <a16:creationId xmlns:a16="http://schemas.microsoft.com/office/drawing/2014/main" id="{08AC6200-9D10-D086-2A11-A6587B7A7B99}"/>
              </a:ext>
            </a:extLst>
          </p:cNvPr>
          <p:cNvSpPr txBox="1">
            <a:spLocks noGrp="1"/>
          </p:cNvSpPr>
          <p:nvPr>
            <p:ph type="title"/>
          </p:nvPr>
        </p:nvSpPr>
        <p:spPr>
          <a:xfrm>
            <a:off x="848992" y="806858"/>
            <a:ext cx="10156176"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sp>
        <p:nvSpPr>
          <p:cNvPr id="6" name="Text Placeholder 15">
            <a:extLst>
              <a:ext uri="{FF2B5EF4-FFF2-40B4-BE49-F238E27FC236}">
                <a16:creationId xmlns:a16="http://schemas.microsoft.com/office/drawing/2014/main" id="{34F24263-8DCF-7FE3-FD58-C5C55F42DC77}"/>
              </a:ext>
            </a:extLst>
          </p:cNvPr>
          <p:cNvSpPr txBox="1">
            <a:spLocks noGrp="1"/>
          </p:cNvSpPr>
          <p:nvPr>
            <p:ph type="body" idx="4294967295"/>
          </p:nvPr>
        </p:nvSpPr>
        <p:spPr>
          <a:xfrm>
            <a:off x="848992" y="1637855"/>
            <a:ext cx="10156176" cy="4117159"/>
          </a:xfrm>
        </p:spPr>
        <p:txBody>
          <a:bodyPr/>
          <a:lstStyle>
            <a:lvl1pPr marL="0" indent="0" defTabSz="914473">
              <a:lnSpc>
                <a:spcPct val="90000"/>
              </a:lnSpc>
              <a:spcAft>
                <a:spcPts val="0"/>
              </a:spcAft>
              <a:buNone/>
              <a:defRPr sz="2133">
                <a:latin typeface="Verdana"/>
                <a:ea typeface="Verdana"/>
                <a:cs typeface="Verdana"/>
              </a:defRPr>
            </a:lvl1pPr>
          </a:lstStyle>
          <a:p>
            <a:pPr lvl="0"/>
            <a:r>
              <a:rPr lang="en-US"/>
              <a:t>Copy goes here. </a:t>
            </a:r>
          </a:p>
        </p:txBody>
      </p:sp>
    </p:spTree>
    <p:extLst>
      <p:ext uri="{BB962C8B-B14F-4D97-AF65-F5344CB8AC3E}">
        <p14:creationId xmlns:p14="http://schemas.microsoft.com/office/powerpoint/2010/main" val="252903991"/>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p:cSld name="2_Two Section | Picture and Copy Layout">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1BE8DCC1-CACE-E46F-117C-F4A1B1CCCF57}"/>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3" name="Rectangle 11">
            <a:extLst>
              <a:ext uri="{FF2B5EF4-FFF2-40B4-BE49-F238E27FC236}">
                <a16:creationId xmlns:a16="http://schemas.microsoft.com/office/drawing/2014/main" id="{F4C99572-2ABD-B0B2-BBD9-5F734CF20A4A}"/>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4" name="Content Placeholder 2">
            <a:extLst>
              <a:ext uri="{FF2B5EF4-FFF2-40B4-BE49-F238E27FC236}">
                <a16:creationId xmlns:a16="http://schemas.microsoft.com/office/drawing/2014/main" id="{908003EB-F98A-8AAF-C0E1-031D26749F2D}"/>
              </a:ext>
            </a:extLst>
          </p:cNvPr>
          <p:cNvSpPr txBox="1">
            <a:spLocks noGrp="1"/>
          </p:cNvSpPr>
          <p:nvPr>
            <p:ph idx="4294967295"/>
          </p:nvPr>
        </p:nvSpPr>
        <p:spPr>
          <a:xfrm>
            <a:off x="1186836" y="1294452"/>
            <a:ext cx="3983336" cy="3788084"/>
          </a:xfrm>
        </p:spPr>
        <p:txBody>
          <a:bodyPr/>
          <a:lstStyle>
            <a:lvl1pPr marL="0" indent="0">
              <a:buNone/>
              <a:defRPr sz="1200" i="1">
                <a:solidFill>
                  <a:srgbClr val="003B5C"/>
                </a:solidFill>
                <a:latin typeface="Verdana"/>
                <a:ea typeface="Verdana"/>
                <a:cs typeface="Verdana"/>
              </a:defRPr>
            </a:lvl1pPr>
          </a:lstStyle>
          <a:p>
            <a:pPr lvl="0"/>
            <a:r>
              <a:rPr lang="en-US"/>
              <a:t>*Insert Image Here</a:t>
            </a:r>
          </a:p>
        </p:txBody>
      </p:sp>
      <p:sp>
        <p:nvSpPr>
          <p:cNvPr id="5" name="Content Placeholder 3">
            <a:extLst>
              <a:ext uri="{FF2B5EF4-FFF2-40B4-BE49-F238E27FC236}">
                <a16:creationId xmlns:a16="http://schemas.microsoft.com/office/drawing/2014/main" id="{09279B01-E9C0-C8DA-45D7-FCA1304CE950}"/>
              </a:ext>
            </a:extLst>
          </p:cNvPr>
          <p:cNvSpPr txBox="1">
            <a:spLocks noGrp="1"/>
          </p:cNvSpPr>
          <p:nvPr>
            <p:ph idx="4294967295"/>
          </p:nvPr>
        </p:nvSpPr>
        <p:spPr>
          <a:xfrm>
            <a:off x="5549394" y="1997132"/>
            <a:ext cx="5466557" cy="3085414"/>
          </a:xfrm>
        </p:spPr>
        <p:txBody>
          <a:bodyPr/>
          <a:lstStyle>
            <a:lvl1pPr marL="0" indent="0" defTabSz="914473">
              <a:lnSpc>
                <a:spcPct val="90000"/>
              </a:lnSpc>
              <a:spcAft>
                <a:spcPts val="0"/>
              </a:spcAft>
              <a:buNone/>
              <a:defRPr sz="2133">
                <a:latin typeface="Verdana"/>
                <a:ea typeface="Verdana"/>
                <a:cs typeface="Verdana"/>
              </a:defRPr>
            </a:lvl1pPr>
          </a:lstStyle>
          <a:p>
            <a:pPr lvl="0"/>
            <a:r>
              <a:rPr lang="en-US"/>
              <a:t>Copy goes here. </a:t>
            </a:r>
          </a:p>
        </p:txBody>
      </p:sp>
      <p:sp>
        <p:nvSpPr>
          <p:cNvPr id="6" name="Title 16">
            <a:extLst>
              <a:ext uri="{FF2B5EF4-FFF2-40B4-BE49-F238E27FC236}">
                <a16:creationId xmlns:a16="http://schemas.microsoft.com/office/drawing/2014/main" id="{22B08F79-D343-D488-CB9E-0FA2ADB1C261}"/>
              </a:ext>
            </a:extLst>
          </p:cNvPr>
          <p:cNvSpPr txBox="1">
            <a:spLocks noGrp="1"/>
          </p:cNvSpPr>
          <p:nvPr>
            <p:ph type="title"/>
          </p:nvPr>
        </p:nvSpPr>
        <p:spPr>
          <a:xfrm>
            <a:off x="5549394" y="1154531"/>
            <a:ext cx="5466557"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pic>
        <p:nvPicPr>
          <p:cNvPr id="7" name="Picture 7">
            <a:extLst>
              <a:ext uri="{FF2B5EF4-FFF2-40B4-BE49-F238E27FC236}">
                <a16:creationId xmlns:a16="http://schemas.microsoft.com/office/drawing/2014/main" id="{EB504077-C89B-AD4C-F6AF-23F5D56AD188}"/>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Tree>
    <p:extLst>
      <p:ext uri="{BB962C8B-B14F-4D97-AF65-F5344CB8AC3E}">
        <p14:creationId xmlns:p14="http://schemas.microsoft.com/office/powerpoint/2010/main" val="2353006609"/>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p:cSld name="9_Title Slide_Yale Blue">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2FDB2D32-7653-7C5E-06B3-24354BA70714}"/>
              </a:ext>
            </a:extLst>
          </p:cNvPr>
          <p:cNvSpPr txBox="1">
            <a:spLocks noGrp="1"/>
          </p:cNvSpPr>
          <p:nvPr>
            <p:ph type="body" idx="4294967295"/>
          </p:nvPr>
        </p:nvSpPr>
        <p:spPr>
          <a:xfrm>
            <a:off x="2826557" y="5400857"/>
            <a:ext cx="8178613" cy="379656"/>
          </a:xfrm>
        </p:spPr>
        <p:txBody>
          <a:bodyPr wrap="square">
            <a:spAutoFit/>
          </a:bodyPr>
          <a:lstStyle>
            <a:lvl1pPr marL="0" indent="0" algn="r">
              <a:buNone/>
              <a:defRPr sz="1867">
                <a:solidFill>
                  <a:srgbClr val="616364"/>
                </a:solidFill>
                <a:latin typeface="Verdana"/>
                <a:ea typeface="Verdana"/>
                <a:cs typeface="Verdana"/>
              </a:defRPr>
            </a:lvl1pPr>
          </a:lstStyle>
          <a:p>
            <a:pPr lvl="0"/>
            <a:r>
              <a:rPr lang="en-US"/>
              <a:t>Date | Presenter Information (14 pt)</a:t>
            </a:r>
          </a:p>
        </p:txBody>
      </p:sp>
      <p:sp>
        <p:nvSpPr>
          <p:cNvPr id="3" name="Title 1">
            <a:extLst>
              <a:ext uri="{FF2B5EF4-FFF2-40B4-BE49-F238E27FC236}">
                <a16:creationId xmlns:a16="http://schemas.microsoft.com/office/drawing/2014/main" id="{66E4FE4A-8E1D-A6FA-0827-0BD2F273297F}"/>
              </a:ext>
            </a:extLst>
          </p:cNvPr>
          <p:cNvSpPr txBox="1">
            <a:spLocks noGrp="1"/>
          </p:cNvSpPr>
          <p:nvPr>
            <p:ph type="title"/>
          </p:nvPr>
        </p:nvSpPr>
        <p:spPr>
          <a:xfrm>
            <a:off x="2826557" y="1807156"/>
            <a:ext cx="8178613" cy="1629460"/>
          </a:xfrm>
        </p:spPr>
        <p:txBody>
          <a:bodyPr anchor="b"/>
          <a:lstStyle>
            <a:lvl1pPr>
              <a:defRPr sz="5334">
                <a:solidFill>
                  <a:srgbClr val="00314C"/>
                </a:solidFill>
                <a:latin typeface="Verdana"/>
                <a:ea typeface="Verdana"/>
                <a:cs typeface="Verdana"/>
              </a:defRPr>
            </a:lvl1pPr>
          </a:lstStyle>
          <a:p>
            <a:pPr lvl="0"/>
            <a:r>
              <a:rPr lang="en-US"/>
              <a:t>Presentation Title (40pt)</a:t>
            </a:r>
          </a:p>
        </p:txBody>
      </p:sp>
      <p:sp>
        <p:nvSpPr>
          <p:cNvPr id="4" name="Date Placeholder 3">
            <a:extLst>
              <a:ext uri="{FF2B5EF4-FFF2-40B4-BE49-F238E27FC236}">
                <a16:creationId xmlns:a16="http://schemas.microsoft.com/office/drawing/2014/main" id="{1FE5FCBB-2A28-2FE1-21C3-D3D9DF1418CF}"/>
              </a:ext>
            </a:extLst>
          </p:cNvPr>
          <p:cNvSpPr txBox="1">
            <a:spLocks noGrp="1"/>
          </p:cNvSpPr>
          <p:nvPr>
            <p:ph type="dt" sz="quarter" idx="7"/>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914446"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defRPr>
            </a:lvl1pPr>
          </a:lstStyle>
          <a:p>
            <a:pPr lvl="0"/>
            <a:fld id="{B31D7268-AFA9-4A26-8083-C2A0CD8BD888}" type="datetime1">
              <a:rPr lang="en-US"/>
              <a:pPr lvl="0"/>
              <a:t>5/20/2026</a:t>
            </a:fld>
            <a:endParaRPr lang="en-US"/>
          </a:p>
        </p:txBody>
      </p:sp>
      <p:sp>
        <p:nvSpPr>
          <p:cNvPr id="5" name="Footer Placeholder 4">
            <a:extLst>
              <a:ext uri="{FF2B5EF4-FFF2-40B4-BE49-F238E27FC236}">
                <a16:creationId xmlns:a16="http://schemas.microsoft.com/office/drawing/2014/main" id="{ED27EA56-18EE-93C1-7138-814D0D8071D3}"/>
              </a:ext>
            </a:extLst>
          </p:cNvPr>
          <p:cNvSpPr txBox="1">
            <a:spLocks noGrp="1"/>
          </p:cNvSpPr>
          <p:nvPr>
            <p:ph type="ftr" sz="quarter" idx="9"/>
          </p:nvPr>
        </p:nvSpPr>
        <p:spPr/>
        <p:txBody>
          <a:bodyPr anchorCtr="1"/>
          <a:lstStyle>
            <a:lvl1pPr algn="ctr">
              <a:defRPr/>
            </a:lvl1pPr>
          </a:lstStyle>
          <a:p>
            <a:pPr lvl="0"/>
            <a:endParaRPr lang="en-US"/>
          </a:p>
        </p:txBody>
      </p:sp>
      <p:sp>
        <p:nvSpPr>
          <p:cNvPr id="6" name="Slide Number Placeholder 5">
            <a:extLst>
              <a:ext uri="{FF2B5EF4-FFF2-40B4-BE49-F238E27FC236}">
                <a16:creationId xmlns:a16="http://schemas.microsoft.com/office/drawing/2014/main" id="{AE40D374-E18B-E90A-F196-797868A91008}"/>
              </a:ext>
            </a:extLst>
          </p:cNvPr>
          <p:cNvSpPr txBox="1">
            <a:spLocks noGrp="1"/>
          </p:cNvSpPr>
          <p:nvPr>
            <p:ph type="sldNum" sz="quarter" idx="8"/>
          </p:nvPr>
        </p:nvSpPr>
        <p:spPr/>
        <p:txBody>
          <a:bodyPr/>
          <a:lstStyle>
            <a:lvl1pPr>
              <a:defRPr/>
            </a:lvl1pPr>
          </a:lstStyle>
          <a:p>
            <a:pPr lvl="0"/>
            <a:fld id="{CE9C5F79-E816-4E38-B98E-17DDCE20561A}" type="slidenum">
              <a:t>‹#›</a:t>
            </a:fld>
            <a:endParaRPr lang="en-US"/>
          </a:p>
        </p:txBody>
      </p:sp>
      <p:sp>
        <p:nvSpPr>
          <p:cNvPr id="7" name="Rectangle 12">
            <a:extLst>
              <a:ext uri="{FF2B5EF4-FFF2-40B4-BE49-F238E27FC236}">
                <a16:creationId xmlns:a16="http://schemas.microsoft.com/office/drawing/2014/main" id="{13B488D9-D72A-1DAA-377C-F58141B11916}"/>
              </a:ext>
            </a:extLst>
          </p:cNvPr>
          <p:cNvSpPr/>
          <p:nvPr/>
        </p:nvSpPr>
        <p:spPr>
          <a:xfrm rot="10799991">
            <a:off x="-28" y="2000224"/>
            <a:ext cx="2785070" cy="2042851"/>
          </a:xfrm>
          <a:custGeom>
            <a:avLst/>
            <a:gdLst>
              <a:gd name="f0" fmla="val 10800000"/>
              <a:gd name="f1" fmla="val 5400000"/>
              <a:gd name="f2" fmla="val 180"/>
              <a:gd name="f3" fmla="val w"/>
              <a:gd name="f4" fmla="val h"/>
              <a:gd name="f5" fmla="val 0"/>
              <a:gd name="f6" fmla="val 10293751"/>
              <a:gd name="f7" fmla="val 1031873"/>
              <a:gd name="f8" fmla="val 3579068"/>
              <a:gd name="f9" fmla="val 1"/>
              <a:gd name="f10" fmla="val 1031872"/>
              <a:gd name="f11" fmla="+- 0 0 -90"/>
              <a:gd name="f12" fmla="*/ f3 1 10293751"/>
              <a:gd name="f13" fmla="*/ f4 1 1031873"/>
              <a:gd name="f14" fmla="+- f7 0 f5"/>
              <a:gd name="f15" fmla="+- f6 0 f5"/>
              <a:gd name="f16" fmla="*/ f11 f0 1"/>
              <a:gd name="f17" fmla="*/ f15 1 10293751"/>
              <a:gd name="f18" fmla="*/ f14 1 1031873"/>
              <a:gd name="f19" fmla="*/ 10293751 f15 1"/>
              <a:gd name="f20" fmla="*/ 0 f15 1"/>
              <a:gd name="f21" fmla="*/ 0 f14 1"/>
              <a:gd name="f22" fmla="*/ 1 f14 1"/>
              <a:gd name="f23" fmla="*/ 1031873 f14 1"/>
              <a:gd name="f24" fmla="*/ 1031872 f14 1"/>
              <a:gd name="f25" fmla="*/ 3579068 f15 1"/>
              <a:gd name="f26" fmla="*/ f16 1 f2"/>
              <a:gd name="f27" fmla="*/ f19 1 10293751"/>
              <a:gd name="f28" fmla="*/ f20 1 10293751"/>
              <a:gd name="f29" fmla="*/ f21 1 1031873"/>
              <a:gd name="f30" fmla="*/ f22 1 1031873"/>
              <a:gd name="f31" fmla="*/ f23 1 1031873"/>
              <a:gd name="f32" fmla="*/ f24 1 1031873"/>
              <a:gd name="f33" fmla="*/ f25 1 10293751"/>
              <a:gd name="f34" fmla="*/ f5 1 f17"/>
              <a:gd name="f35" fmla="*/ f6 1 f17"/>
              <a:gd name="f36" fmla="*/ f5 1 f18"/>
              <a:gd name="f37" fmla="*/ f7 1 f18"/>
              <a:gd name="f38" fmla="+- f26 0 f1"/>
              <a:gd name="f39" fmla="*/ f33 1 f17"/>
              <a:gd name="f40" fmla="*/ f29 1 f18"/>
              <a:gd name="f41" fmla="*/ f27 1 f17"/>
              <a:gd name="f42" fmla="*/ f30 1 f18"/>
              <a:gd name="f43" fmla="*/ f31 1 f18"/>
              <a:gd name="f44" fmla="*/ f28 1 f17"/>
              <a:gd name="f45" fmla="*/ f32 1 f18"/>
              <a:gd name="f46" fmla="*/ f34 f12 1"/>
              <a:gd name="f47" fmla="*/ f35 f12 1"/>
              <a:gd name="f48" fmla="*/ f37 f13 1"/>
              <a:gd name="f49" fmla="*/ f36 f13 1"/>
              <a:gd name="f50" fmla="*/ f39 f12 1"/>
              <a:gd name="f51" fmla="*/ f40 f13 1"/>
              <a:gd name="f52" fmla="*/ f41 f12 1"/>
              <a:gd name="f53" fmla="*/ f42 f13 1"/>
              <a:gd name="f54" fmla="*/ f43 f13 1"/>
              <a:gd name="f55" fmla="*/ f44 f12 1"/>
              <a:gd name="f56" fmla="*/ f45 f13 1"/>
            </a:gdLst>
            <a:ahLst/>
            <a:cxnLst>
              <a:cxn ang="3cd4">
                <a:pos x="hc" y="t"/>
              </a:cxn>
              <a:cxn ang="0">
                <a:pos x="r" y="vc"/>
              </a:cxn>
              <a:cxn ang="cd4">
                <a:pos x="hc" y="b"/>
              </a:cxn>
              <a:cxn ang="cd2">
                <a:pos x="l" y="vc"/>
              </a:cxn>
              <a:cxn ang="f38">
                <a:pos x="f50" y="f51"/>
              </a:cxn>
              <a:cxn ang="f38">
                <a:pos x="f52" y="f53"/>
              </a:cxn>
              <a:cxn ang="f38">
                <a:pos x="f52" y="f54"/>
              </a:cxn>
              <a:cxn ang="f38">
                <a:pos x="f55" y="f56"/>
              </a:cxn>
              <a:cxn ang="f38">
                <a:pos x="f50" y="f51"/>
              </a:cxn>
            </a:cxnLst>
            <a:rect l="f46" t="f49" r="f47" b="f48"/>
            <a:pathLst>
              <a:path w="10293751" h="1031873">
                <a:moveTo>
                  <a:pt x="f8" y="f5"/>
                </a:moveTo>
                <a:lnTo>
                  <a:pt x="f6" y="f9"/>
                </a:lnTo>
                <a:lnTo>
                  <a:pt x="f6" y="f7"/>
                </a:lnTo>
                <a:lnTo>
                  <a:pt x="f5" y="f10"/>
                </a:lnTo>
                <a:lnTo>
                  <a:pt x="f8" y="f5"/>
                </a:lnTo>
                <a:close/>
              </a:path>
            </a:pathLst>
          </a:cu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8" name="Rectangle 8">
            <a:extLst>
              <a:ext uri="{FF2B5EF4-FFF2-40B4-BE49-F238E27FC236}">
                <a16:creationId xmlns:a16="http://schemas.microsoft.com/office/drawing/2014/main" id="{60A5A8A9-12F0-3B5C-1B42-799B13DC6B7C}"/>
              </a:ext>
            </a:extLst>
          </p:cNvPr>
          <p:cNvSpPr/>
          <p:nvPr/>
        </p:nvSpPr>
        <p:spPr>
          <a:xfrm>
            <a:off x="0" y="6115050"/>
            <a:ext cx="12191996" cy="742950"/>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9" name="Text Placeholder 11">
            <a:extLst>
              <a:ext uri="{FF2B5EF4-FFF2-40B4-BE49-F238E27FC236}">
                <a16:creationId xmlns:a16="http://schemas.microsoft.com/office/drawing/2014/main" id="{379DB749-9FED-3DB3-0F02-6C562BA56335}"/>
              </a:ext>
            </a:extLst>
          </p:cNvPr>
          <p:cNvSpPr txBox="1">
            <a:spLocks noGrp="1"/>
          </p:cNvSpPr>
          <p:nvPr>
            <p:ph type="body" idx="4294967295"/>
          </p:nvPr>
        </p:nvSpPr>
        <p:spPr>
          <a:xfrm>
            <a:off x="2826557" y="3447397"/>
            <a:ext cx="8178613" cy="713314"/>
          </a:xfrm>
        </p:spPr>
        <p:txBody>
          <a:bodyPr/>
          <a:lstStyle>
            <a:lvl1pPr marL="0" indent="0">
              <a:buNone/>
              <a:defRPr sz="3200">
                <a:solidFill>
                  <a:srgbClr val="00314C"/>
                </a:solidFill>
                <a:latin typeface="Verdana"/>
                <a:ea typeface="Verdana"/>
                <a:cs typeface="Verdana"/>
              </a:defRPr>
            </a:lvl1pPr>
          </a:lstStyle>
          <a:p>
            <a:pPr lvl="0"/>
            <a:r>
              <a:rPr lang="en-US"/>
              <a:t>Subtitle (24)</a:t>
            </a:r>
          </a:p>
        </p:txBody>
      </p:sp>
      <p:pic>
        <p:nvPicPr>
          <p:cNvPr id="10" name="Picture 12">
            <a:extLst>
              <a:ext uri="{FF2B5EF4-FFF2-40B4-BE49-F238E27FC236}">
                <a16:creationId xmlns:a16="http://schemas.microsoft.com/office/drawing/2014/main" id="{FEC6BD4D-AB24-C2FD-54A6-78FA8195AC84}"/>
              </a:ext>
            </a:extLst>
          </p:cNvPr>
          <p:cNvPicPr>
            <a:picLocks noChangeAspect="1"/>
          </p:cNvPicPr>
          <p:nvPr/>
        </p:nvPicPr>
        <p:blipFill>
          <a:blip r:embed="rId2"/>
          <a:srcRect/>
          <a:stretch>
            <a:fillRect/>
          </a:stretch>
        </p:blipFill>
        <p:spPr>
          <a:xfrm>
            <a:off x="2829840" y="4178333"/>
            <a:ext cx="4395959" cy="1140165"/>
          </a:xfrm>
          <a:prstGeom prst="rect">
            <a:avLst/>
          </a:prstGeom>
          <a:noFill/>
          <a:ln cap="flat">
            <a:noFill/>
          </a:ln>
        </p:spPr>
      </p:pic>
    </p:spTree>
    <p:extLst>
      <p:ext uri="{BB962C8B-B14F-4D97-AF65-F5344CB8AC3E}">
        <p14:creationId xmlns:p14="http://schemas.microsoft.com/office/powerpoint/2010/main" val="669556706"/>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3_Title and Bullets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97DE5C-6D75-58B6-9404-7AA5CD55CAF6}"/>
              </a:ext>
            </a:extLst>
          </p:cNvPr>
          <p:cNvSpPr txBox="1">
            <a:spLocks noGrp="1"/>
          </p:cNvSpPr>
          <p:nvPr>
            <p:ph type="title"/>
          </p:nvPr>
        </p:nvSpPr>
        <p:spPr>
          <a:xfrm>
            <a:off x="848992" y="783842"/>
            <a:ext cx="10177756"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sp>
        <p:nvSpPr>
          <p:cNvPr id="3" name="Rectangle 9">
            <a:extLst>
              <a:ext uri="{FF2B5EF4-FFF2-40B4-BE49-F238E27FC236}">
                <a16:creationId xmlns:a16="http://schemas.microsoft.com/office/drawing/2014/main" id="{6C4F32E7-9DFF-5D00-2DE6-F083B1490FCA}"/>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4" name="Rectangle 10">
            <a:extLst>
              <a:ext uri="{FF2B5EF4-FFF2-40B4-BE49-F238E27FC236}">
                <a16:creationId xmlns:a16="http://schemas.microsoft.com/office/drawing/2014/main" id="{8AB7B273-2A3C-B396-2BCF-82BA85C1D72D}"/>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5" name="Text Placeholder 4">
            <a:extLst>
              <a:ext uri="{FF2B5EF4-FFF2-40B4-BE49-F238E27FC236}">
                <a16:creationId xmlns:a16="http://schemas.microsoft.com/office/drawing/2014/main" id="{1D4CF067-B401-62A0-163B-7E1B5D8E64B3}"/>
              </a:ext>
            </a:extLst>
          </p:cNvPr>
          <p:cNvSpPr txBox="1">
            <a:spLocks noGrp="1"/>
          </p:cNvSpPr>
          <p:nvPr>
            <p:ph type="body" idx="4294967295"/>
          </p:nvPr>
        </p:nvSpPr>
        <p:spPr>
          <a:xfrm>
            <a:off x="848783" y="1615023"/>
            <a:ext cx="10176933" cy="3812115"/>
          </a:xfrm>
        </p:spPr>
        <p:txBody>
          <a:bodyPr/>
          <a:lstStyle>
            <a:lvl1pPr marL="381031" indent="-381031">
              <a:defRPr sz="2133">
                <a:latin typeface="Verdana"/>
                <a:ea typeface="Verdana"/>
                <a:cs typeface="Verdana"/>
              </a:defRPr>
            </a:lvl1pPr>
            <a:lvl2pPr marL="381031" lvl="0" indent="-381031">
              <a:spcBef>
                <a:spcPts val="1000"/>
              </a:spcBef>
              <a:buClr>
                <a:srgbClr val="F5668F"/>
              </a:buClr>
              <a:defRPr sz="2133">
                <a:latin typeface="Verdana"/>
                <a:ea typeface="Verdana"/>
                <a:cs typeface="Verdana"/>
              </a:defRPr>
            </a:lvl2pPr>
          </a:lstStyle>
          <a:p>
            <a:pPr lvl="0"/>
            <a:r>
              <a:rPr lang="en-US"/>
              <a:t>Copy goes here</a:t>
            </a:r>
          </a:p>
          <a:p>
            <a:pPr lvl="0"/>
            <a:endParaRPr lang="en-US"/>
          </a:p>
        </p:txBody>
      </p:sp>
      <p:pic>
        <p:nvPicPr>
          <p:cNvPr id="6" name="Picture 6">
            <a:extLst>
              <a:ext uri="{FF2B5EF4-FFF2-40B4-BE49-F238E27FC236}">
                <a16:creationId xmlns:a16="http://schemas.microsoft.com/office/drawing/2014/main" id="{486197B1-F86C-F404-AF8B-E565FA88477F}"/>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Tree>
    <p:extLst>
      <p:ext uri="{BB962C8B-B14F-4D97-AF65-F5344CB8AC3E}">
        <p14:creationId xmlns:p14="http://schemas.microsoft.com/office/powerpoint/2010/main" val="3280610096"/>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p:cSld name="22_Title and Content">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9E57B068-9D71-7406-6EE3-C21B1AAB6BE0}"/>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pic>
        <p:nvPicPr>
          <p:cNvPr id="3" name="Picture 10">
            <a:extLst>
              <a:ext uri="{FF2B5EF4-FFF2-40B4-BE49-F238E27FC236}">
                <a16:creationId xmlns:a16="http://schemas.microsoft.com/office/drawing/2014/main" id="{6F6564A5-620F-F34C-7514-3D7EB8459CD0}"/>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
        <p:nvSpPr>
          <p:cNvPr id="4" name="Rectangle 11">
            <a:extLst>
              <a:ext uri="{FF2B5EF4-FFF2-40B4-BE49-F238E27FC236}">
                <a16:creationId xmlns:a16="http://schemas.microsoft.com/office/drawing/2014/main" id="{8D544474-BA6B-ED3F-7033-1E0642EFA01A}"/>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5" name="Title 1">
            <a:extLst>
              <a:ext uri="{FF2B5EF4-FFF2-40B4-BE49-F238E27FC236}">
                <a16:creationId xmlns:a16="http://schemas.microsoft.com/office/drawing/2014/main" id="{492AE66E-AA15-5238-5506-8D8F54C38C75}"/>
              </a:ext>
            </a:extLst>
          </p:cNvPr>
          <p:cNvSpPr txBox="1">
            <a:spLocks noGrp="1"/>
          </p:cNvSpPr>
          <p:nvPr>
            <p:ph type="title"/>
          </p:nvPr>
        </p:nvSpPr>
        <p:spPr>
          <a:xfrm>
            <a:off x="848992" y="806858"/>
            <a:ext cx="10156176"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sp>
        <p:nvSpPr>
          <p:cNvPr id="6" name="Text Placeholder 15">
            <a:extLst>
              <a:ext uri="{FF2B5EF4-FFF2-40B4-BE49-F238E27FC236}">
                <a16:creationId xmlns:a16="http://schemas.microsoft.com/office/drawing/2014/main" id="{540E5B9D-6563-858A-5CC4-DE8A890D58C7}"/>
              </a:ext>
            </a:extLst>
          </p:cNvPr>
          <p:cNvSpPr txBox="1">
            <a:spLocks noGrp="1"/>
          </p:cNvSpPr>
          <p:nvPr>
            <p:ph type="body" idx="4294967295"/>
          </p:nvPr>
        </p:nvSpPr>
        <p:spPr>
          <a:xfrm>
            <a:off x="848992" y="1637855"/>
            <a:ext cx="10156176" cy="4117159"/>
          </a:xfrm>
        </p:spPr>
        <p:txBody>
          <a:bodyPr/>
          <a:lstStyle>
            <a:lvl1pPr marL="0" indent="0" defTabSz="914473">
              <a:lnSpc>
                <a:spcPct val="90000"/>
              </a:lnSpc>
              <a:spcAft>
                <a:spcPts val="0"/>
              </a:spcAft>
              <a:buNone/>
              <a:defRPr sz="2133">
                <a:latin typeface="Verdana"/>
                <a:ea typeface="Verdana"/>
                <a:cs typeface="Verdana"/>
              </a:defRPr>
            </a:lvl1pPr>
          </a:lstStyle>
          <a:p>
            <a:pPr lvl="0"/>
            <a:r>
              <a:rPr lang="en-US"/>
              <a:t>Copy goes here. </a:t>
            </a:r>
          </a:p>
        </p:txBody>
      </p:sp>
    </p:spTree>
    <p:extLst>
      <p:ext uri="{BB962C8B-B14F-4D97-AF65-F5344CB8AC3E}">
        <p14:creationId xmlns:p14="http://schemas.microsoft.com/office/powerpoint/2010/main" val="2405367585"/>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3_Two Section | Picture and Copy Layout">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7025DA4F-881E-A8D4-E5D7-5693643B37E1}"/>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3" name="Rectangle 11">
            <a:extLst>
              <a:ext uri="{FF2B5EF4-FFF2-40B4-BE49-F238E27FC236}">
                <a16:creationId xmlns:a16="http://schemas.microsoft.com/office/drawing/2014/main" id="{FE165BEB-8801-35DF-0D18-BF06C3B23CF3}"/>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4" name="Content Placeholder 2">
            <a:extLst>
              <a:ext uri="{FF2B5EF4-FFF2-40B4-BE49-F238E27FC236}">
                <a16:creationId xmlns:a16="http://schemas.microsoft.com/office/drawing/2014/main" id="{F7C339BE-A26A-25AA-B0BD-5D0C07A76C18}"/>
              </a:ext>
            </a:extLst>
          </p:cNvPr>
          <p:cNvSpPr txBox="1">
            <a:spLocks noGrp="1"/>
          </p:cNvSpPr>
          <p:nvPr>
            <p:ph idx="4294967295"/>
          </p:nvPr>
        </p:nvSpPr>
        <p:spPr>
          <a:xfrm>
            <a:off x="1186836" y="1294452"/>
            <a:ext cx="3983336" cy="3788084"/>
          </a:xfrm>
        </p:spPr>
        <p:txBody>
          <a:bodyPr/>
          <a:lstStyle>
            <a:lvl1pPr marL="0" indent="0">
              <a:buNone/>
              <a:defRPr sz="1200" i="1">
                <a:solidFill>
                  <a:srgbClr val="003B5C"/>
                </a:solidFill>
                <a:latin typeface="Verdana"/>
                <a:ea typeface="Verdana"/>
                <a:cs typeface="Verdana"/>
              </a:defRPr>
            </a:lvl1pPr>
          </a:lstStyle>
          <a:p>
            <a:pPr lvl="0"/>
            <a:r>
              <a:rPr lang="en-US"/>
              <a:t>*Insert Image Here</a:t>
            </a:r>
          </a:p>
        </p:txBody>
      </p:sp>
      <p:sp>
        <p:nvSpPr>
          <p:cNvPr id="5" name="Content Placeholder 3">
            <a:extLst>
              <a:ext uri="{FF2B5EF4-FFF2-40B4-BE49-F238E27FC236}">
                <a16:creationId xmlns:a16="http://schemas.microsoft.com/office/drawing/2014/main" id="{A8322312-6EE0-269A-F9B5-9EAFD90F3D99}"/>
              </a:ext>
            </a:extLst>
          </p:cNvPr>
          <p:cNvSpPr txBox="1">
            <a:spLocks noGrp="1"/>
          </p:cNvSpPr>
          <p:nvPr>
            <p:ph idx="4294967295"/>
          </p:nvPr>
        </p:nvSpPr>
        <p:spPr>
          <a:xfrm>
            <a:off x="5549394" y="1997132"/>
            <a:ext cx="5466557" cy="3085414"/>
          </a:xfrm>
        </p:spPr>
        <p:txBody>
          <a:bodyPr/>
          <a:lstStyle>
            <a:lvl1pPr marL="0" indent="0" defTabSz="914473">
              <a:lnSpc>
                <a:spcPct val="90000"/>
              </a:lnSpc>
              <a:spcAft>
                <a:spcPts val="0"/>
              </a:spcAft>
              <a:buNone/>
              <a:defRPr sz="2133">
                <a:latin typeface="Verdana"/>
                <a:ea typeface="Verdana"/>
                <a:cs typeface="Verdana"/>
              </a:defRPr>
            </a:lvl1pPr>
          </a:lstStyle>
          <a:p>
            <a:pPr lvl="0"/>
            <a:r>
              <a:rPr lang="en-US"/>
              <a:t>Copy goes here. </a:t>
            </a:r>
          </a:p>
        </p:txBody>
      </p:sp>
      <p:sp>
        <p:nvSpPr>
          <p:cNvPr id="6" name="Title 16">
            <a:extLst>
              <a:ext uri="{FF2B5EF4-FFF2-40B4-BE49-F238E27FC236}">
                <a16:creationId xmlns:a16="http://schemas.microsoft.com/office/drawing/2014/main" id="{FB2A06F3-D0E0-6A3E-0B51-CA56D14E02B9}"/>
              </a:ext>
            </a:extLst>
          </p:cNvPr>
          <p:cNvSpPr txBox="1">
            <a:spLocks noGrp="1"/>
          </p:cNvSpPr>
          <p:nvPr>
            <p:ph type="title"/>
          </p:nvPr>
        </p:nvSpPr>
        <p:spPr>
          <a:xfrm>
            <a:off x="5549394" y="1154531"/>
            <a:ext cx="5466557"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pic>
        <p:nvPicPr>
          <p:cNvPr id="7" name="Picture 7">
            <a:extLst>
              <a:ext uri="{FF2B5EF4-FFF2-40B4-BE49-F238E27FC236}">
                <a16:creationId xmlns:a16="http://schemas.microsoft.com/office/drawing/2014/main" id="{E09B533E-89BB-F5CC-33B0-DD9D1BFDF655}"/>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Tree>
    <p:extLst>
      <p:ext uri="{BB962C8B-B14F-4D97-AF65-F5344CB8AC3E}">
        <p14:creationId xmlns:p14="http://schemas.microsoft.com/office/powerpoint/2010/main" val="879063618"/>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4_Title and Bullets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6A302F-05BD-CCFC-B4B0-1CDCF16AEDB6}"/>
              </a:ext>
            </a:extLst>
          </p:cNvPr>
          <p:cNvSpPr txBox="1">
            <a:spLocks noGrp="1"/>
          </p:cNvSpPr>
          <p:nvPr>
            <p:ph type="title"/>
          </p:nvPr>
        </p:nvSpPr>
        <p:spPr>
          <a:xfrm>
            <a:off x="848992" y="783842"/>
            <a:ext cx="10177756"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sp>
        <p:nvSpPr>
          <p:cNvPr id="3" name="Rectangle 9">
            <a:extLst>
              <a:ext uri="{FF2B5EF4-FFF2-40B4-BE49-F238E27FC236}">
                <a16:creationId xmlns:a16="http://schemas.microsoft.com/office/drawing/2014/main" id="{6862FBA2-4423-21C4-5F91-BFF4CF6B6CB5}"/>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4" name="Rectangle 10">
            <a:extLst>
              <a:ext uri="{FF2B5EF4-FFF2-40B4-BE49-F238E27FC236}">
                <a16:creationId xmlns:a16="http://schemas.microsoft.com/office/drawing/2014/main" id="{B631A8E6-5464-F0F7-4969-2D44CC2179B2}"/>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5" name="Text Placeholder 4">
            <a:extLst>
              <a:ext uri="{FF2B5EF4-FFF2-40B4-BE49-F238E27FC236}">
                <a16:creationId xmlns:a16="http://schemas.microsoft.com/office/drawing/2014/main" id="{C140332B-A6C6-DE4B-1282-BB66811EB03A}"/>
              </a:ext>
            </a:extLst>
          </p:cNvPr>
          <p:cNvSpPr txBox="1">
            <a:spLocks noGrp="1"/>
          </p:cNvSpPr>
          <p:nvPr>
            <p:ph type="body" idx="4294967295"/>
          </p:nvPr>
        </p:nvSpPr>
        <p:spPr>
          <a:xfrm>
            <a:off x="848783" y="1615023"/>
            <a:ext cx="10176933" cy="3812115"/>
          </a:xfrm>
        </p:spPr>
        <p:txBody>
          <a:bodyPr/>
          <a:lstStyle>
            <a:lvl1pPr marL="381031" indent="-381031">
              <a:defRPr sz="2133">
                <a:latin typeface="Verdana"/>
                <a:ea typeface="Verdana"/>
                <a:cs typeface="Verdana"/>
              </a:defRPr>
            </a:lvl1pPr>
            <a:lvl2pPr marL="381031" lvl="0" indent="-381031">
              <a:spcBef>
                <a:spcPts val="1000"/>
              </a:spcBef>
              <a:buClr>
                <a:srgbClr val="F5668F"/>
              </a:buClr>
              <a:defRPr sz="2133">
                <a:latin typeface="Verdana"/>
                <a:ea typeface="Verdana"/>
                <a:cs typeface="Verdana"/>
              </a:defRPr>
            </a:lvl2pPr>
          </a:lstStyle>
          <a:p>
            <a:pPr lvl="0"/>
            <a:r>
              <a:rPr lang="en-US"/>
              <a:t>Copy goes here</a:t>
            </a:r>
          </a:p>
          <a:p>
            <a:pPr lvl="0"/>
            <a:endParaRPr lang="en-US"/>
          </a:p>
        </p:txBody>
      </p:sp>
      <p:pic>
        <p:nvPicPr>
          <p:cNvPr id="6" name="Picture 6">
            <a:extLst>
              <a:ext uri="{FF2B5EF4-FFF2-40B4-BE49-F238E27FC236}">
                <a16:creationId xmlns:a16="http://schemas.microsoft.com/office/drawing/2014/main" id="{704BF6B1-BF3D-566F-7BF5-703B203BD2B7}"/>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Tree>
    <p:extLst>
      <p:ext uri="{BB962C8B-B14F-4D97-AF65-F5344CB8AC3E}">
        <p14:creationId xmlns:p14="http://schemas.microsoft.com/office/powerpoint/2010/main" val="4047369849"/>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23_Title and Content">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A9037E1E-B787-8E52-8900-4C19FE240EED}"/>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pic>
        <p:nvPicPr>
          <p:cNvPr id="3" name="Picture 10">
            <a:extLst>
              <a:ext uri="{FF2B5EF4-FFF2-40B4-BE49-F238E27FC236}">
                <a16:creationId xmlns:a16="http://schemas.microsoft.com/office/drawing/2014/main" id="{D4F125B9-5743-1884-B57E-98FD990A3024}"/>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
        <p:nvSpPr>
          <p:cNvPr id="4" name="Rectangle 11">
            <a:extLst>
              <a:ext uri="{FF2B5EF4-FFF2-40B4-BE49-F238E27FC236}">
                <a16:creationId xmlns:a16="http://schemas.microsoft.com/office/drawing/2014/main" id="{5F1E4880-08F3-7B89-6484-C5B733D307F2}"/>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5" name="Title 1">
            <a:extLst>
              <a:ext uri="{FF2B5EF4-FFF2-40B4-BE49-F238E27FC236}">
                <a16:creationId xmlns:a16="http://schemas.microsoft.com/office/drawing/2014/main" id="{FBC2DFEF-5512-F31B-4A5A-82EC42FE619A}"/>
              </a:ext>
            </a:extLst>
          </p:cNvPr>
          <p:cNvSpPr txBox="1">
            <a:spLocks noGrp="1"/>
          </p:cNvSpPr>
          <p:nvPr>
            <p:ph type="title"/>
          </p:nvPr>
        </p:nvSpPr>
        <p:spPr>
          <a:xfrm>
            <a:off x="848992" y="806858"/>
            <a:ext cx="10156176"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sp>
        <p:nvSpPr>
          <p:cNvPr id="6" name="Text Placeholder 15">
            <a:extLst>
              <a:ext uri="{FF2B5EF4-FFF2-40B4-BE49-F238E27FC236}">
                <a16:creationId xmlns:a16="http://schemas.microsoft.com/office/drawing/2014/main" id="{73746F5A-8170-BFA9-C5A9-D0B844A98E13}"/>
              </a:ext>
            </a:extLst>
          </p:cNvPr>
          <p:cNvSpPr txBox="1">
            <a:spLocks noGrp="1"/>
          </p:cNvSpPr>
          <p:nvPr>
            <p:ph type="body" idx="4294967295"/>
          </p:nvPr>
        </p:nvSpPr>
        <p:spPr>
          <a:xfrm>
            <a:off x="848992" y="1637855"/>
            <a:ext cx="10156176" cy="4117159"/>
          </a:xfrm>
        </p:spPr>
        <p:txBody>
          <a:bodyPr/>
          <a:lstStyle>
            <a:lvl1pPr marL="0" indent="0" defTabSz="914473">
              <a:lnSpc>
                <a:spcPct val="90000"/>
              </a:lnSpc>
              <a:spcAft>
                <a:spcPts val="0"/>
              </a:spcAft>
              <a:buNone/>
              <a:defRPr sz="2133">
                <a:latin typeface="Verdana"/>
                <a:ea typeface="Verdana"/>
                <a:cs typeface="Verdana"/>
              </a:defRPr>
            </a:lvl1pPr>
          </a:lstStyle>
          <a:p>
            <a:pPr lvl="0"/>
            <a:r>
              <a:rPr lang="en-US"/>
              <a:t>Copy goes here. </a:t>
            </a:r>
          </a:p>
        </p:txBody>
      </p:sp>
    </p:spTree>
    <p:extLst>
      <p:ext uri="{BB962C8B-B14F-4D97-AF65-F5344CB8AC3E}">
        <p14:creationId xmlns:p14="http://schemas.microsoft.com/office/powerpoint/2010/main" val="3450836047"/>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p:cSld name="4_Two Section | Picture and Copy Layout">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CD80E9A8-8099-DECC-8C4F-B867BC1A4369}"/>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3" name="Rectangle 11">
            <a:extLst>
              <a:ext uri="{FF2B5EF4-FFF2-40B4-BE49-F238E27FC236}">
                <a16:creationId xmlns:a16="http://schemas.microsoft.com/office/drawing/2014/main" id="{E6CEA21E-E192-E5B1-D982-463DA20B9E33}"/>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4" name="Content Placeholder 2">
            <a:extLst>
              <a:ext uri="{FF2B5EF4-FFF2-40B4-BE49-F238E27FC236}">
                <a16:creationId xmlns:a16="http://schemas.microsoft.com/office/drawing/2014/main" id="{12809E4F-65B0-A5CA-C428-E79AF118C799}"/>
              </a:ext>
            </a:extLst>
          </p:cNvPr>
          <p:cNvSpPr txBox="1">
            <a:spLocks noGrp="1"/>
          </p:cNvSpPr>
          <p:nvPr>
            <p:ph idx="4294967295"/>
          </p:nvPr>
        </p:nvSpPr>
        <p:spPr>
          <a:xfrm>
            <a:off x="1186836" y="1294452"/>
            <a:ext cx="3983336" cy="3788084"/>
          </a:xfrm>
        </p:spPr>
        <p:txBody>
          <a:bodyPr/>
          <a:lstStyle>
            <a:lvl1pPr marL="0" indent="0">
              <a:buNone/>
              <a:defRPr sz="1200" i="1">
                <a:solidFill>
                  <a:srgbClr val="003B5C"/>
                </a:solidFill>
                <a:latin typeface="Verdana"/>
                <a:ea typeface="Verdana"/>
                <a:cs typeface="Verdana"/>
              </a:defRPr>
            </a:lvl1pPr>
          </a:lstStyle>
          <a:p>
            <a:pPr lvl="0"/>
            <a:r>
              <a:rPr lang="en-US"/>
              <a:t>*Insert Image Here</a:t>
            </a:r>
          </a:p>
        </p:txBody>
      </p:sp>
      <p:sp>
        <p:nvSpPr>
          <p:cNvPr id="5" name="Content Placeholder 3">
            <a:extLst>
              <a:ext uri="{FF2B5EF4-FFF2-40B4-BE49-F238E27FC236}">
                <a16:creationId xmlns:a16="http://schemas.microsoft.com/office/drawing/2014/main" id="{254321E7-353D-E666-A820-3B151B91311A}"/>
              </a:ext>
            </a:extLst>
          </p:cNvPr>
          <p:cNvSpPr txBox="1">
            <a:spLocks noGrp="1"/>
          </p:cNvSpPr>
          <p:nvPr>
            <p:ph idx="4294967295"/>
          </p:nvPr>
        </p:nvSpPr>
        <p:spPr>
          <a:xfrm>
            <a:off x="5549394" y="1997132"/>
            <a:ext cx="5466557" cy="3085414"/>
          </a:xfrm>
        </p:spPr>
        <p:txBody>
          <a:bodyPr/>
          <a:lstStyle>
            <a:lvl1pPr marL="0" indent="0" defTabSz="914473">
              <a:lnSpc>
                <a:spcPct val="90000"/>
              </a:lnSpc>
              <a:spcAft>
                <a:spcPts val="0"/>
              </a:spcAft>
              <a:buNone/>
              <a:defRPr sz="2133">
                <a:latin typeface="Verdana"/>
                <a:ea typeface="Verdana"/>
                <a:cs typeface="Verdana"/>
              </a:defRPr>
            </a:lvl1pPr>
          </a:lstStyle>
          <a:p>
            <a:pPr lvl="0"/>
            <a:r>
              <a:rPr lang="en-US"/>
              <a:t>Copy goes here. </a:t>
            </a:r>
          </a:p>
        </p:txBody>
      </p:sp>
      <p:sp>
        <p:nvSpPr>
          <p:cNvPr id="6" name="Title 16">
            <a:extLst>
              <a:ext uri="{FF2B5EF4-FFF2-40B4-BE49-F238E27FC236}">
                <a16:creationId xmlns:a16="http://schemas.microsoft.com/office/drawing/2014/main" id="{AA05E3C2-DA2A-69CE-C1B5-CBD43EA2F243}"/>
              </a:ext>
            </a:extLst>
          </p:cNvPr>
          <p:cNvSpPr txBox="1">
            <a:spLocks noGrp="1"/>
          </p:cNvSpPr>
          <p:nvPr>
            <p:ph type="title"/>
          </p:nvPr>
        </p:nvSpPr>
        <p:spPr>
          <a:xfrm>
            <a:off x="5549394" y="1154531"/>
            <a:ext cx="5466557"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pic>
        <p:nvPicPr>
          <p:cNvPr id="7" name="Picture 7">
            <a:extLst>
              <a:ext uri="{FF2B5EF4-FFF2-40B4-BE49-F238E27FC236}">
                <a16:creationId xmlns:a16="http://schemas.microsoft.com/office/drawing/2014/main" id="{526265AB-A6D0-2375-03EF-B76D85BEE988}"/>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Tree>
    <p:extLst>
      <p:ext uri="{BB962C8B-B14F-4D97-AF65-F5344CB8AC3E}">
        <p14:creationId xmlns:p14="http://schemas.microsoft.com/office/powerpoint/2010/main" val="111690470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End">
  <p:cSld name="End 2">
    <p:spTree>
      <p:nvGrpSpPr>
        <p:cNvPr id="1" name="Shape 9397"/>
        <p:cNvGrpSpPr/>
        <p:nvPr/>
      </p:nvGrpSpPr>
      <p:grpSpPr>
        <a:xfrm>
          <a:off x="0" y="0"/>
          <a:ext cx="0" cy="0"/>
          <a:chOff x="0" y="0"/>
          <a:chExt cx="0" cy="0"/>
        </a:xfrm>
      </p:grpSpPr>
      <p:grpSp>
        <p:nvGrpSpPr>
          <p:cNvPr id="9398" name="Google Shape;9398;p1351"/>
          <p:cNvGrpSpPr/>
          <p:nvPr/>
        </p:nvGrpSpPr>
        <p:grpSpPr>
          <a:xfrm>
            <a:off x="0" y="0"/>
            <a:ext cx="12192000" cy="2148830"/>
            <a:chOff x="0" y="0"/>
            <a:chExt cx="12192000" cy="2148830"/>
          </a:xfrm>
        </p:grpSpPr>
        <p:sp>
          <p:nvSpPr>
            <p:cNvPr id="9399" name="Google Shape;9399;p135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400" name="Google Shape;9400;p135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9401" name="Google Shape;9401;p135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402" name="Google Shape;9402;p135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03" name="Google Shape;9403;p135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9404" name="Google Shape;9404;p135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405" name="Google Shape;9405;p135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p:cSld name="12_Title Slide_Yale Blue">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E1F25C31-DB32-721F-0194-4CA8CE9B2BFC}"/>
              </a:ext>
            </a:extLst>
          </p:cNvPr>
          <p:cNvSpPr txBox="1">
            <a:spLocks noGrp="1"/>
          </p:cNvSpPr>
          <p:nvPr>
            <p:ph type="body" idx="4294967295"/>
          </p:nvPr>
        </p:nvSpPr>
        <p:spPr>
          <a:xfrm>
            <a:off x="2826557" y="5400857"/>
            <a:ext cx="8178613" cy="379656"/>
          </a:xfrm>
        </p:spPr>
        <p:txBody>
          <a:bodyPr wrap="square">
            <a:spAutoFit/>
          </a:bodyPr>
          <a:lstStyle>
            <a:lvl1pPr marL="0" indent="0" algn="r">
              <a:buNone/>
              <a:defRPr sz="1867">
                <a:solidFill>
                  <a:srgbClr val="616364"/>
                </a:solidFill>
                <a:latin typeface="Verdana"/>
                <a:ea typeface="Verdana"/>
                <a:cs typeface="Verdana"/>
              </a:defRPr>
            </a:lvl1pPr>
          </a:lstStyle>
          <a:p>
            <a:pPr lvl="0"/>
            <a:r>
              <a:rPr lang="en-US"/>
              <a:t>Date | Presenter Information (14 pt)</a:t>
            </a:r>
          </a:p>
        </p:txBody>
      </p:sp>
      <p:sp>
        <p:nvSpPr>
          <p:cNvPr id="3" name="Title 1">
            <a:extLst>
              <a:ext uri="{FF2B5EF4-FFF2-40B4-BE49-F238E27FC236}">
                <a16:creationId xmlns:a16="http://schemas.microsoft.com/office/drawing/2014/main" id="{6F1C55A8-0A79-0E46-CFC5-F6878A7DE6A4}"/>
              </a:ext>
            </a:extLst>
          </p:cNvPr>
          <p:cNvSpPr txBox="1">
            <a:spLocks noGrp="1"/>
          </p:cNvSpPr>
          <p:nvPr>
            <p:ph type="title"/>
          </p:nvPr>
        </p:nvSpPr>
        <p:spPr>
          <a:xfrm>
            <a:off x="2826557" y="1807156"/>
            <a:ext cx="8178613" cy="1629460"/>
          </a:xfrm>
        </p:spPr>
        <p:txBody>
          <a:bodyPr anchor="b"/>
          <a:lstStyle>
            <a:lvl1pPr>
              <a:defRPr sz="5334">
                <a:solidFill>
                  <a:srgbClr val="00314C"/>
                </a:solidFill>
                <a:latin typeface="Verdana"/>
                <a:ea typeface="Verdana"/>
                <a:cs typeface="Verdana"/>
              </a:defRPr>
            </a:lvl1pPr>
          </a:lstStyle>
          <a:p>
            <a:pPr lvl="0"/>
            <a:r>
              <a:rPr lang="en-US"/>
              <a:t>Presentation Title (40pt)</a:t>
            </a:r>
          </a:p>
        </p:txBody>
      </p:sp>
      <p:sp>
        <p:nvSpPr>
          <p:cNvPr id="4" name="Date Placeholder 3">
            <a:extLst>
              <a:ext uri="{FF2B5EF4-FFF2-40B4-BE49-F238E27FC236}">
                <a16:creationId xmlns:a16="http://schemas.microsoft.com/office/drawing/2014/main" id="{B245D46A-2384-C8DC-956A-21AA5D561979}"/>
              </a:ext>
            </a:extLst>
          </p:cNvPr>
          <p:cNvSpPr txBox="1">
            <a:spLocks noGrp="1"/>
          </p:cNvSpPr>
          <p:nvPr>
            <p:ph type="dt" sz="quarter" idx="7"/>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914446"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defRPr>
            </a:lvl1pPr>
          </a:lstStyle>
          <a:p>
            <a:pPr lvl="0"/>
            <a:fld id="{D7671D6F-9A19-4C3D-A834-557637C64F95}" type="datetime1">
              <a:rPr lang="en-US"/>
              <a:pPr lvl="0"/>
              <a:t>5/20/2026</a:t>
            </a:fld>
            <a:endParaRPr lang="en-US"/>
          </a:p>
        </p:txBody>
      </p:sp>
      <p:sp>
        <p:nvSpPr>
          <p:cNvPr id="5" name="Footer Placeholder 4">
            <a:extLst>
              <a:ext uri="{FF2B5EF4-FFF2-40B4-BE49-F238E27FC236}">
                <a16:creationId xmlns:a16="http://schemas.microsoft.com/office/drawing/2014/main" id="{D9665F70-2E61-1CDF-EDCB-79430946FA96}"/>
              </a:ext>
            </a:extLst>
          </p:cNvPr>
          <p:cNvSpPr txBox="1">
            <a:spLocks noGrp="1"/>
          </p:cNvSpPr>
          <p:nvPr>
            <p:ph type="ftr" sz="quarter" idx="9"/>
          </p:nvPr>
        </p:nvSpPr>
        <p:spPr/>
        <p:txBody>
          <a:bodyPr anchorCtr="1"/>
          <a:lstStyle>
            <a:lvl1pPr algn="ctr">
              <a:defRPr/>
            </a:lvl1pPr>
          </a:lstStyle>
          <a:p>
            <a:pPr lvl="0"/>
            <a:endParaRPr lang="en-US"/>
          </a:p>
        </p:txBody>
      </p:sp>
      <p:sp>
        <p:nvSpPr>
          <p:cNvPr id="6" name="Slide Number Placeholder 5">
            <a:extLst>
              <a:ext uri="{FF2B5EF4-FFF2-40B4-BE49-F238E27FC236}">
                <a16:creationId xmlns:a16="http://schemas.microsoft.com/office/drawing/2014/main" id="{C00D8D29-5D2B-B519-DC05-2B3B7547EECC}"/>
              </a:ext>
            </a:extLst>
          </p:cNvPr>
          <p:cNvSpPr txBox="1">
            <a:spLocks noGrp="1"/>
          </p:cNvSpPr>
          <p:nvPr>
            <p:ph type="sldNum" sz="quarter" idx="8"/>
          </p:nvPr>
        </p:nvSpPr>
        <p:spPr/>
        <p:txBody>
          <a:bodyPr/>
          <a:lstStyle>
            <a:lvl1pPr>
              <a:defRPr/>
            </a:lvl1pPr>
          </a:lstStyle>
          <a:p>
            <a:pPr lvl="0"/>
            <a:fld id="{B150675C-2A5C-4FCA-BD14-1B896B1B743C}" type="slidenum">
              <a:t>‹#›</a:t>
            </a:fld>
            <a:endParaRPr lang="en-US"/>
          </a:p>
        </p:txBody>
      </p:sp>
      <p:sp>
        <p:nvSpPr>
          <p:cNvPr id="7" name="Rectangle 12">
            <a:extLst>
              <a:ext uri="{FF2B5EF4-FFF2-40B4-BE49-F238E27FC236}">
                <a16:creationId xmlns:a16="http://schemas.microsoft.com/office/drawing/2014/main" id="{F9F25C61-8BAF-95F9-D3C6-FFEC186AB0FD}"/>
              </a:ext>
            </a:extLst>
          </p:cNvPr>
          <p:cNvSpPr/>
          <p:nvPr/>
        </p:nvSpPr>
        <p:spPr>
          <a:xfrm rot="10799991">
            <a:off x="-28" y="2000224"/>
            <a:ext cx="2785070" cy="2042851"/>
          </a:xfrm>
          <a:custGeom>
            <a:avLst/>
            <a:gdLst>
              <a:gd name="f0" fmla="val 10800000"/>
              <a:gd name="f1" fmla="val 5400000"/>
              <a:gd name="f2" fmla="val 180"/>
              <a:gd name="f3" fmla="val w"/>
              <a:gd name="f4" fmla="val h"/>
              <a:gd name="f5" fmla="val 0"/>
              <a:gd name="f6" fmla="val 10293751"/>
              <a:gd name="f7" fmla="val 1031873"/>
              <a:gd name="f8" fmla="val 3579068"/>
              <a:gd name="f9" fmla="val 1"/>
              <a:gd name="f10" fmla="val 1031872"/>
              <a:gd name="f11" fmla="+- 0 0 -90"/>
              <a:gd name="f12" fmla="*/ f3 1 10293751"/>
              <a:gd name="f13" fmla="*/ f4 1 1031873"/>
              <a:gd name="f14" fmla="+- f7 0 f5"/>
              <a:gd name="f15" fmla="+- f6 0 f5"/>
              <a:gd name="f16" fmla="*/ f11 f0 1"/>
              <a:gd name="f17" fmla="*/ f15 1 10293751"/>
              <a:gd name="f18" fmla="*/ f14 1 1031873"/>
              <a:gd name="f19" fmla="*/ 10293751 f15 1"/>
              <a:gd name="f20" fmla="*/ 0 f15 1"/>
              <a:gd name="f21" fmla="*/ 0 f14 1"/>
              <a:gd name="f22" fmla="*/ 1 f14 1"/>
              <a:gd name="f23" fmla="*/ 1031873 f14 1"/>
              <a:gd name="f24" fmla="*/ 1031872 f14 1"/>
              <a:gd name="f25" fmla="*/ 3579068 f15 1"/>
              <a:gd name="f26" fmla="*/ f16 1 f2"/>
              <a:gd name="f27" fmla="*/ f19 1 10293751"/>
              <a:gd name="f28" fmla="*/ f20 1 10293751"/>
              <a:gd name="f29" fmla="*/ f21 1 1031873"/>
              <a:gd name="f30" fmla="*/ f22 1 1031873"/>
              <a:gd name="f31" fmla="*/ f23 1 1031873"/>
              <a:gd name="f32" fmla="*/ f24 1 1031873"/>
              <a:gd name="f33" fmla="*/ f25 1 10293751"/>
              <a:gd name="f34" fmla="*/ f5 1 f17"/>
              <a:gd name="f35" fmla="*/ f6 1 f17"/>
              <a:gd name="f36" fmla="*/ f5 1 f18"/>
              <a:gd name="f37" fmla="*/ f7 1 f18"/>
              <a:gd name="f38" fmla="+- f26 0 f1"/>
              <a:gd name="f39" fmla="*/ f33 1 f17"/>
              <a:gd name="f40" fmla="*/ f29 1 f18"/>
              <a:gd name="f41" fmla="*/ f27 1 f17"/>
              <a:gd name="f42" fmla="*/ f30 1 f18"/>
              <a:gd name="f43" fmla="*/ f31 1 f18"/>
              <a:gd name="f44" fmla="*/ f28 1 f17"/>
              <a:gd name="f45" fmla="*/ f32 1 f18"/>
              <a:gd name="f46" fmla="*/ f34 f12 1"/>
              <a:gd name="f47" fmla="*/ f35 f12 1"/>
              <a:gd name="f48" fmla="*/ f37 f13 1"/>
              <a:gd name="f49" fmla="*/ f36 f13 1"/>
              <a:gd name="f50" fmla="*/ f39 f12 1"/>
              <a:gd name="f51" fmla="*/ f40 f13 1"/>
              <a:gd name="f52" fmla="*/ f41 f12 1"/>
              <a:gd name="f53" fmla="*/ f42 f13 1"/>
              <a:gd name="f54" fmla="*/ f43 f13 1"/>
              <a:gd name="f55" fmla="*/ f44 f12 1"/>
              <a:gd name="f56" fmla="*/ f45 f13 1"/>
            </a:gdLst>
            <a:ahLst/>
            <a:cxnLst>
              <a:cxn ang="3cd4">
                <a:pos x="hc" y="t"/>
              </a:cxn>
              <a:cxn ang="0">
                <a:pos x="r" y="vc"/>
              </a:cxn>
              <a:cxn ang="cd4">
                <a:pos x="hc" y="b"/>
              </a:cxn>
              <a:cxn ang="cd2">
                <a:pos x="l" y="vc"/>
              </a:cxn>
              <a:cxn ang="f38">
                <a:pos x="f50" y="f51"/>
              </a:cxn>
              <a:cxn ang="f38">
                <a:pos x="f52" y="f53"/>
              </a:cxn>
              <a:cxn ang="f38">
                <a:pos x="f52" y="f54"/>
              </a:cxn>
              <a:cxn ang="f38">
                <a:pos x="f55" y="f56"/>
              </a:cxn>
              <a:cxn ang="f38">
                <a:pos x="f50" y="f51"/>
              </a:cxn>
            </a:cxnLst>
            <a:rect l="f46" t="f49" r="f47" b="f48"/>
            <a:pathLst>
              <a:path w="10293751" h="1031873">
                <a:moveTo>
                  <a:pt x="f8" y="f5"/>
                </a:moveTo>
                <a:lnTo>
                  <a:pt x="f6" y="f9"/>
                </a:lnTo>
                <a:lnTo>
                  <a:pt x="f6" y="f7"/>
                </a:lnTo>
                <a:lnTo>
                  <a:pt x="f5" y="f10"/>
                </a:lnTo>
                <a:lnTo>
                  <a:pt x="f8" y="f5"/>
                </a:lnTo>
                <a:close/>
              </a:path>
            </a:pathLst>
          </a:cu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8" name="Rectangle 8">
            <a:extLst>
              <a:ext uri="{FF2B5EF4-FFF2-40B4-BE49-F238E27FC236}">
                <a16:creationId xmlns:a16="http://schemas.microsoft.com/office/drawing/2014/main" id="{0F2376E6-5D6E-F103-67C1-E94D57A7F5FC}"/>
              </a:ext>
            </a:extLst>
          </p:cNvPr>
          <p:cNvSpPr/>
          <p:nvPr/>
        </p:nvSpPr>
        <p:spPr>
          <a:xfrm>
            <a:off x="0" y="6115050"/>
            <a:ext cx="12191996" cy="742950"/>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9" name="Text Placeholder 11">
            <a:extLst>
              <a:ext uri="{FF2B5EF4-FFF2-40B4-BE49-F238E27FC236}">
                <a16:creationId xmlns:a16="http://schemas.microsoft.com/office/drawing/2014/main" id="{D7479634-9C59-E222-1301-E6F5D3A8829E}"/>
              </a:ext>
            </a:extLst>
          </p:cNvPr>
          <p:cNvSpPr txBox="1">
            <a:spLocks noGrp="1"/>
          </p:cNvSpPr>
          <p:nvPr>
            <p:ph type="body" idx="4294967295"/>
          </p:nvPr>
        </p:nvSpPr>
        <p:spPr>
          <a:xfrm>
            <a:off x="2826557" y="3447397"/>
            <a:ext cx="8178613" cy="713314"/>
          </a:xfrm>
        </p:spPr>
        <p:txBody>
          <a:bodyPr/>
          <a:lstStyle>
            <a:lvl1pPr marL="0" indent="0">
              <a:buNone/>
              <a:defRPr sz="3200">
                <a:solidFill>
                  <a:srgbClr val="00314C"/>
                </a:solidFill>
                <a:latin typeface="Verdana"/>
                <a:ea typeface="Verdana"/>
                <a:cs typeface="Verdana"/>
              </a:defRPr>
            </a:lvl1pPr>
          </a:lstStyle>
          <a:p>
            <a:pPr lvl="0"/>
            <a:r>
              <a:rPr lang="en-US"/>
              <a:t>Subtitle (24)</a:t>
            </a:r>
          </a:p>
        </p:txBody>
      </p:sp>
      <p:pic>
        <p:nvPicPr>
          <p:cNvPr id="10" name="Picture 12">
            <a:extLst>
              <a:ext uri="{FF2B5EF4-FFF2-40B4-BE49-F238E27FC236}">
                <a16:creationId xmlns:a16="http://schemas.microsoft.com/office/drawing/2014/main" id="{F7FF50AA-E38B-2BFF-944C-81ED88A70849}"/>
              </a:ext>
            </a:extLst>
          </p:cNvPr>
          <p:cNvPicPr>
            <a:picLocks noChangeAspect="1"/>
          </p:cNvPicPr>
          <p:nvPr/>
        </p:nvPicPr>
        <p:blipFill>
          <a:blip r:embed="rId2"/>
          <a:srcRect/>
          <a:stretch>
            <a:fillRect/>
          </a:stretch>
        </p:blipFill>
        <p:spPr>
          <a:xfrm>
            <a:off x="2829840" y="4178333"/>
            <a:ext cx="4395959" cy="1140165"/>
          </a:xfrm>
          <a:prstGeom prst="rect">
            <a:avLst/>
          </a:prstGeom>
          <a:noFill/>
          <a:ln cap="flat">
            <a:noFill/>
          </a:ln>
        </p:spPr>
      </p:pic>
    </p:spTree>
    <p:extLst>
      <p:ext uri="{BB962C8B-B14F-4D97-AF65-F5344CB8AC3E}">
        <p14:creationId xmlns:p14="http://schemas.microsoft.com/office/powerpoint/2010/main" val="2330202414"/>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5_Title and Bullets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227C60-C99A-F745-F1CD-212361364E2B}"/>
              </a:ext>
            </a:extLst>
          </p:cNvPr>
          <p:cNvSpPr txBox="1">
            <a:spLocks noGrp="1"/>
          </p:cNvSpPr>
          <p:nvPr>
            <p:ph type="title"/>
          </p:nvPr>
        </p:nvSpPr>
        <p:spPr>
          <a:xfrm>
            <a:off x="848992" y="783842"/>
            <a:ext cx="10177756"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sp>
        <p:nvSpPr>
          <p:cNvPr id="3" name="Rectangle 9">
            <a:extLst>
              <a:ext uri="{FF2B5EF4-FFF2-40B4-BE49-F238E27FC236}">
                <a16:creationId xmlns:a16="http://schemas.microsoft.com/office/drawing/2014/main" id="{8FA9DADD-DBEC-9BBC-E8B9-15703E7F9152}"/>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4" name="Rectangle 10">
            <a:extLst>
              <a:ext uri="{FF2B5EF4-FFF2-40B4-BE49-F238E27FC236}">
                <a16:creationId xmlns:a16="http://schemas.microsoft.com/office/drawing/2014/main" id="{43B54F9E-EFF5-B5C3-D38C-40BE94C5BA62}"/>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5" name="Text Placeholder 4">
            <a:extLst>
              <a:ext uri="{FF2B5EF4-FFF2-40B4-BE49-F238E27FC236}">
                <a16:creationId xmlns:a16="http://schemas.microsoft.com/office/drawing/2014/main" id="{5777FDF9-C9AC-0E15-8C51-66D510407025}"/>
              </a:ext>
            </a:extLst>
          </p:cNvPr>
          <p:cNvSpPr txBox="1">
            <a:spLocks noGrp="1"/>
          </p:cNvSpPr>
          <p:nvPr>
            <p:ph type="body" idx="4294967295"/>
          </p:nvPr>
        </p:nvSpPr>
        <p:spPr>
          <a:xfrm>
            <a:off x="848783" y="1615023"/>
            <a:ext cx="10176933" cy="3812115"/>
          </a:xfrm>
        </p:spPr>
        <p:txBody>
          <a:bodyPr/>
          <a:lstStyle>
            <a:lvl1pPr marL="381031" indent="-381031">
              <a:defRPr sz="2133">
                <a:latin typeface="Verdana"/>
                <a:ea typeface="Verdana"/>
                <a:cs typeface="Verdana"/>
              </a:defRPr>
            </a:lvl1pPr>
            <a:lvl2pPr marL="381031" lvl="0" indent="-381031">
              <a:spcBef>
                <a:spcPts val="1000"/>
              </a:spcBef>
              <a:buClr>
                <a:srgbClr val="F5668F"/>
              </a:buClr>
              <a:defRPr sz="2133">
                <a:latin typeface="Verdana"/>
                <a:ea typeface="Verdana"/>
                <a:cs typeface="Verdana"/>
              </a:defRPr>
            </a:lvl2pPr>
          </a:lstStyle>
          <a:p>
            <a:pPr lvl="0"/>
            <a:r>
              <a:rPr lang="en-US"/>
              <a:t>Copy goes here</a:t>
            </a:r>
          </a:p>
          <a:p>
            <a:pPr lvl="0"/>
            <a:endParaRPr lang="en-US"/>
          </a:p>
        </p:txBody>
      </p:sp>
      <p:pic>
        <p:nvPicPr>
          <p:cNvPr id="6" name="Picture 6">
            <a:extLst>
              <a:ext uri="{FF2B5EF4-FFF2-40B4-BE49-F238E27FC236}">
                <a16:creationId xmlns:a16="http://schemas.microsoft.com/office/drawing/2014/main" id="{058D7697-083F-8EDC-920B-3B3641F2C12E}"/>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Tree>
    <p:extLst>
      <p:ext uri="{BB962C8B-B14F-4D97-AF65-F5344CB8AC3E}">
        <p14:creationId xmlns:p14="http://schemas.microsoft.com/office/powerpoint/2010/main" val="2365455629"/>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p:cSld name="24_Title and Content">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1859FA83-40BE-C3E5-2461-7F33864BD948}"/>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pic>
        <p:nvPicPr>
          <p:cNvPr id="3" name="Picture 10">
            <a:extLst>
              <a:ext uri="{FF2B5EF4-FFF2-40B4-BE49-F238E27FC236}">
                <a16:creationId xmlns:a16="http://schemas.microsoft.com/office/drawing/2014/main" id="{61326DE7-17A3-442A-4495-11C62A992DA9}"/>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
        <p:nvSpPr>
          <p:cNvPr id="4" name="Rectangle 11">
            <a:extLst>
              <a:ext uri="{FF2B5EF4-FFF2-40B4-BE49-F238E27FC236}">
                <a16:creationId xmlns:a16="http://schemas.microsoft.com/office/drawing/2014/main" id="{F5EF00FC-51BD-1080-4D8E-38667EC4FD82}"/>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5" name="Title 1">
            <a:extLst>
              <a:ext uri="{FF2B5EF4-FFF2-40B4-BE49-F238E27FC236}">
                <a16:creationId xmlns:a16="http://schemas.microsoft.com/office/drawing/2014/main" id="{45B083F3-01AA-E4A1-446C-82612C5D900B}"/>
              </a:ext>
            </a:extLst>
          </p:cNvPr>
          <p:cNvSpPr txBox="1">
            <a:spLocks noGrp="1"/>
          </p:cNvSpPr>
          <p:nvPr>
            <p:ph type="title"/>
          </p:nvPr>
        </p:nvSpPr>
        <p:spPr>
          <a:xfrm>
            <a:off x="848992" y="806858"/>
            <a:ext cx="10156176"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sp>
        <p:nvSpPr>
          <p:cNvPr id="6" name="Text Placeholder 15">
            <a:extLst>
              <a:ext uri="{FF2B5EF4-FFF2-40B4-BE49-F238E27FC236}">
                <a16:creationId xmlns:a16="http://schemas.microsoft.com/office/drawing/2014/main" id="{E897F134-B0CD-A9CE-9B36-B50CD06152BA}"/>
              </a:ext>
            </a:extLst>
          </p:cNvPr>
          <p:cNvSpPr txBox="1">
            <a:spLocks noGrp="1"/>
          </p:cNvSpPr>
          <p:nvPr>
            <p:ph type="body" idx="4294967295"/>
          </p:nvPr>
        </p:nvSpPr>
        <p:spPr>
          <a:xfrm>
            <a:off x="848992" y="1637855"/>
            <a:ext cx="10156176" cy="4117159"/>
          </a:xfrm>
        </p:spPr>
        <p:txBody>
          <a:bodyPr/>
          <a:lstStyle>
            <a:lvl1pPr marL="0" indent="0" defTabSz="914473">
              <a:lnSpc>
                <a:spcPct val="90000"/>
              </a:lnSpc>
              <a:spcAft>
                <a:spcPts val="0"/>
              </a:spcAft>
              <a:buNone/>
              <a:defRPr sz="2133">
                <a:latin typeface="Verdana"/>
                <a:ea typeface="Verdana"/>
                <a:cs typeface="Verdana"/>
              </a:defRPr>
            </a:lvl1pPr>
          </a:lstStyle>
          <a:p>
            <a:pPr lvl="0"/>
            <a:r>
              <a:rPr lang="en-US"/>
              <a:t>Copy goes here. </a:t>
            </a:r>
          </a:p>
        </p:txBody>
      </p:sp>
    </p:spTree>
    <p:extLst>
      <p:ext uri="{BB962C8B-B14F-4D97-AF65-F5344CB8AC3E}">
        <p14:creationId xmlns:p14="http://schemas.microsoft.com/office/powerpoint/2010/main" val="93527311"/>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5_Two Section | Picture and Copy Layout">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A8DB7C56-03B6-1C41-0D8B-10CA4BEC5E23}"/>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3" name="Rectangle 11">
            <a:extLst>
              <a:ext uri="{FF2B5EF4-FFF2-40B4-BE49-F238E27FC236}">
                <a16:creationId xmlns:a16="http://schemas.microsoft.com/office/drawing/2014/main" id="{4D1D4CE4-1B87-1D40-D25F-1E7FB581787F}"/>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4" name="Content Placeholder 2">
            <a:extLst>
              <a:ext uri="{FF2B5EF4-FFF2-40B4-BE49-F238E27FC236}">
                <a16:creationId xmlns:a16="http://schemas.microsoft.com/office/drawing/2014/main" id="{9A6A0251-B086-C732-C5F0-4CB6B83498DB}"/>
              </a:ext>
            </a:extLst>
          </p:cNvPr>
          <p:cNvSpPr txBox="1">
            <a:spLocks noGrp="1"/>
          </p:cNvSpPr>
          <p:nvPr>
            <p:ph idx="4294967295"/>
          </p:nvPr>
        </p:nvSpPr>
        <p:spPr>
          <a:xfrm>
            <a:off x="1186836" y="1294452"/>
            <a:ext cx="3983336" cy="3788084"/>
          </a:xfrm>
        </p:spPr>
        <p:txBody>
          <a:bodyPr/>
          <a:lstStyle>
            <a:lvl1pPr marL="0" indent="0">
              <a:buNone/>
              <a:defRPr sz="1200" i="1">
                <a:solidFill>
                  <a:srgbClr val="003B5C"/>
                </a:solidFill>
                <a:latin typeface="Verdana"/>
                <a:ea typeface="Verdana"/>
                <a:cs typeface="Verdana"/>
              </a:defRPr>
            </a:lvl1pPr>
          </a:lstStyle>
          <a:p>
            <a:pPr lvl="0"/>
            <a:r>
              <a:rPr lang="en-US"/>
              <a:t>*Insert Image Here</a:t>
            </a:r>
          </a:p>
        </p:txBody>
      </p:sp>
      <p:sp>
        <p:nvSpPr>
          <p:cNvPr id="5" name="Content Placeholder 3">
            <a:extLst>
              <a:ext uri="{FF2B5EF4-FFF2-40B4-BE49-F238E27FC236}">
                <a16:creationId xmlns:a16="http://schemas.microsoft.com/office/drawing/2014/main" id="{E6C307E7-5E4A-87EF-20D6-0536E136D3D4}"/>
              </a:ext>
            </a:extLst>
          </p:cNvPr>
          <p:cNvSpPr txBox="1">
            <a:spLocks noGrp="1"/>
          </p:cNvSpPr>
          <p:nvPr>
            <p:ph idx="4294967295"/>
          </p:nvPr>
        </p:nvSpPr>
        <p:spPr>
          <a:xfrm>
            <a:off x="5549394" y="1997132"/>
            <a:ext cx="5466557" cy="3085414"/>
          </a:xfrm>
        </p:spPr>
        <p:txBody>
          <a:bodyPr/>
          <a:lstStyle>
            <a:lvl1pPr marL="0" indent="0" defTabSz="914473">
              <a:lnSpc>
                <a:spcPct val="90000"/>
              </a:lnSpc>
              <a:spcAft>
                <a:spcPts val="0"/>
              </a:spcAft>
              <a:buNone/>
              <a:defRPr sz="2133">
                <a:latin typeface="Verdana"/>
                <a:ea typeface="Verdana"/>
                <a:cs typeface="Verdana"/>
              </a:defRPr>
            </a:lvl1pPr>
          </a:lstStyle>
          <a:p>
            <a:pPr lvl="0"/>
            <a:r>
              <a:rPr lang="en-US"/>
              <a:t>Copy goes here. </a:t>
            </a:r>
          </a:p>
        </p:txBody>
      </p:sp>
      <p:sp>
        <p:nvSpPr>
          <p:cNvPr id="6" name="Title 16">
            <a:extLst>
              <a:ext uri="{FF2B5EF4-FFF2-40B4-BE49-F238E27FC236}">
                <a16:creationId xmlns:a16="http://schemas.microsoft.com/office/drawing/2014/main" id="{AA28737B-BE6D-BA1E-FCA4-F019728F5CBD}"/>
              </a:ext>
            </a:extLst>
          </p:cNvPr>
          <p:cNvSpPr txBox="1">
            <a:spLocks noGrp="1"/>
          </p:cNvSpPr>
          <p:nvPr>
            <p:ph type="title"/>
          </p:nvPr>
        </p:nvSpPr>
        <p:spPr>
          <a:xfrm>
            <a:off x="5549394" y="1154531"/>
            <a:ext cx="5466557"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pic>
        <p:nvPicPr>
          <p:cNvPr id="7" name="Picture 7">
            <a:extLst>
              <a:ext uri="{FF2B5EF4-FFF2-40B4-BE49-F238E27FC236}">
                <a16:creationId xmlns:a16="http://schemas.microsoft.com/office/drawing/2014/main" id="{4E63A288-D0C6-6DBE-C28A-2C23AF942CF4}"/>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Tree>
    <p:extLst>
      <p:ext uri="{BB962C8B-B14F-4D97-AF65-F5344CB8AC3E}">
        <p14:creationId xmlns:p14="http://schemas.microsoft.com/office/powerpoint/2010/main" val="1343677159"/>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p:cSld name="7_Title and Bullets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3828AC-8482-647B-31D8-656ED47AD6C5}"/>
              </a:ext>
            </a:extLst>
          </p:cNvPr>
          <p:cNvSpPr txBox="1">
            <a:spLocks noGrp="1"/>
          </p:cNvSpPr>
          <p:nvPr>
            <p:ph type="title"/>
          </p:nvPr>
        </p:nvSpPr>
        <p:spPr>
          <a:xfrm>
            <a:off x="848992" y="783842"/>
            <a:ext cx="10177756"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sp>
        <p:nvSpPr>
          <p:cNvPr id="3" name="Rectangle 9">
            <a:extLst>
              <a:ext uri="{FF2B5EF4-FFF2-40B4-BE49-F238E27FC236}">
                <a16:creationId xmlns:a16="http://schemas.microsoft.com/office/drawing/2014/main" id="{DADA257D-A899-5F24-7C8E-CC293615CA8B}"/>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4" name="Rectangle 10">
            <a:extLst>
              <a:ext uri="{FF2B5EF4-FFF2-40B4-BE49-F238E27FC236}">
                <a16:creationId xmlns:a16="http://schemas.microsoft.com/office/drawing/2014/main" id="{8EAA54CA-1F74-3958-BB80-AF5719942D60}"/>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5" name="Text Placeholder 4">
            <a:extLst>
              <a:ext uri="{FF2B5EF4-FFF2-40B4-BE49-F238E27FC236}">
                <a16:creationId xmlns:a16="http://schemas.microsoft.com/office/drawing/2014/main" id="{D2F82D99-42E7-9AF0-2B7E-D0BF59FEFC49}"/>
              </a:ext>
            </a:extLst>
          </p:cNvPr>
          <p:cNvSpPr txBox="1">
            <a:spLocks noGrp="1"/>
          </p:cNvSpPr>
          <p:nvPr>
            <p:ph type="body" idx="4294967295"/>
          </p:nvPr>
        </p:nvSpPr>
        <p:spPr>
          <a:xfrm>
            <a:off x="848783" y="1615023"/>
            <a:ext cx="10176933" cy="3812115"/>
          </a:xfrm>
        </p:spPr>
        <p:txBody>
          <a:bodyPr/>
          <a:lstStyle>
            <a:lvl1pPr marL="381031" indent="-381031">
              <a:defRPr sz="2133">
                <a:latin typeface="Verdana"/>
                <a:ea typeface="Verdana"/>
                <a:cs typeface="Verdana"/>
              </a:defRPr>
            </a:lvl1pPr>
            <a:lvl2pPr marL="381031" lvl="0" indent="-381031">
              <a:spcBef>
                <a:spcPts val="1000"/>
              </a:spcBef>
              <a:buClr>
                <a:srgbClr val="F5668F"/>
              </a:buClr>
              <a:defRPr sz="2133">
                <a:latin typeface="Verdana"/>
                <a:ea typeface="Verdana"/>
                <a:cs typeface="Verdana"/>
              </a:defRPr>
            </a:lvl2pPr>
          </a:lstStyle>
          <a:p>
            <a:pPr lvl="0"/>
            <a:r>
              <a:rPr lang="en-US"/>
              <a:t>Copy goes here</a:t>
            </a:r>
          </a:p>
          <a:p>
            <a:pPr lvl="0"/>
            <a:endParaRPr lang="en-US"/>
          </a:p>
        </p:txBody>
      </p:sp>
      <p:pic>
        <p:nvPicPr>
          <p:cNvPr id="6" name="Picture 6">
            <a:extLst>
              <a:ext uri="{FF2B5EF4-FFF2-40B4-BE49-F238E27FC236}">
                <a16:creationId xmlns:a16="http://schemas.microsoft.com/office/drawing/2014/main" id="{D1099B1E-F3DB-22FC-5A24-C04B61A88373}"/>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Tree>
    <p:extLst>
      <p:ext uri="{BB962C8B-B14F-4D97-AF65-F5344CB8AC3E}">
        <p14:creationId xmlns:p14="http://schemas.microsoft.com/office/powerpoint/2010/main" val="876262882"/>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p:cSld name="26_Title and Content">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F5EA9CF5-1381-2BDF-BBE0-B768FD146037}"/>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pic>
        <p:nvPicPr>
          <p:cNvPr id="3" name="Picture 10">
            <a:extLst>
              <a:ext uri="{FF2B5EF4-FFF2-40B4-BE49-F238E27FC236}">
                <a16:creationId xmlns:a16="http://schemas.microsoft.com/office/drawing/2014/main" id="{390D8A42-AA50-8C06-9F0E-2554F705F525}"/>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
        <p:nvSpPr>
          <p:cNvPr id="4" name="Rectangle 11">
            <a:extLst>
              <a:ext uri="{FF2B5EF4-FFF2-40B4-BE49-F238E27FC236}">
                <a16:creationId xmlns:a16="http://schemas.microsoft.com/office/drawing/2014/main" id="{7DD6054A-F1D0-2B80-80F5-53B44C3B653A}"/>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5" name="Title 1">
            <a:extLst>
              <a:ext uri="{FF2B5EF4-FFF2-40B4-BE49-F238E27FC236}">
                <a16:creationId xmlns:a16="http://schemas.microsoft.com/office/drawing/2014/main" id="{5F7BC05D-BEAD-A3C0-AAB8-30B196012579}"/>
              </a:ext>
            </a:extLst>
          </p:cNvPr>
          <p:cNvSpPr txBox="1">
            <a:spLocks noGrp="1"/>
          </p:cNvSpPr>
          <p:nvPr>
            <p:ph type="title"/>
          </p:nvPr>
        </p:nvSpPr>
        <p:spPr>
          <a:xfrm>
            <a:off x="848992" y="806858"/>
            <a:ext cx="10156176"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sp>
        <p:nvSpPr>
          <p:cNvPr id="6" name="Text Placeholder 15">
            <a:extLst>
              <a:ext uri="{FF2B5EF4-FFF2-40B4-BE49-F238E27FC236}">
                <a16:creationId xmlns:a16="http://schemas.microsoft.com/office/drawing/2014/main" id="{F77D9723-F20E-289B-2141-A9B71B9DF188}"/>
              </a:ext>
            </a:extLst>
          </p:cNvPr>
          <p:cNvSpPr txBox="1">
            <a:spLocks noGrp="1"/>
          </p:cNvSpPr>
          <p:nvPr>
            <p:ph type="body" idx="4294967295"/>
          </p:nvPr>
        </p:nvSpPr>
        <p:spPr>
          <a:xfrm>
            <a:off x="848992" y="1637855"/>
            <a:ext cx="10156176" cy="4117159"/>
          </a:xfrm>
        </p:spPr>
        <p:txBody>
          <a:bodyPr/>
          <a:lstStyle>
            <a:lvl1pPr marL="0" indent="0" defTabSz="914473">
              <a:lnSpc>
                <a:spcPct val="90000"/>
              </a:lnSpc>
              <a:spcAft>
                <a:spcPts val="0"/>
              </a:spcAft>
              <a:buNone/>
              <a:defRPr sz="2133">
                <a:latin typeface="Verdana"/>
                <a:ea typeface="Verdana"/>
                <a:cs typeface="Verdana"/>
              </a:defRPr>
            </a:lvl1pPr>
          </a:lstStyle>
          <a:p>
            <a:pPr lvl="0"/>
            <a:r>
              <a:rPr lang="en-US"/>
              <a:t>Copy goes here. </a:t>
            </a:r>
          </a:p>
        </p:txBody>
      </p:sp>
    </p:spTree>
    <p:extLst>
      <p:ext uri="{BB962C8B-B14F-4D97-AF65-F5344CB8AC3E}">
        <p14:creationId xmlns:p14="http://schemas.microsoft.com/office/powerpoint/2010/main" val="3801283999"/>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p:cSld name="7_Two Section | Picture and Copy Layout">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EFE65217-4ED4-5F03-8FD2-EC12BE5979EC}"/>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3" name="Rectangle 11">
            <a:extLst>
              <a:ext uri="{FF2B5EF4-FFF2-40B4-BE49-F238E27FC236}">
                <a16:creationId xmlns:a16="http://schemas.microsoft.com/office/drawing/2014/main" id="{8D62FC79-E53E-5FAF-4EC4-F7B2658D48B4}"/>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4" name="Content Placeholder 2">
            <a:extLst>
              <a:ext uri="{FF2B5EF4-FFF2-40B4-BE49-F238E27FC236}">
                <a16:creationId xmlns:a16="http://schemas.microsoft.com/office/drawing/2014/main" id="{2DC5671E-AABE-4C87-AAC3-228E4510CF08}"/>
              </a:ext>
            </a:extLst>
          </p:cNvPr>
          <p:cNvSpPr txBox="1">
            <a:spLocks noGrp="1"/>
          </p:cNvSpPr>
          <p:nvPr>
            <p:ph idx="4294967295"/>
          </p:nvPr>
        </p:nvSpPr>
        <p:spPr>
          <a:xfrm>
            <a:off x="1186836" y="1294452"/>
            <a:ext cx="3983336" cy="3788084"/>
          </a:xfrm>
        </p:spPr>
        <p:txBody>
          <a:bodyPr/>
          <a:lstStyle>
            <a:lvl1pPr marL="0" indent="0">
              <a:buNone/>
              <a:defRPr sz="1200" i="1">
                <a:solidFill>
                  <a:srgbClr val="003B5C"/>
                </a:solidFill>
                <a:latin typeface="Verdana"/>
                <a:ea typeface="Verdana"/>
                <a:cs typeface="Verdana"/>
              </a:defRPr>
            </a:lvl1pPr>
          </a:lstStyle>
          <a:p>
            <a:pPr lvl="0"/>
            <a:r>
              <a:rPr lang="en-US"/>
              <a:t>*Insert Image Here</a:t>
            </a:r>
          </a:p>
        </p:txBody>
      </p:sp>
      <p:sp>
        <p:nvSpPr>
          <p:cNvPr id="5" name="Content Placeholder 3">
            <a:extLst>
              <a:ext uri="{FF2B5EF4-FFF2-40B4-BE49-F238E27FC236}">
                <a16:creationId xmlns:a16="http://schemas.microsoft.com/office/drawing/2014/main" id="{11847C92-645E-990B-52B2-2CC286E06D0D}"/>
              </a:ext>
            </a:extLst>
          </p:cNvPr>
          <p:cNvSpPr txBox="1">
            <a:spLocks noGrp="1"/>
          </p:cNvSpPr>
          <p:nvPr>
            <p:ph idx="4294967295"/>
          </p:nvPr>
        </p:nvSpPr>
        <p:spPr>
          <a:xfrm>
            <a:off x="5549394" y="1997132"/>
            <a:ext cx="5466557" cy="3085414"/>
          </a:xfrm>
        </p:spPr>
        <p:txBody>
          <a:bodyPr/>
          <a:lstStyle>
            <a:lvl1pPr marL="0" indent="0" defTabSz="914473">
              <a:lnSpc>
                <a:spcPct val="90000"/>
              </a:lnSpc>
              <a:spcAft>
                <a:spcPts val="0"/>
              </a:spcAft>
              <a:buNone/>
              <a:defRPr sz="2133">
                <a:latin typeface="Verdana"/>
                <a:ea typeface="Verdana"/>
                <a:cs typeface="Verdana"/>
              </a:defRPr>
            </a:lvl1pPr>
          </a:lstStyle>
          <a:p>
            <a:pPr lvl="0"/>
            <a:r>
              <a:rPr lang="en-US"/>
              <a:t>Copy goes here. </a:t>
            </a:r>
          </a:p>
        </p:txBody>
      </p:sp>
      <p:sp>
        <p:nvSpPr>
          <p:cNvPr id="6" name="Title 16">
            <a:extLst>
              <a:ext uri="{FF2B5EF4-FFF2-40B4-BE49-F238E27FC236}">
                <a16:creationId xmlns:a16="http://schemas.microsoft.com/office/drawing/2014/main" id="{D9687B40-D1ED-6E35-5D94-0DFEBF886B63}"/>
              </a:ext>
            </a:extLst>
          </p:cNvPr>
          <p:cNvSpPr txBox="1">
            <a:spLocks noGrp="1"/>
          </p:cNvSpPr>
          <p:nvPr>
            <p:ph type="title"/>
          </p:nvPr>
        </p:nvSpPr>
        <p:spPr>
          <a:xfrm>
            <a:off x="5549394" y="1154531"/>
            <a:ext cx="5466557"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pic>
        <p:nvPicPr>
          <p:cNvPr id="7" name="Picture 7">
            <a:extLst>
              <a:ext uri="{FF2B5EF4-FFF2-40B4-BE49-F238E27FC236}">
                <a16:creationId xmlns:a16="http://schemas.microsoft.com/office/drawing/2014/main" id="{D88B4FF1-C1A9-AEED-E4E0-81CD4CD45488}"/>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Tree>
    <p:extLst>
      <p:ext uri="{BB962C8B-B14F-4D97-AF65-F5344CB8AC3E}">
        <p14:creationId xmlns:p14="http://schemas.microsoft.com/office/powerpoint/2010/main" val="2497305868"/>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p:cSld name="8_Title and Bullets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575E32-7F90-0F5F-1A19-964DE92E1D6D}"/>
              </a:ext>
            </a:extLst>
          </p:cNvPr>
          <p:cNvSpPr txBox="1">
            <a:spLocks noGrp="1"/>
          </p:cNvSpPr>
          <p:nvPr>
            <p:ph type="title"/>
          </p:nvPr>
        </p:nvSpPr>
        <p:spPr>
          <a:xfrm>
            <a:off x="848992" y="783842"/>
            <a:ext cx="10177756"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sp>
        <p:nvSpPr>
          <p:cNvPr id="3" name="Rectangle 9">
            <a:extLst>
              <a:ext uri="{FF2B5EF4-FFF2-40B4-BE49-F238E27FC236}">
                <a16:creationId xmlns:a16="http://schemas.microsoft.com/office/drawing/2014/main" id="{D306D1A5-98D0-22A2-AA3C-D41D0EA638B8}"/>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4" name="Rectangle 10">
            <a:extLst>
              <a:ext uri="{FF2B5EF4-FFF2-40B4-BE49-F238E27FC236}">
                <a16:creationId xmlns:a16="http://schemas.microsoft.com/office/drawing/2014/main" id="{9AAE9490-FA3F-C854-7295-DA114142191C}"/>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5" name="Text Placeholder 4">
            <a:extLst>
              <a:ext uri="{FF2B5EF4-FFF2-40B4-BE49-F238E27FC236}">
                <a16:creationId xmlns:a16="http://schemas.microsoft.com/office/drawing/2014/main" id="{17DB2E22-B629-7338-51D5-D2F5236D93F6}"/>
              </a:ext>
            </a:extLst>
          </p:cNvPr>
          <p:cNvSpPr txBox="1">
            <a:spLocks noGrp="1"/>
          </p:cNvSpPr>
          <p:nvPr>
            <p:ph type="body" idx="4294967295"/>
          </p:nvPr>
        </p:nvSpPr>
        <p:spPr>
          <a:xfrm>
            <a:off x="848783" y="1615023"/>
            <a:ext cx="10176933" cy="3812115"/>
          </a:xfrm>
        </p:spPr>
        <p:txBody>
          <a:bodyPr/>
          <a:lstStyle>
            <a:lvl1pPr marL="381031" indent="-381031">
              <a:defRPr sz="2133">
                <a:latin typeface="Verdana"/>
                <a:ea typeface="Verdana"/>
                <a:cs typeface="Verdana"/>
              </a:defRPr>
            </a:lvl1pPr>
            <a:lvl2pPr marL="381031" lvl="0" indent="-381031">
              <a:spcBef>
                <a:spcPts val="1000"/>
              </a:spcBef>
              <a:buClr>
                <a:srgbClr val="F5668F"/>
              </a:buClr>
              <a:defRPr sz="2133">
                <a:latin typeface="Verdana"/>
                <a:ea typeface="Verdana"/>
                <a:cs typeface="Verdana"/>
              </a:defRPr>
            </a:lvl2pPr>
          </a:lstStyle>
          <a:p>
            <a:pPr lvl="0"/>
            <a:r>
              <a:rPr lang="en-US"/>
              <a:t>Copy goes here</a:t>
            </a:r>
          </a:p>
          <a:p>
            <a:pPr lvl="0"/>
            <a:endParaRPr lang="en-US"/>
          </a:p>
        </p:txBody>
      </p:sp>
      <p:pic>
        <p:nvPicPr>
          <p:cNvPr id="6" name="Picture 6">
            <a:extLst>
              <a:ext uri="{FF2B5EF4-FFF2-40B4-BE49-F238E27FC236}">
                <a16:creationId xmlns:a16="http://schemas.microsoft.com/office/drawing/2014/main" id="{F75DD95B-00CC-AB00-0DF2-DE3974CF002A}"/>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Tree>
    <p:extLst>
      <p:ext uri="{BB962C8B-B14F-4D97-AF65-F5344CB8AC3E}">
        <p14:creationId xmlns:p14="http://schemas.microsoft.com/office/powerpoint/2010/main" val="330664970"/>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p:cSld name="27_Title and Content">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5DB32475-2F95-10EE-6CF1-A60959E13447}"/>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pic>
        <p:nvPicPr>
          <p:cNvPr id="3" name="Picture 10">
            <a:extLst>
              <a:ext uri="{FF2B5EF4-FFF2-40B4-BE49-F238E27FC236}">
                <a16:creationId xmlns:a16="http://schemas.microsoft.com/office/drawing/2014/main" id="{B1B3AB31-FB1A-46FF-E2EE-8213C5D656E1}"/>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
        <p:nvSpPr>
          <p:cNvPr id="4" name="Rectangle 11">
            <a:extLst>
              <a:ext uri="{FF2B5EF4-FFF2-40B4-BE49-F238E27FC236}">
                <a16:creationId xmlns:a16="http://schemas.microsoft.com/office/drawing/2014/main" id="{A6E4F39C-7D38-3BE0-9F6C-0DFC3E58E628}"/>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5" name="Title 1">
            <a:extLst>
              <a:ext uri="{FF2B5EF4-FFF2-40B4-BE49-F238E27FC236}">
                <a16:creationId xmlns:a16="http://schemas.microsoft.com/office/drawing/2014/main" id="{6E4EACAC-B72D-1697-CBCF-942714B7502E}"/>
              </a:ext>
            </a:extLst>
          </p:cNvPr>
          <p:cNvSpPr txBox="1">
            <a:spLocks noGrp="1"/>
          </p:cNvSpPr>
          <p:nvPr>
            <p:ph type="title"/>
          </p:nvPr>
        </p:nvSpPr>
        <p:spPr>
          <a:xfrm>
            <a:off x="848992" y="806858"/>
            <a:ext cx="10156176"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sp>
        <p:nvSpPr>
          <p:cNvPr id="6" name="Text Placeholder 15">
            <a:extLst>
              <a:ext uri="{FF2B5EF4-FFF2-40B4-BE49-F238E27FC236}">
                <a16:creationId xmlns:a16="http://schemas.microsoft.com/office/drawing/2014/main" id="{6BC1A07A-EE76-9E91-0DEB-BDD34EAE64D1}"/>
              </a:ext>
            </a:extLst>
          </p:cNvPr>
          <p:cNvSpPr txBox="1">
            <a:spLocks noGrp="1"/>
          </p:cNvSpPr>
          <p:nvPr>
            <p:ph type="body" idx="4294967295"/>
          </p:nvPr>
        </p:nvSpPr>
        <p:spPr>
          <a:xfrm>
            <a:off x="848992" y="1637855"/>
            <a:ext cx="10156176" cy="4117159"/>
          </a:xfrm>
        </p:spPr>
        <p:txBody>
          <a:bodyPr/>
          <a:lstStyle>
            <a:lvl1pPr marL="0" indent="0" defTabSz="914473">
              <a:lnSpc>
                <a:spcPct val="90000"/>
              </a:lnSpc>
              <a:spcAft>
                <a:spcPts val="0"/>
              </a:spcAft>
              <a:buNone/>
              <a:defRPr sz="2133">
                <a:latin typeface="Verdana"/>
                <a:ea typeface="Verdana"/>
                <a:cs typeface="Verdana"/>
              </a:defRPr>
            </a:lvl1pPr>
          </a:lstStyle>
          <a:p>
            <a:pPr lvl="0"/>
            <a:r>
              <a:rPr lang="en-US"/>
              <a:t>Copy goes here. </a:t>
            </a:r>
          </a:p>
        </p:txBody>
      </p:sp>
    </p:spTree>
    <p:extLst>
      <p:ext uri="{BB962C8B-B14F-4D97-AF65-F5344CB8AC3E}">
        <p14:creationId xmlns:p14="http://schemas.microsoft.com/office/powerpoint/2010/main" val="3396176196"/>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p:cSld name="6_Cover">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214FC477-2D0D-E4DE-B08C-C4654F4A399D}"/>
              </a:ext>
            </a:extLst>
          </p:cNvPr>
          <p:cNvSpPr/>
          <p:nvPr/>
        </p:nvSpPr>
        <p:spPr>
          <a:xfrm>
            <a:off x="902366" y="1294416"/>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0152AD7C-5271-1722-DE5C-2A4783A48BE2}"/>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r>
              <a:rPr lang="en-US"/>
              <a:t>Click to edit Master title style</a:t>
            </a:r>
          </a:p>
        </p:txBody>
      </p:sp>
      <p:sp>
        <p:nvSpPr>
          <p:cNvPr id="4" name="Subtitle 2">
            <a:extLst>
              <a:ext uri="{FF2B5EF4-FFF2-40B4-BE49-F238E27FC236}">
                <a16:creationId xmlns:a16="http://schemas.microsoft.com/office/drawing/2014/main" id="{268FFE28-5DE2-0CC5-3352-6ED7F32B08CD}"/>
              </a:ext>
            </a:extLst>
          </p:cNvPr>
          <p:cNvSpPr txBox="1">
            <a:spLocks noGrp="1"/>
          </p:cNvSpPr>
          <p:nvPr>
            <p:ph type="subTitle" idx="4294967295"/>
          </p:nvPr>
        </p:nvSpPr>
        <p:spPr>
          <a:xfrm>
            <a:off x="1413305" y="3766861"/>
            <a:ext cx="5194432" cy="986564"/>
          </a:xfrm>
        </p:spPr>
        <p:txBody>
          <a:bodyPr/>
          <a:lstStyle>
            <a:lvl1pPr marL="0" indent="0">
              <a:buNone/>
              <a:defRPr/>
            </a:lvl1pPr>
          </a:lstStyle>
          <a:p>
            <a:pPr lvl="0"/>
            <a:r>
              <a:rPr lang="en-US"/>
              <a:t>Click to edit Master subtitle style</a:t>
            </a:r>
          </a:p>
        </p:txBody>
      </p:sp>
      <p:sp>
        <p:nvSpPr>
          <p:cNvPr id="5" name="Picture Placeholder 21">
            <a:extLst>
              <a:ext uri="{FF2B5EF4-FFF2-40B4-BE49-F238E27FC236}">
                <a16:creationId xmlns:a16="http://schemas.microsoft.com/office/drawing/2014/main" id="{CB0FC218-F503-6646-538F-74BFAF1CB844}"/>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grpSp>
        <p:nvGrpSpPr>
          <p:cNvPr id="6" name="Group 26">
            <a:extLst>
              <a:ext uri="{FF2B5EF4-FFF2-40B4-BE49-F238E27FC236}">
                <a16:creationId xmlns:a16="http://schemas.microsoft.com/office/drawing/2014/main" id="{9A36766F-C378-585C-5E18-C5AD7939BE5F}"/>
              </a:ext>
            </a:extLst>
          </p:cNvPr>
          <p:cNvGrpSpPr/>
          <p:nvPr/>
        </p:nvGrpSpPr>
        <p:grpSpPr>
          <a:xfrm>
            <a:off x="0" y="5020349"/>
            <a:ext cx="12191996" cy="1837651"/>
            <a:chOff x="0" y="5020348"/>
            <a:chExt cx="12191996" cy="1837651"/>
          </a:xfrm>
        </p:grpSpPr>
        <p:sp>
          <p:nvSpPr>
            <p:cNvPr id="7" name="Freeform 27">
              <a:extLst>
                <a:ext uri="{FF2B5EF4-FFF2-40B4-BE49-F238E27FC236}">
                  <a16:creationId xmlns:a16="http://schemas.microsoft.com/office/drawing/2014/main" id="{B4D81773-BB7C-E52E-5BE3-3BADFF04C82F}"/>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8" name="Freeform 28">
              <a:extLst>
                <a:ext uri="{FF2B5EF4-FFF2-40B4-BE49-F238E27FC236}">
                  <a16:creationId xmlns:a16="http://schemas.microsoft.com/office/drawing/2014/main" id="{DC7D0D25-C45E-3BAD-01EF-D475478905EF}"/>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9" name="Picture 29">
              <a:extLst>
                <a:ext uri="{FF2B5EF4-FFF2-40B4-BE49-F238E27FC236}">
                  <a16:creationId xmlns:a16="http://schemas.microsoft.com/office/drawing/2014/main" id="{19D92E4D-B92C-C8FE-A447-17267391C4CD}"/>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11829353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Blank">
  <p:cSld name="Blank 2">
    <p:spTree>
      <p:nvGrpSpPr>
        <p:cNvPr id="1" name="Shape 9406"/>
        <p:cNvGrpSpPr/>
        <p:nvPr/>
      </p:nvGrpSpPr>
      <p:grpSpPr>
        <a:xfrm>
          <a:off x="0" y="0"/>
          <a:ext cx="0" cy="0"/>
          <a:chOff x="0" y="0"/>
          <a:chExt cx="0" cy="0"/>
        </a:xfrm>
      </p:grpSpPr>
      <p:sp>
        <p:nvSpPr>
          <p:cNvPr id="9407" name="Google Shape;9407;p13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08" name="Google Shape;9408;p13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09" name="Google Shape;9409;p13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410" name="Google Shape;9410;p1352"/>
          <p:cNvGrpSpPr/>
          <p:nvPr/>
        </p:nvGrpSpPr>
        <p:grpSpPr>
          <a:xfrm>
            <a:off x="7191542" y="1"/>
            <a:ext cx="5000459" cy="1425992"/>
            <a:chOff x="7191542" y="1"/>
            <a:chExt cx="5000459" cy="1425992"/>
          </a:xfrm>
        </p:grpSpPr>
        <p:pic>
          <p:nvPicPr>
            <p:cNvPr id="9411" name="Google Shape;9411;p13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12" name="Google Shape;9412;p1352"/>
            <p:cNvGrpSpPr/>
            <p:nvPr/>
          </p:nvGrpSpPr>
          <p:grpSpPr>
            <a:xfrm>
              <a:off x="7191542" y="1"/>
              <a:ext cx="5000459" cy="1425992"/>
              <a:chOff x="7186272" y="0"/>
              <a:chExt cx="5005729" cy="1427495"/>
            </a:xfrm>
          </p:grpSpPr>
          <p:sp>
            <p:nvSpPr>
              <p:cNvPr id="9413" name="Google Shape;9413;p13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414" name="Google Shape;9414;p13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p:cSld name="8_Two Section | Picture and Copy Layout">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1E99EE00-0533-FB2B-0DD5-AF9EF779AB94}"/>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3" name="Rectangle 11">
            <a:extLst>
              <a:ext uri="{FF2B5EF4-FFF2-40B4-BE49-F238E27FC236}">
                <a16:creationId xmlns:a16="http://schemas.microsoft.com/office/drawing/2014/main" id="{2F9106E8-2D24-732D-FFDB-630BDF2CA731}"/>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4" name="Content Placeholder 2">
            <a:extLst>
              <a:ext uri="{FF2B5EF4-FFF2-40B4-BE49-F238E27FC236}">
                <a16:creationId xmlns:a16="http://schemas.microsoft.com/office/drawing/2014/main" id="{83E5FB2B-B25F-3674-381B-3C44F534FAC9}"/>
              </a:ext>
            </a:extLst>
          </p:cNvPr>
          <p:cNvSpPr txBox="1">
            <a:spLocks noGrp="1"/>
          </p:cNvSpPr>
          <p:nvPr>
            <p:ph idx="4294967295"/>
          </p:nvPr>
        </p:nvSpPr>
        <p:spPr>
          <a:xfrm>
            <a:off x="1186836" y="1294452"/>
            <a:ext cx="3983336" cy="3788084"/>
          </a:xfrm>
        </p:spPr>
        <p:txBody>
          <a:bodyPr/>
          <a:lstStyle>
            <a:lvl1pPr marL="0" indent="0">
              <a:buNone/>
              <a:defRPr sz="1200" i="1">
                <a:solidFill>
                  <a:srgbClr val="003B5C"/>
                </a:solidFill>
                <a:latin typeface="Verdana"/>
                <a:ea typeface="Verdana"/>
                <a:cs typeface="Verdana"/>
              </a:defRPr>
            </a:lvl1pPr>
          </a:lstStyle>
          <a:p>
            <a:pPr lvl="0"/>
            <a:r>
              <a:rPr lang="en-US"/>
              <a:t>*Insert Image Here</a:t>
            </a:r>
          </a:p>
        </p:txBody>
      </p:sp>
      <p:sp>
        <p:nvSpPr>
          <p:cNvPr id="5" name="Content Placeholder 3">
            <a:extLst>
              <a:ext uri="{FF2B5EF4-FFF2-40B4-BE49-F238E27FC236}">
                <a16:creationId xmlns:a16="http://schemas.microsoft.com/office/drawing/2014/main" id="{57030253-19B4-7ECF-0D84-158B6F37C686}"/>
              </a:ext>
            </a:extLst>
          </p:cNvPr>
          <p:cNvSpPr txBox="1">
            <a:spLocks noGrp="1"/>
          </p:cNvSpPr>
          <p:nvPr>
            <p:ph idx="4294967295"/>
          </p:nvPr>
        </p:nvSpPr>
        <p:spPr>
          <a:xfrm>
            <a:off x="5549394" y="1997132"/>
            <a:ext cx="5466557" cy="3085414"/>
          </a:xfrm>
        </p:spPr>
        <p:txBody>
          <a:bodyPr/>
          <a:lstStyle>
            <a:lvl1pPr marL="0" indent="0" defTabSz="914473">
              <a:lnSpc>
                <a:spcPct val="90000"/>
              </a:lnSpc>
              <a:spcAft>
                <a:spcPts val="0"/>
              </a:spcAft>
              <a:buNone/>
              <a:defRPr sz="2133">
                <a:latin typeface="Verdana"/>
                <a:ea typeface="Verdana"/>
                <a:cs typeface="Verdana"/>
              </a:defRPr>
            </a:lvl1pPr>
          </a:lstStyle>
          <a:p>
            <a:pPr lvl="0"/>
            <a:r>
              <a:rPr lang="en-US"/>
              <a:t>Copy goes here. </a:t>
            </a:r>
          </a:p>
        </p:txBody>
      </p:sp>
      <p:sp>
        <p:nvSpPr>
          <p:cNvPr id="6" name="Title 16">
            <a:extLst>
              <a:ext uri="{FF2B5EF4-FFF2-40B4-BE49-F238E27FC236}">
                <a16:creationId xmlns:a16="http://schemas.microsoft.com/office/drawing/2014/main" id="{5F9A3DB6-4D40-9862-9223-F625EA539AF7}"/>
              </a:ext>
            </a:extLst>
          </p:cNvPr>
          <p:cNvSpPr txBox="1">
            <a:spLocks noGrp="1"/>
          </p:cNvSpPr>
          <p:nvPr>
            <p:ph type="title"/>
          </p:nvPr>
        </p:nvSpPr>
        <p:spPr>
          <a:xfrm>
            <a:off x="5549394" y="1154531"/>
            <a:ext cx="5466557"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pic>
        <p:nvPicPr>
          <p:cNvPr id="7" name="Picture 7">
            <a:extLst>
              <a:ext uri="{FF2B5EF4-FFF2-40B4-BE49-F238E27FC236}">
                <a16:creationId xmlns:a16="http://schemas.microsoft.com/office/drawing/2014/main" id="{F081C3E7-2B18-45B9-27D7-A72CD23A6449}"/>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Tree>
    <p:extLst>
      <p:ext uri="{BB962C8B-B14F-4D97-AF65-F5344CB8AC3E}">
        <p14:creationId xmlns:p14="http://schemas.microsoft.com/office/powerpoint/2010/main" val="4032577406"/>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p:cSld name="18_Cover">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F72940AC-2D1A-EDF6-2D13-28272F9B8786}"/>
              </a:ext>
            </a:extLst>
          </p:cNvPr>
          <p:cNvSpPr/>
          <p:nvPr/>
        </p:nvSpPr>
        <p:spPr>
          <a:xfrm>
            <a:off x="902366" y="1294416"/>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166FCA5F-5C26-A5B7-90D1-D096F6B66BD0}"/>
              </a:ext>
            </a:extLst>
          </p:cNvPr>
          <p:cNvSpPr txBox="1">
            <a:spLocks noGrp="1"/>
          </p:cNvSpPr>
          <p:nvPr>
            <p:ph type="title"/>
          </p:nvPr>
        </p:nvSpPr>
        <p:spPr>
          <a:xfrm>
            <a:off x="1413314" y="1561328"/>
            <a:ext cx="5194432" cy="1826340"/>
          </a:xfrm>
        </p:spPr>
        <p:txBody>
          <a:bodyPr anchor="b"/>
          <a:lstStyle>
            <a:lvl1pPr>
              <a:defRPr sz="4000">
                <a:solidFill>
                  <a:srgbClr val="444C55"/>
                </a:solidFill>
              </a:defRPr>
            </a:lvl1pPr>
          </a:lstStyle>
          <a:p>
            <a:pPr lvl="0"/>
            <a:r>
              <a:rPr lang="en-US"/>
              <a:t>Click to edit Master title style</a:t>
            </a:r>
          </a:p>
        </p:txBody>
      </p:sp>
      <p:sp>
        <p:nvSpPr>
          <p:cNvPr id="4" name="Subtitle 2">
            <a:extLst>
              <a:ext uri="{FF2B5EF4-FFF2-40B4-BE49-F238E27FC236}">
                <a16:creationId xmlns:a16="http://schemas.microsoft.com/office/drawing/2014/main" id="{A4567BDC-A406-5245-F82B-2327ABF4E757}"/>
              </a:ext>
            </a:extLst>
          </p:cNvPr>
          <p:cNvSpPr txBox="1">
            <a:spLocks noGrp="1"/>
          </p:cNvSpPr>
          <p:nvPr>
            <p:ph type="subTitle" idx="4294967295"/>
          </p:nvPr>
        </p:nvSpPr>
        <p:spPr>
          <a:xfrm>
            <a:off x="1413314" y="3766861"/>
            <a:ext cx="5194432" cy="986564"/>
          </a:xfrm>
        </p:spPr>
        <p:txBody>
          <a:bodyPr/>
          <a:lstStyle>
            <a:lvl1pPr marL="0" indent="0">
              <a:buNone/>
              <a:defRPr/>
            </a:lvl1pPr>
          </a:lstStyle>
          <a:p>
            <a:pPr lvl="0"/>
            <a:r>
              <a:rPr lang="en-US"/>
              <a:t>Click to edit Master subtitle style</a:t>
            </a:r>
          </a:p>
        </p:txBody>
      </p:sp>
      <p:sp>
        <p:nvSpPr>
          <p:cNvPr id="5" name="Picture Placeholder 21">
            <a:extLst>
              <a:ext uri="{FF2B5EF4-FFF2-40B4-BE49-F238E27FC236}">
                <a16:creationId xmlns:a16="http://schemas.microsoft.com/office/drawing/2014/main" id="{FFC01ABC-E264-6B3F-E3FC-63874805C461}"/>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grpSp>
        <p:nvGrpSpPr>
          <p:cNvPr id="6" name="Group 26">
            <a:extLst>
              <a:ext uri="{FF2B5EF4-FFF2-40B4-BE49-F238E27FC236}">
                <a16:creationId xmlns:a16="http://schemas.microsoft.com/office/drawing/2014/main" id="{B33789CA-D427-0939-E132-7D18867BF7FB}"/>
              </a:ext>
            </a:extLst>
          </p:cNvPr>
          <p:cNvGrpSpPr/>
          <p:nvPr/>
        </p:nvGrpSpPr>
        <p:grpSpPr>
          <a:xfrm>
            <a:off x="0" y="5020349"/>
            <a:ext cx="12191996" cy="1837651"/>
            <a:chOff x="0" y="5020348"/>
            <a:chExt cx="12191996" cy="1837651"/>
          </a:xfrm>
        </p:grpSpPr>
        <p:sp>
          <p:nvSpPr>
            <p:cNvPr id="7" name="Freeform 27">
              <a:extLst>
                <a:ext uri="{FF2B5EF4-FFF2-40B4-BE49-F238E27FC236}">
                  <a16:creationId xmlns:a16="http://schemas.microsoft.com/office/drawing/2014/main" id="{7A39D7F4-EA26-99C7-40A0-9C01A5C6E7F9}"/>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8" name="Freeform 28">
              <a:extLst>
                <a:ext uri="{FF2B5EF4-FFF2-40B4-BE49-F238E27FC236}">
                  <a16:creationId xmlns:a16="http://schemas.microsoft.com/office/drawing/2014/main" id="{3E32C73D-13BD-28A2-D718-17E128CBD3E5}"/>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9" name="Picture 29">
              <a:extLst>
                <a:ext uri="{FF2B5EF4-FFF2-40B4-BE49-F238E27FC236}">
                  <a16:creationId xmlns:a16="http://schemas.microsoft.com/office/drawing/2014/main" id="{51919628-2142-6E1B-9232-33CE8FAD36DE}"/>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830416955"/>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p:cSld name="18_Divider">
    <p:spTree>
      <p:nvGrpSpPr>
        <p:cNvPr id="1" name=""/>
        <p:cNvGrpSpPr/>
        <p:nvPr/>
      </p:nvGrpSpPr>
      <p:grpSpPr>
        <a:xfrm>
          <a:off x="0" y="0"/>
          <a:ext cx="0" cy="0"/>
          <a:chOff x="0" y="0"/>
          <a:chExt cx="0" cy="0"/>
        </a:xfrm>
      </p:grpSpPr>
      <p:grpSp>
        <p:nvGrpSpPr>
          <p:cNvPr id="2" name="Group 9">
            <a:extLst>
              <a:ext uri="{FF2B5EF4-FFF2-40B4-BE49-F238E27FC236}">
                <a16:creationId xmlns:a16="http://schemas.microsoft.com/office/drawing/2014/main" id="{A339420B-2646-EE9C-6A99-31A73444B4EE}"/>
              </a:ext>
            </a:extLst>
          </p:cNvPr>
          <p:cNvGrpSpPr/>
          <p:nvPr/>
        </p:nvGrpSpPr>
        <p:grpSpPr>
          <a:xfrm>
            <a:off x="0" y="5020349"/>
            <a:ext cx="12191996" cy="1837651"/>
            <a:chOff x="0" y="5020348"/>
            <a:chExt cx="12191996" cy="1837651"/>
          </a:xfrm>
        </p:grpSpPr>
        <p:sp>
          <p:nvSpPr>
            <p:cNvPr id="3" name="Freeform 25">
              <a:extLst>
                <a:ext uri="{FF2B5EF4-FFF2-40B4-BE49-F238E27FC236}">
                  <a16:creationId xmlns:a16="http://schemas.microsoft.com/office/drawing/2014/main" id="{B5171518-C756-8B93-C720-A039AE3CDF3A}"/>
                </a:ext>
              </a:extLst>
            </p:cNvPr>
            <p:cNvSpPr/>
            <p:nvPr/>
          </p:nvSpPr>
          <p:spPr>
            <a:xfrm>
              <a:off x="0" y="5100267"/>
              <a:ext cx="7111371" cy="1757732"/>
            </a:xfrm>
            <a:custGeom>
              <a:avLst/>
              <a:gdLst>
                <a:gd name="f0" fmla="val 10800000"/>
                <a:gd name="f1" fmla="val 5400000"/>
                <a:gd name="f2" fmla="val 180"/>
                <a:gd name="f3" fmla="val w"/>
                <a:gd name="f4" fmla="val h"/>
                <a:gd name="f5" fmla="val 0"/>
                <a:gd name="f6" fmla="val 7111369"/>
                <a:gd name="f7" fmla="val 1757730"/>
                <a:gd name="f8" fmla="val 772954"/>
                <a:gd name="f9" fmla="val 2778"/>
                <a:gd name="f10" fmla="val 1769038"/>
                <a:gd name="f11" fmla="val 30799"/>
                <a:gd name="f12" fmla="val 2696750"/>
                <a:gd name="f13" fmla="val 267531"/>
                <a:gd name="f14" fmla="val 3590934"/>
                <a:gd name="f15" fmla="val 566046"/>
                <a:gd name="f16" fmla="val 4684008"/>
                <a:gd name="f17" fmla="val 930921"/>
                <a:gd name="f18" fmla="val 5690778"/>
                <a:gd name="f19" fmla="val 1324625"/>
                <a:gd name="f20" fmla="val 6700767"/>
                <a:gd name="f21" fmla="val 1636882"/>
                <a:gd name="f22" fmla="val 25690"/>
                <a:gd name="f23" fmla="val 2197"/>
                <a:gd name="f24" fmla="val 25414"/>
                <a:gd name="f25" fmla="val 114653"/>
                <a:gd name="f26" fmla="val 14905"/>
                <a:gd name="f27" fmla="val 227801"/>
                <a:gd name="f28" fmla="val 7857"/>
                <a:gd name="f29" fmla="val 341773"/>
                <a:gd name="f30" fmla="val 3976"/>
                <a:gd name="f31" fmla="val 486963"/>
                <a:gd name="f32" fmla="+- 0 0 968"/>
                <a:gd name="f33" fmla="val 630656"/>
                <a:gd name="f34" fmla="+- 0 0 1224"/>
                <a:gd name="f35" fmla="+- 0 0 -90"/>
                <a:gd name="f36" fmla="*/ f3 1 7111369"/>
                <a:gd name="f37" fmla="*/ f4 1 1757730"/>
                <a:gd name="f38" fmla="+- f7 0 f5"/>
                <a:gd name="f39" fmla="+- f6 0 f5"/>
                <a:gd name="f40" fmla="*/ f35 f0 1"/>
                <a:gd name="f41" fmla="*/ f39 1 7111369"/>
                <a:gd name="f42" fmla="*/ f38 1 1757730"/>
                <a:gd name="f43" fmla="*/ 772954 f39 1"/>
                <a:gd name="f44" fmla="*/ 2778 f38 1"/>
                <a:gd name="f45" fmla="*/ 3590934 f39 1"/>
                <a:gd name="f46" fmla="*/ 566046 f38 1"/>
                <a:gd name="f47" fmla="*/ 6700767 f39 1"/>
                <a:gd name="f48" fmla="*/ 1636882 f38 1"/>
                <a:gd name="f49" fmla="*/ 7111369 f39 1"/>
                <a:gd name="f50" fmla="*/ 1757730 f38 1"/>
                <a:gd name="f51" fmla="*/ 0 f39 1"/>
                <a:gd name="f52" fmla="*/ 25690 f38 1"/>
                <a:gd name="f53" fmla="*/ 2197 f39 1"/>
                <a:gd name="f54" fmla="*/ 25414 f38 1"/>
                <a:gd name="f55" fmla="*/ 341773 f39 1"/>
                <a:gd name="f56" fmla="*/ 3976 f38 1"/>
                <a:gd name="f57" fmla="*/ f40 1 f2"/>
                <a:gd name="f58" fmla="*/ f43 1 7111369"/>
                <a:gd name="f59" fmla="*/ f44 1 1757730"/>
                <a:gd name="f60" fmla="*/ f45 1 7111369"/>
                <a:gd name="f61" fmla="*/ f46 1 1757730"/>
                <a:gd name="f62" fmla="*/ f47 1 7111369"/>
                <a:gd name="f63" fmla="*/ f48 1 1757730"/>
                <a:gd name="f64" fmla="*/ f49 1 7111369"/>
                <a:gd name="f65" fmla="*/ f50 1 1757730"/>
                <a:gd name="f66" fmla="*/ f51 1 7111369"/>
                <a:gd name="f67" fmla="*/ f52 1 1757730"/>
                <a:gd name="f68" fmla="*/ f53 1 7111369"/>
                <a:gd name="f69" fmla="*/ f54 1 1757730"/>
                <a:gd name="f70" fmla="*/ f55 1 7111369"/>
                <a:gd name="f71" fmla="*/ f56 1 1757730"/>
                <a:gd name="f72" fmla="*/ f5 1 f41"/>
                <a:gd name="f73" fmla="*/ f6 1 f41"/>
                <a:gd name="f74" fmla="*/ f5 1 f42"/>
                <a:gd name="f75" fmla="*/ f7 1 f42"/>
                <a:gd name="f76" fmla="+- f57 0 f1"/>
                <a:gd name="f77" fmla="*/ f58 1 f41"/>
                <a:gd name="f78" fmla="*/ f59 1 f42"/>
                <a:gd name="f79" fmla="*/ f60 1 f41"/>
                <a:gd name="f80" fmla="*/ f61 1 f42"/>
                <a:gd name="f81" fmla="*/ f62 1 f41"/>
                <a:gd name="f82" fmla="*/ f63 1 f42"/>
                <a:gd name="f83" fmla="*/ f64 1 f41"/>
                <a:gd name="f84" fmla="*/ f65 1 f42"/>
                <a:gd name="f85" fmla="*/ f66 1 f41"/>
                <a:gd name="f86" fmla="*/ f67 1 f42"/>
                <a:gd name="f87" fmla="*/ f68 1 f41"/>
                <a:gd name="f88" fmla="*/ f69 1 f42"/>
                <a:gd name="f89" fmla="*/ f70 1 f41"/>
                <a:gd name="f90" fmla="*/ f71 1 f42"/>
                <a:gd name="f91" fmla="*/ f72 f36 1"/>
                <a:gd name="f92" fmla="*/ f73 f36 1"/>
                <a:gd name="f93" fmla="*/ f75 f37 1"/>
                <a:gd name="f94" fmla="*/ f74 f37 1"/>
                <a:gd name="f95" fmla="*/ f77 f36 1"/>
                <a:gd name="f96" fmla="*/ f78 f37 1"/>
                <a:gd name="f97" fmla="*/ f79 f36 1"/>
                <a:gd name="f98" fmla="*/ f80 f37 1"/>
                <a:gd name="f99" fmla="*/ f81 f36 1"/>
                <a:gd name="f100" fmla="*/ f82 f37 1"/>
                <a:gd name="f101" fmla="*/ f83 f36 1"/>
                <a:gd name="f102" fmla="*/ f84 f37 1"/>
                <a:gd name="f103" fmla="*/ f85 f36 1"/>
                <a:gd name="f104" fmla="*/ f86 f37 1"/>
                <a:gd name="f105" fmla="*/ f87 f36 1"/>
                <a:gd name="f106" fmla="*/ f88 f37 1"/>
                <a:gd name="f107" fmla="*/ f89 f36 1"/>
                <a:gd name="f108" fmla="*/ f90 f37 1"/>
              </a:gdLst>
              <a:ahLst/>
              <a:cxnLst>
                <a:cxn ang="3cd4">
                  <a:pos x="hc" y="t"/>
                </a:cxn>
                <a:cxn ang="0">
                  <a:pos x="r" y="vc"/>
                </a:cxn>
                <a:cxn ang="cd4">
                  <a:pos x="hc" y="b"/>
                </a:cxn>
                <a:cxn ang="cd2">
                  <a:pos x="l" y="vc"/>
                </a:cxn>
                <a:cxn ang="f76">
                  <a:pos x="f95" y="f96"/>
                </a:cxn>
                <a:cxn ang="f76">
                  <a:pos x="f97" y="f98"/>
                </a:cxn>
                <a:cxn ang="f76">
                  <a:pos x="f99" y="f100"/>
                </a:cxn>
                <a:cxn ang="f76">
                  <a:pos x="f101" y="f102"/>
                </a:cxn>
                <a:cxn ang="f76">
                  <a:pos x="f103" y="f102"/>
                </a:cxn>
                <a:cxn ang="f76">
                  <a:pos x="f103" y="f104"/>
                </a:cxn>
                <a:cxn ang="f76">
                  <a:pos x="f105" y="f106"/>
                </a:cxn>
                <a:cxn ang="f76">
                  <a:pos x="f107" y="f108"/>
                </a:cxn>
                <a:cxn ang="f76">
                  <a:pos x="f95" y="f96"/>
                </a:cxn>
              </a:cxnLst>
              <a:rect l="f91" t="f94" r="f92" b="f93"/>
              <a:pathLst>
                <a:path w="7111369" h="1757730">
                  <a:moveTo>
                    <a:pt x="f8" y="f9"/>
                  </a:moveTo>
                  <a:cubicBezTo>
                    <a:pt x="f10" y="f11"/>
                    <a:pt x="f12" y="f13"/>
                    <a:pt x="f14" y="f15"/>
                  </a:cubicBezTo>
                  <a:cubicBezTo>
                    <a:pt x="f16" y="f17"/>
                    <a:pt x="f18" y="f19"/>
                    <a:pt x="f20" y="f21"/>
                  </a:cubicBezTo>
                  <a:lnTo>
                    <a:pt x="f6" y="f7"/>
                  </a:lnTo>
                  <a:lnTo>
                    <a:pt x="f5" y="f7"/>
                  </a:lnTo>
                  <a:lnTo>
                    <a:pt x="f5" y="f22"/>
                  </a:lnTo>
                  <a:lnTo>
                    <a:pt x="f23" y="f24"/>
                  </a:lnTo>
                  <a:cubicBezTo>
                    <a:pt x="f25" y="f26"/>
                    <a:pt x="f27" y="f28"/>
                    <a:pt x="f29" y="f30"/>
                  </a:cubicBezTo>
                  <a:cubicBezTo>
                    <a:pt x="f31" y="f32"/>
                    <a:pt x="f33" y="f34"/>
                    <a:pt x="f8" y="f9"/>
                  </a:cubicBezTo>
                  <a:close/>
                </a:path>
              </a:pathLst>
            </a:cu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4" name="Freeform 19">
              <a:extLst>
                <a:ext uri="{FF2B5EF4-FFF2-40B4-BE49-F238E27FC236}">
                  <a16:creationId xmlns:a16="http://schemas.microsoft.com/office/drawing/2014/main" id="{856E8893-C902-109F-F6D8-F30669235902}"/>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5" name="Freeform 14">
              <a:extLst>
                <a:ext uri="{FF2B5EF4-FFF2-40B4-BE49-F238E27FC236}">
                  <a16:creationId xmlns:a16="http://schemas.microsoft.com/office/drawing/2014/main" id="{2273FC7B-17A8-A632-91E4-AA86FFF6FA1F}"/>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6" name="Picture 20">
              <a:extLst>
                <a:ext uri="{FF2B5EF4-FFF2-40B4-BE49-F238E27FC236}">
                  <a16:creationId xmlns:a16="http://schemas.microsoft.com/office/drawing/2014/main" id="{A7682213-40DA-CBFF-8D69-42E2C8CCE855}"/>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
        <p:nvSpPr>
          <p:cNvPr id="7" name="Title 10">
            <a:extLst>
              <a:ext uri="{FF2B5EF4-FFF2-40B4-BE49-F238E27FC236}">
                <a16:creationId xmlns:a16="http://schemas.microsoft.com/office/drawing/2014/main" id="{5EB55322-3567-495F-261D-D2989170F38E}"/>
              </a:ext>
            </a:extLst>
          </p:cNvPr>
          <p:cNvSpPr txBox="1">
            <a:spLocks noGrp="1"/>
          </p:cNvSpPr>
          <p:nvPr>
            <p:ph type="title"/>
          </p:nvPr>
        </p:nvSpPr>
        <p:spPr>
          <a:xfrm>
            <a:off x="1413305" y="701748"/>
            <a:ext cx="9365376" cy="2014679"/>
          </a:xfrm>
        </p:spPr>
        <p:txBody>
          <a:bodyPr anchor="b"/>
          <a:lstStyle>
            <a:lvl1pPr>
              <a:defRPr/>
            </a:lvl1pPr>
          </a:lstStyle>
          <a:p>
            <a:pPr lvl="0"/>
            <a:r>
              <a:rPr lang="en-US"/>
              <a:t>Click to edit Master title style</a:t>
            </a:r>
          </a:p>
        </p:txBody>
      </p:sp>
      <p:sp>
        <p:nvSpPr>
          <p:cNvPr id="8" name="Subtitle 2">
            <a:extLst>
              <a:ext uri="{FF2B5EF4-FFF2-40B4-BE49-F238E27FC236}">
                <a16:creationId xmlns:a16="http://schemas.microsoft.com/office/drawing/2014/main" id="{D197E25F-0B49-92BB-B7B7-6F5528CE688D}"/>
              </a:ext>
            </a:extLst>
          </p:cNvPr>
          <p:cNvSpPr txBox="1">
            <a:spLocks noGrp="1"/>
          </p:cNvSpPr>
          <p:nvPr>
            <p:ph type="subTitle" idx="4294967295"/>
          </p:nvPr>
        </p:nvSpPr>
        <p:spPr>
          <a:xfrm>
            <a:off x="1413305" y="3081637"/>
            <a:ext cx="9365376" cy="986564"/>
          </a:xfrm>
        </p:spPr>
        <p:txBody>
          <a:bodyPr/>
          <a:lstStyle>
            <a:lvl1pPr marL="0" indent="0">
              <a:buNone/>
              <a:defRPr/>
            </a:lvl1pPr>
          </a:lstStyle>
          <a:p>
            <a:pPr lvl="0"/>
            <a:r>
              <a:rPr lang="en-US"/>
              <a:t>Click to edit Master subtitle style</a:t>
            </a:r>
          </a:p>
        </p:txBody>
      </p:sp>
    </p:spTree>
    <p:extLst>
      <p:ext uri="{BB962C8B-B14F-4D97-AF65-F5344CB8AC3E}">
        <p14:creationId xmlns:p14="http://schemas.microsoft.com/office/powerpoint/2010/main" val="4132816795"/>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p:cSld name="18_Photo Slide">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876BAC81-DB1D-E765-0293-284B79C91202}"/>
              </a:ext>
            </a:extLst>
          </p:cNvPr>
          <p:cNvSpPr txBox="1">
            <a:spLocks noGrp="1"/>
          </p:cNvSpPr>
          <p:nvPr>
            <p:ph type="body" idx="4294967295"/>
          </p:nvPr>
        </p:nvSpPr>
        <p:spPr>
          <a:xfrm>
            <a:off x="457200" y="1146255"/>
            <a:ext cx="2350172" cy="2971800"/>
          </a:xfrm>
        </p:spPr>
        <p:txBody>
          <a:bodyPr/>
          <a:lstStyle>
            <a:lvl1pPr marL="0" indent="0">
              <a:buNone/>
              <a:defRPr/>
            </a:lvl1pPr>
          </a:lstStyle>
          <a:p>
            <a:pPr lvl="0"/>
            <a:r>
              <a:rPr lang="en-US"/>
              <a:t>Click to edit Master text styles</a:t>
            </a:r>
          </a:p>
        </p:txBody>
      </p:sp>
      <p:cxnSp>
        <p:nvCxnSpPr>
          <p:cNvPr id="3" name="Straight Connector 5">
            <a:extLst>
              <a:ext uri="{FF2B5EF4-FFF2-40B4-BE49-F238E27FC236}">
                <a16:creationId xmlns:a16="http://schemas.microsoft.com/office/drawing/2014/main" id="{8DAC0AEB-44DC-6C7A-92AC-93547903C2EA}"/>
              </a:ext>
            </a:extLst>
          </p:cNvPr>
          <p:cNvCxnSpPr/>
          <p:nvPr/>
        </p:nvCxnSpPr>
        <p:spPr>
          <a:xfrm>
            <a:off x="457201" y="947985"/>
            <a:ext cx="2350163" cy="0"/>
          </a:xfrm>
          <a:prstGeom prst="straightConnector1">
            <a:avLst/>
          </a:prstGeom>
          <a:noFill/>
          <a:ln w="31747" cap="flat">
            <a:solidFill>
              <a:srgbClr val="F58366"/>
            </a:solidFill>
            <a:prstDash val="solid"/>
            <a:miter/>
          </a:ln>
        </p:spPr>
      </p:cxnSp>
      <p:grpSp>
        <p:nvGrpSpPr>
          <p:cNvPr id="4" name="Group 2">
            <a:extLst>
              <a:ext uri="{FF2B5EF4-FFF2-40B4-BE49-F238E27FC236}">
                <a16:creationId xmlns:a16="http://schemas.microsoft.com/office/drawing/2014/main" id="{CCA02B1F-6473-2AB6-DEA2-E9B45F8165A0}"/>
              </a:ext>
            </a:extLst>
          </p:cNvPr>
          <p:cNvGrpSpPr/>
          <p:nvPr/>
        </p:nvGrpSpPr>
        <p:grpSpPr>
          <a:xfrm>
            <a:off x="1" y="5379425"/>
            <a:ext cx="2807363" cy="753895"/>
            <a:chOff x="0" y="5379424"/>
            <a:chExt cx="2807363" cy="753895"/>
          </a:xfrm>
        </p:grpSpPr>
        <p:sp>
          <p:nvSpPr>
            <p:cNvPr id="5" name="Freeform 21">
              <a:extLst>
                <a:ext uri="{FF2B5EF4-FFF2-40B4-BE49-F238E27FC236}">
                  <a16:creationId xmlns:a16="http://schemas.microsoft.com/office/drawing/2014/main" id="{596B3D19-941D-0F77-7A8D-BFBAD36EC73A}"/>
                </a:ext>
              </a:extLst>
            </p:cNvPr>
            <p:cNvSpPr/>
            <p:nvPr/>
          </p:nvSpPr>
          <p:spPr>
            <a:xfrm>
              <a:off x="0" y="5532513"/>
              <a:ext cx="2807363" cy="600806"/>
            </a:xfrm>
            <a:custGeom>
              <a:avLst/>
              <a:gdLst>
                <a:gd name="f0" fmla="val 10800000"/>
                <a:gd name="f1" fmla="val 5400000"/>
                <a:gd name="f2" fmla="val 180"/>
                <a:gd name="f3" fmla="val w"/>
                <a:gd name="f4" fmla="val h"/>
                <a:gd name="f5" fmla="val 0"/>
                <a:gd name="f6" fmla="val 2807368"/>
                <a:gd name="f7" fmla="val 600807"/>
                <a:gd name="f8" fmla="val 429971"/>
                <a:gd name="f9" fmla="val 123998"/>
                <a:gd name="f10" fmla="val 1184765"/>
                <a:gd name="f11" fmla="val 325331"/>
                <a:gd name="f12" fmla="val 2014184"/>
                <a:gd name="f13" fmla="val 392492"/>
                <a:gd name="f14" fmla="val 2790212"/>
                <a:gd name="f15" fmla="val 235402"/>
                <a:gd name="f16" fmla="val 231522"/>
                <a:gd name="f17" fmla="val 566106"/>
                <a:gd name="f18" fmla="val 2593885"/>
                <a:gd name="f19" fmla="val 587498"/>
                <a:gd name="f20" fmla="val 1673646"/>
                <a:gd name="f21" fmla="val 651184"/>
                <a:gd name="f22" fmla="val 884869"/>
                <a:gd name="f23" fmla="val 479260"/>
                <a:gd name="f24" fmla="val 100844"/>
                <a:gd name="f25" fmla="val 222653"/>
                <a:gd name="f26" fmla="val 188389"/>
                <a:gd name="f27" fmla="+- 0 0 -90"/>
                <a:gd name="f28" fmla="*/ f3 1 2807368"/>
                <a:gd name="f29" fmla="*/ f4 1 600807"/>
                <a:gd name="f30" fmla="+- f7 0 f5"/>
                <a:gd name="f31" fmla="+- f6 0 f5"/>
                <a:gd name="f32" fmla="*/ f27 f0 1"/>
                <a:gd name="f33" fmla="*/ f31 1 2807368"/>
                <a:gd name="f34" fmla="*/ f30 1 600807"/>
                <a:gd name="f35" fmla="*/ 0 f31 1"/>
                <a:gd name="f36" fmla="*/ 0 f30 1"/>
                <a:gd name="f37" fmla="*/ 429971 f31 1"/>
                <a:gd name="f38" fmla="*/ 123998 f30 1"/>
                <a:gd name="f39" fmla="*/ 2790212 f31 1"/>
                <a:gd name="f40" fmla="*/ 235402 f30 1"/>
                <a:gd name="f41" fmla="*/ 2807368 f31 1"/>
                <a:gd name="f42" fmla="*/ 231522 f30 1"/>
                <a:gd name="f43" fmla="*/ 566106 f30 1"/>
                <a:gd name="f44" fmla="*/ 2593885 f31 1"/>
                <a:gd name="f45" fmla="*/ 587498 f30 1"/>
                <a:gd name="f46" fmla="*/ 100844 f31 1"/>
                <a:gd name="f47" fmla="*/ 222653 f30 1"/>
                <a:gd name="f48" fmla="*/ 188389 f30 1"/>
                <a:gd name="f49" fmla="*/ f32 1 f2"/>
                <a:gd name="f50" fmla="*/ f35 1 2807368"/>
                <a:gd name="f51" fmla="*/ f36 1 600807"/>
                <a:gd name="f52" fmla="*/ f37 1 2807368"/>
                <a:gd name="f53" fmla="*/ f38 1 600807"/>
                <a:gd name="f54" fmla="*/ f39 1 2807368"/>
                <a:gd name="f55" fmla="*/ f40 1 600807"/>
                <a:gd name="f56" fmla="*/ f41 1 2807368"/>
                <a:gd name="f57" fmla="*/ f42 1 600807"/>
                <a:gd name="f58" fmla="*/ f43 1 600807"/>
                <a:gd name="f59" fmla="*/ f44 1 2807368"/>
                <a:gd name="f60" fmla="*/ f45 1 600807"/>
                <a:gd name="f61" fmla="*/ f46 1 2807368"/>
                <a:gd name="f62" fmla="*/ f47 1 600807"/>
                <a:gd name="f63" fmla="*/ f48 1 600807"/>
                <a:gd name="f64" fmla="*/ f5 1 f33"/>
                <a:gd name="f65" fmla="*/ f6 1 f33"/>
                <a:gd name="f66" fmla="*/ f5 1 f34"/>
                <a:gd name="f67" fmla="*/ f7 1 f34"/>
                <a:gd name="f68" fmla="+- f49 0 f1"/>
                <a:gd name="f69" fmla="*/ f50 1 f33"/>
                <a:gd name="f70" fmla="*/ f51 1 f34"/>
                <a:gd name="f71" fmla="*/ f52 1 f33"/>
                <a:gd name="f72" fmla="*/ f53 1 f34"/>
                <a:gd name="f73" fmla="*/ f54 1 f33"/>
                <a:gd name="f74" fmla="*/ f55 1 f34"/>
                <a:gd name="f75" fmla="*/ f56 1 f33"/>
                <a:gd name="f76" fmla="*/ f57 1 f34"/>
                <a:gd name="f77" fmla="*/ f58 1 f34"/>
                <a:gd name="f78" fmla="*/ f59 1 f33"/>
                <a:gd name="f79" fmla="*/ f60 1 f34"/>
                <a:gd name="f80" fmla="*/ f61 1 f33"/>
                <a:gd name="f81" fmla="*/ f62 1 f34"/>
                <a:gd name="f82" fmla="*/ f63 1 f34"/>
                <a:gd name="f83" fmla="*/ f64 f28 1"/>
                <a:gd name="f84" fmla="*/ f65 f28 1"/>
                <a:gd name="f85" fmla="*/ f67 f29 1"/>
                <a:gd name="f86" fmla="*/ f66 f29 1"/>
                <a:gd name="f87" fmla="*/ f69 f28 1"/>
                <a:gd name="f88" fmla="*/ f70 f29 1"/>
                <a:gd name="f89" fmla="*/ f71 f28 1"/>
                <a:gd name="f90" fmla="*/ f72 f29 1"/>
                <a:gd name="f91" fmla="*/ f73 f28 1"/>
                <a:gd name="f92" fmla="*/ f74 f29 1"/>
                <a:gd name="f93" fmla="*/ f75 f28 1"/>
                <a:gd name="f94" fmla="*/ f76 f29 1"/>
                <a:gd name="f95" fmla="*/ f77 f29 1"/>
                <a:gd name="f96" fmla="*/ f78 f28 1"/>
                <a:gd name="f97" fmla="*/ f79 f29 1"/>
                <a:gd name="f98" fmla="*/ f80 f28 1"/>
                <a:gd name="f99" fmla="*/ f81 f29 1"/>
                <a:gd name="f100" fmla="*/ f82 f29 1"/>
              </a:gdLst>
              <a:ahLst/>
              <a:cxnLst>
                <a:cxn ang="3cd4">
                  <a:pos x="hc" y="t"/>
                </a:cxn>
                <a:cxn ang="0">
                  <a:pos x="r" y="vc"/>
                </a:cxn>
                <a:cxn ang="cd4">
                  <a:pos x="hc" y="b"/>
                </a:cxn>
                <a:cxn ang="cd2">
                  <a:pos x="l" y="vc"/>
                </a:cxn>
                <a:cxn ang="f68">
                  <a:pos x="f87" y="f88"/>
                </a:cxn>
                <a:cxn ang="f68">
                  <a:pos x="f89" y="f90"/>
                </a:cxn>
                <a:cxn ang="f68">
                  <a:pos x="f91" y="f92"/>
                </a:cxn>
                <a:cxn ang="f68">
                  <a:pos x="f93" y="f94"/>
                </a:cxn>
                <a:cxn ang="f68">
                  <a:pos x="f93" y="f95"/>
                </a:cxn>
                <a:cxn ang="f68">
                  <a:pos x="f96" y="f97"/>
                </a:cxn>
                <a:cxn ang="f68">
                  <a:pos x="f98" y="f99"/>
                </a:cxn>
                <a:cxn ang="f68">
                  <a:pos x="f87" y="f100"/>
                </a:cxn>
              </a:cxnLst>
              <a:rect l="f83" t="f86" r="f84" b="f85"/>
              <a:pathLst>
                <a:path w="2807368" h="600807">
                  <a:moveTo>
                    <a:pt x="f5" y="f5"/>
                  </a:moveTo>
                  <a:lnTo>
                    <a:pt x="f8" y="f9"/>
                  </a:lnTo>
                  <a:cubicBezTo>
                    <a:pt x="f10" y="f11"/>
                    <a:pt x="f12" y="f13"/>
                    <a:pt x="f14" y="f15"/>
                  </a:cubicBezTo>
                  <a:lnTo>
                    <a:pt x="f6" y="f16"/>
                  </a:lnTo>
                  <a:lnTo>
                    <a:pt x="f6" y="f17"/>
                  </a:lnTo>
                  <a:lnTo>
                    <a:pt x="f18" y="f19"/>
                  </a:lnTo>
                  <a:cubicBezTo>
                    <a:pt x="f20" y="f21"/>
                    <a:pt x="f22" y="f23"/>
                    <a:pt x="f24" y="f25"/>
                  </a:cubicBezTo>
                  <a:lnTo>
                    <a:pt x="f5" y="f26"/>
                  </a:ln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Freeform 19">
              <a:extLst>
                <a:ext uri="{FF2B5EF4-FFF2-40B4-BE49-F238E27FC236}">
                  <a16:creationId xmlns:a16="http://schemas.microsoft.com/office/drawing/2014/main" id="{5E02CCB0-5D60-55B5-0434-24F7FA658E48}"/>
                </a:ext>
              </a:extLst>
            </p:cNvPr>
            <p:cNvSpPr/>
            <p:nvPr/>
          </p:nvSpPr>
          <p:spPr>
            <a:xfrm>
              <a:off x="0" y="5379424"/>
              <a:ext cx="2807363" cy="649800"/>
            </a:xfrm>
            <a:custGeom>
              <a:avLst/>
              <a:gdLst>
                <a:gd name="f0" fmla="val 10800000"/>
                <a:gd name="f1" fmla="val 5400000"/>
                <a:gd name="f2" fmla="val 180"/>
                <a:gd name="f3" fmla="val w"/>
                <a:gd name="f4" fmla="val h"/>
                <a:gd name="f5" fmla="val 0"/>
                <a:gd name="f6" fmla="val 2807368"/>
                <a:gd name="f7" fmla="val 649803"/>
                <a:gd name="f8" fmla="val 282676"/>
                <a:gd name="f9" fmla="val 70799"/>
                <a:gd name="f10" fmla="val 435964"/>
                <a:gd name="f11" fmla="val 106085"/>
                <a:gd name="f12" fmla="val 588770"/>
                <a:gd name="f13" fmla="val 137629"/>
                <a:gd name="f14" fmla="val 740881"/>
                <a:gd name="f15" fmla="val 163828"/>
                <a:gd name="f16" fmla="val 1362800"/>
                <a:gd name="f17" fmla="val 270912"/>
                <a:gd name="f18" fmla="val 2067879"/>
                <a:gd name="f19" fmla="val 253759"/>
                <a:gd name="f20" fmla="val 2706471"/>
                <a:gd name="f21" fmla="val 96397"/>
                <a:gd name="f22" fmla="val 67250"/>
                <a:gd name="f23" fmla="val 605551"/>
                <a:gd name="f24" fmla="val 2602685"/>
                <a:gd name="f25" fmla="val 629466"/>
                <a:gd name="f26" fmla="val 1684237"/>
                <a:gd name="f27" fmla="val 708219"/>
                <a:gd name="f28" fmla="val 893252"/>
                <a:gd name="f29" fmla="val 549395"/>
                <a:gd name="f30" fmla="val 105614"/>
                <a:gd name="f31" fmla="val 305882"/>
                <a:gd name="f32" fmla="val 271926"/>
                <a:gd name="f33" fmla="+- 0 0 -90"/>
                <a:gd name="f34" fmla="*/ f3 1 2807368"/>
                <a:gd name="f35" fmla="*/ f4 1 649803"/>
                <a:gd name="f36" fmla="+- f7 0 f5"/>
                <a:gd name="f37" fmla="+- f6 0 f5"/>
                <a:gd name="f38" fmla="*/ f33 f0 1"/>
                <a:gd name="f39" fmla="*/ f37 1 2807368"/>
                <a:gd name="f40" fmla="*/ f36 1 649803"/>
                <a:gd name="f41" fmla="*/ 0 f37 1"/>
                <a:gd name="f42" fmla="*/ 0 f36 1"/>
                <a:gd name="f43" fmla="*/ 282676 f37 1"/>
                <a:gd name="f44" fmla="*/ 70799 f36 1"/>
                <a:gd name="f45" fmla="*/ 740881 f37 1"/>
                <a:gd name="f46" fmla="*/ 163828 f36 1"/>
                <a:gd name="f47" fmla="*/ 2706471 f37 1"/>
                <a:gd name="f48" fmla="*/ 96397 f36 1"/>
                <a:gd name="f49" fmla="*/ 2807368 f37 1"/>
                <a:gd name="f50" fmla="*/ 67250 f36 1"/>
                <a:gd name="f51" fmla="*/ 605551 f36 1"/>
                <a:gd name="f52" fmla="*/ 2602685 f37 1"/>
                <a:gd name="f53" fmla="*/ 629466 f36 1"/>
                <a:gd name="f54" fmla="*/ 105614 f37 1"/>
                <a:gd name="f55" fmla="*/ 305882 f36 1"/>
                <a:gd name="f56" fmla="*/ 271926 f36 1"/>
                <a:gd name="f57" fmla="*/ f38 1 f2"/>
                <a:gd name="f58" fmla="*/ f41 1 2807368"/>
                <a:gd name="f59" fmla="*/ f42 1 649803"/>
                <a:gd name="f60" fmla="*/ f43 1 2807368"/>
                <a:gd name="f61" fmla="*/ f44 1 649803"/>
                <a:gd name="f62" fmla="*/ f45 1 2807368"/>
                <a:gd name="f63" fmla="*/ f46 1 649803"/>
                <a:gd name="f64" fmla="*/ f47 1 2807368"/>
                <a:gd name="f65" fmla="*/ f48 1 649803"/>
                <a:gd name="f66" fmla="*/ f49 1 2807368"/>
                <a:gd name="f67" fmla="*/ f50 1 649803"/>
                <a:gd name="f68" fmla="*/ f51 1 649803"/>
                <a:gd name="f69" fmla="*/ f52 1 2807368"/>
                <a:gd name="f70" fmla="*/ f53 1 649803"/>
                <a:gd name="f71" fmla="*/ f54 1 2807368"/>
                <a:gd name="f72" fmla="*/ f55 1 649803"/>
                <a:gd name="f73" fmla="*/ f56 1 649803"/>
                <a:gd name="f74" fmla="*/ f5 1 f39"/>
                <a:gd name="f75" fmla="*/ f6 1 f39"/>
                <a:gd name="f76" fmla="*/ f5 1 f40"/>
                <a:gd name="f77" fmla="*/ f7 1 f40"/>
                <a:gd name="f78" fmla="+- f57 0 f1"/>
                <a:gd name="f79" fmla="*/ f58 1 f39"/>
                <a:gd name="f80" fmla="*/ f59 1 f40"/>
                <a:gd name="f81" fmla="*/ f60 1 f39"/>
                <a:gd name="f82" fmla="*/ f61 1 f40"/>
                <a:gd name="f83" fmla="*/ f62 1 f39"/>
                <a:gd name="f84" fmla="*/ f63 1 f40"/>
                <a:gd name="f85" fmla="*/ f64 1 f39"/>
                <a:gd name="f86" fmla="*/ f65 1 f40"/>
                <a:gd name="f87" fmla="*/ f66 1 f39"/>
                <a:gd name="f88" fmla="*/ f67 1 f40"/>
                <a:gd name="f89" fmla="*/ f68 1 f40"/>
                <a:gd name="f90" fmla="*/ f69 1 f39"/>
                <a:gd name="f91" fmla="*/ f70 1 f40"/>
                <a:gd name="f92" fmla="*/ f71 1 f39"/>
                <a:gd name="f93" fmla="*/ f72 1 f40"/>
                <a:gd name="f94" fmla="*/ f73 1 f40"/>
                <a:gd name="f95" fmla="*/ f74 f34 1"/>
                <a:gd name="f96" fmla="*/ f75 f34 1"/>
                <a:gd name="f97" fmla="*/ f77 f35 1"/>
                <a:gd name="f98" fmla="*/ f76 f35 1"/>
                <a:gd name="f99" fmla="*/ f79 f34 1"/>
                <a:gd name="f100" fmla="*/ f80 f35 1"/>
                <a:gd name="f101" fmla="*/ f81 f34 1"/>
                <a:gd name="f102" fmla="*/ f82 f35 1"/>
                <a:gd name="f103" fmla="*/ f83 f34 1"/>
                <a:gd name="f104" fmla="*/ f84 f35 1"/>
                <a:gd name="f105" fmla="*/ f85 f34 1"/>
                <a:gd name="f106" fmla="*/ f86 f35 1"/>
                <a:gd name="f107" fmla="*/ f87 f34 1"/>
                <a:gd name="f108" fmla="*/ f88 f35 1"/>
                <a:gd name="f109" fmla="*/ f89 f35 1"/>
                <a:gd name="f110" fmla="*/ f90 f34 1"/>
                <a:gd name="f111" fmla="*/ f91 f35 1"/>
                <a:gd name="f112" fmla="*/ f92 f34 1"/>
                <a:gd name="f113" fmla="*/ f93 f35 1"/>
                <a:gd name="f114" fmla="*/ f94 f35 1"/>
              </a:gdLst>
              <a:ahLst/>
              <a:cxnLst>
                <a:cxn ang="3cd4">
                  <a:pos x="hc" y="t"/>
                </a:cxn>
                <a:cxn ang="0">
                  <a:pos x="r" y="vc"/>
                </a:cxn>
                <a:cxn ang="cd4">
                  <a:pos x="hc" y="b"/>
                </a:cxn>
                <a:cxn ang="cd2">
                  <a:pos x="l" y="vc"/>
                </a:cxn>
                <a:cxn ang="f78">
                  <a:pos x="f99" y="f100"/>
                </a:cxn>
                <a:cxn ang="f78">
                  <a:pos x="f101" y="f102"/>
                </a:cxn>
                <a:cxn ang="f78">
                  <a:pos x="f103" y="f104"/>
                </a:cxn>
                <a:cxn ang="f78">
                  <a:pos x="f105" y="f106"/>
                </a:cxn>
                <a:cxn ang="f78">
                  <a:pos x="f107" y="f108"/>
                </a:cxn>
                <a:cxn ang="f78">
                  <a:pos x="f107" y="f109"/>
                </a:cxn>
                <a:cxn ang="f78">
                  <a:pos x="f110" y="f111"/>
                </a:cxn>
                <a:cxn ang="f78">
                  <a:pos x="f112" y="f113"/>
                </a:cxn>
                <a:cxn ang="f78">
                  <a:pos x="f99" y="f114"/>
                </a:cxn>
              </a:cxnLst>
              <a:rect l="f95" t="f98" r="f96" b="f97"/>
              <a:pathLst>
                <a:path w="2807368" h="649803">
                  <a:moveTo>
                    <a:pt x="f5" y="f5"/>
                  </a:moveTo>
                  <a:lnTo>
                    <a:pt x="f8" y="f9"/>
                  </a:lnTo>
                  <a:cubicBezTo>
                    <a:pt x="f10" y="f11"/>
                    <a:pt x="f12" y="f13"/>
                    <a:pt x="f14" y="f15"/>
                  </a:cubicBezTo>
                  <a:cubicBezTo>
                    <a:pt x="f16" y="f17"/>
                    <a:pt x="f18" y="f19"/>
                    <a:pt x="f20" y="f21"/>
                  </a:cubicBezTo>
                  <a:lnTo>
                    <a:pt x="f6" y="f22"/>
                  </a:lnTo>
                  <a:lnTo>
                    <a:pt x="f6" y="f23"/>
                  </a:lnTo>
                  <a:lnTo>
                    <a:pt x="f24" y="f25"/>
                  </a:lnTo>
                  <a:cubicBezTo>
                    <a:pt x="f26" y="f27"/>
                    <a:pt x="f28" y="f29"/>
                    <a:pt x="f30" y="f31"/>
                  </a:cubicBezTo>
                  <a:lnTo>
                    <a:pt x="f5" y="f32"/>
                  </a:ln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grpSp>
      <p:sp>
        <p:nvSpPr>
          <p:cNvPr id="7" name="Picture Placeholder 6">
            <a:extLst>
              <a:ext uri="{FF2B5EF4-FFF2-40B4-BE49-F238E27FC236}">
                <a16:creationId xmlns:a16="http://schemas.microsoft.com/office/drawing/2014/main" id="{47A8D030-513E-C800-F413-607E8C636B59}"/>
              </a:ext>
            </a:extLst>
          </p:cNvPr>
          <p:cNvSpPr txBox="1">
            <a:spLocks noGrp="1"/>
          </p:cNvSpPr>
          <p:nvPr>
            <p:ph type="pic" idx="4294967295"/>
          </p:nvPr>
        </p:nvSpPr>
        <p:spPr>
          <a:xfrm>
            <a:off x="2807363" y="457200"/>
            <a:ext cx="8915400" cy="5943600"/>
          </a:xfrm>
        </p:spPr>
        <p:txBody>
          <a:bodyPr/>
          <a:lstStyle>
            <a:lvl1pPr>
              <a:defRPr/>
            </a:lvl1pPr>
          </a:lstStyle>
          <a:p>
            <a:pPr lvl="0"/>
            <a:endParaRPr lang="en-US"/>
          </a:p>
        </p:txBody>
      </p:sp>
      <p:pic>
        <p:nvPicPr>
          <p:cNvPr id="8" name="Picture 14">
            <a:extLst>
              <a:ext uri="{FF2B5EF4-FFF2-40B4-BE49-F238E27FC236}">
                <a16:creationId xmlns:a16="http://schemas.microsoft.com/office/drawing/2014/main" id="{016DF7DC-E1C8-0867-2F64-B6D187BA3AD9}"/>
              </a:ext>
            </a:extLst>
          </p:cNvPr>
          <p:cNvPicPr>
            <a:picLocks noChangeAspect="1"/>
          </p:cNvPicPr>
          <p:nvPr/>
        </p:nvPicPr>
        <p:blipFill>
          <a:blip r:embed="rId2"/>
          <a:srcRect/>
          <a:stretch>
            <a:fillRect/>
          </a:stretch>
        </p:blipFill>
        <p:spPr>
          <a:xfrm>
            <a:off x="513354" y="4385535"/>
            <a:ext cx="2025313" cy="911940"/>
          </a:xfrm>
          <a:prstGeom prst="rect">
            <a:avLst/>
          </a:prstGeom>
          <a:noFill/>
          <a:ln cap="flat">
            <a:noFill/>
          </a:ln>
        </p:spPr>
      </p:pic>
    </p:spTree>
    <p:extLst>
      <p:ext uri="{BB962C8B-B14F-4D97-AF65-F5344CB8AC3E}">
        <p14:creationId xmlns:p14="http://schemas.microsoft.com/office/powerpoint/2010/main" val="841600050"/>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463ADC9C-1A0F-6118-E890-1F95DC1C194D}"/>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69ADD090-3438-A195-E49F-D6318F6F20D9}"/>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D0C7E17C-D985-1A8B-064A-8F4B4C90F3F8}"/>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F3A75AB1-C6D9-69CB-79C6-49F01F46ECC1}"/>
              </a:ext>
            </a:extLst>
          </p:cNvPr>
          <p:cNvSpPr txBox="1">
            <a:spLocks noGrp="1"/>
          </p:cNvSpPr>
          <p:nvPr>
            <p:ph type="sldNum" sz="quarter" idx="8"/>
          </p:nvPr>
        </p:nvSpPr>
        <p:spPr/>
        <p:txBody>
          <a:bodyPr/>
          <a:lstStyle>
            <a:lvl1pPr>
              <a:defRPr>
                <a:solidFill>
                  <a:srgbClr val="AFB3B9"/>
                </a:solidFill>
              </a:defRPr>
            </a:lvl1pPr>
          </a:lstStyle>
          <a:p>
            <a:pPr lvl="0"/>
            <a:fld id="{594F7C81-3100-4A47-B725-86D0EADE762D}" type="slidenum">
              <a:t>‹#›</a:t>
            </a:fld>
            <a:endParaRPr lang="en-US"/>
          </a:p>
        </p:txBody>
      </p:sp>
      <p:cxnSp>
        <p:nvCxnSpPr>
          <p:cNvPr id="6" name="Straight Connector 7">
            <a:extLst>
              <a:ext uri="{FF2B5EF4-FFF2-40B4-BE49-F238E27FC236}">
                <a16:creationId xmlns:a16="http://schemas.microsoft.com/office/drawing/2014/main" id="{4E57B41A-C4ED-7D70-640E-E2E51C09B489}"/>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CFC01A9E-8A65-3FD0-EA35-1F1E2066F37E}"/>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D990976F-FA72-003F-18A5-CE7AE4B8BF04}"/>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BD820A6B-6869-32AB-05B0-CE7708181236}"/>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149B0D86-6642-0BCD-E8FC-D360E885245C}"/>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B97E2364-8E11-E5B6-6E3A-D3B2CAFCFAA2}"/>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315066BA-8F01-32BC-417E-231CEDC8A831}"/>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861FE4F5-422C-065D-1238-95E2FD1D8713}"/>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3225401184"/>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type="obj" preserve="1">
  <p:cSld name="28_Title and Content">
    <p:spTree>
      <p:nvGrpSpPr>
        <p:cNvPr id="1" name=""/>
        <p:cNvGrpSpPr/>
        <p:nvPr/>
      </p:nvGrpSpPr>
      <p:grpSpPr>
        <a:xfrm>
          <a:off x="0" y="0"/>
          <a:ext cx="0" cy="0"/>
          <a:chOff x="0" y="0"/>
          <a:chExt cx="0" cy="0"/>
        </a:xfrm>
      </p:grpSpPr>
      <p:grpSp>
        <p:nvGrpSpPr>
          <p:cNvPr id="2" name="Group 63">
            <a:extLst>
              <a:ext uri="{FF2B5EF4-FFF2-40B4-BE49-F238E27FC236}">
                <a16:creationId xmlns:a16="http://schemas.microsoft.com/office/drawing/2014/main" id="{EC0882A6-2DA6-735E-EDA7-76231F5F044F}"/>
              </a:ext>
            </a:extLst>
          </p:cNvPr>
          <p:cNvGrpSpPr/>
          <p:nvPr/>
        </p:nvGrpSpPr>
        <p:grpSpPr>
          <a:xfrm>
            <a:off x="7191545" y="0"/>
            <a:ext cx="5000460" cy="1425988"/>
            <a:chOff x="7191545" y="0"/>
            <a:chExt cx="5000460" cy="1425988"/>
          </a:xfrm>
        </p:grpSpPr>
        <p:pic>
          <p:nvPicPr>
            <p:cNvPr id="3" name="Picture 64">
              <a:extLst>
                <a:ext uri="{FF2B5EF4-FFF2-40B4-BE49-F238E27FC236}">
                  <a16:creationId xmlns:a16="http://schemas.microsoft.com/office/drawing/2014/main" id="{368494D6-4AAF-C08B-8542-24156DBAA1D8}"/>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65">
              <a:extLst>
                <a:ext uri="{FF2B5EF4-FFF2-40B4-BE49-F238E27FC236}">
                  <a16:creationId xmlns:a16="http://schemas.microsoft.com/office/drawing/2014/main" id="{C02DCD64-29E5-8FA7-B337-F3D145C53716}"/>
                </a:ext>
              </a:extLst>
            </p:cNvPr>
            <p:cNvGrpSpPr/>
            <p:nvPr/>
          </p:nvGrpSpPr>
          <p:grpSpPr>
            <a:xfrm>
              <a:off x="7191545" y="0"/>
              <a:ext cx="5000460" cy="1425988"/>
              <a:chOff x="7191545" y="0"/>
              <a:chExt cx="5000460" cy="1425988"/>
            </a:xfrm>
          </p:grpSpPr>
          <p:sp>
            <p:nvSpPr>
              <p:cNvPr id="5" name="Freeform 66">
                <a:extLst>
                  <a:ext uri="{FF2B5EF4-FFF2-40B4-BE49-F238E27FC236}">
                    <a16:creationId xmlns:a16="http://schemas.microsoft.com/office/drawing/2014/main" id="{C2FDA3E2-5DCE-12E8-ADEE-B1230C3C533D}"/>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67">
                <a:extLst>
                  <a:ext uri="{FF2B5EF4-FFF2-40B4-BE49-F238E27FC236}">
                    <a16:creationId xmlns:a16="http://schemas.microsoft.com/office/drawing/2014/main" id="{67FB62E7-B81F-FAA8-AEEF-642718452051}"/>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F44D05A4-BC27-F7F5-083C-B8E303BAAF05}"/>
              </a:ext>
            </a:extLst>
          </p:cNvPr>
          <p:cNvSpPr txBox="1">
            <a:spLocks noGrp="1"/>
          </p:cNvSpPr>
          <p:nvPr>
            <p:ph type="title"/>
          </p:nvPr>
        </p:nvSpPr>
        <p:spPr/>
        <p:txBody>
          <a:bodyPr/>
          <a:lstStyle>
            <a:lvl1pPr>
              <a:defRPr/>
            </a:lvl1pPr>
          </a:lstStyle>
          <a:p>
            <a:pPr lvl="0"/>
            <a:r>
              <a:rPr lang="en-US"/>
              <a:t>Click to edit Master title style</a:t>
            </a:r>
          </a:p>
        </p:txBody>
      </p:sp>
      <p:sp>
        <p:nvSpPr>
          <p:cNvPr id="8" name="Content Placeholder 2">
            <a:extLst>
              <a:ext uri="{FF2B5EF4-FFF2-40B4-BE49-F238E27FC236}">
                <a16:creationId xmlns:a16="http://schemas.microsoft.com/office/drawing/2014/main" id="{9AFB002C-124F-C203-3C2A-219C82594B98}"/>
              </a:ext>
            </a:extLst>
          </p:cNvPr>
          <p:cNvSpPr txBox="1">
            <a:spLocks noGrp="1"/>
          </p:cNvSpPr>
          <p:nvPr>
            <p:ph idx="1"/>
          </p:nvPr>
        </p:nvSpPr>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6">
            <a:extLst>
              <a:ext uri="{FF2B5EF4-FFF2-40B4-BE49-F238E27FC236}">
                <a16:creationId xmlns:a16="http://schemas.microsoft.com/office/drawing/2014/main" id="{F942FE7E-2344-F3E0-E162-5C017B3545B1}"/>
              </a:ext>
            </a:extLst>
          </p:cNvPr>
          <p:cNvSpPr txBox="1">
            <a:spLocks noGrp="1"/>
          </p:cNvSpPr>
          <p:nvPr>
            <p:ph type="sldNum" sz="quarter" idx="8"/>
          </p:nvPr>
        </p:nvSpPr>
        <p:spPr/>
        <p:txBody>
          <a:bodyPr/>
          <a:lstStyle>
            <a:lvl1pPr>
              <a:defRPr>
                <a:solidFill>
                  <a:srgbClr val="AFB3B9"/>
                </a:solidFill>
              </a:defRPr>
            </a:lvl1pPr>
          </a:lstStyle>
          <a:p>
            <a:pPr lvl="0"/>
            <a:fld id="{8C6C4D9C-334B-4FA1-AA49-EE88049E2356}" type="slidenum">
              <a:t>‹#›</a:t>
            </a:fld>
            <a:endParaRPr lang="en-US"/>
          </a:p>
        </p:txBody>
      </p:sp>
      <p:cxnSp>
        <p:nvCxnSpPr>
          <p:cNvPr id="10" name="Straight Connector 7">
            <a:extLst>
              <a:ext uri="{FF2B5EF4-FFF2-40B4-BE49-F238E27FC236}">
                <a16:creationId xmlns:a16="http://schemas.microsoft.com/office/drawing/2014/main" id="{1C9A8345-6DA6-4737-A3B8-0FB34E77248A}"/>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1" name="Footer Placeholder 5">
            <a:extLst>
              <a:ext uri="{FF2B5EF4-FFF2-40B4-BE49-F238E27FC236}">
                <a16:creationId xmlns:a16="http://schemas.microsoft.com/office/drawing/2014/main" id="{746B5B37-8E67-6C6E-2CD6-38D794CAED9F}"/>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865998663"/>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A250F1-86BD-28BA-112B-0925C3BCE87A}"/>
              </a:ext>
            </a:extLst>
          </p:cNvPr>
          <p:cNvSpPr txBox="1">
            <a:spLocks noGrp="1"/>
          </p:cNvSpPr>
          <p:nvPr>
            <p:ph type="title"/>
          </p:nvPr>
        </p:nvSpPr>
        <p:spPr/>
        <p:txBody>
          <a:bodyPr/>
          <a:lstStyle>
            <a:lvl1pPr>
              <a:defRPr/>
            </a:lvl1pPr>
          </a:lstStyle>
          <a:p>
            <a:pPr lvl="0"/>
            <a:r>
              <a:rPr lang="en-US"/>
              <a:t>Click to edit Master title style</a:t>
            </a:r>
          </a:p>
        </p:txBody>
      </p:sp>
      <p:sp>
        <p:nvSpPr>
          <p:cNvPr id="3" name="Content Placeholder 2">
            <a:extLst>
              <a:ext uri="{FF2B5EF4-FFF2-40B4-BE49-F238E27FC236}">
                <a16:creationId xmlns:a16="http://schemas.microsoft.com/office/drawing/2014/main" id="{C65D5BD8-CD51-5BE6-B2B9-4EFAE945C2C1}"/>
              </a:ext>
            </a:extLst>
          </p:cNvPr>
          <p:cNvSpPr txBox="1">
            <a:spLocks noGrp="1"/>
          </p:cNvSpPr>
          <p:nvPr>
            <p:ph idx="1"/>
          </p:nvPr>
        </p:nvSpPr>
        <p:spPr>
          <a:xfrm>
            <a:off x="609604" y="1825627"/>
            <a:ext cx="5410203" cy="4351336"/>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43">
            <a:extLst>
              <a:ext uri="{FF2B5EF4-FFF2-40B4-BE49-F238E27FC236}">
                <a16:creationId xmlns:a16="http://schemas.microsoft.com/office/drawing/2014/main" id="{951E6EA6-ABDE-3C5C-B215-63BD92E05CDE}"/>
              </a:ext>
            </a:extLst>
          </p:cNvPr>
          <p:cNvGrpSpPr/>
          <p:nvPr/>
        </p:nvGrpSpPr>
        <p:grpSpPr>
          <a:xfrm>
            <a:off x="7191545" y="0"/>
            <a:ext cx="5000460" cy="1425988"/>
            <a:chOff x="7191545" y="0"/>
            <a:chExt cx="5000460" cy="1425988"/>
          </a:xfrm>
        </p:grpSpPr>
        <p:pic>
          <p:nvPicPr>
            <p:cNvPr id="5" name="Picture 19">
              <a:extLst>
                <a:ext uri="{FF2B5EF4-FFF2-40B4-BE49-F238E27FC236}">
                  <a16:creationId xmlns:a16="http://schemas.microsoft.com/office/drawing/2014/main" id="{7954DE23-4801-887B-66D7-2A4BA40D1D0B}"/>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6" name="Group 42">
              <a:extLst>
                <a:ext uri="{FF2B5EF4-FFF2-40B4-BE49-F238E27FC236}">
                  <a16:creationId xmlns:a16="http://schemas.microsoft.com/office/drawing/2014/main" id="{F844CE41-6167-BDE3-ABEB-64E52969895C}"/>
                </a:ext>
              </a:extLst>
            </p:cNvPr>
            <p:cNvGrpSpPr/>
            <p:nvPr/>
          </p:nvGrpSpPr>
          <p:grpSpPr>
            <a:xfrm>
              <a:off x="7191545" y="0"/>
              <a:ext cx="5000460" cy="1425988"/>
              <a:chOff x="7191545" y="0"/>
              <a:chExt cx="5000460" cy="1425988"/>
            </a:xfrm>
          </p:grpSpPr>
          <p:sp>
            <p:nvSpPr>
              <p:cNvPr id="7" name="Freeform 41">
                <a:extLst>
                  <a:ext uri="{FF2B5EF4-FFF2-40B4-BE49-F238E27FC236}">
                    <a16:creationId xmlns:a16="http://schemas.microsoft.com/office/drawing/2014/main" id="{2CD7CE26-DC81-53B0-C084-E498D127B02D}"/>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8" name="Freeform 39">
                <a:extLst>
                  <a:ext uri="{FF2B5EF4-FFF2-40B4-BE49-F238E27FC236}">
                    <a16:creationId xmlns:a16="http://schemas.microsoft.com/office/drawing/2014/main" id="{B53D0F8B-7125-F064-DE64-B02B6F734102}"/>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9" name="Content Placeholder 3">
            <a:extLst>
              <a:ext uri="{FF2B5EF4-FFF2-40B4-BE49-F238E27FC236}">
                <a16:creationId xmlns:a16="http://schemas.microsoft.com/office/drawing/2014/main" id="{F4631F38-7DB2-5713-EC48-697A35825F7A}"/>
              </a:ext>
            </a:extLst>
          </p:cNvPr>
          <p:cNvSpPr txBox="1">
            <a:spLocks noGrp="1"/>
          </p:cNvSpPr>
          <p:nvPr>
            <p:ph idx="2"/>
          </p:nvPr>
        </p:nvSpPr>
        <p:spPr>
          <a:xfrm>
            <a:off x="6172201" y="1825627"/>
            <a:ext cx="5410203" cy="4351336"/>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7">
            <a:extLst>
              <a:ext uri="{FF2B5EF4-FFF2-40B4-BE49-F238E27FC236}">
                <a16:creationId xmlns:a16="http://schemas.microsoft.com/office/drawing/2014/main" id="{A15EA288-372D-7F44-08CF-AB57B1EE713A}"/>
              </a:ext>
            </a:extLst>
          </p:cNvPr>
          <p:cNvSpPr txBox="1">
            <a:spLocks noGrp="1"/>
          </p:cNvSpPr>
          <p:nvPr>
            <p:ph type="sldNum" sz="quarter" idx="8"/>
          </p:nvPr>
        </p:nvSpPr>
        <p:spPr>
          <a:xfrm>
            <a:off x="8839193" y="6356352"/>
            <a:ext cx="2743200" cy="365129"/>
          </a:xfrm>
        </p:spPr>
        <p:txBody>
          <a:bodyPr/>
          <a:lstStyle>
            <a:lvl1pPr>
              <a:defRPr/>
            </a:lvl1pPr>
          </a:lstStyle>
          <a:p>
            <a:pPr lvl="0"/>
            <a:fld id="{584B89A8-7126-4439-B836-B0BD7A239AB8}" type="slidenum">
              <a:t>‹#›</a:t>
            </a:fld>
            <a:endParaRPr lang="en-US"/>
          </a:p>
        </p:txBody>
      </p:sp>
      <p:cxnSp>
        <p:nvCxnSpPr>
          <p:cNvPr id="11" name="Straight Connector 6">
            <a:extLst>
              <a:ext uri="{FF2B5EF4-FFF2-40B4-BE49-F238E27FC236}">
                <a16:creationId xmlns:a16="http://schemas.microsoft.com/office/drawing/2014/main" id="{D4F5D60C-67FA-2315-FAAC-6D959950B00D}"/>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2" name="Footer Placeholder 4">
            <a:extLst>
              <a:ext uri="{FF2B5EF4-FFF2-40B4-BE49-F238E27FC236}">
                <a16:creationId xmlns:a16="http://schemas.microsoft.com/office/drawing/2014/main" id="{E5D221C1-67A7-A78E-AFB0-AAA64D7926E3}"/>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1264995085"/>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 name="Group 24">
            <a:extLst>
              <a:ext uri="{FF2B5EF4-FFF2-40B4-BE49-F238E27FC236}">
                <a16:creationId xmlns:a16="http://schemas.microsoft.com/office/drawing/2014/main" id="{FB8DA4C6-D9C5-1759-F443-6E9F7F1F3BA8}"/>
              </a:ext>
            </a:extLst>
          </p:cNvPr>
          <p:cNvGrpSpPr/>
          <p:nvPr/>
        </p:nvGrpSpPr>
        <p:grpSpPr>
          <a:xfrm>
            <a:off x="7191545" y="0"/>
            <a:ext cx="5000460" cy="1425988"/>
            <a:chOff x="7191545" y="0"/>
            <a:chExt cx="5000460" cy="1425988"/>
          </a:xfrm>
        </p:grpSpPr>
        <p:pic>
          <p:nvPicPr>
            <p:cNvPr id="3" name="Picture 25">
              <a:extLst>
                <a:ext uri="{FF2B5EF4-FFF2-40B4-BE49-F238E27FC236}">
                  <a16:creationId xmlns:a16="http://schemas.microsoft.com/office/drawing/2014/main" id="{067DFACF-9D0F-D81A-1A30-0995DA0ADE85}"/>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26">
              <a:extLst>
                <a:ext uri="{FF2B5EF4-FFF2-40B4-BE49-F238E27FC236}">
                  <a16:creationId xmlns:a16="http://schemas.microsoft.com/office/drawing/2014/main" id="{B65F717D-F8C4-37F9-7F74-D2FA8BE8F8DB}"/>
                </a:ext>
              </a:extLst>
            </p:cNvPr>
            <p:cNvGrpSpPr/>
            <p:nvPr/>
          </p:nvGrpSpPr>
          <p:grpSpPr>
            <a:xfrm>
              <a:off x="7191545" y="0"/>
              <a:ext cx="5000460" cy="1425988"/>
              <a:chOff x="7191545" y="0"/>
              <a:chExt cx="5000460" cy="1425988"/>
            </a:xfrm>
          </p:grpSpPr>
          <p:sp>
            <p:nvSpPr>
              <p:cNvPr id="5" name="Freeform 27">
                <a:extLst>
                  <a:ext uri="{FF2B5EF4-FFF2-40B4-BE49-F238E27FC236}">
                    <a16:creationId xmlns:a16="http://schemas.microsoft.com/office/drawing/2014/main" id="{7F1620A1-5489-06FF-0B6D-654924A3F9E0}"/>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28">
                <a:extLst>
                  <a:ext uri="{FF2B5EF4-FFF2-40B4-BE49-F238E27FC236}">
                    <a16:creationId xmlns:a16="http://schemas.microsoft.com/office/drawing/2014/main" id="{7CF666F5-05FD-F6A9-946C-FABF8A07F266}"/>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51F707F6-3E34-F689-5B91-73786B7ADE5D}"/>
              </a:ext>
            </a:extLst>
          </p:cNvPr>
          <p:cNvSpPr txBox="1">
            <a:spLocks noGrp="1"/>
          </p:cNvSpPr>
          <p:nvPr>
            <p:ph type="title"/>
          </p:nvPr>
        </p:nvSpPr>
        <p:spPr/>
        <p:txBody>
          <a:bodyPr/>
          <a:lstStyle>
            <a:lvl1pPr>
              <a:defRPr/>
            </a:lvl1pPr>
          </a:lstStyle>
          <a:p>
            <a:pPr lvl="0"/>
            <a:r>
              <a:rPr lang="en-US"/>
              <a:t>Click to edit Master title style</a:t>
            </a:r>
          </a:p>
        </p:txBody>
      </p:sp>
      <p:sp>
        <p:nvSpPr>
          <p:cNvPr id="8" name="Text Placeholder 2">
            <a:extLst>
              <a:ext uri="{FF2B5EF4-FFF2-40B4-BE49-F238E27FC236}">
                <a16:creationId xmlns:a16="http://schemas.microsoft.com/office/drawing/2014/main" id="{DFADA0F9-B14A-A9A0-A980-2D50827D70B4}"/>
              </a:ext>
            </a:extLst>
          </p:cNvPr>
          <p:cNvSpPr txBox="1">
            <a:spLocks noGrp="1"/>
          </p:cNvSpPr>
          <p:nvPr>
            <p:ph type="body" idx="1"/>
          </p:nvPr>
        </p:nvSpPr>
        <p:spPr>
          <a:xfrm>
            <a:off x="609604" y="1681160"/>
            <a:ext cx="5387973" cy="823910"/>
          </a:xfrm>
          <a:solidFill>
            <a:srgbClr val="F3F6FB"/>
          </a:solidFill>
        </p:spPr>
        <p:txBody>
          <a:bodyPr lIns="182880" tIns="0" rIns="182880" bIns="0" anchor="ctr"/>
          <a:lstStyle>
            <a:lvl1pPr marL="0" indent="0">
              <a:buNone/>
              <a:defRPr u="sng">
                <a:uFill>
                  <a:solidFill>
                    <a:srgbClr val="F58366"/>
                  </a:solidFill>
                </a:uFill>
              </a:defRPr>
            </a:lvl1pPr>
          </a:lstStyle>
          <a:p>
            <a:pPr lvl="0"/>
            <a:r>
              <a:rPr lang="en-US"/>
              <a:t>Click to edit Master text styles</a:t>
            </a:r>
          </a:p>
        </p:txBody>
      </p:sp>
      <p:sp>
        <p:nvSpPr>
          <p:cNvPr id="9" name="Content Placeholder 3">
            <a:extLst>
              <a:ext uri="{FF2B5EF4-FFF2-40B4-BE49-F238E27FC236}">
                <a16:creationId xmlns:a16="http://schemas.microsoft.com/office/drawing/2014/main" id="{EC9699F6-6828-D0D9-745D-BBC46AA75D1A}"/>
              </a:ext>
            </a:extLst>
          </p:cNvPr>
          <p:cNvSpPr txBox="1">
            <a:spLocks noGrp="1"/>
          </p:cNvSpPr>
          <p:nvPr>
            <p:ph idx="2"/>
          </p:nvPr>
        </p:nvSpPr>
        <p:spPr>
          <a:xfrm>
            <a:off x="609604" y="2505072"/>
            <a:ext cx="5387973" cy="3684583"/>
          </a:xfrm>
          <a:solidFill>
            <a:srgbClr val="F3F6FB"/>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EC494D62-46A6-0BD8-93A1-33C1A77277CE}"/>
              </a:ext>
            </a:extLst>
          </p:cNvPr>
          <p:cNvSpPr txBox="1">
            <a:spLocks noGrp="1"/>
          </p:cNvSpPr>
          <p:nvPr>
            <p:ph type="body" idx="3"/>
          </p:nvPr>
        </p:nvSpPr>
        <p:spPr>
          <a:xfrm>
            <a:off x="6172201" y="1681160"/>
            <a:ext cx="5410203" cy="823910"/>
          </a:xfrm>
          <a:solidFill>
            <a:srgbClr val="F3F6FB"/>
          </a:solidFill>
        </p:spPr>
        <p:txBody>
          <a:bodyPr lIns="182880" tIns="0" rIns="182880" bIns="0" anchor="ctr"/>
          <a:lstStyle>
            <a:lvl1pPr marL="0" indent="0">
              <a:buNone/>
              <a:defRPr u="sng">
                <a:uFill>
                  <a:solidFill>
                    <a:srgbClr val="F58366"/>
                  </a:solidFill>
                </a:uFill>
              </a:defRPr>
            </a:lvl1pPr>
          </a:lstStyle>
          <a:p>
            <a:pPr lvl="0"/>
            <a:r>
              <a:rPr lang="en-US"/>
              <a:t>Click to edit Master text styles</a:t>
            </a:r>
          </a:p>
        </p:txBody>
      </p:sp>
      <p:sp>
        <p:nvSpPr>
          <p:cNvPr id="11" name="Content Placeholder 5">
            <a:extLst>
              <a:ext uri="{FF2B5EF4-FFF2-40B4-BE49-F238E27FC236}">
                <a16:creationId xmlns:a16="http://schemas.microsoft.com/office/drawing/2014/main" id="{94B2D31B-1E04-7EC5-AAD5-CD407790789D}"/>
              </a:ext>
            </a:extLst>
          </p:cNvPr>
          <p:cNvSpPr txBox="1">
            <a:spLocks noGrp="1"/>
          </p:cNvSpPr>
          <p:nvPr>
            <p:ph idx="4"/>
          </p:nvPr>
        </p:nvSpPr>
        <p:spPr>
          <a:xfrm>
            <a:off x="6172201" y="2505072"/>
            <a:ext cx="5410203" cy="3684583"/>
          </a:xfrm>
          <a:solidFill>
            <a:srgbClr val="F3F6FB"/>
          </a:solidFill>
        </p:spPr>
        <p:txBody>
          <a:bodyPr lIns="182880" tIns="0" rIns="182880" bIns="0"/>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9">
            <a:extLst>
              <a:ext uri="{FF2B5EF4-FFF2-40B4-BE49-F238E27FC236}">
                <a16:creationId xmlns:a16="http://schemas.microsoft.com/office/drawing/2014/main" id="{525D39AD-AD0D-2BE6-D9F0-7B0C404A823D}"/>
              </a:ext>
            </a:extLst>
          </p:cNvPr>
          <p:cNvSpPr txBox="1">
            <a:spLocks noGrp="1"/>
          </p:cNvSpPr>
          <p:nvPr>
            <p:ph type="sldNum" sz="quarter" idx="8"/>
          </p:nvPr>
        </p:nvSpPr>
        <p:spPr/>
        <p:txBody>
          <a:bodyPr/>
          <a:lstStyle>
            <a:lvl1pPr>
              <a:defRPr/>
            </a:lvl1pPr>
          </a:lstStyle>
          <a:p>
            <a:pPr lvl="0"/>
            <a:fld id="{957D3A43-E81D-40B4-B442-CCB3E4E1DDA3}" type="slidenum">
              <a:t>‹#›</a:t>
            </a:fld>
            <a:endParaRPr lang="en-US"/>
          </a:p>
        </p:txBody>
      </p:sp>
      <p:cxnSp>
        <p:nvCxnSpPr>
          <p:cNvPr id="13" name="Straight Connector 8">
            <a:extLst>
              <a:ext uri="{FF2B5EF4-FFF2-40B4-BE49-F238E27FC236}">
                <a16:creationId xmlns:a16="http://schemas.microsoft.com/office/drawing/2014/main" id="{5306A6E7-A52B-9E01-B822-D6AFCBCEA6E4}"/>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4" name="Footer Placeholder 7">
            <a:extLst>
              <a:ext uri="{FF2B5EF4-FFF2-40B4-BE49-F238E27FC236}">
                <a16:creationId xmlns:a16="http://schemas.microsoft.com/office/drawing/2014/main" id="{CB924FC3-DC66-955B-D97B-736F7E643932}"/>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2383126824"/>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 name="Group 21">
            <a:extLst>
              <a:ext uri="{FF2B5EF4-FFF2-40B4-BE49-F238E27FC236}">
                <a16:creationId xmlns:a16="http://schemas.microsoft.com/office/drawing/2014/main" id="{CA65E461-F430-61D1-1934-B63B05C627D6}"/>
              </a:ext>
            </a:extLst>
          </p:cNvPr>
          <p:cNvGrpSpPr/>
          <p:nvPr/>
        </p:nvGrpSpPr>
        <p:grpSpPr>
          <a:xfrm>
            <a:off x="7191545" y="0"/>
            <a:ext cx="5000460" cy="1425988"/>
            <a:chOff x="7191545" y="0"/>
            <a:chExt cx="5000460" cy="1425988"/>
          </a:xfrm>
        </p:grpSpPr>
        <p:pic>
          <p:nvPicPr>
            <p:cNvPr id="3" name="Picture 22">
              <a:extLst>
                <a:ext uri="{FF2B5EF4-FFF2-40B4-BE49-F238E27FC236}">
                  <a16:creationId xmlns:a16="http://schemas.microsoft.com/office/drawing/2014/main" id="{9727AB32-C743-03BF-6796-F20D6ED5CA5E}"/>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23">
              <a:extLst>
                <a:ext uri="{FF2B5EF4-FFF2-40B4-BE49-F238E27FC236}">
                  <a16:creationId xmlns:a16="http://schemas.microsoft.com/office/drawing/2014/main" id="{6AEA0319-ED18-2EFE-9FDD-4F5124100E95}"/>
                </a:ext>
              </a:extLst>
            </p:cNvPr>
            <p:cNvGrpSpPr/>
            <p:nvPr/>
          </p:nvGrpSpPr>
          <p:grpSpPr>
            <a:xfrm>
              <a:off x="7191545" y="0"/>
              <a:ext cx="5000460" cy="1425988"/>
              <a:chOff x="7191545" y="0"/>
              <a:chExt cx="5000460" cy="1425988"/>
            </a:xfrm>
          </p:grpSpPr>
          <p:sp>
            <p:nvSpPr>
              <p:cNvPr id="5" name="Freeform 24">
                <a:extLst>
                  <a:ext uri="{FF2B5EF4-FFF2-40B4-BE49-F238E27FC236}">
                    <a16:creationId xmlns:a16="http://schemas.microsoft.com/office/drawing/2014/main" id="{6C4E52EE-273A-F68B-C4C6-421DD9974C92}"/>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25">
                <a:extLst>
                  <a:ext uri="{FF2B5EF4-FFF2-40B4-BE49-F238E27FC236}">
                    <a16:creationId xmlns:a16="http://schemas.microsoft.com/office/drawing/2014/main" id="{A44BBB7F-2ABC-F5E7-D3AC-F745AAC50996}"/>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3B4CB085-AE0D-DBFE-3E06-3E093140BDCE}"/>
              </a:ext>
            </a:extLst>
          </p:cNvPr>
          <p:cNvSpPr txBox="1">
            <a:spLocks noGrp="1"/>
          </p:cNvSpPr>
          <p:nvPr>
            <p:ph type="title"/>
          </p:nvPr>
        </p:nvSpPr>
        <p:spPr/>
        <p:txBody>
          <a:bodyPr/>
          <a:lstStyle>
            <a:lvl1pPr>
              <a:defRPr/>
            </a:lvl1pPr>
          </a:lstStyle>
          <a:p>
            <a:pPr lvl="0"/>
            <a:r>
              <a:rPr lang="en-US"/>
              <a:t>Click to edit Master title style</a:t>
            </a:r>
          </a:p>
        </p:txBody>
      </p:sp>
      <p:sp>
        <p:nvSpPr>
          <p:cNvPr id="8" name="Slide Number Placeholder 5">
            <a:extLst>
              <a:ext uri="{FF2B5EF4-FFF2-40B4-BE49-F238E27FC236}">
                <a16:creationId xmlns:a16="http://schemas.microsoft.com/office/drawing/2014/main" id="{E33B379B-D97B-0536-082E-2B955489B1FC}"/>
              </a:ext>
            </a:extLst>
          </p:cNvPr>
          <p:cNvSpPr txBox="1">
            <a:spLocks noGrp="1"/>
          </p:cNvSpPr>
          <p:nvPr>
            <p:ph type="sldNum" sz="quarter" idx="8"/>
          </p:nvPr>
        </p:nvSpPr>
        <p:spPr/>
        <p:txBody>
          <a:bodyPr/>
          <a:lstStyle>
            <a:lvl1pPr>
              <a:defRPr/>
            </a:lvl1pPr>
          </a:lstStyle>
          <a:p>
            <a:pPr lvl="0"/>
            <a:fld id="{0BECBCB1-0F0C-41EE-B492-CBCDDDCDF111}" type="slidenum">
              <a:t>‹#›</a:t>
            </a:fld>
            <a:endParaRPr lang="en-US"/>
          </a:p>
        </p:txBody>
      </p:sp>
      <p:cxnSp>
        <p:nvCxnSpPr>
          <p:cNvPr id="9" name="Straight Connector 6">
            <a:extLst>
              <a:ext uri="{FF2B5EF4-FFF2-40B4-BE49-F238E27FC236}">
                <a16:creationId xmlns:a16="http://schemas.microsoft.com/office/drawing/2014/main" id="{815B4B8C-67D7-04AE-300D-7D9F03B5F4FC}"/>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0" name="Footer Placeholder 2">
            <a:extLst>
              <a:ext uri="{FF2B5EF4-FFF2-40B4-BE49-F238E27FC236}">
                <a16:creationId xmlns:a16="http://schemas.microsoft.com/office/drawing/2014/main" id="{CFC59290-7711-8CE1-0F88-A7A394B1CBD7}"/>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331044058"/>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18_End">
    <p:spTree>
      <p:nvGrpSpPr>
        <p:cNvPr id="1" name=""/>
        <p:cNvGrpSpPr/>
        <p:nvPr/>
      </p:nvGrpSpPr>
      <p:grpSpPr>
        <a:xfrm>
          <a:off x="0" y="0"/>
          <a:ext cx="0" cy="0"/>
          <a:chOff x="0" y="0"/>
          <a:chExt cx="0" cy="0"/>
        </a:xfrm>
      </p:grpSpPr>
      <p:grpSp>
        <p:nvGrpSpPr>
          <p:cNvPr id="2" name="Group 41">
            <a:extLst>
              <a:ext uri="{FF2B5EF4-FFF2-40B4-BE49-F238E27FC236}">
                <a16:creationId xmlns:a16="http://schemas.microsoft.com/office/drawing/2014/main" id="{30CED888-5B89-5528-62BE-C58130E97BC3}"/>
              </a:ext>
            </a:extLst>
          </p:cNvPr>
          <p:cNvGrpSpPr/>
          <p:nvPr/>
        </p:nvGrpSpPr>
        <p:grpSpPr>
          <a:xfrm>
            <a:off x="0" y="0"/>
            <a:ext cx="12191996" cy="2148830"/>
            <a:chOff x="0" y="0"/>
            <a:chExt cx="12191996" cy="2148830"/>
          </a:xfrm>
        </p:grpSpPr>
        <p:sp>
          <p:nvSpPr>
            <p:cNvPr id="3" name="Freeform 40">
              <a:extLst>
                <a:ext uri="{FF2B5EF4-FFF2-40B4-BE49-F238E27FC236}">
                  <a16:creationId xmlns:a16="http://schemas.microsoft.com/office/drawing/2014/main" id="{19D9EEC4-8990-82E2-847F-23AA4B595C28}"/>
                </a:ext>
              </a:extLst>
            </p:cNvPr>
            <p:cNvSpPr/>
            <p:nvPr/>
          </p:nvSpPr>
          <p:spPr>
            <a:xfrm flipH="1">
              <a:off x="0" y="0"/>
              <a:ext cx="12191996" cy="2148830"/>
            </a:xfrm>
            <a:custGeom>
              <a:avLst/>
              <a:gdLst>
                <a:gd name="f0" fmla="val 10800000"/>
                <a:gd name="f1" fmla="val 5400000"/>
                <a:gd name="f2" fmla="val 180"/>
                <a:gd name="f3" fmla="val w"/>
                <a:gd name="f4" fmla="val h"/>
                <a:gd name="f5" fmla="val 0"/>
                <a:gd name="f6" fmla="val 12192000"/>
                <a:gd name="f7" fmla="val 2148830"/>
                <a:gd name="f8" fmla="val 2318293"/>
                <a:gd name="f9" fmla="val 2110341"/>
                <a:gd name="f10" fmla="val 1952334"/>
                <a:gd name="f11" fmla="val 920"/>
                <a:gd name="f12" fmla="val 1343499"/>
                <a:gd name="f13" fmla="val 23864"/>
                <a:gd name="f14" fmla="val 752130"/>
                <a:gd name="f15" fmla="val 152982"/>
                <a:gd name="f16" fmla="val 184205"/>
                <a:gd name="f17" fmla="val 435928"/>
                <a:gd name="f18" fmla="val 536864"/>
                <a:gd name="f19" fmla="val 554713"/>
                <a:gd name="f20" fmla="val 201115"/>
                <a:gd name="f21" fmla="val 452796"/>
                <a:gd name="f22" fmla="val 776357"/>
                <a:gd name="f23" fmla="val 187336"/>
                <a:gd name="f24" fmla="val 1349828"/>
                <a:gd name="f25" fmla="val 76760"/>
                <a:gd name="f26" fmla="val 1947588"/>
                <a:gd name="f27" fmla="val 66249"/>
                <a:gd name="f28" fmla="val 2962940"/>
                <a:gd name="f29" fmla="val 48421"/>
                <a:gd name="f30" fmla="val 3890218"/>
                <a:gd name="f31" fmla="val 291317"/>
                <a:gd name="f32" fmla="val 4778140"/>
                <a:gd name="f33" fmla="val 604018"/>
                <a:gd name="f34" fmla="val 7231510"/>
                <a:gd name="f35" fmla="val 1468126"/>
                <a:gd name="f36" fmla="val 9178927"/>
                <a:gd name="f37" fmla="val 2492024"/>
                <a:gd name="f38" fmla="val 11996242"/>
                <a:gd name="f39" fmla="val 2036894"/>
                <a:gd name="f40" fmla="val 2002266"/>
                <a:gd name="f41" fmla="val 1415250"/>
                <a:gd name="f42" fmla="val 12022971"/>
                <a:gd name="f43" fmla="val 1470801"/>
                <a:gd name="f44" fmla="val 10719696"/>
                <a:gd name="f45" fmla="val 1863939"/>
                <a:gd name="f46" fmla="val 9271154"/>
                <a:gd name="f47" fmla="val 1783804"/>
                <a:gd name="f48" fmla="val 7970940"/>
                <a:gd name="f49" fmla="val 1436986"/>
                <a:gd name="f50" fmla="val 6890984"/>
                <a:gd name="f51" fmla="val 1148958"/>
                <a:gd name="f52" fmla="val 5866930"/>
                <a:gd name="f53" fmla="val 767309"/>
                <a:gd name="f54" fmla="val 4800356"/>
                <a:gd name="f55" fmla="val 456582"/>
                <a:gd name="f56" fmla="val 4068903"/>
                <a:gd name="f57" fmla="val 243471"/>
                <a:gd name="f58" fmla="val 3348204"/>
                <a:gd name="f59" fmla="val 74251"/>
                <a:gd name="f60" fmla="val 2646880"/>
                <a:gd name="f61" fmla="val 17560"/>
                <a:gd name="f62" fmla="+- 0 0 -90"/>
                <a:gd name="f63" fmla="*/ f3 1 12192000"/>
                <a:gd name="f64" fmla="*/ f4 1 2148830"/>
                <a:gd name="f65" fmla="+- f7 0 f5"/>
                <a:gd name="f66" fmla="+- f6 0 f5"/>
                <a:gd name="f67" fmla="*/ f62 f0 1"/>
                <a:gd name="f68" fmla="*/ f66 1 12192000"/>
                <a:gd name="f69" fmla="*/ f65 1 2148830"/>
                <a:gd name="f70" fmla="*/ 2318293 f66 1"/>
                <a:gd name="f71" fmla="*/ 0 f65 1"/>
                <a:gd name="f72" fmla="*/ 2110341 f66 1"/>
                <a:gd name="f73" fmla="*/ 1952334 f66 1"/>
                <a:gd name="f74" fmla="*/ 920 f65 1"/>
                <a:gd name="f75" fmla="*/ 184205 f66 1"/>
                <a:gd name="f76" fmla="*/ 435928 f65 1"/>
                <a:gd name="f77" fmla="*/ 0 f66 1"/>
                <a:gd name="f78" fmla="*/ 536864 f65 1"/>
                <a:gd name="f79" fmla="*/ 554713 f65 1"/>
                <a:gd name="f80" fmla="*/ 201115 f66 1"/>
                <a:gd name="f81" fmla="*/ 452796 f65 1"/>
                <a:gd name="f82" fmla="*/ 1947588 f66 1"/>
                <a:gd name="f83" fmla="*/ 66249 f65 1"/>
                <a:gd name="f84" fmla="*/ 4778140 f66 1"/>
                <a:gd name="f85" fmla="*/ 604018 f65 1"/>
                <a:gd name="f86" fmla="*/ 11996242 f66 1"/>
                <a:gd name="f87" fmla="*/ 2036894 f65 1"/>
                <a:gd name="f88" fmla="*/ 12192000 f66 1"/>
                <a:gd name="f89" fmla="*/ 2002266 f65 1"/>
                <a:gd name="f90" fmla="*/ 1415250 f65 1"/>
                <a:gd name="f91" fmla="*/ 12022971 f66 1"/>
                <a:gd name="f92" fmla="*/ 1470801 f65 1"/>
                <a:gd name="f93" fmla="*/ 7970940 f66 1"/>
                <a:gd name="f94" fmla="*/ 1436986 f65 1"/>
                <a:gd name="f95" fmla="*/ 4800356 f66 1"/>
                <a:gd name="f96" fmla="*/ 456582 f65 1"/>
                <a:gd name="f97" fmla="*/ 2646880 f66 1"/>
                <a:gd name="f98" fmla="*/ 17560 f65 1"/>
                <a:gd name="f99" fmla="*/ f67 1 f2"/>
                <a:gd name="f100" fmla="*/ f70 1 12192000"/>
                <a:gd name="f101" fmla="*/ f71 1 2148830"/>
                <a:gd name="f102" fmla="*/ f72 1 12192000"/>
                <a:gd name="f103" fmla="*/ f73 1 12192000"/>
                <a:gd name="f104" fmla="*/ f74 1 2148830"/>
                <a:gd name="f105" fmla="*/ f75 1 12192000"/>
                <a:gd name="f106" fmla="*/ f76 1 2148830"/>
                <a:gd name="f107" fmla="*/ f77 1 12192000"/>
                <a:gd name="f108" fmla="*/ f78 1 2148830"/>
                <a:gd name="f109" fmla="*/ f79 1 2148830"/>
                <a:gd name="f110" fmla="*/ f80 1 12192000"/>
                <a:gd name="f111" fmla="*/ f81 1 2148830"/>
                <a:gd name="f112" fmla="*/ f82 1 12192000"/>
                <a:gd name="f113" fmla="*/ f83 1 2148830"/>
                <a:gd name="f114" fmla="*/ f84 1 12192000"/>
                <a:gd name="f115" fmla="*/ f85 1 2148830"/>
                <a:gd name="f116" fmla="*/ f86 1 12192000"/>
                <a:gd name="f117" fmla="*/ f87 1 2148830"/>
                <a:gd name="f118" fmla="*/ f88 1 12192000"/>
                <a:gd name="f119" fmla="*/ f89 1 2148830"/>
                <a:gd name="f120" fmla="*/ f90 1 2148830"/>
                <a:gd name="f121" fmla="*/ f91 1 12192000"/>
                <a:gd name="f122" fmla="*/ f92 1 2148830"/>
                <a:gd name="f123" fmla="*/ f93 1 12192000"/>
                <a:gd name="f124" fmla="*/ f94 1 2148830"/>
                <a:gd name="f125" fmla="*/ f95 1 12192000"/>
                <a:gd name="f126" fmla="*/ f96 1 2148830"/>
                <a:gd name="f127" fmla="*/ f97 1 12192000"/>
                <a:gd name="f128" fmla="*/ f98 1 2148830"/>
                <a:gd name="f129" fmla="*/ f5 1 f68"/>
                <a:gd name="f130" fmla="*/ f6 1 f68"/>
                <a:gd name="f131" fmla="*/ f5 1 f69"/>
                <a:gd name="f132" fmla="*/ f7 1 f69"/>
                <a:gd name="f133" fmla="+- f99 0 f1"/>
                <a:gd name="f134" fmla="*/ f100 1 f68"/>
                <a:gd name="f135" fmla="*/ f101 1 f69"/>
                <a:gd name="f136" fmla="*/ f102 1 f68"/>
                <a:gd name="f137" fmla="*/ f103 1 f68"/>
                <a:gd name="f138" fmla="*/ f104 1 f69"/>
                <a:gd name="f139" fmla="*/ f105 1 f68"/>
                <a:gd name="f140" fmla="*/ f106 1 f69"/>
                <a:gd name="f141" fmla="*/ f107 1 f68"/>
                <a:gd name="f142" fmla="*/ f108 1 f69"/>
                <a:gd name="f143" fmla="*/ f109 1 f69"/>
                <a:gd name="f144" fmla="*/ f110 1 f68"/>
                <a:gd name="f145" fmla="*/ f111 1 f69"/>
                <a:gd name="f146" fmla="*/ f112 1 f68"/>
                <a:gd name="f147" fmla="*/ f113 1 f69"/>
                <a:gd name="f148" fmla="*/ f114 1 f68"/>
                <a:gd name="f149" fmla="*/ f115 1 f69"/>
                <a:gd name="f150" fmla="*/ f116 1 f68"/>
                <a:gd name="f151" fmla="*/ f117 1 f69"/>
                <a:gd name="f152" fmla="*/ f118 1 f68"/>
                <a:gd name="f153" fmla="*/ f119 1 f69"/>
                <a:gd name="f154" fmla="*/ f120 1 f69"/>
                <a:gd name="f155" fmla="*/ f121 1 f68"/>
                <a:gd name="f156" fmla="*/ f122 1 f69"/>
                <a:gd name="f157" fmla="*/ f123 1 f68"/>
                <a:gd name="f158" fmla="*/ f124 1 f69"/>
                <a:gd name="f159" fmla="*/ f125 1 f68"/>
                <a:gd name="f160" fmla="*/ f126 1 f69"/>
                <a:gd name="f161" fmla="*/ f127 1 f68"/>
                <a:gd name="f162" fmla="*/ f128 1 f69"/>
                <a:gd name="f163" fmla="*/ f129 f63 1"/>
                <a:gd name="f164" fmla="*/ f130 f63 1"/>
                <a:gd name="f165" fmla="*/ f132 f64 1"/>
                <a:gd name="f166" fmla="*/ f131 f64 1"/>
                <a:gd name="f167" fmla="*/ f134 f63 1"/>
                <a:gd name="f168" fmla="*/ f135 f64 1"/>
                <a:gd name="f169" fmla="*/ f136 f63 1"/>
                <a:gd name="f170" fmla="*/ f137 f63 1"/>
                <a:gd name="f171" fmla="*/ f138 f64 1"/>
                <a:gd name="f172" fmla="*/ f139 f63 1"/>
                <a:gd name="f173" fmla="*/ f140 f64 1"/>
                <a:gd name="f174" fmla="*/ f141 f63 1"/>
                <a:gd name="f175" fmla="*/ f142 f64 1"/>
                <a:gd name="f176" fmla="*/ f143 f64 1"/>
                <a:gd name="f177" fmla="*/ f144 f63 1"/>
                <a:gd name="f178" fmla="*/ f145 f64 1"/>
                <a:gd name="f179" fmla="*/ f146 f63 1"/>
                <a:gd name="f180" fmla="*/ f147 f64 1"/>
                <a:gd name="f181" fmla="*/ f148 f63 1"/>
                <a:gd name="f182" fmla="*/ f149 f64 1"/>
                <a:gd name="f183" fmla="*/ f150 f63 1"/>
                <a:gd name="f184" fmla="*/ f151 f64 1"/>
                <a:gd name="f185" fmla="*/ f152 f63 1"/>
                <a:gd name="f186" fmla="*/ f153 f64 1"/>
                <a:gd name="f187" fmla="*/ f154 f64 1"/>
                <a:gd name="f188" fmla="*/ f155 f63 1"/>
                <a:gd name="f189" fmla="*/ f156 f64 1"/>
                <a:gd name="f190" fmla="*/ f157 f63 1"/>
                <a:gd name="f191" fmla="*/ f158 f64 1"/>
                <a:gd name="f192" fmla="*/ f159 f63 1"/>
                <a:gd name="f193" fmla="*/ f160 f64 1"/>
                <a:gd name="f194" fmla="*/ f161 f63 1"/>
                <a:gd name="f195" fmla="*/ f162 f64 1"/>
              </a:gdLst>
              <a:ahLst/>
              <a:cxnLst>
                <a:cxn ang="3cd4">
                  <a:pos x="hc" y="t"/>
                </a:cxn>
                <a:cxn ang="0">
                  <a:pos x="r" y="vc"/>
                </a:cxn>
                <a:cxn ang="cd4">
                  <a:pos x="hc" y="b"/>
                </a:cxn>
                <a:cxn ang="cd2">
                  <a:pos x="l" y="vc"/>
                </a:cxn>
                <a:cxn ang="f133">
                  <a:pos x="f167" y="f168"/>
                </a:cxn>
                <a:cxn ang="f133">
                  <a:pos x="f169" y="f168"/>
                </a:cxn>
                <a:cxn ang="f133">
                  <a:pos x="f170" y="f171"/>
                </a:cxn>
                <a:cxn ang="f133">
                  <a:pos x="f172" y="f173"/>
                </a:cxn>
                <a:cxn ang="f133">
                  <a:pos x="f174" y="f175"/>
                </a:cxn>
                <a:cxn ang="f133">
                  <a:pos x="f174" y="f176"/>
                </a:cxn>
                <a:cxn ang="f133">
                  <a:pos x="f177" y="f178"/>
                </a:cxn>
                <a:cxn ang="f133">
                  <a:pos x="f179" y="f180"/>
                </a:cxn>
                <a:cxn ang="f133">
                  <a:pos x="f181" y="f182"/>
                </a:cxn>
                <a:cxn ang="f133">
                  <a:pos x="f183" y="f184"/>
                </a:cxn>
                <a:cxn ang="f133">
                  <a:pos x="f185" y="f186"/>
                </a:cxn>
                <a:cxn ang="f133">
                  <a:pos x="f185" y="f187"/>
                </a:cxn>
                <a:cxn ang="f133">
                  <a:pos x="f188" y="f189"/>
                </a:cxn>
                <a:cxn ang="f133">
                  <a:pos x="f190" y="f191"/>
                </a:cxn>
                <a:cxn ang="f133">
                  <a:pos x="f192" y="f193"/>
                </a:cxn>
                <a:cxn ang="f133">
                  <a:pos x="f194" y="f195"/>
                </a:cxn>
              </a:cxnLst>
              <a:rect l="f163" t="f166" r="f164" b="f165"/>
              <a:pathLst>
                <a:path w="12192000" h="2148830">
                  <a:moveTo>
                    <a:pt x="f8" y="f5"/>
                  </a:moveTo>
                  <a:lnTo>
                    <a:pt x="f9" y="f5"/>
                  </a:lnTo>
                  <a:lnTo>
                    <a:pt x="f10" y="f11"/>
                  </a:lnTo>
                  <a:cubicBezTo>
                    <a:pt x="f12" y="f13"/>
                    <a:pt x="f14" y="f15"/>
                    <a:pt x="f16" y="f17"/>
                  </a:cubicBezTo>
                  <a:lnTo>
                    <a:pt x="f5" y="f18"/>
                  </a:lnTo>
                  <a:lnTo>
                    <a:pt x="f5" y="f19"/>
                  </a:lnTo>
                  <a:lnTo>
                    <a:pt x="f20" y="f21"/>
                  </a:lnTo>
                  <a:cubicBezTo>
                    <a:pt x="f22" y="f23"/>
                    <a:pt x="f24" y="f25"/>
                    <a:pt x="f26" y="f27"/>
                  </a:cubicBezTo>
                  <a:cubicBezTo>
                    <a:pt x="f28" y="f29"/>
                    <a:pt x="f30" y="f31"/>
                    <a:pt x="f32" y="f33"/>
                  </a:cubicBezTo>
                  <a:cubicBezTo>
                    <a:pt x="f34" y="f35"/>
                    <a:pt x="f36" y="f37"/>
                    <a:pt x="f38" y="f39"/>
                  </a:cubicBezTo>
                  <a:lnTo>
                    <a:pt x="f6" y="f40"/>
                  </a:lnTo>
                  <a:lnTo>
                    <a:pt x="f6" y="f41"/>
                  </a:lnTo>
                  <a:lnTo>
                    <a:pt x="f42" y="f43"/>
                  </a:lnTo>
                  <a:cubicBezTo>
                    <a:pt x="f44" y="f45"/>
                    <a:pt x="f46" y="f47"/>
                    <a:pt x="f48" y="f49"/>
                  </a:cubicBezTo>
                  <a:cubicBezTo>
                    <a:pt x="f50" y="f51"/>
                    <a:pt x="f52" y="f53"/>
                    <a:pt x="f54" y="f55"/>
                  </a:cubicBezTo>
                  <a:cubicBezTo>
                    <a:pt x="f56" y="f57"/>
                    <a:pt x="f58" y="f59"/>
                    <a:pt x="f60" y="f61"/>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4" name="Freeform 38">
              <a:extLst>
                <a:ext uri="{FF2B5EF4-FFF2-40B4-BE49-F238E27FC236}">
                  <a16:creationId xmlns:a16="http://schemas.microsoft.com/office/drawing/2014/main" id="{4B0F52A1-0AC4-9E01-9D4C-34FC95C07396}"/>
                </a:ext>
              </a:extLst>
            </p:cNvPr>
            <p:cNvSpPr/>
            <p:nvPr/>
          </p:nvSpPr>
          <p:spPr>
            <a:xfrm flipH="1">
              <a:off x="0" y="0"/>
              <a:ext cx="12191996" cy="1992139"/>
            </a:xfrm>
            <a:custGeom>
              <a:avLst/>
              <a:gdLst>
                <a:gd name="f0" fmla="val 10800000"/>
                <a:gd name="f1" fmla="val 5400000"/>
                <a:gd name="f2" fmla="val 180"/>
                <a:gd name="f3" fmla="val w"/>
                <a:gd name="f4" fmla="val h"/>
                <a:gd name="f5" fmla="val 0"/>
                <a:gd name="f6" fmla="val 12192000"/>
                <a:gd name="f7" fmla="val 1992138"/>
                <a:gd name="f8" fmla="val 2724271"/>
                <a:gd name="f9" fmla="val 1788442"/>
                <a:gd name="f10" fmla="val 1635403"/>
                <a:gd name="f11" fmla="val 12925"/>
                <a:gd name="f12" fmla="val 1134241"/>
                <a:gd name="f13" fmla="val 70905"/>
                <a:gd name="f14" fmla="val 647221"/>
                <a:gd name="f15" fmla="val 207817"/>
                <a:gd name="f16" fmla="val 178220"/>
                <a:gd name="f17" fmla="val 451207"/>
                <a:gd name="f18" fmla="val 552718"/>
                <a:gd name="f19" fmla="val 570885"/>
                <a:gd name="f20" fmla="val 195368"/>
                <a:gd name="f21" fmla="val 467800"/>
                <a:gd name="f22" fmla="val 765758"/>
                <a:gd name="f23" fmla="val 193094"/>
                <a:gd name="f24" fmla="val 1336955"/>
                <a:gd name="f25" fmla="val 73179"/>
                <a:gd name="f26" fmla="val 1934073"/>
                <a:gd name="f27" fmla="val 52850"/>
                <a:gd name="f28" fmla="val 2948304"/>
                <a:gd name="f29" fmla="val 18310"/>
                <a:gd name="f30" fmla="val 3878878"/>
                <a:gd name="f31" fmla="val 245747"/>
                <a:gd name="f32" fmla="val 4771217"/>
                <a:gd name="f33" fmla="val 543645"/>
                <a:gd name="f34" fmla="val 7236913"/>
                <a:gd name="f35" fmla="val 1366709"/>
                <a:gd name="f36" fmla="val 9199689"/>
                <a:gd name="f37" fmla="val 2357774"/>
                <a:gd name="f38" fmla="val 12007222"/>
                <a:gd name="f39" fmla="val 1856729"/>
                <a:gd name="f40" fmla="val 1820900"/>
                <a:gd name="f41" fmla="val 897073"/>
                <a:gd name="f42" fmla="val 12062517"/>
                <a:gd name="f43" fmla="val 950128"/>
                <a:gd name="f44" fmla="val 10950292"/>
                <a:gd name="f45" fmla="val 1376478"/>
                <a:gd name="f46" fmla="val 9595706"/>
                <a:gd name="f47" fmla="val 1466451"/>
                <a:gd name="f48" fmla="val 8435105"/>
                <a:gd name="f49" fmla="val 1266613"/>
                <a:gd name="f50" fmla="val 6618389"/>
                <a:gd name="f51" fmla="val 953715"/>
                <a:gd name="f52" fmla="val 4735222"/>
                <a:gd name="f53" fmla="val 130088"/>
                <a:gd name="f54" fmla="val 2948502"/>
                <a:gd name="f55" fmla="val 20548"/>
                <a:gd name="f56" fmla="+- 0 0 -90"/>
                <a:gd name="f57" fmla="*/ f3 1 12192000"/>
                <a:gd name="f58" fmla="*/ f4 1 1992138"/>
                <a:gd name="f59" fmla="+- f7 0 f5"/>
                <a:gd name="f60" fmla="+- f6 0 f5"/>
                <a:gd name="f61" fmla="*/ f56 f0 1"/>
                <a:gd name="f62" fmla="*/ f60 1 12192000"/>
                <a:gd name="f63" fmla="*/ f59 1 1992138"/>
                <a:gd name="f64" fmla="*/ 2724271 f60 1"/>
                <a:gd name="f65" fmla="*/ 0 f59 1"/>
                <a:gd name="f66" fmla="*/ 1788442 f60 1"/>
                <a:gd name="f67" fmla="*/ 1635403 f60 1"/>
                <a:gd name="f68" fmla="*/ 12925 f59 1"/>
                <a:gd name="f69" fmla="*/ 178220 f60 1"/>
                <a:gd name="f70" fmla="*/ 451207 f59 1"/>
                <a:gd name="f71" fmla="*/ 0 f60 1"/>
                <a:gd name="f72" fmla="*/ 552718 f59 1"/>
                <a:gd name="f73" fmla="*/ 570885 f59 1"/>
                <a:gd name="f74" fmla="*/ 195368 f60 1"/>
                <a:gd name="f75" fmla="*/ 467800 f59 1"/>
                <a:gd name="f76" fmla="*/ 1934073 f60 1"/>
                <a:gd name="f77" fmla="*/ 52850 f59 1"/>
                <a:gd name="f78" fmla="*/ 4771217 f60 1"/>
                <a:gd name="f79" fmla="*/ 543645 f59 1"/>
                <a:gd name="f80" fmla="*/ 12007222 f60 1"/>
                <a:gd name="f81" fmla="*/ 1856729 f59 1"/>
                <a:gd name="f82" fmla="*/ 12192000 f60 1"/>
                <a:gd name="f83" fmla="*/ 1820900 f59 1"/>
                <a:gd name="f84" fmla="*/ 897073 f59 1"/>
                <a:gd name="f85" fmla="*/ 12062517 f60 1"/>
                <a:gd name="f86" fmla="*/ 950128 f59 1"/>
                <a:gd name="f87" fmla="*/ 8435105 f60 1"/>
                <a:gd name="f88" fmla="*/ 1266613 f59 1"/>
                <a:gd name="f89" fmla="*/ 2948502 f60 1"/>
                <a:gd name="f90" fmla="*/ 20548 f59 1"/>
                <a:gd name="f91" fmla="*/ f61 1 f2"/>
                <a:gd name="f92" fmla="*/ f64 1 12192000"/>
                <a:gd name="f93" fmla="*/ f65 1 1992138"/>
                <a:gd name="f94" fmla="*/ f66 1 12192000"/>
                <a:gd name="f95" fmla="*/ f67 1 12192000"/>
                <a:gd name="f96" fmla="*/ f68 1 1992138"/>
                <a:gd name="f97" fmla="*/ f69 1 12192000"/>
                <a:gd name="f98" fmla="*/ f70 1 1992138"/>
                <a:gd name="f99" fmla="*/ f71 1 12192000"/>
                <a:gd name="f100" fmla="*/ f72 1 1992138"/>
                <a:gd name="f101" fmla="*/ f73 1 1992138"/>
                <a:gd name="f102" fmla="*/ f74 1 12192000"/>
                <a:gd name="f103" fmla="*/ f75 1 1992138"/>
                <a:gd name="f104" fmla="*/ f76 1 12192000"/>
                <a:gd name="f105" fmla="*/ f77 1 1992138"/>
                <a:gd name="f106" fmla="*/ f78 1 12192000"/>
                <a:gd name="f107" fmla="*/ f79 1 1992138"/>
                <a:gd name="f108" fmla="*/ f80 1 12192000"/>
                <a:gd name="f109" fmla="*/ f81 1 1992138"/>
                <a:gd name="f110" fmla="*/ f82 1 12192000"/>
                <a:gd name="f111" fmla="*/ f83 1 1992138"/>
                <a:gd name="f112" fmla="*/ f84 1 1992138"/>
                <a:gd name="f113" fmla="*/ f85 1 12192000"/>
                <a:gd name="f114" fmla="*/ f86 1 1992138"/>
                <a:gd name="f115" fmla="*/ f87 1 12192000"/>
                <a:gd name="f116" fmla="*/ f88 1 1992138"/>
                <a:gd name="f117" fmla="*/ f89 1 12192000"/>
                <a:gd name="f118" fmla="*/ f90 1 1992138"/>
                <a:gd name="f119" fmla="*/ f5 1 f62"/>
                <a:gd name="f120" fmla="*/ f6 1 f62"/>
                <a:gd name="f121" fmla="*/ f5 1 f63"/>
                <a:gd name="f122" fmla="*/ f7 1 f63"/>
                <a:gd name="f123" fmla="+- f91 0 f1"/>
                <a:gd name="f124" fmla="*/ f92 1 f62"/>
                <a:gd name="f125" fmla="*/ f93 1 f63"/>
                <a:gd name="f126" fmla="*/ f94 1 f62"/>
                <a:gd name="f127" fmla="*/ f95 1 f62"/>
                <a:gd name="f128" fmla="*/ f96 1 f63"/>
                <a:gd name="f129" fmla="*/ f97 1 f62"/>
                <a:gd name="f130" fmla="*/ f98 1 f63"/>
                <a:gd name="f131" fmla="*/ f99 1 f62"/>
                <a:gd name="f132" fmla="*/ f100 1 f63"/>
                <a:gd name="f133" fmla="*/ f101 1 f63"/>
                <a:gd name="f134" fmla="*/ f102 1 f62"/>
                <a:gd name="f135" fmla="*/ f103 1 f63"/>
                <a:gd name="f136" fmla="*/ f104 1 f62"/>
                <a:gd name="f137" fmla="*/ f105 1 f63"/>
                <a:gd name="f138" fmla="*/ f106 1 f62"/>
                <a:gd name="f139" fmla="*/ f107 1 f63"/>
                <a:gd name="f140" fmla="*/ f108 1 f62"/>
                <a:gd name="f141" fmla="*/ f109 1 f63"/>
                <a:gd name="f142" fmla="*/ f110 1 f62"/>
                <a:gd name="f143" fmla="*/ f111 1 f63"/>
                <a:gd name="f144" fmla="*/ f112 1 f63"/>
                <a:gd name="f145" fmla="*/ f113 1 f62"/>
                <a:gd name="f146" fmla="*/ f114 1 f63"/>
                <a:gd name="f147" fmla="*/ f115 1 f62"/>
                <a:gd name="f148" fmla="*/ f116 1 f63"/>
                <a:gd name="f149" fmla="*/ f117 1 f62"/>
                <a:gd name="f150" fmla="*/ f118 1 f63"/>
                <a:gd name="f151" fmla="*/ f119 f57 1"/>
                <a:gd name="f152" fmla="*/ f120 f57 1"/>
                <a:gd name="f153" fmla="*/ f122 f58 1"/>
                <a:gd name="f154" fmla="*/ f121 f58 1"/>
                <a:gd name="f155" fmla="*/ f124 f57 1"/>
                <a:gd name="f156" fmla="*/ f125 f58 1"/>
                <a:gd name="f157" fmla="*/ f126 f57 1"/>
                <a:gd name="f158" fmla="*/ f127 f57 1"/>
                <a:gd name="f159" fmla="*/ f128 f58 1"/>
                <a:gd name="f160" fmla="*/ f129 f57 1"/>
                <a:gd name="f161" fmla="*/ f130 f58 1"/>
                <a:gd name="f162" fmla="*/ f131 f57 1"/>
                <a:gd name="f163" fmla="*/ f132 f58 1"/>
                <a:gd name="f164" fmla="*/ f133 f58 1"/>
                <a:gd name="f165" fmla="*/ f134 f57 1"/>
                <a:gd name="f166" fmla="*/ f135 f58 1"/>
                <a:gd name="f167" fmla="*/ f136 f57 1"/>
                <a:gd name="f168" fmla="*/ f137 f58 1"/>
                <a:gd name="f169" fmla="*/ f138 f57 1"/>
                <a:gd name="f170" fmla="*/ f139 f58 1"/>
                <a:gd name="f171" fmla="*/ f140 f57 1"/>
                <a:gd name="f172" fmla="*/ f141 f58 1"/>
                <a:gd name="f173" fmla="*/ f142 f57 1"/>
                <a:gd name="f174" fmla="*/ f143 f58 1"/>
                <a:gd name="f175" fmla="*/ f144 f58 1"/>
                <a:gd name="f176" fmla="*/ f145 f57 1"/>
                <a:gd name="f177" fmla="*/ f146 f58 1"/>
                <a:gd name="f178" fmla="*/ f147 f57 1"/>
                <a:gd name="f179" fmla="*/ f148 f58 1"/>
                <a:gd name="f180" fmla="*/ f149 f57 1"/>
                <a:gd name="f181" fmla="*/ f150 f58 1"/>
              </a:gdLst>
              <a:ahLst/>
              <a:cxnLst>
                <a:cxn ang="3cd4">
                  <a:pos x="hc" y="t"/>
                </a:cxn>
                <a:cxn ang="0">
                  <a:pos x="r" y="vc"/>
                </a:cxn>
                <a:cxn ang="cd4">
                  <a:pos x="hc" y="b"/>
                </a:cxn>
                <a:cxn ang="cd2">
                  <a:pos x="l" y="vc"/>
                </a:cxn>
                <a:cxn ang="f123">
                  <a:pos x="f155" y="f156"/>
                </a:cxn>
                <a:cxn ang="f123">
                  <a:pos x="f157" y="f156"/>
                </a:cxn>
                <a:cxn ang="f123">
                  <a:pos x="f158" y="f159"/>
                </a:cxn>
                <a:cxn ang="f123">
                  <a:pos x="f160" y="f161"/>
                </a:cxn>
                <a:cxn ang="f123">
                  <a:pos x="f162" y="f163"/>
                </a:cxn>
                <a:cxn ang="f123">
                  <a:pos x="f162" y="f164"/>
                </a:cxn>
                <a:cxn ang="f123">
                  <a:pos x="f165" y="f166"/>
                </a:cxn>
                <a:cxn ang="f123">
                  <a:pos x="f167" y="f168"/>
                </a:cxn>
                <a:cxn ang="f123">
                  <a:pos x="f169" y="f170"/>
                </a:cxn>
                <a:cxn ang="f123">
                  <a:pos x="f171" y="f172"/>
                </a:cxn>
                <a:cxn ang="f123">
                  <a:pos x="f173" y="f174"/>
                </a:cxn>
                <a:cxn ang="f123">
                  <a:pos x="f173" y="f175"/>
                </a:cxn>
                <a:cxn ang="f123">
                  <a:pos x="f176" y="f177"/>
                </a:cxn>
                <a:cxn ang="f123">
                  <a:pos x="f178" y="f179"/>
                </a:cxn>
                <a:cxn ang="f123">
                  <a:pos x="f180" y="f181"/>
                </a:cxn>
              </a:cxnLst>
              <a:rect l="f151" t="f154" r="f152" b="f153"/>
              <a:pathLst>
                <a:path w="12192000" h="1992138">
                  <a:moveTo>
                    <a:pt x="f8" y="f5"/>
                  </a:moveTo>
                  <a:lnTo>
                    <a:pt x="f9" y="f5"/>
                  </a:lnTo>
                  <a:lnTo>
                    <a:pt x="f10" y="f11"/>
                  </a:lnTo>
                  <a:cubicBezTo>
                    <a:pt x="f12" y="f13"/>
                    <a:pt x="f14" y="f15"/>
                    <a:pt x="f16" y="f17"/>
                  </a:cubicBezTo>
                  <a:lnTo>
                    <a:pt x="f5" y="f18"/>
                  </a:lnTo>
                  <a:lnTo>
                    <a:pt x="f5" y="f19"/>
                  </a:lnTo>
                  <a:lnTo>
                    <a:pt x="f20" y="f21"/>
                  </a:lnTo>
                  <a:cubicBezTo>
                    <a:pt x="f22" y="f23"/>
                    <a:pt x="f24" y="f25"/>
                    <a:pt x="f26" y="f27"/>
                  </a:cubicBezTo>
                  <a:cubicBezTo>
                    <a:pt x="f28" y="f29"/>
                    <a:pt x="f30" y="f31"/>
                    <a:pt x="f32" y="f33"/>
                  </a:cubicBezTo>
                  <a:cubicBezTo>
                    <a:pt x="f34" y="f35"/>
                    <a:pt x="f36" y="f37"/>
                    <a:pt x="f38" y="f39"/>
                  </a:cubicBezTo>
                  <a:lnTo>
                    <a:pt x="f6" y="f40"/>
                  </a:lnTo>
                  <a:lnTo>
                    <a:pt x="f6" y="f41"/>
                  </a:lnTo>
                  <a:lnTo>
                    <a:pt x="f42" y="f43"/>
                  </a:lnTo>
                  <a:cubicBezTo>
                    <a:pt x="f44" y="f45"/>
                    <a:pt x="f46" y="f47"/>
                    <a:pt x="f48" y="f49"/>
                  </a:cubicBezTo>
                  <a:cubicBezTo>
                    <a:pt x="f50" y="f51"/>
                    <a:pt x="f52" y="f53"/>
                    <a:pt x="f54" y="f55"/>
                  </a:cubicBezTo>
                  <a:close/>
                </a:path>
              </a:pathLst>
            </a:custGeom>
            <a:solidFill>
              <a:srgbClr val="00498F"/>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sp>
        <p:nvSpPr>
          <p:cNvPr id="5" name="Rectangle 3">
            <a:extLst>
              <a:ext uri="{FF2B5EF4-FFF2-40B4-BE49-F238E27FC236}">
                <a16:creationId xmlns:a16="http://schemas.microsoft.com/office/drawing/2014/main" id="{1AE48F75-FD9D-A33B-7823-0CF4EB697404}"/>
              </a:ext>
            </a:extLst>
          </p:cNvPr>
          <p:cNvSpPr/>
          <p:nvPr/>
        </p:nvSpPr>
        <p:spPr>
          <a:xfrm>
            <a:off x="902366" y="1517694"/>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Content Placeholder 2">
            <a:extLst>
              <a:ext uri="{FF2B5EF4-FFF2-40B4-BE49-F238E27FC236}">
                <a16:creationId xmlns:a16="http://schemas.microsoft.com/office/drawing/2014/main" id="{7FDB6363-11B9-4509-B633-6E6F49C2D77C}"/>
              </a:ext>
            </a:extLst>
          </p:cNvPr>
          <p:cNvSpPr txBox="1">
            <a:spLocks noGrp="1"/>
          </p:cNvSpPr>
          <p:nvPr>
            <p:ph idx="4294967295"/>
          </p:nvPr>
        </p:nvSpPr>
        <p:spPr>
          <a:xfrm>
            <a:off x="1219197" y="3429001"/>
            <a:ext cx="5582649" cy="1413561"/>
          </a:xfrm>
        </p:spPr>
        <p:txBody>
          <a:bodyPr/>
          <a:lstStyle>
            <a:lvl1pPr marL="0" indent="0">
              <a:buNone/>
              <a:defRPr sz="2000"/>
            </a:lvl1pPr>
          </a:lstStyle>
          <a:p>
            <a:pPr lvl="0"/>
            <a:r>
              <a:rPr lang="en-US"/>
              <a:t>Click to edit Master text styles</a:t>
            </a:r>
          </a:p>
        </p:txBody>
      </p:sp>
      <p:sp>
        <p:nvSpPr>
          <p:cNvPr id="7" name="Title 11">
            <a:extLst>
              <a:ext uri="{FF2B5EF4-FFF2-40B4-BE49-F238E27FC236}">
                <a16:creationId xmlns:a16="http://schemas.microsoft.com/office/drawing/2014/main" id="{EDB8669E-AD21-9E95-1564-A0529C7CE283}"/>
              </a:ext>
            </a:extLst>
          </p:cNvPr>
          <p:cNvSpPr txBox="1">
            <a:spLocks noGrp="1"/>
          </p:cNvSpPr>
          <p:nvPr>
            <p:ph type="title"/>
          </p:nvPr>
        </p:nvSpPr>
        <p:spPr>
          <a:xfrm>
            <a:off x="1219197" y="1887486"/>
            <a:ext cx="5582649" cy="1078260"/>
          </a:xfrm>
        </p:spPr>
        <p:txBody>
          <a:bodyPr/>
          <a:lstStyle>
            <a:lvl1pPr>
              <a:defRPr sz="6000"/>
            </a:lvl1pPr>
          </a:lstStyle>
          <a:p>
            <a:pPr lvl="0"/>
            <a:r>
              <a:rPr lang="en-US"/>
              <a:t>Thank you</a:t>
            </a:r>
          </a:p>
        </p:txBody>
      </p:sp>
      <p:pic>
        <p:nvPicPr>
          <p:cNvPr id="8" name="Picture 32">
            <a:extLst>
              <a:ext uri="{FF2B5EF4-FFF2-40B4-BE49-F238E27FC236}">
                <a16:creationId xmlns:a16="http://schemas.microsoft.com/office/drawing/2014/main" id="{6957DA3D-81D4-C6B1-3997-BF45DA142163}"/>
              </a:ext>
            </a:extLst>
          </p:cNvPr>
          <p:cNvPicPr>
            <a:picLocks noChangeAspect="1"/>
          </p:cNvPicPr>
          <p:nvPr/>
        </p:nvPicPr>
        <p:blipFill>
          <a:blip r:embed="rId2"/>
          <a:srcRect/>
          <a:stretch>
            <a:fillRect/>
          </a:stretch>
        </p:blipFill>
        <p:spPr>
          <a:xfrm>
            <a:off x="902366" y="228371"/>
            <a:ext cx="2025313" cy="911940"/>
          </a:xfrm>
          <a:prstGeom prst="rect">
            <a:avLst/>
          </a:prstGeom>
          <a:noFill/>
          <a:ln cap="flat">
            <a:noFill/>
          </a:ln>
        </p:spPr>
      </p:pic>
      <p:sp>
        <p:nvSpPr>
          <p:cNvPr id="9" name="Picture Placeholder 16">
            <a:extLst>
              <a:ext uri="{FF2B5EF4-FFF2-40B4-BE49-F238E27FC236}">
                <a16:creationId xmlns:a16="http://schemas.microsoft.com/office/drawing/2014/main" id="{0E54D4A3-A741-5FDC-DD35-F6A6497E4F51}"/>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spTree>
    <p:extLst>
      <p:ext uri="{BB962C8B-B14F-4D97-AF65-F5344CB8AC3E}">
        <p14:creationId xmlns:p14="http://schemas.microsoft.com/office/powerpoint/2010/main" val="329860035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Quotation">
  <p:cSld name="Quotation 2 2">
    <p:spTree>
      <p:nvGrpSpPr>
        <p:cNvPr id="1" name="Shape 9415"/>
        <p:cNvGrpSpPr/>
        <p:nvPr/>
      </p:nvGrpSpPr>
      <p:grpSpPr>
        <a:xfrm>
          <a:off x="0" y="0"/>
          <a:ext cx="0" cy="0"/>
          <a:chOff x="0" y="0"/>
          <a:chExt cx="0" cy="0"/>
        </a:xfrm>
      </p:grpSpPr>
      <p:sp>
        <p:nvSpPr>
          <p:cNvPr id="9416" name="Google Shape;9416;p135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417" name="Google Shape;9417;p135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418" name="Google Shape;9418;p135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19" name="Google Shape;9419;p13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20" name="Google Shape;9420;p13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21" name="Google Shape;9421;p13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422" name="Google Shape;9422;p1353"/>
          <p:cNvGrpSpPr/>
          <p:nvPr/>
        </p:nvGrpSpPr>
        <p:grpSpPr>
          <a:xfrm>
            <a:off x="7191542" y="1"/>
            <a:ext cx="5000459" cy="1425992"/>
            <a:chOff x="7191542" y="1"/>
            <a:chExt cx="5000459" cy="1425992"/>
          </a:xfrm>
        </p:grpSpPr>
        <p:pic>
          <p:nvPicPr>
            <p:cNvPr id="9423" name="Google Shape;9423;p13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24" name="Google Shape;9424;p1353"/>
            <p:cNvGrpSpPr/>
            <p:nvPr/>
          </p:nvGrpSpPr>
          <p:grpSpPr>
            <a:xfrm>
              <a:off x="7191542" y="1"/>
              <a:ext cx="5000459" cy="1425992"/>
              <a:chOff x="7186272" y="0"/>
              <a:chExt cx="5005729" cy="1427495"/>
            </a:xfrm>
          </p:grpSpPr>
          <p:sp>
            <p:nvSpPr>
              <p:cNvPr id="9425" name="Google Shape;9425;p13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426" name="Google Shape;9426;p13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427" name="Google Shape;9427;p135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2" name="Slide Number Placeholder 4">
            <a:extLst>
              <a:ext uri="{FF2B5EF4-FFF2-40B4-BE49-F238E27FC236}">
                <a16:creationId xmlns:a16="http://schemas.microsoft.com/office/drawing/2014/main" id="{57F0FF1A-DA84-431F-E5A0-15D0C5C49F60}"/>
              </a:ext>
            </a:extLst>
          </p:cNvPr>
          <p:cNvSpPr txBox="1">
            <a:spLocks noGrp="1"/>
          </p:cNvSpPr>
          <p:nvPr>
            <p:ph type="sldNum" sz="quarter" idx="8"/>
          </p:nvPr>
        </p:nvSpPr>
        <p:spPr/>
        <p:txBody>
          <a:bodyPr/>
          <a:lstStyle>
            <a:lvl1pPr>
              <a:defRPr/>
            </a:lvl1pPr>
          </a:lstStyle>
          <a:p>
            <a:pPr lvl="0"/>
            <a:fld id="{80037549-544A-40F7-8D59-EE52E67A4F46}" type="slidenum">
              <a:t>‹#›</a:t>
            </a:fld>
            <a:endParaRPr lang="en-US"/>
          </a:p>
        </p:txBody>
      </p:sp>
      <p:cxnSp>
        <p:nvCxnSpPr>
          <p:cNvPr id="3" name="Straight Connector 3">
            <a:extLst>
              <a:ext uri="{FF2B5EF4-FFF2-40B4-BE49-F238E27FC236}">
                <a16:creationId xmlns:a16="http://schemas.microsoft.com/office/drawing/2014/main" id="{C7BD2B8D-31CD-9E2F-AF20-EA2DC729F7AC}"/>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4" name="Footer Placeholder 1">
            <a:extLst>
              <a:ext uri="{FF2B5EF4-FFF2-40B4-BE49-F238E27FC236}">
                <a16:creationId xmlns:a16="http://schemas.microsoft.com/office/drawing/2014/main" id="{64CA4352-8FA9-F50E-AAE9-2F41DAB93AFF}"/>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5" name="Group 5">
            <a:extLst>
              <a:ext uri="{FF2B5EF4-FFF2-40B4-BE49-F238E27FC236}">
                <a16:creationId xmlns:a16="http://schemas.microsoft.com/office/drawing/2014/main" id="{D378F100-5702-82C5-0824-70BFF2FD184D}"/>
              </a:ext>
            </a:extLst>
          </p:cNvPr>
          <p:cNvGrpSpPr/>
          <p:nvPr/>
        </p:nvGrpSpPr>
        <p:grpSpPr>
          <a:xfrm>
            <a:off x="7191545" y="0"/>
            <a:ext cx="5000460" cy="1425988"/>
            <a:chOff x="7191545" y="0"/>
            <a:chExt cx="5000460" cy="1425988"/>
          </a:xfrm>
        </p:grpSpPr>
        <p:pic>
          <p:nvPicPr>
            <p:cNvPr id="6" name="Picture 6">
              <a:extLst>
                <a:ext uri="{FF2B5EF4-FFF2-40B4-BE49-F238E27FC236}">
                  <a16:creationId xmlns:a16="http://schemas.microsoft.com/office/drawing/2014/main" id="{C899DD60-644A-A421-226E-4E6268BF4FF6}"/>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7" name="Group 7">
              <a:extLst>
                <a:ext uri="{FF2B5EF4-FFF2-40B4-BE49-F238E27FC236}">
                  <a16:creationId xmlns:a16="http://schemas.microsoft.com/office/drawing/2014/main" id="{B890AD67-6415-C463-56D1-8C0B4E925FAD}"/>
                </a:ext>
              </a:extLst>
            </p:cNvPr>
            <p:cNvGrpSpPr/>
            <p:nvPr/>
          </p:nvGrpSpPr>
          <p:grpSpPr>
            <a:xfrm>
              <a:off x="7191545" y="0"/>
              <a:ext cx="5000460" cy="1425988"/>
              <a:chOff x="7191545" y="0"/>
              <a:chExt cx="5000460" cy="1425988"/>
            </a:xfrm>
          </p:grpSpPr>
          <p:sp>
            <p:nvSpPr>
              <p:cNvPr id="8" name="Freeform 8">
                <a:extLst>
                  <a:ext uri="{FF2B5EF4-FFF2-40B4-BE49-F238E27FC236}">
                    <a16:creationId xmlns:a16="http://schemas.microsoft.com/office/drawing/2014/main" id="{D9182A9F-649D-48AB-6D9B-3839C701C5A3}"/>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9" name="Freeform 9">
                <a:extLst>
                  <a:ext uri="{FF2B5EF4-FFF2-40B4-BE49-F238E27FC236}">
                    <a16:creationId xmlns:a16="http://schemas.microsoft.com/office/drawing/2014/main" id="{BC47C1EA-0683-81B8-272E-75B443ADC4AF}"/>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Tree>
    <p:extLst>
      <p:ext uri="{BB962C8B-B14F-4D97-AF65-F5344CB8AC3E}">
        <p14:creationId xmlns:p14="http://schemas.microsoft.com/office/powerpoint/2010/main" val="2093334178"/>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graphicFrame>
        <p:nvGraphicFramePr>
          <p:cNvPr id="2" name="Object 7" hidden="1">
            <a:extLst>
              <a:ext uri="{FF2B5EF4-FFF2-40B4-BE49-F238E27FC236}">
                <a16:creationId xmlns:a16="http://schemas.microsoft.com/office/drawing/2014/main" id="{5194B821-5406-BD8B-CB97-A589D22E5165}"/>
              </a:ext>
            </a:extLst>
          </p:cNvPr>
          <p:cNvGraphicFramePr/>
          <p:nvPr/>
        </p:nvGraphicFramePr>
        <p:xfrm>
          <a:off x="2121" y="2121"/>
          <a:ext cx="2112" cy="2112"/>
        </p:xfrm>
        <a:graphic>
          <a:graphicData uri="http://schemas.openxmlformats.org/presentationml/2006/ole">
            <mc:AlternateContent xmlns:mc="http://schemas.openxmlformats.org/markup-compatibility/2006">
              <mc:Choice xmlns:v="urn:schemas-microsoft-com:vml" Requires="v">
                <p:oleObj r:id="rId2" imgW="12700" imgH="12700" progId="">
                  <p:embed/>
                </p:oleObj>
              </mc:Choice>
              <mc:Fallback>
                <p:oleObj r:id="rId2" imgW="12700" imgH="12700" progId="">
                  <p:embed/>
                  <p:pic>
                    <p:nvPicPr>
                      <p:cNvPr id="2" name="Object 7" hidden="1">
                        <a:extLst>
                          <a:ext uri="{FF2B5EF4-FFF2-40B4-BE49-F238E27FC236}">
                            <a16:creationId xmlns:a16="http://schemas.microsoft.com/office/drawing/2014/main" id="{5194B821-5406-BD8B-CB97-A589D22E5165}"/>
                          </a:ext>
                        </a:extLst>
                      </p:cNvPr>
                      <p:cNvPicPr/>
                      <p:nvPr/>
                    </p:nvPicPr>
                    <p:blipFill>
                      <a:blip r:embed="rId3"/>
                      <a:stretch>
                        <a:fillRect/>
                      </a:stretch>
                    </p:blipFill>
                    <p:spPr>
                      <a:xfrm>
                        <a:off x="2121" y="2121"/>
                        <a:ext cx="2112" cy="2112"/>
                      </a:xfrm>
                      <a:prstGeom prst="rect">
                        <a:avLst/>
                      </a:prstGeom>
                    </p:spPr>
                  </p:pic>
                </p:oleObj>
              </mc:Fallback>
            </mc:AlternateContent>
          </a:graphicData>
        </a:graphic>
      </p:graphicFrame>
      <p:sp>
        <p:nvSpPr>
          <p:cNvPr id="3" name="Rectangle 6">
            <a:extLst>
              <a:ext uri="{FF2B5EF4-FFF2-40B4-BE49-F238E27FC236}">
                <a16:creationId xmlns:a16="http://schemas.microsoft.com/office/drawing/2014/main" id="{14A70ABE-A392-4A56-DFB8-D8FA63F4EF29}"/>
              </a:ext>
            </a:extLst>
          </p:cNvPr>
          <p:cNvSpPr/>
          <p:nvPr/>
        </p:nvSpPr>
        <p:spPr>
          <a:xfrm>
            <a:off x="-21168" y="6629400"/>
            <a:ext cx="12213165" cy="228600"/>
          </a:xfrm>
          <a:prstGeom prst="rect">
            <a:avLst/>
          </a:prstGeom>
          <a:solidFill>
            <a:srgbClr val="767676"/>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pic>
        <p:nvPicPr>
          <p:cNvPr id="4" name="Picture 13">
            <a:extLst>
              <a:ext uri="{FF2B5EF4-FFF2-40B4-BE49-F238E27FC236}">
                <a16:creationId xmlns:a16="http://schemas.microsoft.com/office/drawing/2014/main" id="{D71D822C-6130-40D5-0032-CD3AD9FEB041}"/>
              </a:ext>
            </a:extLst>
          </p:cNvPr>
          <p:cNvPicPr>
            <a:picLocks noChangeAspect="1"/>
          </p:cNvPicPr>
          <p:nvPr/>
        </p:nvPicPr>
        <p:blipFill>
          <a:blip r:embed="rId4"/>
          <a:srcRect/>
          <a:stretch>
            <a:fillRect/>
          </a:stretch>
        </p:blipFill>
        <p:spPr>
          <a:xfrm>
            <a:off x="7945972" y="408517"/>
            <a:ext cx="3706282" cy="1813986"/>
          </a:xfrm>
          <a:prstGeom prst="rect">
            <a:avLst/>
          </a:prstGeom>
          <a:noFill/>
          <a:ln cap="flat">
            <a:noFill/>
          </a:ln>
        </p:spPr>
      </p:pic>
      <p:grpSp>
        <p:nvGrpSpPr>
          <p:cNvPr id="5" name="Group 11">
            <a:extLst>
              <a:ext uri="{FF2B5EF4-FFF2-40B4-BE49-F238E27FC236}">
                <a16:creationId xmlns:a16="http://schemas.microsoft.com/office/drawing/2014/main" id="{FA05CD7B-6649-6400-2274-C1D8C53A43C4}"/>
              </a:ext>
            </a:extLst>
          </p:cNvPr>
          <p:cNvGrpSpPr/>
          <p:nvPr/>
        </p:nvGrpSpPr>
        <p:grpSpPr>
          <a:xfrm>
            <a:off x="1" y="0"/>
            <a:ext cx="1862669" cy="6629400"/>
            <a:chOff x="0" y="0"/>
            <a:chExt cx="1862669" cy="6629400"/>
          </a:xfrm>
        </p:grpSpPr>
        <p:sp>
          <p:nvSpPr>
            <p:cNvPr id="6" name="Rectangle 9">
              <a:extLst>
                <a:ext uri="{FF2B5EF4-FFF2-40B4-BE49-F238E27FC236}">
                  <a16:creationId xmlns:a16="http://schemas.microsoft.com/office/drawing/2014/main" id="{ED29348E-1217-115C-5179-83CB7F2AE892}"/>
                </a:ext>
              </a:extLst>
            </p:cNvPr>
            <p:cNvSpPr/>
            <p:nvPr/>
          </p:nvSpPr>
          <p:spPr>
            <a:xfrm>
              <a:off x="0" y="0"/>
              <a:ext cx="1782229" cy="6629400"/>
            </a:xfrm>
            <a:prstGeom prst="rect">
              <a:avLst/>
            </a:prstGeom>
            <a:solidFill>
              <a:srgbClr val="800000"/>
            </a:solidFill>
            <a:ln cap="flat">
              <a:noFill/>
              <a:prstDash val="solid"/>
            </a:ln>
          </p:spPr>
          <p:txBody>
            <a:bodyPr vert="horz" wrap="square" lIns="91440" tIns="45720" rIns="91440" bIns="45720" anchor="t"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pic>
          <p:nvPicPr>
            <p:cNvPr id="7" name="Picture 7">
              <a:extLst>
                <a:ext uri="{FF2B5EF4-FFF2-40B4-BE49-F238E27FC236}">
                  <a16:creationId xmlns:a16="http://schemas.microsoft.com/office/drawing/2014/main" id="{49661D46-DEE9-9718-8B43-A31603CBC701}"/>
                </a:ext>
              </a:extLst>
            </p:cNvPr>
            <p:cNvPicPr>
              <a:picLocks noChangeAspect="1"/>
            </p:cNvPicPr>
            <p:nvPr/>
          </p:nvPicPr>
          <p:blipFill>
            <a:blip r:embed="rId5"/>
            <a:srcRect l="7219" t="16937" r="72250" b="20589"/>
            <a:stretch>
              <a:fillRect/>
            </a:stretch>
          </p:blipFill>
          <p:spPr>
            <a:xfrm>
              <a:off x="0" y="0"/>
              <a:ext cx="1862669" cy="6629400"/>
            </a:xfrm>
            <a:prstGeom prst="rect">
              <a:avLst/>
            </a:prstGeom>
            <a:solidFill>
              <a:srgbClr val="79818A"/>
            </a:solidFill>
            <a:ln cap="flat">
              <a:noFill/>
            </a:ln>
          </p:spPr>
        </p:pic>
      </p:grpSp>
      <p:sp>
        <p:nvSpPr>
          <p:cNvPr id="8" name="Subtitle 2">
            <a:extLst>
              <a:ext uri="{FF2B5EF4-FFF2-40B4-BE49-F238E27FC236}">
                <a16:creationId xmlns:a16="http://schemas.microsoft.com/office/drawing/2014/main" id="{FE04E8A8-9361-7FBA-7152-9E2C7E590865}"/>
              </a:ext>
            </a:extLst>
          </p:cNvPr>
          <p:cNvSpPr txBox="1">
            <a:spLocks noGrp="1"/>
          </p:cNvSpPr>
          <p:nvPr>
            <p:ph type="subTitle" idx="4294967295"/>
          </p:nvPr>
        </p:nvSpPr>
        <p:spPr>
          <a:xfrm>
            <a:off x="3147492" y="4195760"/>
            <a:ext cx="5488512" cy="365760"/>
          </a:xfrm>
        </p:spPr>
        <p:txBody>
          <a:bodyPr/>
          <a:lstStyle>
            <a:lvl1pPr>
              <a:defRPr sz="1867"/>
            </a:lvl1pPr>
          </a:lstStyle>
          <a:p>
            <a:pPr lvl="0"/>
            <a:r>
              <a:rPr lang="en-US"/>
              <a:t>Click to edit Master subtitle style</a:t>
            </a:r>
          </a:p>
        </p:txBody>
      </p:sp>
      <p:sp>
        <p:nvSpPr>
          <p:cNvPr id="9" name="Title 1">
            <a:extLst>
              <a:ext uri="{FF2B5EF4-FFF2-40B4-BE49-F238E27FC236}">
                <a16:creationId xmlns:a16="http://schemas.microsoft.com/office/drawing/2014/main" id="{16A628E1-A180-1664-1199-3C65012800DD}"/>
              </a:ext>
            </a:extLst>
          </p:cNvPr>
          <p:cNvSpPr txBox="1">
            <a:spLocks noGrp="1"/>
          </p:cNvSpPr>
          <p:nvPr>
            <p:ph type="title"/>
          </p:nvPr>
        </p:nvSpPr>
        <p:spPr>
          <a:xfrm>
            <a:off x="1621872" y="1806434"/>
            <a:ext cx="10189826" cy="2278209"/>
          </a:xfrm>
        </p:spPr>
        <p:txBody>
          <a:bodyPr anchor="b"/>
          <a:lstStyle>
            <a:lvl1pPr>
              <a:defRPr sz="5334">
                <a:solidFill>
                  <a:srgbClr val="79818A"/>
                </a:solidFill>
              </a:defRPr>
            </a:lvl1pPr>
          </a:lstStyle>
          <a:p>
            <a:pPr lvl="0"/>
            <a:r>
              <a:rPr lang="en-US"/>
              <a:t>Click to edit Master title style</a:t>
            </a:r>
          </a:p>
        </p:txBody>
      </p:sp>
      <p:sp>
        <p:nvSpPr>
          <p:cNvPr id="10" name="Text Placeholder 3">
            <a:extLst>
              <a:ext uri="{FF2B5EF4-FFF2-40B4-BE49-F238E27FC236}">
                <a16:creationId xmlns:a16="http://schemas.microsoft.com/office/drawing/2014/main" id="{F2162973-E72D-ACA9-837D-1220349AF06A}"/>
              </a:ext>
            </a:extLst>
          </p:cNvPr>
          <p:cNvSpPr txBox="1">
            <a:spLocks noGrp="1"/>
          </p:cNvSpPr>
          <p:nvPr>
            <p:ph type="body" idx="4294967295"/>
          </p:nvPr>
        </p:nvSpPr>
        <p:spPr>
          <a:xfrm>
            <a:off x="3147483" y="4600575"/>
            <a:ext cx="5486400" cy="365760"/>
          </a:xfrm>
        </p:spPr>
        <p:txBody>
          <a:bodyPr/>
          <a:lstStyle>
            <a:lvl1pPr>
              <a:defRPr sz="1867"/>
            </a:lvl1pPr>
          </a:lstStyle>
          <a:p>
            <a:pPr lvl="0"/>
            <a:r>
              <a:rPr lang="en-US"/>
              <a:t>Edit Master text styles</a:t>
            </a:r>
          </a:p>
        </p:txBody>
      </p:sp>
      <p:sp>
        <p:nvSpPr>
          <p:cNvPr id="11" name="Text Placeholder 4">
            <a:extLst>
              <a:ext uri="{FF2B5EF4-FFF2-40B4-BE49-F238E27FC236}">
                <a16:creationId xmlns:a16="http://schemas.microsoft.com/office/drawing/2014/main" id="{FBC2DD7C-9DF0-F1FB-D054-E89470EAAE7B}"/>
              </a:ext>
            </a:extLst>
          </p:cNvPr>
          <p:cNvSpPr txBox="1">
            <a:spLocks noGrp="1"/>
          </p:cNvSpPr>
          <p:nvPr>
            <p:ph type="body" idx="4294967295"/>
          </p:nvPr>
        </p:nvSpPr>
        <p:spPr>
          <a:xfrm>
            <a:off x="3147483" y="5005389"/>
            <a:ext cx="5486400" cy="365760"/>
          </a:xfr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143604000"/>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Table of Content">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A4A2557B-B51D-9931-694F-9B0FF9CBD2DD}"/>
              </a:ext>
            </a:extLst>
          </p:cNvPr>
          <p:cNvGraphicFramePr/>
          <p:nvPr/>
        </p:nvGraphicFramePr>
        <p:xfrm>
          <a:off x="2121" y="2121"/>
          <a:ext cx="2112" cy="2112"/>
        </p:xfrm>
        <a:graphic>
          <a:graphicData uri="http://schemas.openxmlformats.org/presentationml/2006/ole">
            <mc:AlternateContent xmlns:mc="http://schemas.openxmlformats.org/markup-compatibility/2006">
              <mc:Choice xmlns:v="urn:schemas-microsoft-com:vml" Requires="v">
                <p:oleObj r:id="rId2" imgW="12700" imgH="12700" progId="">
                  <p:embed/>
                </p:oleObj>
              </mc:Choice>
              <mc:Fallback>
                <p:oleObj r:id="rId2" imgW="12700" imgH="12700" progId="">
                  <p:embed/>
                  <p:pic>
                    <p:nvPicPr>
                      <p:cNvPr id="2" name="Object 2" hidden="1">
                        <a:extLst>
                          <a:ext uri="{FF2B5EF4-FFF2-40B4-BE49-F238E27FC236}">
                            <a16:creationId xmlns:a16="http://schemas.microsoft.com/office/drawing/2014/main" id="{A4A2557B-B51D-9931-694F-9B0FF9CBD2DD}"/>
                          </a:ext>
                        </a:extLst>
                      </p:cNvPr>
                      <p:cNvPicPr/>
                      <p:nvPr/>
                    </p:nvPicPr>
                    <p:blipFill>
                      <a:blip r:embed="rId3"/>
                      <a:stretch>
                        <a:fillRect/>
                      </a:stretch>
                    </p:blipFill>
                    <p:spPr>
                      <a:xfrm>
                        <a:off x="2121" y="2121"/>
                        <a:ext cx="2112" cy="2112"/>
                      </a:xfrm>
                      <a:prstGeom prst="rect">
                        <a:avLst/>
                      </a:prstGeom>
                    </p:spPr>
                  </p:pic>
                </p:oleObj>
              </mc:Fallback>
            </mc:AlternateContent>
          </a:graphicData>
        </a:graphic>
      </p:graphicFrame>
      <p:sp>
        <p:nvSpPr>
          <p:cNvPr id="3" name="Rectangle 7">
            <a:extLst>
              <a:ext uri="{FF2B5EF4-FFF2-40B4-BE49-F238E27FC236}">
                <a16:creationId xmlns:a16="http://schemas.microsoft.com/office/drawing/2014/main" id="{3B4098A4-DEE7-0DB9-29C0-22894CC511B2}"/>
              </a:ext>
            </a:extLst>
          </p:cNvPr>
          <p:cNvSpPr/>
          <p:nvPr/>
        </p:nvSpPr>
        <p:spPr>
          <a:xfrm>
            <a:off x="-10579" y="6620933"/>
            <a:ext cx="12213165" cy="237067"/>
          </a:xfrm>
          <a:prstGeom prst="rect">
            <a:avLst/>
          </a:prstGeom>
          <a:solidFill>
            <a:srgbClr val="767676"/>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graphicFrame>
        <p:nvGraphicFramePr>
          <p:cNvPr id="4" name="Object 7" hidden="1">
            <a:extLst>
              <a:ext uri="{FF2B5EF4-FFF2-40B4-BE49-F238E27FC236}">
                <a16:creationId xmlns:a16="http://schemas.microsoft.com/office/drawing/2014/main" id="{305530A9-A4C8-8DD7-EAE0-326E85F618FE}"/>
              </a:ext>
            </a:extLst>
          </p:cNvPr>
          <p:cNvGraphicFramePr/>
          <p:nvPr/>
        </p:nvGraphicFramePr>
        <p:xfrm>
          <a:off x="2121" y="2121"/>
          <a:ext cx="2112" cy="2112"/>
        </p:xfrm>
        <a:graphic>
          <a:graphicData uri="http://schemas.openxmlformats.org/presentationml/2006/ole">
            <mc:AlternateContent xmlns:mc="http://schemas.openxmlformats.org/markup-compatibility/2006">
              <mc:Choice xmlns:v="urn:schemas-microsoft-com:vml" Requires="v">
                <p:oleObj r:id="rId4" imgW="12700" imgH="12700" progId="">
                  <p:embed/>
                </p:oleObj>
              </mc:Choice>
              <mc:Fallback>
                <p:oleObj r:id="rId4" imgW="12700" imgH="12700" progId="">
                  <p:embed/>
                  <p:pic>
                    <p:nvPicPr>
                      <p:cNvPr id="4" name="Object 7" hidden="1">
                        <a:extLst>
                          <a:ext uri="{FF2B5EF4-FFF2-40B4-BE49-F238E27FC236}">
                            <a16:creationId xmlns:a16="http://schemas.microsoft.com/office/drawing/2014/main" id="{305530A9-A4C8-8DD7-EAE0-326E85F618FE}"/>
                          </a:ext>
                        </a:extLst>
                      </p:cNvPr>
                      <p:cNvPicPr/>
                      <p:nvPr/>
                    </p:nvPicPr>
                    <p:blipFill>
                      <a:blip r:embed="rId3"/>
                      <a:stretch>
                        <a:fillRect/>
                      </a:stretch>
                    </p:blipFill>
                    <p:spPr>
                      <a:xfrm>
                        <a:off x="2121" y="2121"/>
                        <a:ext cx="2112" cy="2112"/>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30A4674D-87E1-9DA6-410E-86F40D7794AD}"/>
              </a:ext>
            </a:extLst>
          </p:cNvPr>
          <p:cNvSpPr txBox="1">
            <a:spLocks noGrp="1"/>
          </p:cNvSpPr>
          <p:nvPr>
            <p:ph type="title"/>
          </p:nvPr>
        </p:nvSpPr>
        <p:spPr>
          <a:xfrm>
            <a:off x="218112" y="224842"/>
            <a:ext cx="11715722" cy="569323"/>
          </a:xfrm>
        </p:spPr>
        <p:txBody>
          <a:bodyPr/>
          <a:lstStyle>
            <a:lvl1pPr>
              <a:defRPr sz="2933">
                <a:solidFill>
                  <a:srgbClr val="79818A"/>
                </a:solidFill>
              </a:defRPr>
            </a:lvl1pPr>
          </a:lstStyle>
          <a:p>
            <a:pPr lvl="0"/>
            <a:r>
              <a:rPr lang="en-US"/>
              <a:t>Click to edit Master title style</a:t>
            </a:r>
          </a:p>
        </p:txBody>
      </p:sp>
      <p:sp>
        <p:nvSpPr>
          <p:cNvPr id="6" name="Content Placeholder 2">
            <a:extLst>
              <a:ext uri="{FF2B5EF4-FFF2-40B4-BE49-F238E27FC236}">
                <a16:creationId xmlns:a16="http://schemas.microsoft.com/office/drawing/2014/main" id="{575F58C5-B632-028E-71BE-5809BAD4A5AF}"/>
              </a:ext>
            </a:extLst>
          </p:cNvPr>
          <p:cNvSpPr txBox="1">
            <a:spLocks noGrp="1"/>
          </p:cNvSpPr>
          <p:nvPr>
            <p:ph idx="4294967295"/>
          </p:nvPr>
        </p:nvSpPr>
        <p:spPr>
          <a:xfrm>
            <a:off x="218112" y="917198"/>
            <a:ext cx="11715722" cy="4958672"/>
          </a:xfrm>
        </p:spPr>
        <p:txBody>
          <a:bodyPr/>
          <a:lstStyle>
            <a:lvl1pPr marL="381031" indent="-381031">
              <a:buFont typeface="Wingdings" pitchFamily="2"/>
              <a:buChar char="§"/>
              <a:defRPr sz="1867" b="1"/>
            </a:lvl1pPr>
            <a:lvl2pPr marL="609642" indent="-296353">
              <a:buChar char="̶"/>
              <a:defRPr sz="1867"/>
            </a:lvl2pPr>
            <a:lvl3pPr marL="922931" indent="-313289">
              <a:defRPr sz="1867"/>
            </a:lvl3pPr>
            <a:lvl4pPr marL="1219294" indent="-296353">
              <a:buFont typeface="Wingdings" pitchFamily="2"/>
              <a:buChar char="ü"/>
              <a:defRPr sz="1867"/>
            </a:lvl4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AC091601-DB16-C8EF-9434-E2BA0BCD143B}"/>
              </a:ext>
            </a:extLst>
          </p:cNvPr>
          <p:cNvSpPr txBox="1">
            <a:spLocks noGrp="1"/>
          </p:cNvSpPr>
          <p:nvPr>
            <p:ph type="body" idx="4294967295"/>
          </p:nvPr>
        </p:nvSpPr>
        <p:spPr>
          <a:xfrm>
            <a:off x="3858942" y="5969002"/>
            <a:ext cx="8074901" cy="649818"/>
          </a:xfrm>
        </p:spPr>
        <p:txBody>
          <a:bodyPr anchor="b"/>
          <a:lstStyle>
            <a:lvl1pPr>
              <a:defRPr sz="1333"/>
            </a:lvl1pPr>
          </a:lstStyle>
          <a:p>
            <a:pPr lvl="0"/>
            <a:r>
              <a:rPr lang="en-US"/>
              <a:t>Edit Master text styles</a:t>
            </a:r>
          </a:p>
        </p:txBody>
      </p:sp>
      <p:sp>
        <p:nvSpPr>
          <p:cNvPr id="8" name="Slide Number Placeholder 3">
            <a:extLst>
              <a:ext uri="{FF2B5EF4-FFF2-40B4-BE49-F238E27FC236}">
                <a16:creationId xmlns:a16="http://schemas.microsoft.com/office/drawing/2014/main" id="{6B9F8393-97A0-78CB-E048-6708442212CD}"/>
              </a:ext>
            </a:extLst>
          </p:cNvPr>
          <p:cNvSpPr txBox="1">
            <a:spLocks noGrp="1"/>
          </p:cNvSpPr>
          <p:nvPr>
            <p:ph type="sldNum" sz="quarter" idx="8"/>
          </p:nvPr>
        </p:nvSpPr>
        <p:spPr/>
        <p:txBody>
          <a:bodyPr/>
          <a:lstStyle>
            <a:lvl1pPr>
              <a:defRPr sz="1467">
                <a:solidFill>
                  <a:srgbClr val="FFFFFF"/>
                </a:solidFill>
              </a:defRPr>
            </a:lvl1pPr>
          </a:lstStyle>
          <a:p>
            <a:pPr lvl="0"/>
            <a:fld id="{D0EB943D-EF12-45C8-8727-331B00D8BE4E}" type="slidenum">
              <a:t>‹#›</a:t>
            </a:fld>
            <a:endParaRPr lang="en-US"/>
          </a:p>
        </p:txBody>
      </p:sp>
      <p:pic>
        <p:nvPicPr>
          <p:cNvPr id="9" name="Picture 3" descr="M:\Marketing Communication and Referral Access\Luis\newbrand\UCM_logo\master\horizontal\UCM_Logo_Master_Brand_Horizontal_Tagline_rgb.jpg">
            <a:extLst>
              <a:ext uri="{FF2B5EF4-FFF2-40B4-BE49-F238E27FC236}">
                <a16:creationId xmlns:a16="http://schemas.microsoft.com/office/drawing/2014/main" id="{FF77D891-8485-94B1-483B-DC46CD9052B3}"/>
              </a:ext>
            </a:extLst>
          </p:cNvPr>
          <p:cNvPicPr>
            <a:picLocks noChangeAspect="1"/>
          </p:cNvPicPr>
          <p:nvPr/>
        </p:nvPicPr>
        <p:blipFill>
          <a:blip r:embed="rId5"/>
          <a:srcRect/>
          <a:stretch>
            <a:fillRect/>
          </a:stretch>
        </p:blipFill>
        <p:spPr>
          <a:xfrm>
            <a:off x="101598" y="5969002"/>
            <a:ext cx="3704344" cy="651930"/>
          </a:xfrm>
          <a:prstGeom prst="rect">
            <a:avLst/>
          </a:prstGeom>
          <a:noFill/>
          <a:ln cap="flat">
            <a:noFill/>
          </a:ln>
        </p:spPr>
      </p:pic>
    </p:spTree>
    <p:extLst>
      <p:ext uri="{BB962C8B-B14F-4D97-AF65-F5344CB8AC3E}">
        <p14:creationId xmlns:p14="http://schemas.microsoft.com/office/powerpoint/2010/main" val="3108906765"/>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30_Title and Content">
    <p:spTree>
      <p:nvGrpSpPr>
        <p:cNvPr id="1" name=""/>
        <p:cNvGrpSpPr/>
        <p:nvPr/>
      </p:nvGrpSpPr>
      <p:grpSpPr>
        <a:xfrm>
          <a:off x="0" y="0"/>
          <a:ext cx="0" cy="0"/>
          <a:chOff x="0" y="0"/>
          <a:chExt cx="0" cy="0"/>
        </a:xfrm>
      </p:grpSpPr>
      <p:grpSp>
        <p:nvGrpSpPr>
          <p:cNvPr id="2" name="Google Shape;58;p6">
            <a:extLst>
              <a:ext uri="{FF2B5EF4-FFF2-40B4-BE49-F238E27FC236}">
                <a16:creationId xmlns:a16="http://schemas.microsoft.com/office/drawing/2014/main" id="{BFBAE140-A7E7-50C7-A34B-B1E3272C6EB3}"/>
              </a:ext>
            </a:extLst>
          </p:cNvPr>
          <p:cNvGrpSpPr/>
          <p:nvPr/>
        </p:nvGrpSpPr>
        <p:grpSpPr>
          <a:xfrm>
            <a:off x="7191545" y="0"/>
            <a:ext cx="5000460" cy="1425988"/>
            <a:chOff x="7191545" y="0"/>
            <a:chExt cx="5000460" cy="1425988"/>
          </a:xfrm>
        </p:grpSpPr>
        <p:pic>
          <p:nvPicPr>
            <p:cNvPr id="3" name="Google Shape;59;p6">
              <a:extLst>
                <a:ext uri="{FF2B5EF4-FFF2-40B4-BE49-F238E27FC236}">
                  <a16:creationId xmlns:a16="http://schemas.microsoft.com/office/drawing/2014/main" id="{1A7F8B70-B33F-9F3C-7FF7-670AC06E094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60;p6">
              <a:extLst>
                <a:ext uri="{FF2B5EF4-FFF2-40B4-BE49-F238E27FC236}">
                  <a16:creationId xmlns:a16="http://schemas.microsoft.com/office/drawing/2014/main" id="{7489108C-25BE-C15C-8C15-C7756E816234}"/>
                </a:ext>
              </a:extLst>
            </p:cNvPr>
            <p:cNvGrpSpPr/>
            <p:nvPr/>
          </p:nvGrpSpPr>
          <p:grpSpPr>
            <a:xfrm>
              <a:off x="7191545" y="0"/>
              <a:ext cx="5000460" cy="1425988"/>
              <a:chOff x="7191545" y="0"/>
              <a:chExt cx="5000460" cy="1425988"/>
            </a:xfrm>
          </p:grpSpPr>
          <p:sp>
            <p:nvSpPr>
              <p:cNvPr id="5" name="Google Shape;61;p6">
                <a:extLst>
                  <a:ext uri="{FF2B5EF4-FFF2-40B4-BE49-F238E27FC236}">
                    <a16:creationId xmlns:a16="http://schemas.microsoft.com/office/drawing/2014/main" id="{D8B96742-371B-7EF1-7AD7-62E63A8B730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62;p6">
                <a:extLst>
                  <a:ext uri="{FF2B5EF4-FFF2-40B4-BE49-F238E27FC236}">
                    <a16:creationId xmlns:a16="http://schemas.microsoft.com/office/drawing/2014/main" id="{DAC43143-C4F5-300B-FC9C-47A6514C75F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63;p6">
            <a:extLst>
              <a:ext uri="{FF2B5EF4-FFF2-40B4-BE49-F238E27FC236}">
                <a16:creationId xmlns:a16="http://schemas.microsoft.com/office/drawing/2014/main" id="{2758E024-02AA-55BC-4264-B5FFAACB8F32}"/>
              </a:ext>
            </a:extLst>
          </p:cNvPr>
          <p:cNvSpPr txBox="1">
            <a:spLocks noGrp="1"/>
          </p:cNvSpPr>
          <p:nvPr>
            <p:ph type="title"/>
          </p:nvPr>
        </p:nvSpPr>
        <p:spPr/>
        <p:txBody>
          <a:bodyPr lIns="91421" tIns="45701" rIns="91421" bIns="45701"/>
          <a:lstStyle>
            <a:lvl1pPr>
              <a:defRPr/>
            </a:lvl1pPr>
          </a:lstStyle>
          <a:p>
            <a:pPr lvl="0"/>
            <a:endParaRPr lang="en-US"/>
          </a:p>
        </p:txBody>
      </p:sp>
      <p:sp>
        <p:nvSpPr>
          <p:cNvPr id="8" name="Google Shape;64;p6">
            <a:extLst>
              <a:ext uri="{FF2B5EF4-FFF2-40B4-BE49-F238E27FC236}">
                <a16:creationId xmlns:a16="http://schemas.microsoft.com/office/drawing/2014/main" id="{6E7ACE31-FB0E-8072-5242-22BF6EC25348}"/>
              </a:ext>
            </a:extLst>
          </p:cNvPr>
          <p:cNvSpPr txBox="1">
            <a:spLocks noGrp="1"/>
          </p:cNvSpPr>
          <p:nvPr>
            <p:ph type="body" idx="4294967295"/>
          </p:nvPr>
        </p:nvSpPr>
        <p:spPr/>
        <p:txBody>
          <a:bodyPr lIns="91421" tIns="45701" rIns="91421" bIns="45701"/>
          <a:lstStyle>
            <a:lvl1pPr marL="457250" indent="-342935">
              <a:spcAft>
                <a:spcPts val="0"/>
              </a:spcAft>
              <a:buSzPts val="1800"/>
              <a:defRPr/>
            </a:lvl1pPr>
          </a:lstStyle>
          <a:p>
            <a:pPr lvl="0"/>
            <a:endParaRPr lang="en-US"/>
          </a:p>
        </p:txBody>
      </p:sp>
      <p:sp>
        <p:nvSpPr>
          <p:cNvPr id="9" name="Google Shape;65;p6">
            <a:extLst>
              <a:ext uri="{FF2B5EF4-FFF2-40B4-BE49-F238E27FC236}">
                <a16:creationId xmlns:a16="http://schemas.microsoft.com/office/drawing/2014/main" id="{0A9DD97A-C855-4FD1-D31C-81AB045271E6}"/>
              </a:ext>
            </a:extLst>
          </p:cNvPr>
          <p:cNvSpPr txBox="1">
            <a:spLocks noGrp="1"/>
          </p:cNvSpPr>
          <p:nvPr>
            <p:ph type="sldNum" sz="quarter" idx="8"/>
          </p:nvPr>
        </p:nvSpPr>
        <p:spPr/>
        <p:txBody>
          <a:bodyPr lIns="91421" tIns="45701" rIns="91421" bIns="45701"/>
          <a:lstStyle>
            <a:lvl1pPr>
              <a:defRPr>
                <a:solidFill>
                  <a:srgbClr val="AEB3B7"/>
                </a:solidFill>
                <a:ea typeface="Calibri"/>
                <a:cs typeface="Calibri"/>
              </a:defRPr>
            </a:lvl1pPr>
          </a:lstStyle>
          <a:p>
            <a:pPr lvl="0"/>
            <a:fld id="{55EDB298-1E5A-4A76-879B-8CB066D5797E}" type="slidenum">
              <a:t>‹#›</a:t>
            </a:fld>
            <a:endParaRPr lang="en-US"/>
          </a:p>
        </p:txBody>
      </p:sp>
      <p:cxnSp>
        <p:nvCxnSpPr>
          <p:cNvPr id="10" name="Google Shape;66;p6">
            <a:extLst>
              <a:ext uri="{FF2B5EF4-FFF2-40B4-BE49-F238E27FC236}">
                <a16:creationId xmlns:a16="http://schemas.microsoft.com/office/drawing/2014/main" id="{505C486B-677A-7692-3370-2226F47AA828}"/>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67;p6">
            <a:extLst>
              <a:ext uri="{FF2B5EF4-FFF2-40B4-BE49-F238E27FC236}">
                <a16:creationId xmlns:a16="http://schemas.microsoft.com/office/drawing/2014/main" id="{BF3CC22C-DCC1-4DCC-1036-EBE7626BE848}"/>
              </a:ext>
            </a:extLst>
          </p:cNvPr>
          <p:cNvSpPr txBox="1">
            <a:spLocks noGrp="1"/>
          </p:cNvSpPr>
          <p:nvPr>
            <p:ph type="ftr" sz="quarter" idx="9"/>
          </p:nvPr>
        </p:nvSpPr>
        <p:spPr/>
        <p:txBody>
          <a:bodyPr lIns="91421" tIns="45701" rIns="91421" bIns="45701" anchorCtr="1"/>
          <a:lstStyle>
            <a:lvl1pPr algn="ctr">
              <a:defRPr/>
            </a:lvl1pPr>
          </a:lstStyle>
          <a:p>
            <a:pPr lvl="0"/>
            <a:endParaRPr lang="en-US"/>
          </a:p>
        </p:txBody>
      </p:sp>
    </p:spTree>
    <p:extLst>
      <p:ext uri="{BB962C8B-B14F-4D97-AF65-F5344CB8AC3E}">
        <p14:creationId xmlns:p14="http://schemas.microsoft.com/office/powerpoint/2010/main" val="184652191"/>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4_Photo Slide">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20389CF9-6BFE-C6F8-3F64-D463FA971B71}"/>
              </a:ext>
            </a:extLst>
          </p:cNvPr>
          <p:cNvSpPr txBox="1">
            <a:spLocks noGrp="1"/>
          </p:cNvSpPr>
          <p:nvPr>
            <p:ph type="body" idx="4294967295"/>
          </p:nvPr>
        </p:nvSpPr>
        <p:spPr>
          <a:xfrm>
            <a:off x="457200" y="1146255"/>
            <a:ext cx="2350172" cy="2971800"/>
          </a:xfrm>
        </p:spPr>
        <p:txBody>
          <a:bodyPr/>
          <a:lstStyle>
            <a:lvl1pPr marL="0" indent="0">
              <a:buNone/>
              <a:defRPr/>
            </a:lvl1pPr>
          </a:lstStyle>
          <a:p>
            <a:pPr lvl="0"/>
            <a:r>
              <a:rPr lang="en-US"/>
              <a:t>Click to edit Master text styles</a:t>
            </a:r>
          </a:p>
        </p:txBody>
      </p:sp>
      <p:cxnSp>
        <p:nvCxnSpPr>
          <p:cNvPr id="3" name="Straight Connector 5">
            <a:extLst>
              <a:ext uri="{FF2B5EF4-FFF2-40B4-BE49-F238E27FC236}">
                <a16:creationId xmlns:a16="http://schemas.microsoft.com/office/drawing/2014/main" id="{11708785-ACED-322F-6DEC-F8C9776BD9A5}"/>
              </a:ext>
            </a:extLst>
          </p:cNvPr>
          <p:cNvCxnSpPr/>
          <p:nvPr/>
        </p:nvCxnSpPr>
        <p:spPr>
          <a:xfrm>
            <a:off x="457201" y="947985"/>
            <a:ext cx="2350163" cy="0"/>
          </a:xfrm>
          <a:prstGeom prst="straightConnector1">
            <a:avLst/>
          </a:prstGeom>
          <a:noFill/>
          <a:ln w="31747" cap="flat">
            <a:solidFill>
              <a:srgbClr val="F58366"/>
            </a:solidFill>
            <a:prstDash val="solid"/>
            <a:miter/>
          </a:ln>
        </p:spPr>
      </p:cxnSp>
      <p:grpSp>
        <p:nvGrpSpPr>
          <p:cNvPr id="4" name="Group 2">
            <a:extLst>
              <a:ext uri="{FF2B5EF4-FFF2-40B4-BE49-F238E27FC236}">
                <a16:creationId xmlns:a16="http://schemas.microsoft.com/office/drawing/2014/main" id="{93C8161F-F24A-5CC0-41C6-423D1A34CBE7}"/>
              </a:ext>
            </a:extLst>
          </p:cNvPr>
          <p:cNvGrpSpPr/>
          <p:nvPr/>
        </p:nvGrpSpPr>
        <p:grpSpPr>
          <a:xfrm>
            <a:off x="1" y="5379425"/>
            <a:ext cx="2807363" cy="753895"/>
            <a:chOff x="0" y="5379424"/>
            <a:chExt cx="2807363" cy="753895"/>
          </a:xfrm>
        </p:grpSpPr>
        <p:sp>
          <p:nvSpPr>
            <p:cNvPr id="5" name="Freeform 21">
              <a:extLst>
                <a:ext uri="{FF2B5EF4-FFF2-40B4-BE49-F238E27FC236}">
                  <a16:creationId xmlns:a16="http://schemas.microsoft.com/office/drawing/2014/main" id="{E706E8A5-DB03-1AD8-B3D8-E59F226A4DDE}"/>
                </a:ext>
              </a:extLst>
            </p:cNvPr>
            <p:cNvSpPr/>
            <p:nvPr/>
          </p:nvSpPr>
          <p:spPr>
            <a:xfrm>
              <a:off x="0" y="5532513"/>
              <a:ext cx="2807363" cy="600806"/>
            </a:xfrm>
            <a:custGeom>
              <a:avLst/>
              <a:gdLst>
                <a:gd name="f0" fmla="val 10800000"/>
                <a:gd name="f1" fmla="val 5400000"/>
                <a:gd name="f2" fmla="val 180"/>
                <a:gd name="f3" fmla="val w"/>
                <a:gd name="f4" fmla="val h"/>
                <a:gd name="f5" fmla="val 0"/>
                <a:gd name="f6" fmla="val 2807368"/>
                <a:gd name="f7" fmla="val 600807"/>
                <a:gd name="f8" fmla="val 429971"/>
                <a:gd name="f9" fmla="val 123998"/>
                <a:gd name="f10" fmla="val 1184765"/>
                <a:gd name="f11" fmla="val 325331"/>
                <a:gd name="f12" fmla="val 2014184"/>
                <a:gd name="f13" fmla="val 392492"/>
                <a:gd name="f14" fmla="val 2790212"/>
                <a:gd name="f15" fmla="val 235402"/>
                <a:gd name="f16" fmla="val 231522"/>
                <a:gd name="f17" fmla="val 566106"/>
                <a:gd name="f18" fmla="val 2593885"/>
                <a:gd name="f19" fmla="val 587498"/>
                <a:gd name="f20" fmla="val 1673646"/>
                <a:gd name="f21" fmla="val 651184"/>
                <a:gd name="f22" fmla="val 884869"/>
                <a:gd name="f23" fmla="val 479260"/>
                <a:gd name="f24" fmla="val 100844"/>
                <a:gd name="f25" fmla="val 222653"/>
                <a:gd name="f26" fmla="val 188389"/>
                <a:gd name="f27" fmla="+- 0 0 -90"/>
                <a:gd name="f28" fmla="*/ f3 1 2807368"/>
                <a:gd name="f29" fmla="*/ f4 1 600807"/>
                <a:gd name="f30" fmla="+- f7 0 f5"/>
                <a:gd name="f31" fmla="+- f6 0 f5"/>
                <a:gd name="f32" fmla="*/ f27 f0 1"/>
                <a:gd name="f33" fmla="*/ f31 1 2807368"/>
                <a:gd name="f34" fmla="*/ f30 1 600807"/>
                <a:gd name="f35" fmla="*/ 0 f31 1"/>
                <a:gd name="f36" fmla="*/ 0 f30 1"/>
                <a:gd name="f37" fmla="*/ 429971 f31 1"/>
                <a:gd name="f38" fmla="*/ 123998 f30 1"/>
                <a:gd name="f39" fmla="*/ 2790212 f31 1"/>
                <a:gd name="f40" fmla="*/ 235402 f30 1"/>
                <a:gd name="f41" fmla="*/ 2807368 f31 1"/>
                <a:gd name="f42" fmla="*/ 231522 f30 1"/>
                <a:gd name="f43" fmla="*/ 566106 f30 1"/>
                <a:gd name="f44" fmla="*/ 2593885 f31 1"/>
                <a:gd name="f45" fmla="*/ 587498 f30 1"/>
                <a:gd name="f46" fmla="*/ 100844 f31 1"/>
                <a:gd name="f47" fmla="*/ 222653 f30 1"/>
                <a:gd name="f48" fmla="*/ 188389 f30 1"/>
                <a:gd name="f49" fmla="*/ f32 1 f2"/>
                <a:gd name="f50" fmla="*/ f35 1 2807368"/>
                <a:gd name="f51" fmla="*/ f36 1 600807"/>
                <a:gd name="f52" fmla="*/ f37 1 2807368"/>
                <a:gd name="f53" fmla="*/ f38 1 600807"/>
                <a:gd name="f54" fmla="*/ f39 1 2807368"/>
                <a:gd name="f55" fmla="*/ f40 1 600807"/>
                <a:gd name="f56" fmla="*/ f41 1 2807368"/>
                <a:gd name="f57" fmla="*/ f42 1 600807"/>
                <a:gd name="f58" fmla="*/ f43 1 600807"/>
                <a:gd name="f59" fmla="*/ f44 1 2807368"/>
                <a:gd name="f60" fmla="*/ f45 1 600807"/>
                <a:gd name="f61" fmla="*/ f46 1 2807368"/>
                <a:gd name="f62" fmla="*/ f47 1 600807"/>
                <a:gd name="f63" fmla="*/ f48 1 600807"/>
                <a:gd name="f64" fmla="*/ f5 1 f33"/>
                <a:gd name="f65" fmla="*/ f6 1 f33"/>
                <a:gd name="f66" fmla="*/ f5 1 f34"/>
                <a:gd name="f67" fmla="*/ f7 1 f34"/>
                <a:gd name="f68" fmla="+- f49 0 f1"/>
                <a:gd name="f69" fmla="*/ f50 1 f33"/>
                <a:gd name="f70" fmla="*/ f51 1 f34"/>
                <a:gd name="f71" fmla="*/ f52 1 f33"/>
                <a:gd name="f72" fmla="*/ f53 1 f34"/>
                <a:gd name="f73" fmla="*/ f54 1 f33"/>
                <a:gd name="f74" fmla="*/ f55 1 f34"/>
                <a:gd name="f75" fmla="*/ f56 1 f33"/>
                <a:gd name="f76" fmla="*/ f57 1 f34"/>
                <a:gd name="f77" fmla="*/ f58 1 f34"/>
                <a:gd name="f78" fmla="*/ f59 1 f33"/>
                <a:gd name="f79" fmla="*/ f60 1 f34"/>
                <a:gd name="f80" fmla="*/ f61 1 f33"/>
                <a:gd name="f81" fmla="*/ f62 1 f34"/>
                <a:gd name="f82" fmla="*/ f63 1 f34"/>
                <a:gd name="f83" fmla="*/ f64 f28 1"/>
                <a:gd name="f84" fmla="*/ f65 f28 1"/>
                <a:gd name="f85" fmla="*/ f67 f29 1"/>
                <a:gd name="f86" fmla="*/ f66 f29 1"/>
                <a:gd name="f87" fmla="*/ f69 f28 1"/>
                <a:gd name="f88" fmla="*/ f70 f29 1"/>
                <a:gd name="f89" fmla="*/ f71 f28 1"/>
                <a:gd name="f90" fmla="*/ f72 f29 1"/>
                <a:gd name="f91" fmla="*/ f73 f28 1"/>
                <a:gd name="f92" fmla="*/ f74 f29 1"/>
                <a:gd name="f93" fmla="*/ f75 f28 1"/>
                <a:gd name="f94" fmla="*/ f76 f29 1"/>
                <a:gd name="f95" fmla="*/ f77 f29 1"/>
                <a:gd name="f96" fmla="*/ f78 f28 1"/>
                <a:gd name="f97" fmla="*/ f79 f29 1"/>
                <a:gd name="f98" fmla="*/ f80 f28 1"/>
                <a:gd name="f99" fmla="*/ f81 f29 1"/>
                <a:gd name="f100" fmla="*/ f82 f29 1"/>
              </a:gdLst>
              <a:ahLst/>
              <a:cxnLst>
                <a:cxn ang="3cd4">
                  <a:pos x="hc" y="t"/>
                </a:cxn>
                <a:cxn ang="0">
                  <a:pos x="r" y="vc"/>
                </a:cxn>
                <a:cxn ang="cd4">
                  <a:pos x="hc" y="b"/>
                </a:cxn>
                <a:cxn ang="cd2">
                  <a:pos x="l" y="vc"/>
                </a:cxn>
                <a:cxn ang="f68">
                  <a:pos x="f87" y="f88"/>
                </a:cxn>
                <a:cxn ang="f68">
                  <a:pos x="f89" y="f90"/>
                </a:cxn>
                <a:cxn ang="f68">
                  <a:pos x="f91" y="f92"/>
                </a:cxn>
                <a:cxn ang="f68">
                  <a:pos x="f93" y="f94"/>
                </a:cxn>
                <a:cxn ang="f68">
                  <a:pos x="f93" y="f95"/>
                </a:cxn>
                <a:cxn ang="f68">
                  <a:pos x="f96" y="f97"/>
                </a:cxn>
                <a:cxn ang="f68">
                  <a:pos x="f98" y="f99"/>
                </a:cxn>
                <a:cxn ang="f68">
                  <a:pos x="f87" y="f100"/>
                </a:cxn>
              </a:cxnLst>
              <a:rect l="f83" t="f86" r="f84" b="f85"/>
              <a:pathLst>
                <a:path w="2807368" h="600807">
                  <a:moveTo>
                    <a:pt x="f5" y="f5"/>
                  </a:moveTo>
                  <a:lnTo>
                    <a:pt x="f8" y="f9"/>
                  </a:lnTo>
                  <a:cubicBezTo>
                    <a:pt x="f10" y="f11"/>
                    <a:pt x="f12" y="f13"/>
                    <a:pt x="f14" y="f15"/>
                  </a:cubicBezTo>
                  <a:lnTo>
                    <a:pt x="f6" y="f16"/>
                  </a:lnTo>
                  <a:lnTo>
                    <a:pt x="f6" y="f17"/>
                  </a:lnTo>
                  <a:lnTo>
                    <a:pt x="f18" y="f19"/>
                  </a:lnTo>
                  <a:cubicBezTo>
                    <a:pt x="f20" y="f21"/>
                    <a:pt x="f22" y="f23"/>
                    <a:pt x="f24" y="f25"/>
                  </a:cubicBezTo>
                  <a:lnTo>
                    <a:pt x="f5" y="f26"/>
                  </a:ln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Freeform 19">
              <a:extLst>
                <a:ext uri="{FF2B5EF4-FFF2-40B4-BE49-F238E27FC236}">
                  <a16:creationId xmlns:a16="http://schemas.microsoft.com/office/drawing/2014/main" id="{E6D3B907-0B33-57F5-616F-2728BA942164}"/>
                </a:ext>
              </a:extLst>
            </p:cNvPr>
            <p:cNvSpPr/>
            <p:nvPr/>
          </p:nvSpPr>
          <p:spPr>
            <a:xfrm>
              <a:off x="0" y="5379424"/>
              <a:ext cx="2807363" cy="649800"/>
            </a:xfrm>
            <a:custGeom>
              <a:avLst/>
              <a:gdLst>
                <a:gd name="f0" fmla="val 10800000"/>
                <a:gd name="f1" fmla="val 5400000"/>
                <a:gd name="f2" fmla="val 180"/>
                <a:gd name="f3" fmla="val w"/>
                <a:gd name="f4" fmla="val h"/>
                <a:gd name="f5" fmla="val 0"/>
                <a:gd name="f6" fmla="val 2807368"/>
                <a:gd name="f7" fmla="val 649803"/>
                <a:gd name="f8" fmla="val 282676"/>
                <a:gd name="f9" fmla="val 70799"/>
                <a:gd name="f10" fmla="val 435964"/>
                <a:gd name="f11" fmla="val 106085"/>
                <a:gd name="f12" fmla="val 588770"/>
                <a:gd name="f13" fmla="val 137629"/>
                <a:gd name="f14" fmla="val 740881"/>
                <a:gd name="f15" fmla="val 163828"/>
                <a:gd name="f16" fmla="val 1362800"/>
                <a:gd name="f17" fmla="val 270912"/>
                <a:gd name="f18" fmla="val 2067879"/>
                <a:gd name="f19" fmla="val 253759"/>
                <a:gd name="f20" fmla="val 2706471"/>
                <a:gd name="f21" fmla="val 96397"/>
                <a:gd name="f22" fmla="val 67250"/>
                <a:gd name="f23" fmla="val 605551"/>
                <a:gd name="f24" fmla="val 2602685"/>
                <a:gd name="f25" fmla="val 629466"/>
                <a:gd name="f26" fmla="val 1684237"/>
                <a:gd name="f27" fmla="val 708219"/>
                <a:gd name="f28" fmla="val 893252"/>
                <a:gd name="f29" fmla="val 549395"/>
                <a:gd name="f30" fmla="val 105614"/>
                <a:gd name="f31" fmla="val 305882"/>
                <a:gd name="f32" fmla="val 271926"/>
                <a:gd name="f33" fmla="+- 0 0 -90"/>
                <a:gd name="f34" fmla="*/ f3 1 2807368"/>
                <a:gd name="f35" fmla="*/ f4 1 649803"/>
                <a:gd name="f36" fmla="+- f7 0 f5"/>
                <a:gd name="f37" fmla="+- f6 0 f5"/>
                <a:gd name="f38" fmla="*/ f33 f0 1"/>
                <a:gd name="f39" fmla="*/ f37 1 2807368"/>
                <a:gd name="f40" fmla="*/ f36 1 649803"/>
                <a:gd name="f41" fmla="*/ 0 f37 1"/>
                <a:gd name="f42" fmla="*/ 0 f36 1"/>
                <a:gd name="f43" fmla="*/ 282676 f37 1"/>
                <a:gd name="f44" fmla="*/ 70799 f36 1"/>
                <a:gd name="f45" fmla="*/ 740881 f37 1"/>
                <a:gd name="f46" fmla="*/ 163828 f36 1"/>
                <a:gd name="f47" fmla="*/ 2706471 f37 1"/>
                <a:gd name="f48" fmla="*/ 96397 f36 1"/>
                <a:gd name="f49" fmla="*/ 2807368 f37 1"/>
                <a:gd name="f50" fmla="*/ 67250 f36 1"/>
                <a:gd name="f51" fmla="*/ 605551 f36 1"/>
                <a:gd name="f52" fmla="*/ 2602685 f37 1"/>
                <a:gd name="f53" fmla="*/ 629466 f36 1"/>
                <a:gd name="f54" fmla="*/ 105614 f37 1"/>
                <a:gd name="f55" fmla="*/ 305882 f36 1"/>
                <a:gd name="f56" fmla="*/ 271926 f36 1"/>
                <a:gd name="f57" fmla="*/ f38 1 f2"/>
                <a:gd name="f58" fmla="*/ f41 1 2807368"/>
                <a:gd name="f59" fmla="*/ f42 1 649803"/>
                <a:gd name="f60" fmla="*/ f43 1 2807368"/>
                <a:gd name="f61" fmla="*/ f44 1 649803"/>
                <a:gd name="f62" fmla="*/ f45 1 2807368"/>
                <a:gd name="f63" fmla="*/ f46 1 649803"/>
                <a:gd name="f64" fmla="*/ f47 1 2807368"/>
                <a:gd name="f65" fmla="*/ f48 1 649803"/>
                <a:gd name="f66" fmla="*/ f49 1 2807368"/>
                <a:gd name="f67" fmla="*/ f50 1 649803"/>
                <a:gd name="f68" fmla="*/ f51 1 649803"/>
                <a:gd name="f69" fmla="*/ f52 1 2807368"/>
                <a:gd name="f70" fmla="*/ f53 1 649803"/>
                <a:gd name="f71" fmla="*/ f54 1 2807368"/>
                <a:gd name="f72" fmla="*/ f55 1 649803"/>
                <a:gd name="f73" fmla="*/ f56 1 649803"/>
                <a:gd name="f74" fmla="*/ f5 1 f39"/>
                <a:gd name="f75" fmla="*/ f6 1 f39"/>
                <a:gd name="f76" fmla="*/ f5 1 f40"/>
                <a:gd name="f77" fmla="*/ f7 1 f40"/>
                <a:gd name="f78" fmla="+- f57 0 f1"/>
                <a:gd name="f79" fmla="*/ f58 1 f39"/>
                <a:gd name="f80" fmla="*/ f59 1 f40"/>
                <a:gd name="f81" fmla="*/ f60 1 f39"/>
                <a:gd name="f82" fmla="*/ f61 1 f40"/>
                <a:gd name="f83" fmla="*/ f62 1 f39"/>
                <a:gd name="f84" fmla="*/ f63 1 f40"/>
                <a:gd name="f85" fmla="*/ f64 1 f39"/>
                <a:gd name="f86" fmla="*/ f65 1 f40"/>
                <a:gd name="f87" fmla="*/ f66 1 f39"/>
                <a:gd name="f88" fmla="*/ f67 1 f40"/>
                <a:gd name="f89" fmla="*/ f68 1 f40"/>
                <a:gd name="f90" fmla="*/ f69 1 f39"/>
                <a:gd name="f91" fmla="*/ f70 1 f40"/>
                <a:gd name="f92" fmla="*/ f71 1 f39"/>
                <a:gd name="f93" fmla="*/ f72 1 f40"/>
                <a:gd name="f94" fmla="*/ f73 1 f40"/>
                <a:gd name="f95" fmla="*/ f74 f34 1"/>
                <a:gd name="f96" fmla="*/ f75 f34 1"/>
                <a:gd name="f97" fmla="*/ f77 f35 1"/>
                <a:gd name="f98" fmla="*/ f76 f35 1"/>
                <a:gd name="f99" fmla="*/ f79 f34 1"/>
                <a:gd name="f100" fmla="*/ f80 f35 1"/>
                <a:gd name="f101" fmla="*/ f81 f34 1"/>
                <a:gd name="f102" fmla="*/ f82 f35 1"/>
                <a:gd name="f103" fmla="*/ f83 f34 1"/>
                <a:gd name="f104" fmla="*/ f84 f35 1"/>
                <a:gd name="f105" fmla="*/ f85 f34 1"/>
                <a:gd name="f106" fmla="*/ f86 f35 1"/>
                <a:gd name="f107" fmla="*/ f87 f34 1"/>
                <a:gd name="f108" fmla="*/ f88 f35 1"/>
                <a:gd name="f109" fmla="*/ f89 f35 1"/>
                <a:gd name="f110" fmla="*/ f90 f34 1"/>
                <a:gd name="f111" fmla="*/ f91 f35 1"/>
                <a:gd name="f112" fmla="*/ f92 f34 1"/>
                <a:gd name="f113" fmla="*/ f93 f35 1"/>
                <a:gd name="f114" fmla="*/ f94 f35 1"/>
              </a:gdLst>
              <a:ahLst/>
              <a:cxnLst>
                <a:cxn ang="3cd4">
                  <a:pos x="hc" y="t"/>
                </a:cxn>
                <a:cxn ang="0">
                  <a:pos x="r" y="vc"/>
                </a:cxn>
                <a:cxn ang="cd4">
                  <a:pos x="hc" y="b"/>
                </a:cxn>
                <a:cxn ang="cd2">
                  <a:pos x="l" y="vc"/>
                </a:cxn>
                <a:cxn ang="f78">
                  <a:pos x="f99" y="f100"/>
                </a:cxn>
                <a:cxn ang="f78">
                  <a:pos x="f101" y="f102"/>
                </a:cxn>
                <a:cxn ang="f78">
                  <a:pos x="f103" y="f104"/>
                </a:cxn>
                <a:cxn ang="f78">
                  <a:pos x="f105" y="f106"/>
                </a:cxn>
                <a:cxn ang="f78">
                  <a:pos x="f107" y="f108"/>
                </a:cxn>
                <a:cxn ang="f78">
                  <a:pos x="f107" y="f109"/>
                </a:cxn>
                <a:cxn ang="f78">
                  <a:pos x="f110" y="f111"/>
                </a:cxn>
                <a:cxn ang="f78">
                  <a:pos x="f112" y="f113"/>
                </a:cxn>
                <a:cxn ang="f78">
                  <a:pos x="f99" y="f114"/>
                </a:cxn>
              </a:cxnLst>
              <a:rect l="f95" t="f98" r="f96" b="f97"/>
              <a:pathLst>
                <a:path w="2807368" h="649803">
                  <a:moveTo>
                    <a:pt x="f5" y="f5"/>
                  </a:moveTo>
                  <a:lnTo>
                    <a:pt x="f8" y="f9"/>
                  </a:lnTo>
                  <a:cubicBezTo>
                    <a:pt x="f10" y="f11"/>
                    <a:pt x="f12" y="f13"/>
                    <a:pt x="f14" y="f15"/>
                  </a:cubicBezTo>
                  <a:cubicBezTo>
                    <a:pt x="f16" y="f17"/>
                    <a:pt x="f18" y="f19"/>
                    <a:pt x="f20" y="f21"/>
                  </a:cubicBezTo>
                  <a:lnTo>
                    <a:pt x="f6" y="f22"/>
                  </a:lnTo>
                  <a:lnTo>
                    <a:pt x="f6" y="f23"/>
                  </a:lnTo>
                  <a:lnTo>
                    <a:pt x="f24" y="f25"/>
                  </a:lnTo>
                  <a:cubicBezTo>
                    <a:pt x="f26" y="f27"/>
                    <a:pt x="f28" y="f29"/>
                    <a:pt x="f30" y="f31"/>
                  </a:cubicBezTo>
                  <a:lnTo>
                    <a:pt x="f5" y="f32"/>
                  </a:ln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grpSp>
      <p:sp>
        <p:nvSpPr>
          <p:cNvPr id="7" name="Picture Placeholder 6">
            <a:extLst>
              <a:ext uri="{FF2B5EF4-FFF2-40B4-BE49-F238E27FC236}">
                <a16:creationId xmlns:a16="http://schemas.microsoft.com/office/drawing/2014/main" id="{3ED885B0-53E4-218B-14ED-D415366DAADC}"/>
              </a:ext>
            </a:extLst>
          </p:cNvPr>
          <p:cNvSpPr txBox="1">
            <a:spLocks noGrp="1"/>
          </p:cNvSpPr>
          <p:nvPr>
            <p:ph type="pic" idx="4294967295"/>
          </p:nvPr>
        </p:nvSpPr>
        <p:spPr>
          <a:xfrm>
            <a:off x="2807363" y="457200"/>
            <a:ext cx="8915400" cy="5943600"/>
          </a:xfrm>
        </p:spPr>
        <p:txBody>
          <a:bodyPr/>
          <a:lstStyle>
            <a:lvl1pPr>
              <a:defRPr/>
            </a:lvl1pPr>
          </a:lstStyle>
          <a:p>
            <a:pPr lvl="0"/>
            <a:endParaRPr lang="en-US"/>
          </a:p>
        </p:txBody>
      </p:sp>
      <p:pic>
        <p:nvPicPr>
          <p:cNvPr id="8" name="Picture 14">
            <a:extLst>
              <a:ext uri="{FF2B5EF4-FFF2-40B4-BE49-F238E27FC236}">
                <a16:creationId xmlns:a16="http://schemas.microsoft.com/office/drawing/2014/main" id="{A8AB8D44-7149-B433-F23A-9C12F9F264F3}"/>
              </a:ext>
            </a:extLst>
          </p:cNvPr>
          <p:cNvPicPr>
            <a:picLocks noChangeAspect="1"/>
          </p:cNvPicPr>
          <p:nvPr/>
        </p:nvPicPr>
        <p:blipFill>
          <a:blip r:embed="rId2"/>
          <a:srcRect/>
          <a:stretch>
            <a:fillRect/>
          </a:stretch>
        </p:blipFill>
        <p:spPr>
          <a:xfrm>
            <a:off x="513345" y="4385535"/>
            <a:ext cx="2025313" cy="911940"/>
          </a:xfrm>
          <a:prstGeom prst="rect">
            <a:avLst/>
          </a:prstGeom>
          <a:noFill/>
          <a:ln cap="flat">
            <a:noFill/>
          </a:ln>
        </p:spPr>
      </p:pic>
    </p:spTree>
    <p:extLst>
      <p:ext uri="{BB962C8B-B14F-4D97-AF65-F5344CB8AC3E}">
        <p14:creationId xmlns:p14="http://schemas.microsoft.com/office/powerpoint/2010/main" val="1407904765"/>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11_Cover">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AED7EAF5-9476-B96A-2901-F6AB9DDBBE61}"/>
              </a:ext>
            </a:extLst>
          </p:cNvPr>
          <p:cNvSpPr/>
          <p:nvPr/>
        </p:nvSpPr>
        <p:spPr>
          <a:xfrm>
            <a:off x="902366" y="1294416"/>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1E57C44D-86D2-64BF-F26C-43EDAED3D641}"/>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r>
              <a:rPr lang="en-US"/>
              <a:t>Click to edit Master title style</a:t>
            </a:r>
          </a:p>
        </p:txBody>
      </p:sp>
      <p:sp>
        <p:nvSpPr>
          <p:cNvPr id="4" name="Subtitle 2">
            <a:extLst>
              <a:ext uri="{FF2B5EF4-FFF2-40B4-BE49-F238E27FC236}">
                <a16:creationId xmlns:a16="http://schemas.microsoft.com/office/drawing/2014/main" id="{7CE04652-F204-8453-ECC1-EFAB33E83F7B}"/>
              </a:ext>
            </a:extLst>
          </p:cNvPr>
          <p:cNvSpPr txBox="1">
            <a:spLocks noGrp="1"/>
          </p:cNvSpPr>
          <p:nvPr>
            <p:ph type="subTitle" idx="4294967295"/>
          </p:nvPr>
        </p:nvSpPr>
        <p:spPr>
          <a:xfrm>
            <a:off x="1413305" y="3766861"/>
            <a:ext cx="5194432" cy="986564"/>
          </a:xfrm>
        </p:spPr>
        <p:txBody>
          <a:bodyPr/>
          <a:lstStyle>
            <a:lvl1pPr marL="0" indent="0">
              <a:buNone/>
              <a:defRPr/>
            </a:lvl1pPr>
          </a:lstStyle>
          <a:p>
            <a:pPr lvl="0"/>
            <a:r>
              <a:rPr lang="en-US"/>
              <a:t>Click to edit Master subtitle style</a:t>
            </a:r>
          </a:p>
        </p:txBody>
      </p:sp>
      <p:sp>
        <p:nvSpPr>
          <p:cNvPr id="5" name="Picture Placeholder 21">
            <a:extLst>
              <a:ext uri="{FF2B5EF4-FFF2-40B4-BE49-F238E27FC236}">
                <a16:creationId xmlns:a16="http://schemas.microsoft.com/office/drawing/2014/main" id="{9D0CA94A-19F1-6167-3AAD-9E1681F02063}"/>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grpSp>
        <p:nvGrpSpPr>
          <p:cNvPr id="6" name="Group 26">
            <a:extLst>
              <a:ext uri="{FF2B5EF4-FFF2-40B4-BE49-F238E27FC236}">
                <a16:creationId xmlns:a16="http://schemas.microsoft.com/office/drawing/2014/main" id="{D1C99F0F-5808-0FED-31F9-7BE38822E7EA}"/>
              </a:ext>
            </a:extLst>
          </p:cNvPr>
          <p:cNvGrpSpPr/>
          <p:nvPr/>
        </p:nvGrpSpPr>
        <p:grpSpPr>
          <a:xfrm>
            <a:off x="0" y="5020349"/>
            <a:ext cx="12191996" cy="1837651"/>
            <a:chOff x="0" y="5020348"/>
            <a:chExt cx="12191996" cy="1837651"/>
          </a:xfrm>
        </p:grpSpPr>
        <p:sp>
          <p:nvSpPr>
            <p:cNvPr id="7" name="Freeform 27">
              <a:extLst>
                <a:ext uri="{FF2B5EF4-FFF2-40B4-BE49-F238E27FC236}">
                  <a16:creationId xmlns:a16="http://schemas.microsoft.com/office/drawing/2014/main" id="{CFB858F5-2A2C-3999-061F-B7CB7A16F11F}"/>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8" name="Freeform 28">
              <a:extLst>
                <a:ext uri="{FF2B5EF4-FFF2-40B4-BE49-F238E27FC236}">
                  <a16:creationId xmlns:a16="http://schemas.microsoft.com/office/drawing/2014/main" id="{D249E4DC-D2F0-14F2-1FC6-02E4FE318211}"/>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9" name="Picture 29">
              <a:extLst>
                <a:ext uri="{FF2B5EF4-FFF2-40B4-BE49-F238E27FC236}">
                  <a16:creationId xmlns:a16="http://schemas.microsoft.com/office/drawing/2014/main" id="{6BE01B1D-11D4-E33B-7F13-AC7890043C2D}"/>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924229545"/>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11_Photo Slide">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E4F17DF6-9381-E447-0043-953D129F01D4}"/>
              </a:ext>
            </a:extLst>
          </p:cNvPr>
          <p:cNvSpPr txBox="1">
            <a:spLocks noGrp="1"/>
          </p:cNvSpPr>
          <p:nvPr>
            <p:ph type="body" idx="4294967295"/>
          </p:nvPr>
        </p:nvSpPr>
        <p:spPr>
          <a:xfrm>
            <a:off x="457200" y="1146255"/>
            <a:ext cx="2350172" cy="2971800"/>
          </a:xfrm>
        </p:spPr>
        <p:txBody>
          <a:bodyPr/>
          <a:lstStyle>
            <a:lvl1pPr marL="0" indent="0">
              <a:buNone/>
              <a:defRPr/>
            </a:lvl1pPr>
          </a:lstStyle>
          <a:p>
            <a:pPr lvl="0"/>
            <a:r>
              <a:rPr lang="en-US"/>
              <a:t>Click to edit Master text styles</a:t>
            </a:r>
          </a:p>
        </p:txBody>
      </p:sp>
      <p:cxnSp>
        <p:nvCxnSpPr>
          <p:cNvPr id="3" name="Straight Connector 5">
            <a:extLst>
              <a:ext uri="{FF2B5EF4-FFF2-40B4-BE49-F238E27FC236}">
                <a16:creationId xmlns:a16="http://schemas.microsoft.com/office/drawing/2014/main" id="{328F1944-6D77-63BE-DCA2-1D6D1B630148}"/>
              </a:ext>
            </a:extLst>
          </p:cNvPr>
          <p:cNvCxnSpPr/>
          <p:nvPr/>
        </p:nvCxnSpPr>
        <p:spPr>
          <a:xfrm>
            <a:off x="457201" y="947985"/>
            <a:ext cx="2350163" cy="0"/>
          </a:xfrm>
          <a:prstGeom prst="straightConnector1">
            <a:avLst/>
          </a:prstGeom>
          <a:noFill/>
          <a:ln w="31747" cap="flat">
            <a:solidFill>
              <a:srgbClr val="F58366"/>
            </a:solidFill>
            <a:prstDash val="solid"/>
            <a:miter/>
          </a:ln>
        </p:spPr>
      </p:cxnSp>
      <p:grpSp>
        <p:nvGrpSpPr>
          <p:cNvPr id="4" name="Group 2">
            <a:extLst>
              <a:ext uri="{FF2B5EF4-FFF2-40B4-BE49-F238E27FC236}">
                <a16:creationId xmlns:a16="http://schemas.microsoft.com/office/drawing/2014/main" id="{CE51E0B0-48B9-AD9F-C07C-089F1B977002}"/>
              </a:ext>
            </a:extLst>
          </p:cNvPr>
          <p:cNvGrpSpPr/>
          <p:nvPr/>
        </p:nvGrpSpPr>
        <p:grpSpPr>
          <a:xfrm>
            <a:off x="1" y="5379425"/>
            <a:ext cx="2807363" cy="753895"/>
            <a:chOff x="0" y="5379424"/>
            <a:chExt cx="2807363" cy="753895"/>
          </a:xfrm>
        </p:grpSpPr>
        <p:sp>
          <p:nvSpPr>
            <p:cNvPr id="5" name="Freeform 21">
              <a:extLst>
                <a:ext uri="{FF2B5EF4-FFF2-40B4-BE49-F238E27FC236}">
                  <a16:creationId xmlns:a16="http://schemas.microsoft.com/office/drawing/2014/main" id="{89D62AB8-46A8-CE11-F631-0E188ED70205}"/>
                </a:ext>
              </a:extLst>
            </p:cNvPr>
            <p:cNvSpPr/>
            <p:nvPr/>
          </p:nvSpPr>
          <p:spPr>
            <a:xfrm>
              <a:off x="0" y="5532513"/>
              <a:ext cx="2807363" cy="600806"/>
            </a:xfrm>
            <a:custGeom>
              <a:avLst/>
              <a:gdLst>
                <a:gd name="f0" fmla="val 10800000"/>
                <a:gd name="f1" fmla="val 5400000"/>
                <a:gd name="f2" fmla="val 180"/>
                <a:gd name="f3" fmla="val w"/>
                <a:gd name="f4" fmla="val h"/>
                <a:gd name="f5" fmla="val 0"/>
                <a:gd name="f6" fmla="val 2807368"/>
                <a:gd name="f7" fmla="val 600807"/>
                <a:gd name="f8" fmla="val 429971"/>
                <a:gd name="f9" fmla="val 123998"/>
                <a:gd name="f10" fmla="val 1184765"/>
                <a:gd name="f11" fmla="val 325331"/>
                <a:gd name="f12" fmla="val 2014184"/>
                <a:gd name="f13" fmla="val 392492"/>
                <a:gd name="f14" fmla="val 2790212"/>
                <a:gd name="f15" fmla="val 235402"/>
                <a:gd name="f16" fmla="val 231522"/>
                <a:gd name="f17" fmla="val 566106"/>
                <a:gd name="f18" fmla="val 2593885"/>
                <a:gd name="f19" fmla="val 587498"/>
                <a:gd name="f20" fmla="val 1673646"/>
                <a:gd name="f21" fmla="val 651184"/>
                <a:gd name="f22" fmla="val 884869"/>
                <a:gd name="f23" fmla="val 479260"/>
                <a:gd name="f24" fmla="val 100844"/>
                <a:gd name="f25" fmla="val 222653"/>
                <a:gd name="f26" fmla="val 188389"/>
                <a:gd name="f27" fmla="+- 0 0 -90"/>
                <a:gd name="f28" fmla="*/ f3 1 2807368"/>
                <a:gd name="f29" fmla="*/ f4 1 600807"/>
                <a:gd name="f30" fmla="+- f7 0 f5"/>
                <a:gd name="f31" fmla="+- f6 0 f5"/>
                <a:gd name="f32" fmla="*/ f27 f0 1"/>
                <a:gd name="f33" fmla="*/ f31 1 2807368"/>
                <a:gd name="f34" fmla="*/ f30 1 600807"/>
                <a:gd name="f35" fmla="*/ 0 f31 1"/>
                <a:gd name="f36" fmla="*/ 0 f30 1"/>
                <a:gd name="f37" fmla="*/ 429971 f31 1"/>
                <a:gd name="f38" fmla="*/ 123998 f30 1"/>
                <a:gd name="f39" fmla="*/ 2790212 f31 1"/>
                <a:gd name="f40" fmla="*/ 235402 f30 1"/>
                <a:gd name="f41" fmla="*/ 2807368 f31 1"/>
                <a:gd name="f42" fmla="*/ 231522 f30 1"/>
                <a:gd name="f43" fmla="*/ 566106 f30 1"/>
                <a:gd name="f44" fmla="*/ 2593885 f31 1"/>
                <a:gd name="f45" fmla="*/ 587498 f30 1"/>
                <a:gd name="f46" fmla="*/ 100844 f31 1"/>
                <a:gd name="f47" fmla="*/ 222653 f30 1"/>
                <a:gd name="f48" fmla="*/ 188389 f30 1"/>
                <a:gd name="f49" fmla="*/ f32 1 f2"/>
                <a:gd name="f50" fmla="*/ f35 1 2807368"/>
                <a:gd name="f51" fmla="*/ f36 1 600807"/>
                <a:gd name="f52" fmla="*/ f37 1 2807368"/>
                <a:gd name="f53" fmla="*/ f38 1 600807"/>
                <a:gd name="f54" fmla="*/ f39 1 2807368"/>
                <a:gd name="f55" fmla="*/ f40 1 600807"/>
                <a:gd name="f56" fmla="*/ f41 1 2807368"/>
                <a:gd name="f57" fmla="*/ f42 1 600807"/>
                <a:gd name="f58" fmla="*/ f43 1 600807"/>
                <a:gd name="f59" fmla="*/ f44 1 2807368"/>
                <a:gd name="f60" fmla="*/ f45 1 600807"/>
                <a:gd name="f61" fmla="*/ f46 1 2807368"/>
                <a:gd name="f62" fmla="*/ f47 1 600807"/>
                <a:gd name="f63" fmla="*/ f48 1 600807"/>
                <a:gd name="f64" fmla="*/ f5 1 f33"/>
                <a:gd name="f65" fmla="*/ f6 1 f33"/>
                <a:gd name="f66" fmla="*/ f5 1 f34"/>
                <a:gd name="f67" fmla="*/ f7 1 f34"/>
                <a:gd name="f68" fmla="+- f49 0 f1"/>
                <a:gd name="f69" fmla="*/ f50 1 f33"/>
                <a:gd name="f70" fmla="*/ f51 1 f34"/>
                <a:gd name="f71" fmla="*/ f52 1 f33"/>
                <a:gd name="f72" fmla="*/ f53 1 f34"/>
                <a:gd name="f73" fmla="*/ f54 1 f33"/>
                <a:gd name="f74" fmla="*/ f55 1 f34"/>
                <a:gd name="f75" fmla="*/ f56 1 f33"/>
                <a:gd name="f76" fmla="*/ f57 1 f34"/>
                <a:gd name="f77" fmla="*/ f58 1 f34"/>
                <a:gd name="f78" fmla="*/ f59 1 f33"/>
                <a:gd name="f79" fmla="*/ f60 1 f34"/>
                <a:gd name="f80" fmla="*/ f61 1 f33"/>
                <a:gd name="f81" fmla="*/ f62 1 f34"/>
                <a:gd name="f82" fmla="*/ f63 1 f34"/>
                <a:gd name="f83" fmla="*/ f64 f28 1"/>
                <a:gd name="f84" fmla="*/ f65 f28 1"/>
                <a:gd name="f85" fmla="*/ f67 f29 1"/>
                <a:gd name="f86" fmla="*/ f66 f29 1"/>
                <a:gd name="f87" fmla="*/ f69 f28 1"/>
                <a:gd name="f88" fmla="*/ f70 f29 1"/>
                <a:gd name="f89" fmla="*/ f71 f28 1"/>
                <a:gd name="f90" fmla="*/ f72 f29 1"/>
                <a:gd name="f91" fmla="*/ f73 f28 1"/>
                <a:gd name="f92" fmla="*/ f74 f29 1"/>
                <a:gd name="f93" fmla="*/ f75 f28 1"/>
                <a:gd name="f94" fmla="*/ f76 f29 1"/>
                <a:gd name="f95" fmla="*/ f77 f29 1"/>
                <a:gd name="f96" fmla="*/ f78 f28 1"/>
                <a:gd name="f97" fmla="*/ f79 f29 1"/>
                <a:gd name="f98" fmla="*/ f80 f28 1"/>
                <a:gd name="f99" fmla="*/ f81 f29 1"/>
                <a:gd name="f100" fmla="*/ f82 f29 1"/>
              </a:gdLst>
              <a:ahLst/>
              <a:cxnLst>
                <a:cxn ang="3cd4">
                  <a:pos x="hc" y="t"/>
                </a:cxn>
                <a:cxn ang="0">
                  <a:pos x="r" y="vc"/>
                </a:cxn>
                <a:cxn ang="cd4">
                  <a:pos x="hc" y="b"/>
                </a:cxn>
                <a:cxn ang="cd2">
                  <a:pos x="l" y="vc"/>
                </a:cxn>
                <a:cxn ang="f68">
                  <a:pos x="f87" y="f88"/>
                </a:cxn>
                <a:cxn ang="f68">
                  <a:pos x="f89" y="f90"/>
                </a:cxn>
                <a:cxn ang="f68">
                  <a:pos x="f91" y="f92"/>
                </a:cxn>
                <a:cxn ang="f68">
                  <a:pos x="f93" y="f94"/>
                </a:cxn>
                <a:cxn ang="f68">
                  <a:pos x="f93" y="f95"/>
                </a:cxn>
                <a:cxn ang="f68">
                  <a:pos x="f96" y="f97"/>
                </a:cxn>
                <a:cxn ang="f68">
                  <a:pos x="f98" y="f99"/>
                </a:cxn>
                <a:cxn ang="f68">
                  <a:pos x="f87" y="f100"/>
                </a:cxn>
              </a:cxnLst>
              <a:rect l="f83" t="f86" r="f84" b="f85"/>
              <a:pathLst>
                <a:path w="2807368" h="600807">
                  <a:moveTo>
                    <a:pt x="f5" y="f5"/>
                  </a:moveTo>
                  <a:lnTo>
                    <a:pt x="f8" y="f9"/>
                  </a:lnTo>
                  <a:cubicBezTo>
                    <a:pt x="f10" y="f11"/>
                    <a:pt x="f12" y="f13"/>
                    <a:pt x="f14" y="f15"/>
                  </a:cubicBezTo>
                  <a:lnTo>
                    <a:pt x="f6" y="f16"/>
                  </a:lnTo>
                  <a:lnTo>
                    <a:pt x="f6" y="f17"/>
                  </a:lnTo>
                  <a:lnTo>
                    <a:pt x="f18" y="f19"/>
                  </a:lnTo>
                  <a:cubicBezTo>
                    <a:pt x="f20" y="f21"/>
                    <a:pt x="f22" y="f23"/>
                    <a:pt x="f24" y="f25"/>
                  </a:cubicBezTo>
                  <a:lnTo>
                    <a:pt x="f5" y="f26"/>
                  </a:ln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Freeform 19">
              <a:extLst>
                <a:ext uri="{FF2B5EF4-FFF2-40B4-BE49-F238E27FC236}">
                  <a16:creationId xmlns:a16="http://schemas.microsoft.com/office/drawing/2014/main" id="{C117B1AE-BFC3-CE11-A551-5543C2FED4EF}"/>
                </a:ext>
              </a:extLst>
            </p:cNvPr>
            <p:cNvSpPr/>
            <p:nvPr/>
          </p:nvSpPr>
          <p:spPr>
            <a:xfrm>
              <a:off x="0" y="5379424"/>
              <a:ext cx="2807363" cy="649800"/>
            </a:xfrm>
            <a:custGeom>
              <a:avLst/>
              <a:gdLst>
                <a:gd name="f0" fmla="val 10800000"/>
                <a:gd name="f1" fmla="val 5400000"/>
                <a:gd name="f2" fmla="val 180"/>
                <a:gd name="f3" fmla="val w"/>
                <a:gd name="f4" fmla="val h"/>
                <a:gd name="f5" fmla="val 0"/>
                <a:gd name="f6" fmla="val 2807368"/>
                <a:gd name="f7" fmla="val 649803"/>
                <a:gd name="f8" fmla="val 282676"/>
                <a:gd name="f9" fmla="val 70799"/>
                <a:gd name="f10" fmla="val 435964"/>
                <a:gd name="f11" fmla="val 106085"/>
                <a:gd name="f12" fmla="val 588770"/>
                <a:gd name="f13" fmla="val 137629"/>
                <a:gd name="f14" fmla="val 740881"/>
                <a:gd name="f15" fmla="val 163828"/>
                <a:gd name="f16" fmla="val 1362800"/>
                <a:gd name="f17" fmla="val 270912"/>
                <a:gd name="f18" fmla="val 2067879"/>
                <a:gd name="f19" fmla="val 253759"/>
                <a:gd name="f20" fmla="val 2706471"/>
                <a:gd name="f21" fmla="val 96397"/>
                <a:gd name="f22" fmla="val 67250"/>
                <a:gd name="f23" fmla="val 605551"/>
                <a:gd name="f24" fmla="val 2602685"/>
                <a:gd name="f25" fmla="val 629466"/>
                <a:gd name="f26" fmla="val 1684237"/>
                <a:gd name="f27" fmla="val 708219"/>
                <a:gd name="f28" fmla="val 893252"/>
                <a:gd name="f29" fmla="val 549395"/>
                <a:gd name="f30" fmla="val 105614"/>
                <a:gd name="f31" fmla="val 305882"/>
                <a:gd name="f32" fmla="val 271926"/>
                <a:gd name="f33" fmla="+- 0 0 -90"/>
                <a:gd name="f34" fmla="*/ f3 1 2807368"/>
                <a:gd name="f35" fmla="*/ f4 1 649803"/>
                <a:gd name="f36" fmla="+- f7 0 f5"/>
                <a:gd name="f37" fmla="+- f6 0 f5"/>
                <a:gd name="f38" fmla="*/ f33 f0 1"/>
                <a:gd name="f39" fmla="*/ f37 1 2807368"/>
                <a:gd name="f40" fmla="*/ f36 1 649803"/>
                <a:gd name="f41" fmla="*/ 0 f37 1"/>
                <a:gd name="f42" fmla="*/ 0 f36 1"/>
                <a:gd name="f43" fmla="*/ 282676 f37 1"/>
                <a:gd name="f44" fmla="*/ 70799 f36 1"/>
                <a:gd name="f45" fmla="*/ 740881 f37 1"/>
                <a:gd name="f46" fmla="*/ 163828 f36 1"/>
                <a:gd name="f47" fmla="*/ 2706471 f37 1"/>
                <a:gd name="f48" fmla="*/ 96397 f36 1"/>
                <a:gd name="f49" fmla="*/ 2807368 f37 1"/>
                <a:gd name="f50" fmla="*/ 67250 f36 1"/>
                <a:gd name="f51" fmla="*/ 605551 f36 1"/>
                <a:gd name="f52" fmla="*/ 2602685 f37 1"/>
                <a:gd name="f53" fmla="*/ 629466 f36 1"/>
                <a:gd name="f54" fmla="*/ 105614 f37 1"/>
                <a:gd name="f55" fmla="*/ 305882 f36 1"/>
                <a:gd name="f56" fmla="*/ 271926 f36 1"/>
                <a:gd name="f57" fmla="*/ f38 1 f2"/>
                <a:gd name="f58" fmla="*/ f41 1 2807368"/>
                <a:gd name="f59" fmla="*/ f42 1 649803"/>
                <a:gd name="f60" fmla="*/ f43 1 2807368"/>
                <a:gd name="f61" fmla="*/ f44 1 649803"/>
                <a:gd name="f62" fmla="*/ f45 1 2807368"/>
                <a:gd name="f63" fmla="*/ f46 1 649803"/>
                <a:gd name="f64" fmla="*/ f47 1 2807368"/>
                <a:gd name="f65" fmla="*/ f48 1 649803"/>
                <a:gd name="f66" fmla="*/ f49 1 2807368"/>
                <a:gd name="f67" fmla="*/ f50 1 649803"/>
                <a:gd name="f68" fmla="*/ f51 1 649803"/>
                <a:gd name="f69" fmla="*/ f52 1 2807368"/>
                <a:gd name="f70" fmla="*/ f53 1 649803"/>
                <a:gd name="f71" fmla="*/ f54 1 2807368"/>
                <a:gd name="f72" fmla="*/ f55 1 649803"/>
                <a:gd name="f73" fmla="*/ f56 1 649803"/>
                <a:gd name="f74" fmla="*/ f5 1 f39"/>
                <a:gd name="f75" fmla="*/ f6 1 f39"/>
                <a:gd name="f76" fmla="*/ f5 1 f40"/>
                <a:gd name="f77" fmla="*/ f7 1 f40"/>
                <a:gd name="f78" fmla="+- f57 0 f1"/>
                <a:gd name="f79" fmla="*/ f58 1 f39"/>
                <a:gd name="f80" fmla="*/ f59 1 f40"/>
                <a:gd name="f81" fmla="*/ f60 1 f39"/>
                <a:gd name="f82" fmla="*/ f61 1 f40"/>
                <a:gd name="f83" fmla="*/ f62 1 f39"/>
                <a:gd name="f84" fmla="*/ f63 1 f40"/>
                <a:gd name="f85" fmla="*/ f64 1 f39"/>
                <a:gd name="f86" fmla="*/ f65 1 f40"/>
                <a:gd name="f87" fmla="*/ f66 1 f39"/>
                <a:gd name="f88" fmla="*/ f67 1 f40"/>
                <a:gd name="f89" fmla="*/ f68 1 f40"/>
                <a:gd name="f90" fmla="*/ f69 1 f39"/>
                <a:gd name="f91" fmla="*/ f70 1 f40"/>
                <a:gd name="f92" fmla="*/ f71 1 f39"/>
                <a:gd name="f93" fmla="*/ f72 1 f40"/>
                <a:gd name="f94" fmla="*/ f73 1 f40"/>
                <a:gd name="f95" fmla="*/ f74 f34 1"/>
                <a:gd name="f96" fmla="*/ f75 f34 1"/>
                <a:gd name="f97" fmla="*/ f77 f35 1"/>
                <a:gd name="f98" fmla="*/ f76 f35 1"/>
                <a:gd name="f99" fmla="*/ f79 f34 1"/>
                <a:gd name="f100" fmla="*/ f80 f35 1"/>
                <a:gd name="f101" fmla="*/ f81 f34 1"/>
                <a:gd name="f102" fmla="*/ f82 f35 1"/>
                <a:gd name="f103" fmla="*/ f83 f34 1"/>
                <a:gd name="f104" fmla="*/ f84 f35 1"/>
                <a:gd name="f105" fmla="*/ f85 f34 1"/>
                <a:gd name="f106" fmla="*/ f86 f35 1"/>
                <a:gd name="f107" fmla="*/ f87 f34 1"/>
                <a:gd name="f108" fmla="*/ f88 f35 1"/>
                <a:gd name="f109" fmla="*/ f89 f35 1"/>
                <a:gd name="f110" fmla="*/ f90 f34 1"/>
                <a:gd name="f111" fmla="*/ f91 f35 1"/>
                <a:gd name="f112" fmla="*/ f92 f34 1"/>
                <a:gd name="f113" fmla="*/ f93 f35 1"/>
                <a:gd name="f114" fmla="*/ f94 f35 1"/>
              </a:gdLst>
              <a:ahLst/>
              <a:cxnLst>
                <a:cxn ang="3cd4">
                  <a:pos x="hc" y="t"/>
                </a:cxn>
                <a:cxn ang="0">
                  <a:pos x="r" y="vc"/>
                </a:cxn>
                <a:cxn ang="cd4">
                  <a:pos x="hc" y="b"/>
                </a:cxn>
                <a:cxn ang="cd2">
                  <a:pos x="l" y="vc"/>
                </a:cxn>
                <a:cxn ang="f78">
                  <a:pos x="f99" y="f100"/>
                </a:cxn>
                <a:cxn ang="f78">
                  <a:pos x="f101" y="f102"/>
                </a:cxn>
                <a:cxn ang="f78">
                  <a:pos x="f103" y="f104"/>
                </a:cxn>
                <a:cxn ang="f78">
                  <a:pos x="f105" y="f106"/>
                </a:cxn>
                <a:cxn ang="f78">
                  <a:pos x="f107" y="f108"/>
                </a:cxn>
                <a:cxn ang="f78">
                  <a:pos x="f107" y="f109"/>
                </a:cxn>
                <a:cxn ang="f78">
                  <a:pos x="f110" y="f111"/>
                </a:cxn>
                <a:cxn ang="f78">
                  <a:pos x="f112" y="f113"/>
                </a:cxn>
                <a:cxn ang="f78">
                  <a:pos x="f99" y="f114"/>
                </a:cxn>
              </a:cxnLst>
              <a:rect l="f95" t="f98" r="f96" b="f97"/>
              <a:pathLst>
                <a:path w="2807368" h="649803">
                  <a:moveTo>
                    <a:pt x="f5" y="f5"/>
                  </a:moveTo>
                  <a:lnTo>
                    <a:pt x="f8" y="f9"/>
                  </a:lnTo>
                  <a:cubicBezTo>
                    <a:pt x="f10" y="f11"/>
                    <a:pt x="f12" y="f13"/>
                    <a:pt x="f14" y="f15"/>
                  </a:cubicBezTo>
                  <a:cubicBezTo>
                    <a:pt x="f16" y="f17"/>
                    <a:pt x="f18" y="f19"/>
                    <a:pt x="f20" y="f21"/>
                  </a:cubicBezTo>
                  <a:lnTo>
                    <a:pt x="f6" y="f22"/>
                  </a:lnTo>
                  <a:lnTo>
                    <a:pt x="f6" y="f23"/>
                  </a:lnTo>
                  <a:lnTo>
                    <a:pt x="f24" y="f25"/>
                  </a:lnTo>
                  <a:cubicBezTo>
                    <a:pt x="f26" y="f27"/>
                    <a:pt x="f28" y="f29"/>
                    <a:pt x="f30" y="f31"/>
                  </a:cubicBezTo>
                  <a:lnTo>
                    <a:pt x="f5" y="f32"/>
                  </a:ln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grpSp>
      <p:sp>
        <p:nvSpPr>
          <p:cNvPr id="7" name="Picture Placeholder 6">
            <a:extLst>
              <a:ext uri="{FF2B5EF4-FFF2-40B4-BE49-F238E27FC236}">
                <a16:creationId xmlns:a16="http://schemas.microsoft.com/office/drawing/2014/main" id="{1D3ADCDB-C6EE-6BB4-D722-B95DEEB192AA}"/>
              </a:ext>
            </a:extLst>
          </p:cNvPr>
          <p:cNvSpPr txBox="1">
            <a:spLocks noGrp="1"/>
          </p:cNvSpPr>
          <p:nvPr>
            <p:ph type="pic" idx="4294967295"/>
          </p:nvPr>
        </p:nvSpPr>
        <p:spPr>
          <a:xfrm>
            <a:off x="2807363" y="457200"/>
            <a:ext cx="8915400" cy="5943600"/>
          </a:xfrm>
        </p:spPr>
        <p:txBody>
          <a:bodyPr/>
          <a:lstStyle>
            <a:lvl1pPr>
              <a:defRPr/>
            </a:lvl1pPr>
          </a:lstStyle>
          <a:p>
            <a:pPr lvl="0"/>
            <a:endParaRPr lang="en-US"/>
          </a:p>
        </p:txBody>
      </p:sp>
      <p:pic>
        <p:nvPicPr>
          <p:cNvPr id="8" name="Picture 14">
            <a:extLst>
              <a:ext uri="{FF2B5EF4-FFF2-40B4-BE49-F238E27FC236}">
                <a16:creationId xmlns:a16="http://schemas.microsoft.com/office/drawing/2014/main" id="{3D3A21B5-51DE-F00E-F0E4-356B0D9E43D1}"/>
              </a:ext>
            </a:extLst>
          </p:cNvPr>
          <p:cNvPicPr>
            <a:picLocks noChangeAspect="1"/>
          </p:cNvPicPr>
          <p:nvPr/>
        </p:nvPicPr>
        <p:blipFill>
          <a:blip r:embed="rId2"/>
          <a:srcRect/>
          <a:stretch>
            <a:fillRect/>
          </a:stretch>
        </p:blipFill>
        <p:spPr>
          <a:xfrm>
            <a:off x="513345" y="4385535"/>
            <a:ext cx="2025313" cy="911940"/>
          </a:xfrm>
          <a:prstGeom prst="rect">
            <a:avLst/>
          </a:prstGeom>
          <a:noFill/>
          <a:ln cap="flat">
            <a:noFill/>
          </a:ln>
        </p:spPr>
      </p:pic>
    </p:spTree>
    <p:extLst>
      <p:ext uri="{BB962C8B-B14F-4D97-AF65-F5344CB8AC3E}">
        <p14:creationId xmlns:p14="http://schemas.microsoft.com/office/powerpoint/2010/main" val="1393754825"/>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2FD59C-DD9C-DBE7-315D-EE17902D5F7C}"/>
              </a:ext>
            </a:extLst>
          </p:cNvPr>
          <p:cNvSpPr txBox="1">
            <a:spLocks noGrp="1"/>
          </p:cNvSpPr>
          <p:nvPr>
            <p:ph type="title"/>
          </p:nvPr>
        </p:nvSpPr>
        <p:spPr>
          <a:xfrm>
            <a:off x="513344" y="2633536"/>
            <a:ext cx="5194432" cy="2387598"/>
          </a:xfrm>
        </p:spPr>
        <p:txBody>
          <a:bodyPr anchor="b"/>
          <a:lstStyle>
            <a:lvl1pPr>
              <a:defRPr sz="4000">
                <a:solidFill>
                  <a:srgbClr val="444C55"/>
                </a:solidFill>
              </a:defRPr>
            </a:lvl1pPr>
          </a:lstStyle>
          <a:p>
            <a:pPr lvl="0"/>
            <a:r>
              <a:rPr lang="en-US"/>
              <a:t>Click to edit Master title style</a:t>
            </a:r>
          </a:p>
        </p:txBody>
      </p:sp>
      <p:sp>
        <p:nvSpPr>
          <p:cNvPr id="3" name="Subtitle 2">
            <a:extLst>
              <a:ext uri="{FF2B5EF4-FFF2-40B4-BE49-F238E27FC236}">
                <a16:creationId xmlns:a16="http://schemas.microsoft.com/office/drawing/2014/main" id="{F96B6B4E-9930-D6C2-0B2B-BD06C740691E}"/>
              </a:ext>
            </a:extLst>
          </p:cNvPr>
          <p:cNvSpPr txBox="1">
            <a:spLocks noGrp="1"/>
          </p:cNvSpPr>
          <p:nvPr>
            <p:ph type="subTitle" idx="4294967295"/>
          </p:nvPr>
        </p:nvSpPr>
        <p:spPr>
          <a:xfrm>
            <a:off x="513344" y="5400327"/>
            <a:ext cx="5194432" cy="986564"/>
          </a:xfrm>
        </p:spPr>
        <p:txBody>
          <a:bodyPr/>
          <a:lstStyle>
            <a:lvl1pPr marL="0" indent="0">
              <a:buNone/>
              <a:defRPr/>
            </a:lvl1pPr>
          </a:lstStyle>
          <a:p>
            <a:pPr lvl="0"/>
            <a:r>
              <a:rPr lang="en-US"/>
              <a:t>Click to edit Master subtitle style</a:t>
            </a:r>
          </a:p>
        </p:txBody>
      </p:sp>
      <p:grpSp>
        <p:nvGrpSpPr>
          <p:cNvPr id="4" name="Group 27">
            <a:extLst>
              <a:ext uri="{FF2B5EF4-FFF2-40B4-BE49-F238E27FC236}">
                <a16:creationId xmlns:a16="http://schemas.microsoft.com/office/drawing/2014/main" id="{B2143CD1-9727-FA86-6FB3-438707579C07}"/>
              </a:ext>
            </a:extLst>
          </p:cNvPr>
          <p:cNvGrpSpPr/>
          <p:nvPr/>
        </p:nvGrpSpPr>
        <p:grpSpPr>
          <a:xfrm>
            <a:off x="0" y="0"/>
            <a:ext cx="6418722" cy="1509820"/>
            <a:chOff x="0" y="0"/>
            <a:chExt cx="6418722" cy="1509820"/>
          </a:xfrm>
        </p:grpSpPr>
        <p:sp>
          <p:nvSpPr>
            <p:cNvPr id="5" name="Freeform 29">
              <a:extLst>
                <a:ext uri="{FF2B5EF4-FFF2-40B4-BE49-F238E27FC236}">
                  <a16:creationId xmlns:a16="http://schemas.microsoft.com/office/drawing/2014/main" id="{D19CBD95-4F87-D5A2-220B-A9158E10C88D}"/>
                </a:ext>
              </a:extLst>
            </p:cNvPr>
            <p:cNvSpPr/>
            <p:nvPr/>
          </p:nvSpPr>
          <p:spPr>
            <a:xfrm flipH="1">
              <a:off x="0" y="0"/>
              <a:ext cx="6418722" cy="1509820"/>
            </a:xfrm>
            <a:custGeom>
              <a:avLst/>
              <a:gdLst>
                <a:gd name="f0" fmla="val 10800000"/>
                <a:gd name="f1" fmla="val 5400000"/>
                <a:gd name="f2" fmla="val 180"/>
                <a:gd name="f3" fmla="val w"/>
                <a:gd name="f4" fmla="val h"/>
                <a:gd name="f5" fmla="val 0"/>
                <a:gd name="f6" fmla="val 4669459"/>
                <a:gd name="f7" fmla="val 1098357"/>
                <a:gd name="f8" fmla="val 393099"/>
                <a:gd name="f9" fmla="val 485580"/>
                <a:gd name="f10" fmla="val 28411"/>
                <a:gd name="f11" fmla="val 1068094"/>
                <a:gd name="f12" fmla="val 214503"/>
                <a:gd name="f13" fmla="val 1643165"/>
                <a:gd name="f14" fmla="val 412971"/>
                <a:gd name="f15" fmla="val 2241464"/>
                <a:gd name="f16" fmla="val 572540"/>
                <a:gd name="f17" fmla="val 3009808"/>
                <a:gd name="f18" fmla="val 777487"/>
                <a:gd name="f19" fmla="val 3848273"/>
                <a:gd name="f20" fmla="val 856360"/>
                <a:gd name="f21" fmla="val 4645823"/>
                <a:gd name="f22" fmla="val 731027"/>
                <a:gd name="f23" fmla="val 726784"/>
                <a:gd name="f24" fmla="val 1079503"/>
                <a:gd name="f25" fmla="val 4627787"/>
                <a:gd name="f26" fmla="val 1083679"/>
                <a:gd name="f27" fmla="val 3105555"/>
                <a:gd name="f28" fmla="val 1189027"/>
                <a:gd name="f29" fmla="val 1909512"/>
                <a:gd name="f30" fmla="val 709765"/>
                <a:gd name="f31" fmla="val 568062"/>
                <a:gd name="f32" fmla="val 207626"/>
                <a:gd name="f33" fmla="+- 0 0 -90"/>
                <a:gd name="f34" fmla="*/ f3 1 4669459"/>
                <a:gd name="f35" fmla="*/ f4 1 1098357"/>
                <a:gd name="f36" fmla="+- f7 0 f5"/>
                <a:gd name="f37" fmla="+- f6 0 f5"/>
                <a:gd name="f38" fmla="*/ f33 f0 1"/>
                <a:gd name="f39" fmla="*/ f37 1 4669459"/>
                <a:gd name="f40" fmla="*/ f36 1 1098357"/>
                <a:gd name="f41" fmla="*/ 0 f37 1"/>
                <a:gd name="f42" fmla="*/ 0 f36 1"/>
                <a:gd name="f43" fmla="*/ 393099 f37 1"/>
                <a:gd name="f44" fmla="*/ 485580 f37 1"/>
                <a:gd name="f45" fmla="*/ 28411 f36 1"/>
                <a:gd name="f46" fmla="*/ 2241464 f37 1"/>
                <a:gd name="f47" fmla="*/ 572540 f36 1"/>
                <a:gd name="f48" fmla="*/ 4645823 f37 1"/>
                <a:gd name="f49" fmla="*/ 731027 f36 1"/>
                <a:gd name="f50" fmla="*/ 4669459 f37 1"/>
                <a:gd name="f51" fmla="*/ 726784 f36 1"/>
                <a:gd name="f52" fmla="*/ 1079503 f36 1"/>
                <a:gd name="f53" fmla="*/ 4627787 f37 1"/>
                <a:gd name="f54" fmla="*/ 1083679 f36 1"/>
                <a:gd name="f55" fmla="*/ 568062 f37 1"/>
                <a:gd name="f56" fmla="*/ 207626 f36 1"/>
                <a:gd name="f57" fmla="*/ f38 1 f2"/>
                <a:gd name="f58" fmla="*/ f41 1 4669459"/>
                <a:gd name="f59" fmla="*/ f42 1 1098357"/>
                <a:gd name="f60" fmla="*/ f43 1 4669459"/>
                <a:gd name="f61" fmla="*/ f44 1 4669459"/>
                <a:gd name="f62" fmla="*/ f45 1 1098357"/>
                <a:gd name="f63" fmla="*/ f46 1 4669459"/>
                <a:gd name="f64" fmla="*/ f47 1 1098357"/>
                <a:gd name="f65" fmla="*/ f48 1 4669459"/>
                <a:gd name="f66" fmla="*/ f49 1 1098357"/>
                <a:gd name="f67" fmla="*/ f50 1 4669459"/>
                <a:gd name="f68" fmla="*/ f51 1 1098357"/>
                <a:gd name="f69" fmla="*/ f52 1 1098357"/>
                <a:gd name="f70" fmla="*/ f53 1 4669459"/>
                <a:gd name="f71" fmla="*/ f54 1 1098357"/>
                <a:gd name="f72" fmla="*/ f55 1 4669459"/>
                <a:gd name="f73" fmla="*/ f56 1 1098357"/>
                <a:gd name="f74" fmla="*/ f5 1 f39"/>
                <a:gd name="f75" fmla="*/ f6 1 f39"/>
                <a:gd name="f76" fmla="*/ f5 1 f40"/>
                <a:gd name="f77" fmla="*/ f7 1 f40"/>
                <a:gd name="f78" fmla="+- f57 0 f1"/>
                <a:gd name="f79" fmla="*/ f58 1 f39"/>
                <a:gd name="f80" fmla="*/ f59 1 f40"/>
                <a:gd name="f81" fmla="*/ f60 1 f39"/>
                <a:gd name="f82" fmla="*/ f61 1 f39"/>
                <a:gd name="f83" fmla="*/ f62 1 f40"/>
                <a:gd name="f84" fmla="*/ f63 1 f39"/>
                <a:gd name="f85" fmla="*/ f64 1 f40"/>
                <a:gd name="f86" fmla="*/ f65 1 f39"/>
                <a:gd name="f87" fmla="*/ f66 1 f40"/>
                <a:gd name="f88" fmla="*/ f67 1 f39"/>
                <a:gd name="f89" fmla="*/ f68 1 f40"/>
                <a:gd name="f90" fmla="*/ f69 1 f40"/>
                <a:gd name="f91" fmla="*/ f70 1 f39"/>
                <a:gd name="f92" fmla="*/ f71 1 f40"/>
                <a:gd name="f93" fmla="*/ f72 1 f39"/>
                <a:gd name="f94" fmla="*/ f73 1 f40"/>
                <a:gd name="f95" fmla="*/ f74 f34 1"/>
                <a:gd name="f96" fmla="*/ f75 f34 1"/>
                <a:gd name="f97" fmla="*/ f77 f35 1"/>
                <a:gd name="f98" fmla="*/ f76 f35 1"/>
                <a:gd name="f99" fmla="*/ f79 f34 1"/>
                <a:gd name="f100" fmla="*/ f80 f35 1"/>
                <a:gd name="f101" fmla="*/ f81 f34 1"/>
                <a:gd name="f102" fmla="*/ f82 f34 1"/>
                <a:gd name="f103" fmla="*/ f83 f35 1"/>
                <a:gd name="f104" fmla="*/ f84 f34 1"/>
                <a:gd name="f105" fmla="*/ f85 f35 1"/>
                <a:gd name="f106" fmla="*/ f86 f34 1"/>
                <a:gd name="f107" fmla="*/ f87 f35 1"/>
                <a:gd name="f108" fmla="*/ f88 f34 1"/>
                <a:gd name="f109" fmla="*/ f89 f35 1"/>
                <a:gd name="f110" fmla="*/ f90 f35 1"/>
                <a:gd name="f111" fmla="*/ f91 f34 1"/>
                <a:gd name="f112" fmla="*/ f92 f35 1"/>
                <a:gd name="f113" fmla="*/ f93 f34 1"/>
                <a:gd name="f114" fmla="*/ f94 f35 1"/>
              </a:gdLst>
              <a:ahLst/>
              <a:cxnLst>
                <a:cxn ang="3cd4">
                  <a:pos x="hc" y="t"/>
                </a:cxn>
                <a:cxn ang="0">
                  <a:pos x="r" y="vc"/>
                </a:cxn>
                <a:cxn ang="cd4">
                  <a:pos x="hc" y="b"/>
                </a:cxn>
                <a:cxn ang="cd2">
                  <a:pos x="l" y="vc"/>
                </a:cxn>
                <a:cxn ang="f78">
                  <a:pos x="f99" y="f100"/>
                </a:cxn>
                <a:cxn ang="f78">
                  <a:pos x="f101" y="f100"/>
                </a:cxn>
                <a:cxn ang="f78">
                  <a:pos x="f102" y="f103"/>
                </a:cxn>
                <a:cxn ang="f78">
                  <a:pos x="f104" y="f105"/>
                </a:cxn>
                <a:cxn ang="f78">
                  <a:pos x="f106" y="f107"/>
                </a:cxn>
                <a:cxn ang="f78">
                  <a:pos x="f108" y="f109"/>
                </a:cxn>
                <a:cxn ang="f78">
                  <a:pos x="f108" y="f110"/>
                </a:cxn>
                <a:cxn ang="f78">
                  <a:pos x="f111" y="f112"/>
                </a:cxn>
                <a:cxn ang="f78">
                  <a:pos x="f113" y="f114"/>
                </a:cxn>
              </a:cxnLst>
              <a:rect l="f95" t="f98" r="f96" b="f97"/>
              <a:pathLst>
                <a:path w="4669459" h="1098357">
                  <a:moveTo>
                    <a:pt x="f5" y="f5"/>
                  </a:moveTo>
                  <a:lnTo>
                    <a:pt x="f8" y="f5"/>
                  </a:lnTo>
                  <a:lnTo>
                    <a:pt x="f9" y="f10"/>
                  </a:lnTo>
                  <a:cubicBezTo>
                    <a:pt x="f11" y="f12"/>
                    <a:pt x="f13" y="f14"/>
                    <a:pt x="f15" y="f16"/>
                  </a:cubicBezTo>
                  <a:cubicBezTo>
                    <a:pt x="f17" y="f18"/>
                    <a:pt x="f19" y="f20"/>
                    <a:pt x="f21" y="f22"/>
                  </a:cubicBezTo>
                  <a:lnTo>
                    <a:pt x="f6" y="f23"/>
                  </a:lnTo>
                  <a:lnTo>
                    <a:pt x="f6" y="f24"/>
                  </a:lnTo>
                  <a:lnTo>
                    <a:pt x="f25" y="f26"/>
                  </a:lnTo>
                  <a:cubicBezTo>
                    <a:pt x="f27" y="f28"/>
                    <a:pt x="f29" y="f30"/>
                    <a:pt x="f31" y="f32"/>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30">
              <a:extLst>
                <a:ext uri="{FF2B5EF4-FFF2-40B4-BE49-F238E27FC236}">
                  <a16:creationId xmlns:a16="http://schemas.microsoft.com/office/drawing/2014/main" id="{9A1F9DD5-7A3B-B1EC-B83F-4B7562511D45}"/>
                </a:ext>
              </a:extLst>
            </p:cNvPr>
            <p:cNvSpPr/>
            <p:nvPr/>
          </p:nvSpPr>
          <p:spPr>
            <a:xfrm flipH="1">
              <a:off x="0" y="0"/>
              <a:ext cx="6244227" cy="1352022"/>
            </a:xfrm>
            <a:custGeom>
              <a:avLst/>
              <a:gdLst>
                <a:gd name="f0" fmla="val 10800000"/>
                <a:gd name="f1" fmla="val 5400000"/>
                <a:gd name="f2" fmla="val 180"/>
                <a:gd name="f3" fmla="val w"/>
                <a:gd name="f4" fmla="val h"/>
                <a:gd name="f5" fmla="val 0"/>
                <a:gd name="f6" fmla="val 4542519"/>
                <a:gd name="f7" fmla="val 983565"/>
                <a:gd name="f8" fmla="val 957397"/>
                <a:gd name="f9" fmla="val 4542518"/>
                <a:gd name="f10" fmla="val 957403"/>
                <a:gd name="f11" fmla="val 4510552"/>
                <a:gd name="f12" fmla="val 961138"/>
                <a:gd name="f13" fmla="val 2991282"/>
                <a:gd name="f14" fmla="val 1091409"/>
                <a:gd name="f15" fmla="val 1788278"/>
                <a:gd name="f16" fmla="val 632191"/>
                <a:gd name="f17" fmla="val 439600"/>
                <a:gd name="f18" fmla="val 152515"/>
                <a:gd name="f19" fmla="+- 0 0 -90"/>
                <a:gd name="f20" fmla="*/ f3 1 4542519"/>
                <a:gd name="f21" fmla="*/ f4 1 983565"/>
                <a:gd name="f22" fmla="+- f7 0 f5"/>
                <a:gd name="f23" fmla="+- f6 0 f5"/>
                <a:gd name="f24" fmla="*/ f19 f0 1"/>
                <a:gd name="f25" fmla="*/ f23 1 4542519"/>
                <a:gd name="f26" fmla="*/ f22 1 983565"/>
                <a:gd name="f27" fmla="*/ 0 f23 1"/>
                <a:gd name="f28" fmla="*/ 0 f22 1"/>
                <a:gd name="f29" fmla="*/ 4542519 f23 1"/>
                <a:gd name="f30" fmla="*/ 957397 f22 1"/>
                <a:gd name="f31" fmla="*/ 4542518 f23 1"/>
                <a:gd name="f32" fmla="*/ 957403 f22 1"/>
                <a:gd name="f33" fmla="*/ 4510552 f23 1"/>
                <a:gd name="f34" fmla="*/ 961138 f22 1"/>
                <a:gd name="f35" fmla="*/ 439600 f23 1"/>
                <a:gd name="f36" fmla="*/ 152515 f22 1"/>
                <a:gd name="f37" fmla="*/ f24 1 f2"/>
                <a:gd name="f38" fmla="*/ f27 1 4542519"/>
                <a:gd name="f39" fmla="*/ f28 1 983565"/>
                <a:gd name="f40" fmla="*/ f29 1 4542519"/>
                <a:gd name="f41" fmla="*/ f30 1 983565"/>
                <a:gd name="f42" fmla="*/ f31 1 4542519"/>
                <a:gd name="f43" fmla="*/ f32 1 983565"/>
                <a:gd name="f44" fmla="*/ f33 1 4542519"/>
                <a:gd name="f45" fmla="*/ f34 1 983565"/>
                <a:gd name="f46" fmla="*/ f35 1 4542519"/>
                <a:gd name="f47" fmla="*/ f36 1 983565"/>
                <a:gd name="f48" fmla="*/ f5 1 f25"/>
                <a:gd name="f49" fmla="*/ f6 1 f25"/>
                <a:gd name="f50" fmla="*/ f5 1 f26"/>
                <a:gd name="f51" fmla="*/ f7 1 f26"/>
                <a:gd name="f52" fmla="+- f37 0 f1"/>
                <a:gd name="f53" fmla="*/ f38 1 f25"/>
                <a:gd name="f54" fmla="*/ f39 1 f26"/>
                <a:gd name="f55" fmla="*/ f40 1 f25"/>
                <a:gd name="f56" fmla="*/ f41 1 f26"/>
                <a:gd name="f57" fmla="*/ f42 1 f25"/>
                <a:gd name="f58" fmla="*/ f43 1 f26"/>
                <a:gd name="f59" fmla="*/ f44 1 f25"/>
                <a:gd name="f60" fmla="*/ f45 1 f26"/>
                <a:gd name="f61" fmla="*/ f46 1 f25"/>
                <a:gd name="f62" fmla="*/ f47 1 f26"/>
                <a:gd name="f63" fmla="*/ f48 f20 1"/>
                <a:gd name="f64" fmla="*/ f49 f20 1"/>
                <a:gd name="f65" fmla="*/ f51 f21 1"/>
                <a:gd name="f66" fmla="*/ f50 f21 1"/>
                <a:gd name="f67" fmla="*/ f53 f20 1"/>
                <a:gd name="f68" fmla="*/ f54 f21 1"/>
                <a:gd name="f69" fmla="*/ f55 f20 1"/>
                <a:gd name="f70" fmla="*/ f56 f21 1"/>
                <a:gd name="f71" fmla="*/ f57 f20 1"/>
                <a:gd name="f72" fmla="*/ f58 f21 1"/>
                <a:gd name="f73" fmla="*/ f59 f20 1"/>
                <a:gd name="f74" fmla="*/ f60 f21 1"/>
                <a:gd name="f75" fmla="*/ f61 f20 1"/>
                <a:gd name="f76" fmla="*/ f62 f21 1"/>
              </a:gdLst>
              <a:ahLst/>
              <a:cxnLst>
                <a:cxn ang="3cd4">
                  <a:pos x="hc" y="t"/>
                </a:cxn>
                <a:cxn ang="0">
                  <a:pos x="r" y="vc"/>
                </a:cxn>
                <a:cxn ang="cd4">
                  <a:pos x="hc" y="b"/>
                </a:cxn>
                <a:cxn ang="cd2">
                  <a:pos x="l" y="vc"/>
                </a:cxn>
                <a:cxn ang="f52">
                  <a:pos x="f67" y="f68"/>
                </a:cxn>
                <a:cxn ang="f52">
                  <a:pos x="f69" y="f68"/>
                </a:cxn>
                <a:cxn ang="f52">
                  <a:pos x="f69" y="f70"/>
                </a:cxn>
                <a:cxn ang="f52">
                  <a:pos x="f71" y="f72"/>
                </a:cxn>
                <a:cxn ang="f52">
                  <a:pos x="f73" y="f74"/>
                </a:cxn>
                <a:cxn ang="f52">
                  <a:pos x="f75" y="f76"/>
                </a:cxn>
              </a:cxnLst>
              <a:rect l="f63" t="f66" r="f64" b="f65"/>
              <a:pathLst>
                <a:path w="4542519" h="983565">
                  <a:moveTo>
                    <a:pt x="f5" y="f5"/>
                  </a:moveTo>
                  <a:lnTo>
                    <a:pt x="f6" y="f5"/>
                  </a:lnTo>
                  <a:lnTo>
                    <a:pt x="f6" y="f8"/>
                  </a:lnTo>
                  <a:lnTo>
                    <a:pt x="f9" y="f10"/>
                  </a:lnTo>
                  <a:lnTo>
                    <a:pt x="f11" y="f12"/>
                  </a:lnTo>
                  <a:cubicBezTo>
                    <a:pt x="f13" y="f14"/>
                    <a:pt x="f15" y="f16"/>
                    <a:pt x="f17" y="f18"/>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pic>
        <p:nvPicPr>
          <p:cNvPr id="7" name="Picture 28">
            <a:extLst>
              <a:ext uri="{FF2B5EF4-FFF2-40B4-BE49-F238E27FC236}">
                <a16:creationId xmlns:a16="http://schemas.microsoft.com/office/drawing/2014/main" id="{E9100EC7-16A7-69D9-CBDF-AC3CE3D1EA8A}"/>
              </a:ext>
            </a:extLst>
          </p:cNvPr>
          <p:cNvPicPr>
            <a:picLocks noChangeAspect="1"/>
          </p:cNvPicPr>
          <p:nvPr/>
        </p:nvPicPr>
        <p:blipFill>
          <a:blip r:embed="rId2"/>
          <a:stretch>
            <a:fillRect/>
          </a:stretch>
        </p:blipFill>
        <p:spPr>
          <a:xfrm>
            <a:off x="513345" y="136529"/>
            <a:ext cx="1945203" cy="879972"/>
          </a:xfrm>
          <a:prstGeom prst="rect">
            <a:avLst/>
          </a:prstGeom>
          <a:noFill/>
          <a:ln cap="flat">
            <a:noFill/>
          </a:ln>
        </p:spPr>
      </p:pic>
    </p:spTree>
    <p:extLst>
      <p:ext uri="{BB962C8B-B14F-4D97-AF65-F5344CB8AC3E}">
        <p14:creationId xmlns:p14="http://schemas.microsoft.com/office/powerpoint/2010/main" val="3350986123"/>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p:cSld name="EVERYDAY CONTENT ONLY">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CE0FC225-7706-C0AE-974D-AD5BD3E6DFC5}"/>
              </a:ext>
            </a:extLst>
          </p:cNvPr>
          <p:cNvSpPr/>
          <p:nvPr/>
        </p:nvSpPr>
        <p:spPr>
          <a:xfrm>
            <a:off x="0" y="0"/>
            <a:ext cx="12191996" cy="1313060"/>
          </a:xfrm>
          <a:prstGeom prst="rect">
            <a:avLst/>
          </a:prstGeom>
          <a:gradFill>
            <a:gsLst>
              <a:gs pos="0">
                <a:srgbClr val="1C498B"/>
              </a:gs>
              <a:gs pos="100000">
                <a:srgbClr val="79818A"/>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Shape">
            <a:extLst>
              <a:ext uri="{FF2B5EF4-FFF2-40B4-BE49-F238E27FC236}">
                <a16:creationId xmlns:a16="http://schemas.microsoft.com/office/drawing/2014/main" id="{ED1DA2D0-4DC1-1295-F20F-A5B49D3CF92F}"/>
              </a:ext>
            </a:extLst>
          </p:cNvPr>
          <p:cNvSpPr/>
          <p:nvPr/>
        </p:nvSpPr>
        <p:spPr>
          <a:xfrm>
            <a:off x="6863642" y="16268"/>
            <a:ext cx="5328355" cy="812270"/>
          </a:xfrm>
          <a:custGeom>
            <a:avLst/>
            <a:gdLst>
              <a:gd name="f0" fmla="val 10800000"/>
              <a:gd name="f1" fmla="val 5400000"/>
              <a:gd name="f2" fmla="val 180"/>
              <a:gd name="f3" fmla="val w"/>
              <a:gd name="f4" fmla="val h"/>
              <a:gd name="f5" fmla="val 0"/>
              <a:gd name="f6" fmla="val 21600"/>
              <a:gd name="f7" fmla="val 20619"/>
              <a:gd name="f8" fmla="val 7043"/>
              <a:gd name="f9" fmla="val 1599"/>
              <a:gd name="f10" fmla="val 10431"/>
              <a:gd name="f11" fmla="val 3359"/>
              <a:gd name="f12" fmla="val 12009"/>
              <a:gd name="f13" fmla="val 5125"/>
              <a:gd name="f14" fmla="val 11638"/>
              <a:gd name="f15" fmla="val 8965"/>
              <a:gd name="f16" fmla="val 10834"/>
              <a:gd name="f17" fmla="val 12429"/>
              <a:gd name="f18" fmla="val 1037"/>
              <a:gd name="f19" fmla="val 16255"/>
              <a:gd name="f20" fmla="val 77"/>
              <a:gd name="f21" fmla="val 18093"/>
              <a:gd name="f22" fmla="+- 0 0 385"/>
              <a:gd name="f23" fmla="val 19927"/>
              <a:gd name="f24" fmla="val 1227"/>
              <a:gd name="f25" fmla="val 21590"/>
              <a:gd name="f26" fmla="val 4766"/>
              <a:gd name="f27" fmla="val 14041"/>
              <a:gd name="f28" fmla="val 19718"/>
              <a:gd name="f29" fmla="val 9870"/>
              <a:gd name="f30" fmla="val 17612"/>
              <a:gd name="f31" fmla="val 8157"/>
              <a:gd name="f32" fmla="val 15523"/>
              <a:gd name="f33" fmla="val 9097"/>
              <a:gd name="f34" fmla="val 12138"/>
              <a:gd name="f35" fmla="val 10620"/>
              <a:gd name="f36" fmla="val 9076"/>
              <a:gd name="f37" fmla="val 19001"/>
              <a:gd name="f38" fmla="val 5674"/>
              <a:gd name="f39" fmla="val 20410"/>
              <a:gd name="f40" fmla="val 3728"/>
              <a:gd name="f41" fmla="val 21215"/>
              <a:gd name="f42" fmla="val 1770"/>
              <a:gd name="f43" fmla="val 19679"/>
              <a:gd name="f44" fmla="val 15961"/>
              <a:gd name="f45" fmla="+- 0 0 -90"/>
              <a:gd name="f46" fmla="+- 0 0 -180"/>
              <a:gd name="f47" fmla="+- 0 0 -270"/>
              <a:gd name="f48" fmla="+- 0 0 -360"/>
              <a:gd name="f49" fmla="*/ f3 1 21600"/>
              <a:gd name="f50" fmla="*/ f4 1 20619"/>
              <a:gd name="f51" fmla="+- f7 0 f5"/>
              <a:gd name="f52" fmla="+- f6 0 f5"/>
              <a:gd name="f53" fmla="*/ f45 f0 1"/>
              <a:gd name="f54" fmla="*/ f46 f0 1"/>
              <a:gd name="f55" fmla="*/ f47 f0 1"/>
              <a:gd name="f56" fmla="*/ f48 f0 1"/>
              <a:gd name="f57" fmla="*/ f51 1 2"/>
              <a:gd name="f58" fmla="*/ f52 1 2"/>
              <a:gd name="f59" fmla="*/ f52 1 21600"/>
              <a:gd name="f60" fmla="*/ f51 1 20619"/>
              <a:gd name="f61" fmla="*/ f53 1 f2"/>
              <a:gd name="f62" fmla="*/ f54 1 f2"/>
              <a:gd name="f63" fmla="*/ f55 1 f2"/>
              <a:gd name="f64" fmla="*/ f56 1 f2"/>
              <a:gd name="f65" fmla="*/ f58 1 f59"/>
              <a:gd name="f66" fmla="*/ f57 1 f60"/>
              <a:gd name="f67" fmla="*/ 0 1 f59"/>
              <a:gd name="f68" fmla="*/ f6 1 f59"/>
              <a:gd name="f69" fmla="*/ 0 1 f60"/>
              <a:gd name="f70" fmla="*/ f7 1 f60"/>
              <a:gd name="f71" fmla="+- f61 0 f1"/>
              <a:gd name="f72" fmla="+- f62 0 f1"/>
              <a:gd name="f73" fmla="+- f63 0 f1"/>
              <a:gd name="f74" fmla="+- f64 0 f1"/>
              <a:gd name="f75" fmla="*/ f67 f49 1"/>
              <a:gd name="f76" fmla="*/ f68 f49 1"/>
              <a:gd name="f77" fmla="*/ f70 f50 1"/>
              <a:gd name="f78" fmla="*/ f69 f50 1"/>
              <a:gd name="f79" fmla="*/ f65 f49 1"/>
              <a:gd name="f80" fmla="*/ f66 f50 1"/>
            </a:gdLst>
            <a:ahLst/>
            <a:cxnLst>
              <a:cxn ang="3cd4">
                <a:pos x="hc" y="t"/>
              </a:cxn>
              <a:cxn ang="0">
                <a:pos x="r" y="vc"/>
              </a:cxn>
              <a:cxn ang="cd4">
                <a:pos x="hc" y="b"/>
              </a:cxn>
              <a:cxn ang="cd2">
                <a:pos x="l" y="vc"/>
              </a:cxn>
              <a:cxn ang="f71">
                <a:pos x="f79" y="f80"/>
              </a:cxn>
              <a:cxn ang="f72">
                <a:pos x="f79" y="f80"/>
              </a:cxn>
              <a:cxn ang="f73">
                <a:pos x="f79" y="f80"/>
              </a:cxn>
              <a:cxn ang="f74">
                <a:pos x="f79" y="f80"/>
              </a:cxn>
            </a:cxnLst>
            <a:rect l="f75" t="f78" r="f76" b="f77"/>
            <a:pathLst>
              <a:path w="21600" h="20619">
                <a:moveTo>
                  <a:pt x="f5" y="f8"/>
                </a:moveTo>
                <a:cubicBezTo>
                  <a:pt x="f9" y="f10"/>
                  <a:pt x="f11" y="f12"/>
                  <a:pt x="f13" y="f14"/>
                </a:cubicBezTo>
                <a:cubicBezTo>
                  <a:pt x="f15" y="f16"/>
                  <a:pt x="f17" y="f18"/>
                  <a:pt x="f19" y="f20"/>
                </a:cubicBezTo>
                <a:cubicBezTo>
                  <a:pt x="f21" y="f22"/>
                  <a:pt x="f23" y="f24"/>
                  <a:pt x="f25" y="f26"/>
                </a:cubicBezTo>
                <a:lnTo>
                  <a:pt x="f6" y="f27"/>
                </a:lnTo>
                <a:cubicBezTo>
                  <a:pt x="f28" y="f29"/>
                  <a:pt x="f30" y="f31"/>
                  <a:pt x="f32" y="f33"/>
                </a:cubicBezTo>
                <a:cubicBezTo>
                  <a:pt x="f34" y="f35"/>
                  <a:pt x="f36" y="f37"/>
                  <a:pt x="f38" y="f39"/>
                </a:cubicBezTo>
                <a:cubicBezTo>
                  <a:pt x="f40" y="f41"/>
                  <a:pt x="f42" y="f43"/>
                  <a:pt x="f5" y="f44"/>
                </a:cubicBezTo>
                <a:lnTo>
                  <a:pt x="f5" y="f8"/>
                </a:lnTo>
                <a:close/>
              </a:path>
            </a:pathLst>
          </a:custGeom>
          <a:gradFill>
            <a:gsLst>
              <a:gs pos="0">
                <a:srgbClr val="1C498B">
                  <a:alpha val="0"/>
                </a:srgbClr>
              </a:gs>
              <a:gs pos="100000">
                <a:srgbClr val="1C498B">
                  <a:alpha val="63000"/>
                </a:srgbClr>
              </a:gs>
            </a:gsLst>
            <a:lin ang="0"/>
          </a:gradFill>
          <a:ln cap="flat">
            <a:noFill/>
            <a:prstDash val="solid"/>
          </a:ln>
        </p:spPr>
        <p:txBody>
          <a:bodyPr vert="horz" wrap="square" lIns="0" tIns="0" rIns="0" bIns="0" anchor="ctr" anchorCtr="1" compatLnSpc="1">
            <a:noAutofit/>
          </a:bodyPr>
          <a:lstStyle/>
          <a:p>
            <a:pPr marL="0" marR="0" lvl="0" indent="0" algn="ctr" defTabSz="412772" rtl="0" fontAlgn="auto" hangingPunct="0">
              <a:lnSpc>
                <a:spcPct val="100000"/>
              </a:lnSpc>
              <a:spcBef>
                <a:spcPts val="0"/>
              </a:spcBef>
              <a:spcAft>
                <a:spcPts val="0"/>
              </a:spcAft>
              <a:buNone/>
              <a:tabLst/>
              <a:defRPr sz="2400" b="0" i="0" u="none" strike="noStrike" kern="0" cap="none" spc="0" baseline="0">
                <a:solidFill>
                  <a:srgbClr val="FFFFFF"/>
                </a:solidFill>
                <a:uFillTx/>
                <a:latin typeface="Helvetica Neue Medium"/>
                <a:ea typeface="Helvetica Neue Medium"/>
                <a:cs typeface="Helvetica Neue Medium"/>
              </a:defRPr>
            </a:pPr>
            <a:endParaRPr lang="en-US" sz="1525" b="0" i="0" u="none" strike="noStrike" kern="0" cap="none" spc="0" baseline="0">
              <a:solidFill>
                <a:srgbClr val="FFFFFF"/>
              </a:solidFill>
              <a:uFillTx/>
              <a:latin typeface="Helvetica Neue Medium"/>
              <a:ea typeface="Helvetica Neue Medium"/>
              <a:cs typeface="Helvetica Neue Medium"/>
            </a:endParaRPr>
          </a:p>
        </p:txBody>
      </p:sp>
      <p:sp>
        <p:nvSpPr>
          <p:cNvPr id="4" name="Content Placeholder 2">
            <a:extLst>
              <a:ext uri="{FF2B5EF4-FFF2-40B4-BE49-F238E27FC236}">
                <a16:creationId xmlns:a16="http://schemas.microsoft.com/office/drawing/2014/main" id="{651900D7-75DD-0666-29A8-89192B286A74}"/>
              </a:ext>
            </a:extLst>
          </p:cNvPr>
          <p:cNvSpPr txBox="1">
            <a:spLocks noGrp="1"/>
          </p:cNvSpPr>
          <p:nvPr>
            <p:ph idx="4294967295"/>
          </p:nvPr>
        </p:nvSpPr>
        <p:spPr>
          <a:xfrm>
            <a:off x="508544" y="1707789"/>
            <a:ext cx="11203667" cy="4648571"/>
          </a:xfrm>
        </p:spPr>
        <p:txBody>
          <a:bodyPr/>
          <a:lstStyle>
            <a:lvl1pPr>
              <a:defRPr>
                <a:solidFill>
                  <a:srgbClr val="4C555F"/>
                </a:solidFill>
              </a:defRPr>
            </a:lvl1pPr>
            <a:lvl2pPr>
              <a:defRPr>
                <a:solidFill>
                  <a:srgbClr val="4C555F"/>
                </a:solidFill>
              </a:defRPr>
            </a:lvl2pPr>
            <a:lvl3pPr>
              <a:defRPr>
                <a:solidFill>
                  <a:srgbClr val="4C555F"/>
                </a:solidFill>
              </a:defRPr>
            </a:lvl3pPr>
            <a:lvl4pPr>
              <a:defRPr>
                <a:solidFill>
                  <a:srgbClr val="4C555F"/>
                </a:solidFill>
              </a:defRPr>
            </a:lvl4pPr>
            <a:lvl5pPr>
              <a:defRPr>
                <a:solidFill>
                  <a:srgbClr val="4C555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hape">
            <a:extLst>
              <a:ext uri="{FF2B5EF4-FFF2-40B4-BE49-F238E27FC236}">
                <a16:creationId xmlns:a16="http://schemas.microsoft.com/office/drawing/2014/main" id="{535FAA38-1FB1-55CA-D14D-2A3FFDF52026}"/>
              </a:ext>
            </a:extLst>
          </p:cNvPr>
          <p:cNvSpPr/>
          <p:nvPr/>
        </p:nvSpPr>
        <p:spPr>
          <a:xfrm>
            <a:off x="6863642" y="519644"/>
            <a:ext cx="5328355" cy="812270"/>
          </a:xfrm>
          <a:custGeom>
            <a:avLst/>
            <a:gdLst>
              <a:gd name="f0" fmla="val 10800000"/>
              <a:gd name="f1" fmla="val 5400000"/>
              <a:gd name="f2" fmla="val 180"/>
              <a:gd name="f3" fmla="val w"/>
              <a:gd name="f4" fmla="val h"/>
              <a:gd name="f5" fmla="val 0"/>
              <a:gd name="f6" fmla="val 21600"/>
              <a:gd name="f7" fmla="val 20619"/>
              <a:gd name="f8" fmla="val 7043"/>
              <a:gd name="f9" fmla="val 1599"/>
              <a:gd name="f10" fmla="val 10431"/>
              <a:gd name="f11" fmla="val 3359"/>
              <a:gd name="f12" fmla="val 12009"/>
              <a:gd name="f13" fmla="val 5125"/>
              <a:gd name="f14" fmla="val 11638"/>
              <a:gd name="f15" fmla="val 8965"/>
              <a:gd name="f16" fmla="val 10834"/>
              <a:gd name="f17" fmla="val 12429"/>
              <a:gd name="f18" fmla="val 1037"/>
              <a:gd name="f19" fmla="val 16255"/>
              <a:gd name="f20" fmla="val 77"/>
              <a:gd name="f21" fmla="val 18093"/>
              <a:gd name="f22" fmla="+- 0 0 385"/>
              <a:gd name="f23" fmla="val 19927"/>
              <a:gd name="f24" fmla="val 1227"/>
              <a:gd name="f25" fmla="val 21590"/>
              <a:gd name="f26" fmla="val 4766"/>
              <a:gd name="f27" fmla="val 14041"/>
              <a:gd name="f28" fmla="val 19718"/>
              <a:gd name="f29" fmla="val 9870"/>
              <a:gd name="f30" fmla="val 17612"/>
              <a:gd name="f31" fmla="val 8157"/>
              <a:gd name="f32" fmla="val 15523"/>
              <a:gd name="f33" fmla="val 9097"/>
              <a:gd name="f34" fmla="val 12138"/>
              <a:gd name="f35" fmla="val 10620"/>
              <a:gd name="f36" fmla="val 9076"/>
              <a:gd name="f37" fmla="val 19001"/>
              <a:gd name="f38" fmla="val 5674"/>
              <a:gd name="f39" fmla="val 20410"/>
              <a:gd name="f40" fmla="val 3728"/>
              <a:gd name="f41" fmla="val 21215"/>
              <a:gd name="f42" fmla="val 1770"/>
              <a:gd name="f43" fmla="val 19679"/>
              <a:gd name="f44" fmla="val 15961"/>
              <a:gd name="f45" fmla="+- 0 0 -90"/>
              <a:gd name="f46" fmla="+- 0 0 -180"/>
              <a:gd name="f47" fmla="+- 0 0 -270"/>
              <a:gd name="f48" fmla="+- 0 0 -360"/>
              <a:gd name="f49" fmla="*/ f3 1 21600"/>
              <a:gd name="f50" fmla="*/ f4 1 20619"/>
              <a:gd name="f51" fmla="+- f7 0 f5"/>
              <a:gd name="f52" fmla="+- f6 0 f5"/>
              <a:gd name="f53" fmla="*/ f45 f0 1"/>
              <a:gd name="f54" fmla="*/ f46 f0 1"/>
              <a:gd name="f55" fmla="*/ f47 f0 1"/>
              <a:gd name="f56" fmla="*/ f48 f0 1"/>
              <a:gd name="f57" fmla="*/ f51 1 2"/>
              <a:gd name="f58" fmla="*/ f52 1 2"/>
              <a:gd name="f59" fmla="*/ f52 1 21600"/>
              <a:gd name="f60" fmla="*/ f51 1 20619"/>
              <a:gd name="f61" fmla="*/ f53 1 f2"/>
              <a:gd name="f62" fmla="*/ f54 1 f2"/>
              <a:gd name="f63" fmla="*/ f55 1 f2"/>
              <a:gd name="f64" fmla="*/ f56 1 f2"/>
              <a:gd name="f65" fmla="*/ f58 1 f59"/>
              <a:gd name="f66" fmla="*/ f57 1 f60"/>
              <a:gd name="f67" fmla="*/ 0 1 f59"/>
              <a:gd name="f68" fmla="*/ f6 1 f59"/>
              <a:gd name="f69" fmla="*/ 0 1 f60"/>
              <a:gd name="f70" fmla="*/ f7 1 f60"/>
              <a:gd name="f71" fmla="+- f61 0 f1"/>
              <a:gd name="f72" fmla="+- f62 0 f1"/>
              <a:gd name="f73" fmla="+- f63 0 f1"/>
              <a:gd name="f74" fmla="+- f64 0 f1"/>
              <a:gd name="f75" fmla="*/ f67 f49 1"/>
              <a:gd name="f76" fmla="*/ f68 f49 1"/>
              <a:gd name="f77" fmla="*/ f70 f50 1"/>
              <a:gd name="f78" fmla="*/ f69 f50 1"/>
              <a:gd name="f79" fmla="*/ f65 f49 1"/>
              <a:gd name="f80" fmla="*/ f66 f50 1"/>
            </a:gdLst>
            <a:ahLst/>
            <a:cxnLst>
              <a:cxn ang="3cd4">
                <a:pos x="hc" y="t"/>
              </a:cxn>
              <a:cxn ang="0">
                <a:pos x="r" y="vc"/>
              </a:cxn>
              <a:cxn ang="cd4">
                <a:pos x="hc" y="b"/>
              </a:cxn>
              <a:cxn ang="cd2">
                <a:pos x="l" y="vc"/>
              </a:cxn>
              <a:cxn ang="f71">
                <a:pos x="f79" y="f80"/>
              </a:cxn>
              <a:cxn ang="f72">
                <a:pos x="f79" y="f80"/>
              </a:cxn>
              <a:cxn ang="f73">
                <a:pos x="f79" y="f80"/>
              </a:cxn>
              <a:cxn ang="f74">
                <a:pos x="f79" y="f80"/>
              </a:cxn>
            </a:cxnLst>
            <a:rect l="f75" t="f78" r="f76" b="f77"/>
            <a:pathLst>
              <a:path w="21600" h="20619">
                <a:moveTo>
                  <a:pt x="f5" y="f8"/>
                </a:moveTo>
                <a:cubicBezTo>
                  <a:pt x="f9" y="f10"/>
                  <a:pt x="f11" y="f12"/>
                  <a:pt x="f13" y="f14"/>
                </a:cubicBezTo>
                <a:cubicBezTo>
                  <a:pt x="f15" y="f16"/>
                  <a:pt x="f17" y="f18"/>
                  <a:pt x="f19" y="f20"/>
                </a:cubicBezTo>
                <a:cubicBezTo>
                  <a:pt x="f21" y="f22"/>
                  <a:pt x="f23" y="f24"/>
                  <a:pt x="f25" y="f26"/>
                </a:cubicBezTo>
                <a:lnTo>
                  <a:pt x="f6" y="f27"/>
                </a:lnTo>
                <a:cubicBezTo>
                  <a:pt x="f28" y="f29"/>
                  <a:pt x="f30" y="f31"/>
                  <a:pt x="f32" y="f33"/>
                </a:cubicBezTo>
                <a:cubicBezTo>
                  <a:pt x="f34" y="f35"/>
                  <a:pt x="f36" y="f37"/>
                  <a:pt x="f38" y="f39"/>
                </a:cubicBezTo>
                <a:cubicBezTo>
                  <a:pt x="f40" y="f41"/>
                  <a:pt x="f42" y="f43"/>
                  <a:pt x="f5" y="f44"/>
                </a:cubicBezTo>
                <a:lnTo>
                  <a:pt x="f5" y="f8"/>
                </a:lnTo>
                <a:close/>
              </a:path>
            </a:pathLst>
          </a:custGeom>
          <a:gradFill>
            <a:gsLst>
              <a:gs pos="0">
                <a:srgbClr val="1C498B">
                  <a:alpha val="0"/>
                </a:srgbClr>
              </a:gs>
              <a:gs pos="100000">
                <a:srgbClr val="1C498B">
                  <a:alpha val="63000"/>
                </a:srgbClr>
              </a:gs>
            </a:gsLst>
            <a:lin ang="0"/>
          </a:gradFill>
          <a:ln cap="flat">
            <a:noFill/>
            <a:prstDash val="solid"/>
          </a:ln>
        </p:spPr>
        <p:txBody>
          <a:bodyPr vert="horz" wrap="square" lIns="0" tIns="0" rIns="0" bIns="0" anchor="ctr" anchorCtr="1" compatLnSpc="1">
            <a:noAutofit/>
          </a:bodyPr>
          <a:lstStyle/>
          <a:p>
            <a:pPr marL="0" marR="0" lvl="0" indent="0" algn="ctr" defTabSz="412772" rtl="0" fontAlgn="auto" hangingPunct="0">
              <a:lnSpc>
                <a:spcPct val="100000"/>
              </a:lnSpc>
              <a:spcBef>
                <a:spcPts val="0"/>
              </a:spcBef>
              <a:spcAft>
                <a:spcPts val="0"/>
              </a:spcAft>
              <a:buNone/>
              <a:tabLst/>
              <a:defRPr sz="2400" b="0" i="0" u="none" strike="noStrike" kern="0" cap="none" spc="0" baseline="0">
                <a:solidFill>
                  <a:srgbClr val="FFFFFF"/>
                </a:solidFill>
                <a:uFillTx/>
                <a:latin typeface="Helvetica Neue Medium"/>
                <a:ea typeface="Helvetica Neue Medium"/>
                <a:cs typeface="Helvetica Neue Medium"/>
              </a:defRPr>
            </a:pPr>
            <a:endParaRPr lang="en-US" sz="1525" b="0" i="0" u="none" strike="noStrike" kern="0" cap="none" spc="0" baseline="0">
              <a:solidFill>
                <a:srgbClr val="FFFFFF"/>
              </a:solidFill>
              <a:uFillTx/>
              <a:latin typeface="Helvetica Neue Medium"/>
              <a:ea typeface="Helvetica Neue Medium"/>
              <a:cs typeface="Helvetica Neue Medium"/>
            </a:endParaRPr>
          </a:p>
        </p:txBody>
      </p:sp>
      <p:sp>
        <p:nvSpPr>
          <p:cNvPr id="6" name="Title 1">
            <a:extLst>
              <a:ext uri="{FF2B5EF4-FFF2-40B4-BE49-F238E27FC236}">
                <a16:creationId xmlns:a16="http://schemas.microsoft.com/office/drawing/2014/main" id="{C2838540-4DED-0DEA-2FBE-BA89E5A26B03}"/>
              </a:ext>
            </a:extLst>
          </p:cNvPr>
          <p:cNvSpPr txBox="1">
            <a:spLocks noGrp="1"/>
          </p:cNvSpPr>
          <p:nvPr>
            <p:ph type="title"/>
          </p:nvPr>
        </p:nvSpPr>
        <p:spPr>
          <a:xfrm>
            <a:off x="304796" y="170060"/>
            <a:ext cx="11430000" cy="1143000"/>
          </a:xfrm>
        </p:spPr>
        <p:txBody>
          <a:bodyPr/>
          <a:lstStyle>
            <a:lvl1pPr>
              <a:defRPr sz="3200">
                <a:solidFill>
                  <a:srgbClr val="FFFFFF"/>
                </a:solidFill>
              </a:defRPr>
            </a:lvl1pPr>
          </a:lstStyle>
          <a:p>
            <a:pPr lvl="0"/>
            <a:r>
              <a:rPr lang="en-US"/>
              <a:t>Click to edit Master title style</a:t>
            </a:r>
          </a:p>
        </p:txBody>
      </p:sp>
      <p:sp>
        <p:nvSpPr>
          <p:cNvPr id="7" name="Text Placeholder 4">
            <a:extLst>
              <a:ext uri="{FF2B5EF4-FFF2-40B4-BE49-F238E27FC236}">
                <a16:creationId xmlns:a16="http://schemas.microsoft.com/office/drawing/2014/main" id="{9217D847-6304-8A17-BA66-F6E5FBC3A098}"/>
              </a:ext>
            </a:extLst>
          </p:cNvPr>
          <p:cNvSpPr txBox="1">
            <a:spLocks noGrp="1"/>
          </p:cNvSpPr>
          <p:nvPr>
            <p:ph type="body" idx="4294967295"/>
          </p:nvPr>
        </p:nvSpPr>
        <p:spPr>
          <a:xfrm>
            <a:off x="332184" y="953345"/>
            <a:ext cx="11430109" cy="415923"/>
          </a:xfrm>
        </p:spPr>
        <p:txBody>
          <a:bodyPr>
            <a:normAutofit/>
          </a:bodyPr>
          <a:lstStyle>
            <a:lvl1pPr marL="0" indent="0">
              <a:buNone/>
              <a:defRPr sz="1400">
                <a:solidFill>
                  <a:srgbClr val="FFFFFF"/>
                </a:solidFill>
              </a:defRPr>
            </a:lvl1pPr>
          </a:lstStyle>
          <a:p>
            <a:pPr lvl="0"/>
            <a:r>
              <a:rPr lang="en-US"/>
              <a:t>Subtitle</a:t>
            </a:r>
          </a:p>
        </p:txBody>
      </p:sp>
      <p:cxnSp>
        <p:nvCxnSpPr>
          <p:cNvPr id="8" name="Straight Connector 15">
            <a:extLst>
              <a:ext uri="{FF2B5EF4-FFF2-40B4-BE49-F238E27FC236}">
                <a16:creationId xmlns:a16="http://schemas.microsoft.com/office/drawing/2014/main" id="{6BFFABDA-D881-57B5-2D50-03A7308A1EBD}"/>
              </a:ext>
            </a:extLst>
          </p:cNvPr>
          <p:cNvCxnSpPr/>
          <p:nvPr/>
        </p:nvCxnSpPr>
        <p:spPr>
          <a:xfrm>
            <a:off x="11311722" y="6447270"/>
            <a:ext cx="0" cy="267883"/>
          </a:xfrm>
          <a:prstGeom prst="straightConnector1">
            <a:avLst/>
          </a:prstGeom>
          <a:noFill/>
          <a:ln w="6345" cap="flat">
            <a:solidFill>
              <a:srgbClr val="7F7F7F"/>
            </a:solidFill>
            <a:prstDash val="solid"/>
            <a:miter/>
          </a:ln>
        </p:spPr>
      </p:cxnSp>
      <p:sp>
        <p:nvSpPr>
          <p:cNvPr id="9" name="Slide Number Placeholder 6">
            <a:extLst>
              <a:ext uri="{FF2B5EF4-FFF2-40B4-BE49-F238E27FC236}">
                <a16:creationId xmlns:a16="http://schemas.microsoft.com/office/drawing/2014/main" id="{9128C017-FCF7-AAA6-EA29-A3454BCE49E2}"/>
              </a:ext>
            </a:extLst>
          </p:cNvPr>
          <p:cNvSpPr txBox="1">
            <a:spLocks noGrp="1"/>
          </p:cNvSpPr>
          <p:nvPr>
            <p:ph type="sldNum" sz="quarter" idx="8"/>
          </p:nvPr>
        </p:nvSpPr>
        <p:spPr>
          <a:xfrm>
            <a:off x="11202597" y="6454531"/>
            <a:ext cx="559704" cy="319171"/>
          </a:xfrm>
        </p:spPr>
        <p:txBody>
          <a:bodyPr/>
          <a:lstStyle>
            <a:lvl1pPr>
              <a:defRPr sz="1000">
                <a:solidFill>
                  <a:srgbClr val="7F7F7F"/>
                </a:solidFill>
              </a:defRPr>
            </a:lvl1pPr>
          </a:lstStyle>
          <a:p>
            <a:pPr lvl="0"/>
            <a:fld id="{FE862CA6-2A73-4957-BAAB-10878B4E21FC}" type="slidenum">
              <a:t>‹#›</a:t>
            </a:fld>
            <a:endParaRPr lang="en-US"/>
          </a:p>
        </p:txBody>
      </p:sp>
      <p:pic>
        <p:nvPicPr>
          <p:cNvPr id="10" name="Picture 11">
            <a:extLst>
              <a:ext uri="{FF2B5EF4-FFF2-40B4-BE49-F238E27FC236}">
                <a16:creationId xmlns:a16="http://schemas.microsoft.com/office/drawing/2014/main" id="{C549E272-B245-95BD-7CE3-C56CF0A3891C}"/>
              </a:ext>
            </a:extLst>
          </p:cNvPr>
          <p:cNvPicPr>
            <a:picLocks noChangeAspect="1"/>
          </p:cNvPicPr>
          <p:nvPr/>
        </p:nvPicPr>
        <p:blipFill>
          <a:blip r:embed="rId2"/>
          <a:stretch>
            <a:fillRect/>
          </a:stretch>
        </p:blipFill>
        <p:spPr>
          <a:xfrm>
            <a:off x="9596464" y="6492240"/>
            <a:ext cx="1606134" cy="229240"/>
          </a:xfrm>
          <a:prstGeom prst="rect">
            <a:avLst/>
          </a:prstGeom>
          <a:noFill/>
          <a:ln cap="flat">
            <a:noFill/>
          </a:ln>
        </p:spPr>
      </p:pic>
    </p:spTree>
    <p:extLst>
      <p:ext uri="{BB962C8B-B14F-4D97-AF65-F5344CB8AC3E}">
        <p14:creationId xmlns:p14="http://schemas.microsoft.com/office/powerpoint/2010/main" val="3888654434"/>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p:cSld name="12_Cover">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03D05BE8-2639-76BC-CD86-D5E54280B9BB}"/>
              </a:ext>
            </a:extLst>
          </p:cNvPr>
          <p:cNvSpPr/>
          <p:nvPr/>
        </p:nvSpPr>
        <p:spPr>
          <a:xfrm>
            <a:off x="902366" y="1294416"/>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018FA1AB-B192-6FE3-C300-A52D38EEF54E}"/>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r>
              <a:rPr lang="en-US"/>
              <a:t>Click to edit Master title style</a:t>
            </a:r>
          </a:p>
        </p:txBody>
      </p:sp>
      <p:sp>
        <p:nvSpPr>
          <p:cNvPr id="4" name="Subtitle 2">
            <a:extLst>
              <a:ext uri="{FF2B5EF4-FFF2-40B4-BE49-F238E27FC236}">
                <a16:creationId xmlns:a16="http://schemas.microsoft.com/office/drawing/2014/main" id="{D5A1AF64-5495-C088-054B-2125E2391A4A}"/>
              </a:ext>
            </a:extLst>
          </p:cNvPr>
          <p:cNvSpPr txBox="1">
            <a:spLocks noGrp="1"/>
          </p:cNvSpPr>
          <p:nvPr>
            <p:ph type="subTitle" idx="4294967295"/>
          </p:nvPr>
        </p:nvSpPr>
        <p:spPr>
          <a:xfrm>
            <a:off x="1413305" y="3766861"/>
            <a:ext cx="5194432" cy="986564"/>
          </a:xfrm>
        </p:spPr>
        <p:txBody>
          <a:bodyPr/>
          <a:lstStyle>
            <a:lvl1pPr marL="0" indent="0">
              <a:buNone/>
              <a:defRPr/>
            </a:lvl1pPr>
          </a:lstStyle>
          <a:p>
            <a:pPr lvl="0"/>
            <a:r>
              <a:rPr lang="en-US"/>
              <a:t>Click to edit Master subtitle style</a:t>
            </a:r>
          </a:p>
        </p:txBody>
      </p:sp>
      <p:sp>
        <p:nvSpPr>
          <p:cNvPr id="5" name="Picture Placeholder 21">
            <a:extLst>
              <a:ext uri="{FF2B5EF4-FFF2-40B4-BE49-F238E27FC236}">
                <a16:creationId xmlns:a16="http://schemas.microsoft.com/office/drawing/2014/main" id="{F1FDF448-72DA-6DDF-0A28-EC74FB74E233}"/>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grpSp>
        <p:nvGrpSpPr>
          <p:cNvPr id="6" name="Group 26">
            <a:extLst>
              <a:ext uri="{FF2B5EF4-FFF2-40B4-BE49-F238E27FC236}">
                <a16:creationId xmlns:a16="http://schemas.microsoft.com/office/drawing/2014/main" id="{0831BB2C-8127-249B-F20E-1E058839AA63}"/>
              </a:ext>
            </a:extLst>
          </p:cNvPr>
          <p:cNvGrpSpPr/>
          <p:nvPr/>
        </p:nvGrpSpPr>
        <p:grpSpPr>
          <a:xfrm>
            <a:off x="0" y="5020349"/>
            <a:ext cx="12191996" cy="1837651"/>
            <a:chOff x="0" y="5020348"/>
            <a:chExt cx="12191996" cy="1837651"/>
          </a:xfrm>
        </p:grpSpPr>
        <p:sp>
          <p:nvSpPr>
            <p:cNvPr id="7" name="Freeform 27">
              <a:extLst>
                <a:ext uri="{FF2B5EF4-FFF2-40B4-BE49-F238E27FC236}">
                  <a16:creationId xmlns:a16="http://schemas.microsoft.com/office/drawing/2014/main" id="{D38BAE0B-3D26-EAB2-3FFA-3C051C92CC7D}"/>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8" name="Freeform 28">
              <a:extLst>
                <a:ext uri="{FF2B5EF4-FFF2-40B4-BE49-F238E27FC236}">
                  <a16:creationId xmlns:a16="http://schemas.microsoft.com/office/drawing/2014/main" id="{CF202DCE-7ABA-547D-3594-89B3E47BD6F9}"/>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9" name="Picture 29">
              <a:extLst>
                <a:ext uri="{FF2B5EF4-FFF2-40B4-BE49-F238E27FC236}">
                  <a16:creationId xmlns:a16="http://schemas.microsoft.com/office/drawing/2014/main" id="{54543728-ECD8-57EF-E0E0-81D968E57734}"/>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4534527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5/20/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Cover">
  <p:cSld name="Cover 3">
    <p:spTree>
      <p:nvGrpSpPr>
        <p:cNvPr id="1" name="Shape 9428"/>
        <p:cNvGrpSpPr/>
        <p:nvPr/>
      </p:nvGrpSpPr>
      <p:grpSpPr>
        <a:xfrm>
          <a:off x="0" y="0"/>
          <a:ext cx="0" cy="0"/>
          <a:chOff x="0" y="0"/>
          <a:chExt cx="0" cy="0"/>
        </a:xfrm>
      </p:grpSpPr>
      <p:sp>
        <p:nvSpPr>
          <p:cNvPr id="9429" name="Google Shape;9429;p135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430" name="Google Shape;9430;p135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431" name="Google Shape;9431;p135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432" name="Google Shape;9432;p1354"/>
          <p:cNvSpPr>
            <a:spLocks noGrp="1"/>
          </p:cNvSpPr>
          <p:nvPr>
            <p:ph type="pic" idx="2"/>
          </p:nvPr>
        </p:nvSpPr>
        <p:spPr>
          <a:xfrm>
            <a:off x="7118684" y="233915"/>
            <a:ext cx="5073316" cy="5943600"/>
          </a:xfrm>
          <a:prstGeom prst="rect">
            <a:avLst/>
          </a:prstGeom>
          <a:noFill/>
          <a:ln>
            <a:noFill/>
          </a:ln>
        </p:spPr>
      </p:sp>
      <p:grpSp>
        <p:nvGrpSpPr>
          <p:cNvPr id="9433" name="Google Shape;9433;p1354"/>
          <p:cNvGrpSpPr/>
          <p:nvPr/>
        </p:nvGrpSpPr>
        <p:grpSpPr>
          <a:xfrm>
            <a:off x="0" y="5020348"/>
            <a:ext cx="12192000" cy="1837653"/>
            <a:chOff x="0" y="5020348"/>
            <a:chExt cx="12192000" cy="1837653"/>
          </a:xfrm>
        </p:grpSpPr>
        <p:sp>
          <p:nvSpPr>
            <p:cNvPr id="9434" name="Google Shape;9434;p135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435" name="Google Shape;9435;p135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436" name="Google Shape;9436;p135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p:cSld name="12_Photo Slide">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B8642297-261B-C5E3-8687-FD8A3DA0383B}"/>
              </a:ext>
            </a:extLst>
          </p:cNvPr>
          <p:cNvSpPr txBox="1">
            <a:spLocks noGrp="1"/>
          </p:cNvSpPr>
          <p:nvPr>
            <p:ph type="body" idx="4294967295"/>
          </p:nvPr>
        </p:nvSpPr>
        <p:spPr>
          <a:xfrm>
            <a:off x="457200" y="1146255"/>
            <a:ext cx="2350172" cy="2971800"/>
          </a:xfrm>
        </p:spPr>
        <p:txBody>
          <a:bodyPr/>
          <a:lstStyle>
            <a:lvl1pPr marL="0" indent="0">
              <a:buNone/>
              <a:defRPr/>
            </a:lvl1pPr>
          </a:lstStyle>
          <a:p>
            <a:pPr lvl="0"/>
            <a:r>
              <a:rPr lang="en-US"/>
              <a:t>Click to edit Master text styles</a:t>
            </a:r>
          </a:p>
        </p:txBody>
      </p:sp>
      <p:cxnSp>
        <p:nvCxnSpPr>
          <p:cNvPr id="3" name="Straight Connector 5">
            <a:extLst>
              <a:ext uri="{FF2B5EF4-FFF2-40B4-BE49-F238E27FC236}">
                <a16:creationId xmlns:a16="http://schemas.microsoft.com/office/drawing/2014/main" id="{33C9F07F-4BE1-D3DA-9D9A-DAE5E561B382}"/>
              </a:ext>
            </a:extLst>
          </p:cNvPr>
          <p:cNvCxnSpPr/>
          <p:nvPr/>
        </p:nvCxnSpPr>
        <p:spPr>
          <a:xfrm>
            <a:off x="457201" y="947985"/>
            <a:ext cx="2350163" cy="0"/>
          </a:xfrm>
          <a:prstGeom prst="straightConnector1">
            <a:avLst/>
          </a:prstGeom>
          <a:noFill/>
          <a:ln w="31747" cap="flat">
            <a:solidFill>
              <a:srgbClr val="F58366"/>
            </a:solidFill>
            <a:prstDash val="solid"/>
            <a:miter/>
          </a:ln>
        </p:spPr>
      </p:cxnSp>
      <p:grpSp>
        <p:nvGrpSpPr>
          <p:cNvPr id="4" name="Group 2">
            <a:extLst>
              <a:ext uri="{FF2B5EF4-FFF2-40B4-BE49-F238E27FC236}">
                <a16:creationId xmlns:a16="http://schemas.microsoft.com/office/drawing/2014/main" id="{AF4B488A-3773-FE2F-9317-9B7B94487ECB}"/>
              </a:ext>
            </a:extLst>
          </p:cNvPr>
          <p:cNvGrpSpPr/>
          <p:nvPr/>
        </p:nvGrpSpPr>
        <p:grpSpPr>
          <a:xfrm>
            <a:off x="1" y="5379425"/>
            <a:ext cx="2807363" cy="753895"/>
            <a:chOff x="0" y="5379424"/>
            <a:chExt cx="2807363" cy="753895"/>
          </a:xfrm>
        </p:grpSpPr>
        <p:sp>
          <p:nvSpPr>
            <p:cNvPr id="5" name="Freeform 21">
              <a:extLst>
                <a:ext uri="{FF2B5EF4-FFF2-40B4-BE49-F238E27FC236}">
                  <a16:creationId xmlns:a16="http://schemas.microsoft.com/office/drawing/2014/main" id="{146B0940-7FD7-0F24-DF8A-7C5FAEA1BB6A}"/>
                </a:ext>
              </a:extLst>
            </p:cNvPr>
            <p:cNvSpPr/>
            <p:nvPr/>
          </p:nvSpPr>
          <p:spPr>
            <a:xfrm>
              <a:off x="0" y="5532513"/>
              <a:ext cx="2807363" cy="600806"/>
            </a:xfrm>
            <a:custGeom>
              <a:avLst/>
              <a:gdLst>
                <a:gd name="f0" fmla="val 10800000"/>
                <a:gd name="f1" fmla="val 5400000"/>
                <a:gd name="f2" fmla="val 180"/>
                <a:gd name="f3" fmla="val w"/>
                <a:gd name="f4" fmla="val h"/>
                <a:gd name="f5" fmla="val 0"/>
                <a:gd name="f6" fmla="val 2807368"/>
                <a:gd name="f7" fmla="val 600807"/>
                <a:gd name="f8" fmla="val 429971"/>
                <a:gd name="f9" fmla="val 123998"/>
                <a:gd name="f10" fmla="val 1184765"/>
                <a:gd name="f11" fmla="val 325331"/>
                <a:gd name="f12" fmla="val 2014184"/>
                <a:gd name="f13" fmla="val 392492"/>
                <a:gd name="f14" fmla="val 2790212"/>
                <a:gd name="f15" fmla="val 235402"/>
                <a:gd name="f16" fmla="val 231522"/>
                <a:gd name="f17" fmla="val 566106"/>
                <a:gd name="f18" fmla="val 2593885"/>
                <a:gd name="f19" fmla="val 587498"/>
                <a:gd name="f20" fmla="val 1673646"/>
                <a:gd name="f21" fmla="val 651184"/>
                <a:gd name="f22" fmla="val 884869"/>
                <a:gd name="f23" fmla="val 479260"/>
                <a:gd name="f24" fmla="val 100844"/>
                <a:gd name="f25" fmla="val 222653"/>
                <a:gd name="f26" fmla="val 188389"/>
                <a:gd name="f27" fmla="+- 0 0 -90"/>
                <a:gd name="f28" fmla="*/ f3 1 2807368"/>
                <a:gd name="f29" fmla="*/ f4 1 600807"/>
                <a:gd name="f30" fmla="+- f7 0 f5"/>
                <a:gd name="f31" fmla="+- f6 0 f5"/>
                <a:gd name="f32" fmla="*/ f27 f0 1"/>
                <a:gd name="f33" fmla="*/ f31 1 2807368"/>
                <a:gd name="f34" fmla="*/ f30 1 600807"/>
                <a:gd name="f35" fmla="*/ 0 f31 1"/>
                <a:gd name="f36" fmla="*/ 0 f30 1"/>
                <a:gd name="f37" fmla="*/ 429971 f31 1"/>
                <a:gd name="f38" fmla="*/ 123998 f30 1"/>
                <a:gd name="f39" fmla="*/ 2790212 f31 1"/>
                <a:gd name="f40" fmla="*/ 235402 f30 1"/>
                <a:gd name="f41" fmla="*/ 2807368 f31 1"/>
                <a:gd name="f42" fmla="*/ 231522 f30 1"/>
                <a:gd name="f43" fmla="*/ 566106 f30 1"/>
                <a:gd name="f44" fmla="*/ 2593885 f31 1"/>
                <a:gd name="f45" fmla="*/ 587498 f30 1"/>
                <a:gd name="f46" fmla="*/ 100844 f31 1"/>
                <a:gd name="f47" fmla="*/ 222653 f30 1"/>
                <a:gd name="f48" fmla="*/ 188389 f30 1"/>
                <a:gd name="f49" fmla="*/ f32 1 f2"/>
                <a:gd name="f50" fmla="*/ f35 1 2807368"/>
                <a:gd name="f51" fmla="*/ f36 1 600807"/>
                <a:gd name="f52" fmla="*/ f37 1 2807368"/>
                <a:gd name="f53" fmla="*/ f38 1 600807"/>
                <a:gd name="f54" fmla="*/ f39 1 2807368"/>
                <a:gd name="f55" fmla="*/ f40 1 600807"/>
                <a:gd name="f56" fmla="*/ f41 1 2807368"/>
                <a:gd name="f57" fmla="*/ f42 1 600807"/>
                <a:gd name="f58" fmla="*/ f43 1 600807"/>
                <a:gd name="f59" fmla="*/ f44 1 2807368"/>
                <a:gd name="f60" fmla="*/ f45 1 600807"/>
                <a:gd name="f61" fmla="*/ f46 1 2807368"/>
                <a:gd name="f62" fmla="*/ f47 1 600807"/>
                <a:gd name="f63" fmla="*/ f48 1 600807"/>
                <a:gd name="f64" fmla="*/ f5 1 f33"/>
                <a:gd name="f65" fmla="*/ f6 1 f33"/>
                <a:gd name="f66" fmla="*/ f5 1 f34"/>
                <a:gd name="f67" fmla="*/ f7 1 f34"/>
                <a:gd name="f68" fmla="+- f49 0 f1"/>
                <a:gd name="f69" fmla="*/ f50 1 f33"/>
                <a:gd name="f70" fmla="*/ f51 1 f34"/>
                <a:gd name="f71" fmla="*/ f52 1 f33"/>
                <a:gd name="f72" fmla="*/ f53 1 f34"/>
                <a:gd name="f73" fmla="*/ f54 1 f33"/>
                <a:gd name="f74" fmla="*/ f55 1 f34"/>
                <a:gd name="f75" fmla="*/ f56 1 f33"/>
                <a:gd name="f76" fmla="*/ f57 1 f34"/>
                <a:gd name="f77" fmla="*/ f58 1 f34"/>
                <a:gd name="f78" fmla="*/ f59 1 f33"/>
                <a:gd name="f79" fmla="*/ f60 1 f34"/>
                <a:gd name="f80" fmla="*/ f61 1 f33"/>
                <a:gd name="f81" fmla="*/ f62 1 f34"/>
                <a:gd name="f82" fmla="*/ f63 1 f34"/>
                <a:gd name="f83" fmla="*/ f64 f28 1"/>
                <a:gd name="f84" fmla="*/ f65 f28 1"/>
                <a:gd name="f85" fmla="*/ f67 f29 1"/>
                <a:gd name="f86" fmla="*/ f66 f29 1"/>
                <a:gd name="f87" fmla="*/ f69 f28 1"/>
                <a:gd name="f88" fmla="*/ f70 f29 1"/>
                <a:gd name="f89" fmla="*/ f71 f28 1"/>
                <a:gd name="f90" fmla="*/ f72 f29 1"/>
                <a:gd name="f91" fmla="*/ f73 f28 1"/>
                <a:gd name="f92" fmla="*/ f74 f29 1"/>
                <a:gd name="f93" fmla="*/ f75 f28 1"/>
                <a:gd name="f94" fmla="*/ f76 f29 1"/>
                <a:gd name="f95" fmla="*/ f77 f29 1"/>
                <a:gd name="f96" fmla="*/ f78 f28 1"/>
                <a:gd name="f97" fmla="*/ f79 f29 1"/>
                <a:gd name="f98" fmla="*/ f80 f28 1"/>
                <a:gd name="f99" fmla="*/ f81 f29 1"/>
                <a:gd name="f100" fmla="*/ f82 f29 1"/>
              </a:gdLst>
              <a:ahLst/>
              <a:cxnLst>
                <a:cxn ang="3cd4">
                  <a:pos x="hc" y="t"/>
                </a:cxn>
                <a:cxn ang="0">
                  <a:pos x="r" y="vc"/>
                </a:cxn>
                <a:cxn ang="cd4">
                  <a:pos x="hc" y="b"/>
                </a:cxn>
                <a:cxn ang="cd2">
                  <a:pos x="l" y="vc"/>
                </a:cxn>
                <a:cxn ang="f68">
                  <a:pos x="f87" y="f88"/>
                </a:cxn>
                <a:cxn ang="f68">
                  <a:pos x="f89" y="f90"/>
                </a:cxn>
                <a:cxn ang="f68">
                  <a:pos x="f91" y="f92"/>
                </a:cxn>
                <a:cxn ang="f68">
                  <a:pos x="f93" y="f94"/>
                </a:cxn>
                <a:cxn ang="f68">
                  <a:pos x="f93" y="f95"/>
                </a:cxn>
                <a:cxn ang="f68">
                  <a:pos x="f96" y="f97"/>
                </a:cxn>
                <a:cxn ang="f68">
                  <a:pos x="f98" y="f99"/>
                </a:cxn>
                <a:cxn ang="f68">
                  <a:pos x="f87" y="f100"/>
                </a:cxn>
              </a:cxnLst>
              <a:rect l="f83" t="f86" r="f84" b="f85"/>
              <a:pathLst>
                <a:path w="2807368" h="600807">
                  <a:moveTo>
                    <a:pt x="f5" y="f5"/>
                  </a:moveTo>
                  <a:lnTo>
                    <a:pt x="f8" y="f9"/>
                  </a:lnTo>
                  <a:cubicBezTo>
                    <a:pt x="f10" y="f11"/>
                    <a:pt x="f12" y="f13"/>
                    <a:pt x="f14" y="f15"/>
                  </a:cubicBezTo>
                  <a:lnTo>
                    <a:pt x="f6" y="f16"/>
                  </a:lnTo>
                  <a:lnTo>
                    <a:pt x="f6" y="f17"/>
                  </a:lnTo>
                  <a:lnTo>
                    <a:pt x="f18" y="f19"/>
                  </a:lnTo>
                  <a:cubicBezTo>
                    <a:pt x="f20" y="f21"/>
                    <a:pt x="f22" y="f23"/>
                    <a:pt x="f24" y="f25"/>
                  </a:cubicBezTo>
                  <a:lnTo>
                    <a:pt x="f5" y="f26"/>
                  </a:ln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Freeform 19">
              <a:extLst>
                <a:ext uri="{FF2B5EF4-FFF2-40B4-BE49-F238E27FC236}">
                  <a16:creationId xmlns:a16="http://schemas.microsoft.com/office/drawing/2014/main" id="{4584A7DE-825E-71F5-7634-69852E782522}"/>
                </a:ext>
              </a:extLst>
            </p:cNvPr>
            <p:cNvSpPr/>
            <p:nvPr/>
          </p:nvSpPr>
          <p:spPr>
            <a:xfrm>
              <a:off x="0" y="5379424"/>
              <a:ext cx="2807363" cy="649800"/>
            </a:xfrm>
            <a:custGeom>
              <a:avLst/>
              <a:gdLst>
                <a:gd name="f0" fmla="val 10800000"/>
                <a:gd name="f1" fmla="val 5400000"/>
                <a:gd name="f2" fmla="val 180"/>
                <a:gd name="f3" fmla="val w"/>
                <a:gd name="f4" fmla="val h"/>
                <a:gd name="f5" fmla="val 0"/>
                <a:gd name="f6" fmla="val 2807368"/>
                <a:gd name="f7" fmla="val 649803"/>
                <a:gd name="f8" fmla="val 282676"/>
                <a:gd name="f9" fmla="val 70799"/>
                <a:gd name="f10" fmla="val 435964"/>
                <a:gd name="f11" fmla="val 106085"/>
                <a:gd name="f12" fmla="val 588770"/>
                <a:gd name="f13" fmla="val 137629"/>
                <a:gd name="f14" fmla="val 740881"/>
                <a:gd name="f15" fmla="val 163828"/>
                <a:gd name="f16" fmla="val 1362800"/>
                <a:gd name="f17" fmla="val 270912"/>
                <a:gd name="f18" fmla="val 2067879"/>
                <a:gd name="f19" fmla="val 253759"/>
                <a:gd name="f20" fmla="val 2706471"/>
                <a:gd name="f21" fmla="val 96397"/>
                <a:gd name="f22" fmla="val 67250"/>
                <a:gd name="f23" fmla="val 605551"/>
                <a:gd name="f24" fmla="val 2602685"/>
                <a:gd name="f25" fmla="val 629466"/>
                <a:gd name="f26" fmla="val 1684237"/>
                <a:gd name="f27" fmla="val 708219"/>
                <a:gd name="f28" fmla="val 893252"/>
                <a:gd name="f29" fmla="val 549395"/>
                <a:gd name="f30" fmla="val 105614"/>
                <a:gd name="f31" fmla="val 305882"/>
                <a:gd name="f32" fmla="val 271926"/>
                <a:gd name="f33" fmla="+- 0 0 -90"/>
                <a:gd name="f34" fmla="*/ f3 1 2807368"/>
                <a:gd name="f35" fmla="*/ f4 1 649803"/>
                <a:gd name="f36" fmla="+- f7 0 f5"/>
                <a:gd name="f37" fmla="+- f6 0 f5"/>
                <a:gd name="f38" fmla="*/ f33 f0 1"/>
                <a:gd name="f39" fmla="*/ f37 1 2807368"/>
                <a:gd name="f40" fmla="*/ f36 1 649803"/>
                <a:gd name="f41" fmla="*/ 0 f37 1"/>
                <a:gd name="f42" fmla="*/ 0 f36 1"/>
                <a:gd name="f43" fmla="*/ 282676 f37 1"/>
                <a:gd name="f44" fmla="*/ 70799 f36 1"/>
                <a:gd name="f45" fmla="*/ 740881 f37 1"/>
                <a:gd name="f46" fmla="*/ 163828 f36 1"/>
                <a:gd name="f47" fmla="*/ 2706471 f37 1"/>
                <a:gd name="f48" fmla="*/ 96397 f36 1"/>
                <a:gd name="f49" fmla="*/ 2807368 f37 1"/>
                <a:gd name="f50" fmla="*/ 67250 f36 1"/>
                <a:gd name="f51" fmla="*/ 605551 f36 1"/>
                <a:gd name="f52" fmla="*/ 2602685 f37 1"/>
                <a:gd name="f53" fmla="*/ 629466 f36 1"/>
                <a:gd name="f54" fmla="*/ 105614 f37 1"/>
                <a:gd name="f55" fmla="*/ 305882 f36 1"/>
                <a:gd name="f56" fmla="*/ 271926 f36 1"/>
                <a:gd name="f57" fmla="*/ f38 1 f2"/>
                <a:gd name="f58" fmla="*/ f41 1 2807368"/>
                <a:gd name="f59" fmla="*/ f42 1 649803"/>
                <a:gd name="f60" fmla="*/ f43 1 2807368"/>
                <a:gd name="f61" fmla="*/ f44 1 649803"/>
                <a:gd name="f62" fmla="*/ f45 1 2807368"/>
                <a:gd name="f63" fmla="*/ f46 1 649803"/>
                <a:gd name="f64" fmla="*/ f47 1 2807368"/>
                <a:gd name="f65" fmla="*/ f48 1 649803"/>
                <a:gd name="f66" fmla="*/ f49 1 2807368"/>
                <a:gd name="f67" fmla="*/ f50 1 649803"/>
                <a:gd name="f68" fmla="*/ f51 1 649803"/>
                <a:gd name="f69" fmla="*/ f52 1 2807368"/>
                <a:gd name="f70" fmla="*/ f53 1 649803"/>
                <a:gd name="f71" fmla="*/ f54 1 2807368"/>
                <a:gd name="f72" fmla="*/ f55 1 649803"/>
                <a:gd name="f73" fmla="*/ f56 1 649803"/>
                <a:gd name="f74" fmla="*/ f5 1 f39"/>
                <a:gd name="f75" fmla="*/ f6 1 f39"/>
                <a:gd name="f76" fmla="*/ f5 1 f40"/>
                <a:gd name="f77" fmla="*/ f7 1 f40"/>
                <a:gd name="f78" fmla="+- f57 0 f1"/>
                <a:gd name="f79" fmla="*/ f58 1 f39"/>
                <a:gd name="f80" fmla="*/ f59 1 f40"/>
                <a:gd name="f81" fmla="*/ f60 1 f39"/>
                <a:gd name="f82" fmla="*/ f61 1 f40"/>
                <a:gd name="f83" fmla="*/ f62 1 f39"/>
                <a:gd name="f84" fmla="*/ f63 1 f40"/>
                <a:gd name="f85" fmla="*/ f64 1 f39"/>
                <a:gd name="f86" fmla="*/ f65 1 f40"/>
                <a:gd name="f87" fmla="*/ f66 1 f39"/>
                <a:gd name="f88" fmla="*/ f67 1 f40"/>
                <a:gd name="f89" fmla="*/ f68 1 f40"/>
                <a:gd name="f90" fmla="*/ f69 1 f39"/>
                <a:gd name="f91" fmla="*/ f70 1 f40"/>
                <a:gd name="f92" fmla="*/ f71 1 f39"/>
                <a:gd name="f93" fmla="*/ f72 1 f40"/>
                <a:gd name="f94" fmla="*/ f73 1 f40"/>
                <a:gd name="f95" fmla="*/ f74 f34 1"/>
                <a:gd name="f96" fmla="*/ f75 f34 1"/>
                <a:gd name="f97" fmla="*/ f77 f35 1"/>
                <a:gd name="f98" fmla="*/ f76 f35 1"/>
                <a:gd name="f99" fmla="*/ f79 f34 1"/>
                <a:gd name="f100" fmla="*/ f80 f35 1"/>
                <a:gd name="f101" fmla="*/ f81 f34 1"/>
                <a:gd name="f102" fmla="*/ f82 f35 1"/>
                <a:gd name="f103" fmla="*/ f83 f34 1"/>
                <a:gd name="f104" fmla="*/ f84 f35 1"/>
                <a:gd name="f105" fmla="*/ f85 f34 1"/>
                <a:gd name="f106" fmla="*/ f86 f35 1"/>
                <a:gd name="f107" fmla="*/ f87 f34 1"/>
                <a:gd name="f108" fmla="*/ f88 f35 1"/>
                <a:gd name="f109" fmla="*/ f89 f35 1"/>
                <a:gd name="f110" fmla="*/ f90 f34 1"/>
                <a:gd name="f111" fmla="*/ f91 f35 1"/>
                <a:gd name="f112" fmla="*/ f92 f34 1"/>
                <a:gd name="f113" fmla="*/ f93 f35 1"/>
                <a:gd name="f114" fmla="*/ f94 f35 1"/>
              </a:gdLst>
              <a:ahLst/>
              <a:cxnLst>
                <a:cxn ang="3cd4">
                  <a:pos x="hc" y="t"/>
                </a:cxn>
                <a:cxn ang="0">
                  <a:pos x="r" y="vc"/>
                </a:cxn>
                <a:cxn ang="cd4">
                  <a:pos x="hc" y="b"/>
                </a:cxn>
                <a:cxn ang="cd2">
                  <a:pos x="l" y="vc"/>
                </a:cxn>
                <a:cxn ang="f78">
                  <a:pos x="f99" y="f100"/>
                </a:cxn>
                <a:cxn ang="f78">
                  <a:pos x="f101" y="f102"/>
                </a:cxn>
                <a:cxn ang="f78">
                  <a:pos x="f103" y="f104"/>
                </a:cxn>
                <a:cxn ang="f78">
                  <a:pos x="f105" y="f106"/>
                </a:cxn>
                <a:cxn ang="f78">
                  <a:pos x="f107" y="f108"/>
                </a:cxn>
                <a:cxn ang="f78">
                  <a:pos x="f107" y="f109"/>
                </a:cxn>
                <a:cxn ang="f78">
                  <a:pos x="f110" y="f111"/>
                </a:cxn>
                <a:cxn ang="f78">
                  <a:pos x="f112" y="f113"/>
                </a:cxn>
                <a:cxn ang="f78">
                  <a:pos x="f99" y="f114"/>
                </a:cxn>
              </a:cxnLst>
              <a:rect l="f95" t="f98" r="f96" b="f97"/>
              <a:pathLst>
                <a:path w="2807368" h="649803">
                  <a:moveTo>
                    <a:pt x="f5" y="f5"/>
                  </a:moveTo>
                  <a:lnTo>
                    <a:pt x="f8" y="f9"/>
                  </a:lnTo>
                  <a:cubicBezTo>
                    <a:pt x="f10" y="f11"/>
                    <a:pt x="f12" y="f13"/>
                    <a:pt x="f14" y="f15"/>
                  </a:cubicBezTo>
                  <a:cubicBezTo>
                    <a:pt x="f16" y="f17"/>
                    <a:pt x="f18" y="f19"/>
                    <a:pt x="f20" y="f21"/>
                  </a:cubicBezTo>
                  <a:lnTo>
                    <a:pt x="f6" y="f22"/>
                  </a:lnTo>
                  <a:lnTo>
                    <a:pt x="f6" y="f23"/>
                  </a:lnTo>
                  <a:lnTo>
                    <a:pt x="f24" y="f25"/>
                  </a:lnTo>
                  <a:cubicBezTo>
                    <a:pt x="f26" y="f27"/>
                    <a:pt x="f28" y="f29"/>
                    <a:pt x="f30" y="f31"/>
                  </a:cubicBezTo>
                  <a:lnTo>
                    <a:pt x="f5" y="f32"/>
                  </a:ln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grpSp>
      <p:sp>
        <p:nvSpPr>
          <p:cNvPr id="7" name="Picture Placeholder 6">
            <a:extLst>
              <a:ext uri="{FF2B5EF4-FFF2-40B4-BE49-F238E27FC236}">
                <a16:creationId xmlns:a16="http://schemas.microsoft.com/office/drawing/2014/main" id="{385713B0-7281-383C-14FE-B72585C0507C}"/>
              </a:ext>
            </a:extLst>
          </p:cNvPr>
          <p:cNvSpPr txBox="1">
            <a:spLocks noGrp="1"/>
          </p:cNvSpPr>
          <p:nvPr>
            <p:ph type="pic" idx="4294967295"/>
          </p:nvPr>
        </p:nvSpPr>
        <p:spPr>
          <a:xfrm>
            <a:off x="2807363" y="457200"/>
            <a:ext cx="8915400" cy="5943600"/>
          </a:xfrm>
        </p:spPr>
        <p:txBody>
          <a:bodyPr/>
          <a:lstStyle>
            <a:lvl1pPr>
              <a:defRPr/>
            </a:lvl1pPr>
          </a:lstStyle>
          <a:p>
            <a:pPr lvl="0"/>
            <a:endParaRPr lang="en-US"/>
          </a:p>
        </p:txBody>
      </p:sp>
      <p:pic>
        <p:nvPicPr>
          <p:cNvPr id="8" name="Picture 14">
            <a:extLst>
              <a:ext uri="{FF2B5EF4-FFF2-40B4-BE49-F238E27FC236}">
                <a16:creationId xmlns:a16="http://schemas.microsoft.com/office/drawing/2014/main" id="{5429662C-E887-5BBB-21FF-4859E8CEB46F}"/>
              </a:ext>
            </a:extLst>
          </p:cNvPr>
          <p:cNvPicPr>
            <a:picLocks noChangeAspect="1"/>
          </p:cNvPicPr>
          <p:nvPr/>
        </p:nvPicPr>
        <p:blipFill>
          <a:blip r:embed="rId2"/>
          <a:srcRect/>
          <a:stretch>
            <a:fillRect/>
          </a:stretch>
        </p:blipFill>
        <p:spPr>
          <a:xfrm>
            <a:off x="513345" y="4385535"/>
            <a:ext cx="2025313" cy="911940"/>
          </a:xfrm>
          <a:prstGeom prst="rect">
            <a:avLst/>
          </a:prstGeom>
          <a:noFill/>
          <a:ln cap="flat">
            <a:noFill/>
          </a:ln>
        </p:spPr>
      </p:pic>
    </p:spTree>
    <p:extLst>
      <p:ext uri="{BB962C8B-B14F-4D97-AF65-F5344CB8AC3E}">
        <p14:creationId xmlns:p14="http://schemas.microsoft.com/office/powerpoint/2010/main" val="1038354942"/>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p:cSld name="13_Cover">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93182CDC-DA30-B5BE-43D0-C2941FF74487}"/>
              </a:ext>
            </a:extLst>
          </p:cNvPr>
          <p:cNvSpPr/>
          <p:nvPr/>
        </p:nvSpPr>
        <p:spPr>
          <a:xfrm>
            <a:off x="902366" y="1294416"/>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C388B187-7DE5-D1EF-3D79-9C8C671DD797}"/>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r>
              <a:rPr lang="en-US"/>
              <a:t>Click to edit Master title style</a:t>
            </a:r>
          </a:p>
        </p:txBody>
      </p:sp>
      <p:sp>
        <p:nvSpPr>
          <p:cNvPr id="4" name="Subtitle 2">
            <a:extLst>
              <a:ext uri="{FF2B5EF4-FFF2-40B4-BE49-F238E27FC236}">
                <a16:creationId xmlns:a16="http://schemas.microsoft.com/office/drawing/2014/main" id="{A31C0E67-BC63-7662-7BC4-C6902A50A109}"/>
              </a:ext>
            </a:extLst>
          </p:cNvPr>
          <p:cNvSpPr txBox="1">
            <a:spLocks noGrp="1"/>
          </p:cNvSpPr>
          <p:nvPr>
            <p:ph type="subTitle" idx="4294967295"/>
          </p:nvPr>
        </p:nvSpPr>
        <p:spPr>
          <a:xfrm>
            <a:off x="1413305" y="3766861"/>
            <a:ext cx="5194432" cy="986564"/>
          </a:xfrm>
        </p:spPr>
        <p:txBody>
          <a:bodyPr/>
          <a:lstStyle>
            <a:lvl1pPr marL="0" indent="0">
              <a:buNone/>
              <a:defRPr/>
            </a:lvl1pPr>
          </a:lstStyle>
          <a:p>
            <a:pPr lvl="0"/>
            <a:r>
              <a:rPr lang="en-US"/>
              <a:t>Click to edit Master subtitle style</a:t>
            </a:r>
          </a:p>
        </p:txBody>
      </p:sp>
      <p:sp>
        <p:nvSpPr>
          <p:cNvPr id="5" name="Picture Placeholder 21">
            <a:extLst>
              <a:ext uri="{FF2B5EF4-FFF2-40B4-BE49-F238E27FC236}">
                <a16:creationId xmlns:a16="http://schemas.microsoft.com/office/drawing/2014/main" id="{95593BFD-9B83-2FF1-1D5C-49070F82D881}"/>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grpSp>
        <p:nvGrpSpPr>
          <p:cNvPr id="6" name="Group 26">
            <a:extLst>
              <a:ext uri="{FF2B5EF4-FFF2-40B4-BE49-F238E27FC236}">
                <a16:creationId xmlns:a16="http://schemas.microsoft.com/office/drawing/2014/main" id="{6041CF10-DE79-D7B2-3972-6785B2B29405}"/>
              </a:ext>
            </a:extLst>
          </p:cNvPr>
          <p:cNvGrpSpPr/>
          <p:nvPr/>
        </p:nvGrpSpPr>
        <p:grpSpPr>
          <a:xfrm>
            <a:off x="0" y="5020349"/>
            <a:ext cx="12191996" cy="1837651"/>
            <a:chOff x="0" y="5020348"/>
            <a:chExt cx="12191996" cy="1837651"/>
          </a:xfrm>
        </p:grpSpPr>
        <p:sp>
          <p:nvSpPr>
            <p:cNvPr id="7" name="Freeform 27">
              <a:extLst>
                <a:ext uri="{FF2B5EF4-FFF2-40B4-BE49-F238E27FC236}">
                  <a16:creationId xmlns:a16="http://schemas.microsoft.com/office/drawing/2014/main" id="{EC186E51-319B-703A-0E91-DD39C3A40729}"/>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8" name="Freeform 28">
              <a:extLst>
                <a:ext uri="{FF2B5EF4-FFF2-40B4-BE49-F238E27FC236}">
                  <a16:creationId xmlns:a16="http://schemas.microsoft.com/office/drawing/2014/main" id="{E77B592E-557C-B31A-58C9-C7F5929D2C62}"/>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9" name="Picture 29">
              <a:extLst>
                <a:ext uri="{FF2B5EF4-FFF2-40B4-BE49-F238E27FC236}">
                  <a16:creationId xmlns:a16="http://schemas.microsoft.com/office/drawing/2014/main" id="{52F4C237-B3D9-7FEC-A234-AFF3F20945A7}"/>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3771241539"/>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p:cSld name="13_Photo Slide">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C6FC5FE2-E7DE-FC72-950D-CBEAF279F19A}"/>
              </a:ext>
            </a:extLst>
          </p:cNvPr>
          <p:cNvSpPr txBox="1">
            <a:spLocks noGrp="1"/>
          </p:cNvSpPr>
          <p:nvPr>
            <p:ph type="body" idx="4294967295"/>
          </p:nvPr>
        </p:nvSpPr>
        <p:spPr>
          <a:xfrm>
            <a:off x="457200" y="1146255"/>
            <a:ext cx="2350172" cy="2971800"/>
          </a:xfrm>
        </p:spPr>
        <p:txBody>
          <a:bodyPr/>
          <a:lstStyle>
            <a:lvl1pPr marL="0" indent="0">
              <a:buNone/>
              <a:defRPr/>
            </a:lvl1pPr>
          </a:lstStyle>
          <a:p>
            <a:pPr lvl="0"/>
            <a:r>
              <a:rPr lang="en-US"/>
              <a:t>Click to edit Master text styles</a:t>
            </a:r>
          </a:p>
        </p:txBody>
      </p:sp>
      <p:cxnSp>
        <p:nvCxnSpPr>
          <p:cNvPr id="3" name="Straight Connector 5">
            <a:extLst>
              <a:ext uri="{FF2B5EF4-FFF2-40B4-BE49-F238E27FC236}">
                <a16:creationId xmlns:a16="http://schemas.microsoft.com/office/drawing/2014/main" id="{09120ECB-4886-A722-39F8-3D286AB2A884}"/>
              </a:ext>
            </a:extLst>
          </p:cNvPr>
          <p:cNvCxnSpPr/>
          <p:nvPr/>
        </p:nvCxnSpPr>
        <p:spPr>
          <a:xfrm>
            <a:off x="457201" y="947985"/>
            <a:ext cx="2350163" cy="0"/>
          </a:xfrm>
          <a:prstGeom prst="straightConnector1">
            <a:avLst/>
          </a:prstGeom>
          <a:noFill/>
          <a:ln w="31747" cap="flat">
            <a:solidFill>
              <a:srgbClr val="F58366"/>
            </a:solidFill>
            <a:prstDash val="solid"/>
            <a:miter/>
          </a:ln>
        </p:spPr>
      </p:cxnSp>
      <p:grpSp>
        <p:nvGrpSpPr>
          <p:cNvPr id="4" name="Group 2">
            <a:extLst>
              <a:ext uri="{FF2B5EF4-FFF2-40B4-BE49-F238E27FC236}">
                <a16:creationId xmlns:a16="http://schemas.microsoft.com/office/drawing/2014/main" id="{397D42D6-EF9A-F75B-C08F-7C8C10ADBB16}"/>
              </a:ext>
            </a:extLst>
          </p:cNvPr>
          <p:cNvGrpSpPr/>
          <p:nvPr/>
        </p:nvGrpSpPr>
        <p:grpSpPr>
          <a:xfrm>
            <a:off x="1" y="5379425"/>
            <a:ext cx="2807363" cy="753895"/>
            <a:chOff x="0" y="5379424"/>
            <a:chExt cx="2807363" cy="753895"/>
          </a:xfrm>
        </p:grpSpPr>
        <p:sp>
          <p:nvSpPr>
            <p:cNvPr id="5" name="Freeform 21">
              <a:extLst>
                <a:ext uri="{FF2B5EF4-FFF2-40B4-BE49-F238E27FC236}">
                  <a16:creationId xmlns:a16="http://schemas.microsoft.com/office/drawing/2014/main" id="{A500EE0C-54CE-D09A-C427-69F4251A6A81}"/>
                </a:ext>
              </a:extLst>
            </p:cNvPr>
            <p:cNvSpPr/>
            <p:nvPr/>
          </p:nvSpPr>
          <p:spPr>
            <a:xfrm>
              <a:off x="0" y="5532513"/>
              <a:ext cx="2807363" cy="600806"/>
            </a:xfrm>
            <a:custGeom>
              <a:avLst/>
              <a:gdLst>
                <a:gd name="f0" fmla="val 10800000"/>
                <a:gd name="f1" fmla="val 5400000"/>
                <a:gd name="f2" fmla="val 180"/>
                <a:gd name="f3" fmla="val w"/>
                <a:gd name="f4" fmla="val h"/>
                <a:gd name="f5" fmla="val 0"/>
                <a:gd name="f6" fmla="val 2807368"/>
                <a:gd name="f7" fmla="val 600807"/>
                <a:gd name="f8" fmla="val 429971"/>
                <a:gd name="f9" fmla="val 123998"/>
                <a:gd name="f10" fmla="val 1184765"/>
                <a:gd name="f11" fmla="val 325331"/>
                <a:gd name="f12" fmla="val 2014184"/>
                <a:gd name="f13" fmla="val 392492"/>
                <a:gd name="f14" fmla="val 2790212"/>
                <a:gd name="f15" fmla="val 235402"/>
                <a:gd name="f16" fmla="val 231522"/>
                <a:gd name="f17" fmla="val 566106"/>
                <a:gd name="f18" fmla="val 2593885"/>
                <a:gd name="f19" fmla="val 587498"/>
                <a:gd name="f20" fmla="val 1673646"/>
                <a:gd name="f21" fmla="val 651184"/>
                <a:gd name="f22" fmla="val 884869"/>
                <a:gd name="f23" fmla="val 479260"/>
                <a:gd name="f24" fmla="val 100844"/>
                <a:gd name="f25" fmla="val 222653"/>
                <a:gd name="f26" fmla="val 188389"/>
                <a:gd name="f27" fmla="+- 0 0 -90"/>
                <a:gd name="f28" fmla="*/ f3 1 2807368"/>
                <a:gd name="f29" fmla="*/ f4 1 600807"/>
                <a:gd name="f30" fmla="+- f7 0 f5"/>
                <a:gd name="f31" fmla="+- f6 0 f5"/>
                <a:gd name="f32" fmla="*/ f27 f0 1"/>
                <a:gd name="f33" fmla="*/ f31 1 2807368"/>
                <a:gd name="f34" fmla="*/ f30 1 600807"/>
                <a:gd name="f35" fmla="*/ 0 f31 1"/>
                <a:gd name="f36" fmla="*/ 0 f30 1"/>
                <a:gd name="f37" fmla="*/ 429971 f31 1"/>
                <a:gd name="f38" fmla="*/ 123998 f30 1"/>
                <a:gd name="f39" fmla="*/ 2790212 f31 1"/>
                <a:gd name="f40" fmla="*/ 235402 f30 1"/>
                <a:gd name="f41" fmla="*/ 2807368 f31 1"/>
                <a:gd name="f42" fmla="*/ 231522 f30 1"/>
                <a:gd name="f43" fmla="*/ 566106 f30 1"/>
                <a:gd name="f44" fmla="*/ 2593885 f31 1"/>
                <a:gd name="f45" fmla="*/ 587498 f30 1"/>
                <a:gd name="f46" fmla="*/ 100844 f31 1"/>
                <a:gd name="f47" fmla="*/ 222653 f30 1"/>
                <a:gd name="f48" fmla="*/ 188389 f30 1"/>
                <a:gd name="f49" fmla="*/ f32 1 f2"/>
                <a:gd name="f50" fmla="*/ f35 1 2807368"/>
                <a:gd name="f51" fmla="*/ f36 1 600807"/>
                <a:gd name="f52" fmla="*/ f37 1 2807368"/>
                <a:gd name="f53" fmla="*/ f38 1 600807"/>
                <a:gd name="f54" fmla="*/ f39 1 2807368"/>
                <a:gd name="f55" fmla="*/ f40 1 600807"/>
                <a:gd name="f56" fmla="*/ f41 1 2807368"/>
                <a:gd name="f57" fmla="*/ f42 1 600807"/>
                <a:gd name="f58" fmla="*/ f43 1 600807"/>
                <a:gd name="f59" fmla="*/ f44 1 2807368"/>
                <a:gd name="f60" fmla="*/ f45 1 600807"/>
                <a:gd name="f61" fmla="*/ f46 1 2807368"/>
                <a:gd name="f62" fmla="*/ f47 1 600807"/>
                <a:gd name="f63" fmla="*/ f48 1 600807"/>
                <a:gd name="f64" fmla="*/ f5 1 f33"/>
                <a:gd name="f65" fmla="*/ f6 1 f33"/>
                <a:gd name="f66" fmla="*/ f5 1 f34"/>
                <a:gd name="f67" fmla="*/ f7 1 f34"/>
                <a:gd name="f68" fmla="+- f49 0 f1"/>
                <a:gd name="f69" fmla="*/ f50 1 f33"/>
                <a:gd name="f70" fmla="*/ f51 1 f34"/>
                <a:gd name="f71" fmla="*/ f52 1 f33"/>
                <a:gd name="f72" fmla="*/ f53 1 f34"/>
                <a:gd name="f73" fmla="*/ f54 1 f33"/>
                <a:gd name="f74" fmla="*/ f55 1 f34"/>
                <a:gd name="f75" fmla="*/ f56 1 f33"/>
                <a:gd name="f76" fmla="*/ f57 1 f34"/>
                <a:gd name="f77" fmla="*/ f58 1 f34"/>
                <a:gd name="f78" fmla="*/ f59 1 f33"/>
                <a:gd name="f79" fmla="*/ f60 1 f34"/>
                <a:gd name="f80" fmla="*/ f61 1 f33"/>
                <a:gd name="f81" fmla="*/ f62 1 f34"/>
                <a:gd name="f82" fmla="*/ f63 1 f34"/>
                <a:gd name="f83" fmla="*/ f64 f28 1"/>
                <a:gd name="f84" fmla="*/ f65 f28 1"/>
                <a:gd name="f85" fmla="*/ f67 f29 1"/>
                <a:gd name="f86" fmla="*/ f66 f29 1"/>
                <a:gd name="f87" fmla="*/ f69 f28 1"/>
                <a:gd name="f88" fmla="*/ f70 f29 1"/>
                <a:gd name="f89" fmla="*/ f71 f28 1"/>
                <a:gd name="f90" fmla="*/ f72 f29 1"/>
                <a:gd name="f91" fmla="*/ f73 f28 1"/>
                <a:gd name="f92" fmla="*/ f74 f29 1"/>
                <a:gd name="f93" fmla="*/ f75 f28 1"/>
                <a:gd name="f94" fmla="*/ f76 f29 1"/>
                <a:gd name="f95" fmla="*/ f77 f29 1"/>
                <a:gd name="f96" fmla="*/ f78 f28 1"/>
                <a:gd name="f97" fmla="*/ f79 f29 1"/>
                <a:gd name="f98" fmla="*/ f80 f28 1"/>
                <a:gd name="f99" fmla="*/ f81 f29 1"/>
                <a:gd name="f100" fmla="*/ f82 f29 1"/>
              </a:gdLst>
              <a:ahLst/>
              <a:cxnLst>
                <a:cxn ang="3cd4">
                  <a:pos x="hc" y="t"/>
                </a:cxn>
                <a:cxn ang="0">
                  <a:pos x="r" y="vc"/>
                </a:cxn>
                <a:cxn ang="cd4">
                  <a:pos x="hc" y="b"/>
                </a:cxn>
                <a:cxn ang="cd2">
                  <a:pos x="l" y="vc"/>
                </a:cxn>
                <a:cxn ang="f68">
                  <a:pos x="f87" y="f88"/>
                </a:cxn>
                <a:cxn ang="f68">
                  <a:pos x="f89" y="f90"/>
                </a:cxn>
                <a:cxn ang="f68">
                  <a:pos x="f91" y="f92"/>
                </a:cxn>
                <a:cxn ang="f68">
                  <a:pos x="f93" y="f94"/>
                </a:cxn>
                <a:cxn ang="f68">
                  <a:pos x="f93" y="f95"/>
                </a:cxn>
                <a:cxn ang="f68">
                  <a:pos x="f96" y="f97"/>
                </a:cxn>
                <a:cxn ang="f68">
                  <a:pos x="f98" y="f99"/>
                </a:cxn>
                <a:cxn ang="f68">
                  <a:pos x="f87" y="f100"/>
                </a:cxn>
              </a:cxnLst>
              <a:rect l="f83" t="f86" r="f84" b="f85"/>
              <a:pathLst>
                <a:path w="2807368" h="600807">
                  <a:moveTo>
                    <a:pt x="f5" y="f5"/>
                  </a:moveTo>
                  <a:lnTo>
                    <a:pt x="f8" y="f9"/>
                  </a:lnTo>
                  <a:cubicBezTo>
                    <a:pt x="f10" y="f11"/>
                    <a:pt x="f12" y="f13"/>
                    <a:pt x="f14" y="f15"/>
                  </a:cubicBezTo>
                  <a:lnTo>
                    <a:pt x="f6" y="f16"/>
                  </a:lnTo>
                  <a:lnTo>
                    <a:pt x="f6" y="f17"/>
                  </a:lnTo>
                  <a:lnTo>
                    <a:pt x="f18" y="f19"/>
                  </a:lnTo>
                  <a:cubicBezTo>
                    <a:pt x="f20" y="f21"/>
                    <a:pt x="f22" y="f23"/>
                    <a:pt x="f24" y="f25"/>
                  </a:cubicBezTo>
                  <a:lnTo>
                    <a:pt x="f5" y="f26"/>
                  </a:ln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Freeform 19">
              <a:extLst>
                <a:ext uri="{FF2B5EF4-FFF2-40B4-BE49-F238E27FC236}">
                  <a16:creationId xmlns:a16="http://schemas.microsoft.com/office/drawing/2014/main" id="{8F54D4AE-6B2B-036E-0041-3F441E2C7F93}"/>
                </a:ext>
              </a:extLst>
            </p:cNvPr>
            <p:cNvSpPr/>
            <p:nvPr/>
          </p:nvSpPr>
          <p:spPr>
            <a:xfrm>
              <a:off x="0" y="5379424"/>
              <a:ext cx="2807363" cy="649800"/>
            </a:xfrm>
            <a:custGeom>
              <a:avLst/>
              <a:gdLst>
                <a:gd name="f0" fmla="val 10800000"/>
                <a:gd name="f1" fmla="val 5400000"/>
                <a:gd name="f2" fmla="val 180"/>
                <a:gd name="f3" fmla="val w"/>
                <a:gd name="f4" fmla="val h"/>
                <a:gd name="f5" fmla="val 0"/>
                <a:gd name="f6" fmla="val 2807368"/>
                <a:gd name="f7" fmla="val 649803"/>
                <a:gd name="f8" fmla="val 282676"/>
                <a:gd name="f9" fmla="val 70799"/>
                <a:gd name="f10" fmla="val 435964"/>
                <a:gd name="f11" fmla="val 106085"/>
                <a:gd name="f12" fmla="val 588770"/>
                <a:gd name="f13" fmla="val 137629"/>
                <a:gd name="f14" fmla="val 740881"/>
                <a:gd name="f15" fmla="val 163828"/>
                <a:gd name="f16" fmla="val 1362800"/>
                <a:gd name="f17" fmla="val 270912"/>
                <a:gd name="f18" fmla="val 2067879"/>
                <a:gd name="f19" fmla="val 253759"/>
                <a:gd name="f20" fmla="val 2706471"/>
                <a:gd name="f21" fmla="val 96397"/>
                <a:gd name="f22" fmla="val 67250"/>
                <a:gd name="f23" fmla="val 605551"/>
                <a:gd name="f24" fmla="val 2602685"/>
                <a:gd name="f25" fmla="val 629466"/>
                <a:gd name="f26" fmla="val 1684237"/>
                <a:gd name="f27" fmla="val 708219"/>
                <a:gd name="f28" fmla="val 893252"/>
                <a:gd name="f29" fmla="val 549395"/>
                <a:gd name="f30" fmla="val 105614"/>
                <a:gd name="f31" fmla="val 305882"/>
                <a:gd name="f32" fmla="val 271926"/>
                <a:gd name="f33" fmla="+- 0 0 -90"/>
                <a:gd name="f34" fmla="*/ f3 1 2807368"/>
                <a:gd name="f35" fmla="*/ f4 1 649803"/>
                <a:gd name="f36" fmla="+- f7 0 f5"/>
                <a:gd name="f37" fmla="+- f6 0 f5"/>
                <a:gd name="f38" fmla="*/ f33 f0 1"/>
                <a:gd name="f39" fmla="*/ f37 1 2807368"/>
                <a:gd name="f40" fmla="*/ f36 1 649803"/>
                <a:gd name="f41" fmla="*/ 0 f37 1"/>
                <a:gd name="f42" fmla="*/ 0 f36 1"/>
                <a:gd name="f43" fmla="*/ 282676 f37 1"/>
                <a:gd name="f44" fmla="*/ 70799 f36 1"/>
                <a:gd name="f45" fmla="*/ 740881 f37 1"/>
                <a:gd name="f46" fmla="*/ 163828 f36 1"/>
                <a:gd name="f47" fmla="*/ 2706471 f37 1"/>
                <a:gd name="f48" fmla="*/ 96397 f36 1"/>
                <a:gd name="f49" fmla="*/ 2807368 f37 1"/>
                <a:gd name="f50" fmla="*/ 67250 f36 1"/>
                <a:gd name="f51" fmla="*/ 605551 f36 1"/>
                <a:gd name="f52" fmla="*/ 2602685 f37 1"/>
                <a:gd name="f53" fmla="*/ 629466 f36 1"/>
                <a:gd name="f54" fmla="*/ 105614 f37 1"/>
                <a:gd name="f55" fmla="*/ 305882 f36 1"/>
                <a:gd name="f56" fmla="*/ 271926 f36 1"/>
                <a:gd name="f57" fmla="*/ f38 1 f2"/>
                <a:gd name="f58" fmla="*/ f41 1 2807368"/>
                <a:gd name="f59" fmla="*/ f42 1 649803"/>
                <a:gd name="f60" fmla="*/ f43 1 2807368"/>
                <a:gd name="f61" fmla="*/ f44 1 649803"/>
                <a:gd name="f62" fmla="*/ f45 1 2807368"/>
                <a:gd name="f63" fmla="*/ f46 1 649803"/>
                <a:gd name="f64" fmla="*/ f47 1 2807368"/>
                <a:gd name="f65" fmla="*/ f48 1 649803"/>
                <a:gd name="f66" fmla="*/ f49 1 2807368"/>
                <a:gd name="f67" fmla="*/ f50 1 649803"/>
                <a:gd name="f68" fmla="*/ f51 1 649803"/>
                <a:gd name="f69" fmla="*/ f52 1 2807368"/>
                <a:gd name="f70" fmla="*/ f53 1 649803"/>
                <a:gd name="f71" fmla="*/ f54 1 2807368"/>
                <a:gd name="f72" fmla="*/ f55 1 649803"/>
                <a:gd name="f73" fmla="*/ f56 1 649803"/>
                <a:gd name="f74" fmla="*/ f5 1 f39"/>
                <a:gd name="f75" fmla="*/ f6 1 f39"/>
                <a:gd name="f76" fmla="*/ f5 1 f40"/>
                <a:gd name="f77" fmla="*/ f7 1 f40"/>
                <a:gd name="f78" fmla="+- f57 0 f1"/>
                <a:gd name="f79" fmla="*/ f58 1 f39"/>
                <a:gd name="f80" fmla="*/ f59 1 f40"/>
                <a:gd name="f81" fmla="*/ f60 1 f39"/>
                <a:gd name="f82" fmla="*/ f61 1 f40"/>
                <a:gd name="f83" fmla="*/ f62 1 f39"/>
                <a:gd name="f84" fmla="*/ f63 1 f40"/>
                <a:gd name="f85" fmla="*/ f64 1 f39"/>
                <a:gd name="f86" fmla="*/ f65 1 f40"/>
                <a:gd name="f87" fmla="*/ f66 1 f39"/>
                <a:gd name="f88" fmla="*/ f67 1 f40"/>
                <a:gd name="f89" fmla="*/ f68 1 f40"/>
                <a:gd name="f90" fmla="*/ f69 1 f39"/>
                <a:gd name="f91" fmla="*/ f70 1 f40"/>
                <a:gd name="f92" fmla="*/ f71 1 f39"/>
                <a:gd name="f93" fmla="*/ f72 1 f40"/>
                <a:gd name="f94" fmla="*/ f73 1 f40"/>
                <a:gd name="f95" fmla="*/ f74 f34 1"/>
                <a:gd name="f96" fmla="*/ f75 f34 1"/>
                <a:gd name="f97" fmla="*/ f77 f35 1"/>
                <a:gd name="f98" fmla="*/ f76 f35 1"/>
                <a:gd name="f99" fmla="*/ f79 f34 1"/>
                <a:gd name="f100" fmla="*/ f80 f35 1"/>
                <a:gd name="f101" fmla="*/ f81 f34 1"/>
                <a:gd name="f102" fmla="*/ f82 f35 1"/>
                <a:gd name="f103" fmla="*/ f83 f34 1"/>
                <a:gd name="f104" fmla="*/ f84 f35 1"/>
                <a:gd name="f105" fmla="*/ f85 f34 1"/>
                <a:gd name="f106" fmla="*/ f86 f35 1"/>
                <a:gd name="f107" fmla="*/ f87 f34 1"/>
                <a:gd name="f108" fmla="*/ f88 f35 1"/>
                <a:gd name="f109" fmla="*/ f89 f35 1"/>
                <a:gd name="f110" fmla="*/ f90 f34 1"/>
                <a:gd name="f111" fmla="*/ f91 f35 1"/>
                <a:gd name="f112" fmla="*/ f92 f34 1"/>
                <a:gd name="f113" fmla="*/ f93 f35 1"/>
                <a:gd name="f114" fmla="*/ f94 f35 1"/>
              </a:gdLst>
              <a:ahLst/>
              <a:cxnLst>
                <a:cxn ang="3cd4">
                  <a:pos x="hc" y="t"/>
                </a:cxn>
                <a:cxn ang="0">
                  <a:pos x="r" y="vc"/>
                </a:cxn>
                <a:cxn ang="cd4">
                  <a:pos x="hc" y="b"/>
                </a:cxn>
                <a:cxn ang="cd2">
                  <a:pos x="l" y="vc"/>
                </a:cxn>
                <a:cxn ang="f78">
                  <a:pos x="f99" y="f100"/>
                </a:cxn>
                <a:cxn ang="f78">
                  <a:pos x="f101" y="f102"/>
                </a:cxn>
                <a:cxn ang="f78">
                  <a:pos x="f103" y="f104"/>
                </a:cxn>
                <a:cxn ang="f78">
                  <a:pos x="f105" y="f106"/>
                </a:cxn>
                <a:cxn ang="f78">
                  <a:pos x="f107" y="f108"/>
                </a:cxn>
                <a:cxn ang="f78">
                  <a:pos x="f107" y="f109"/>
                </a:cxn>
                <a:cxn ang="f78">
                  <a:pos x="f110" y="f111"/>
                </a:cxn>
                <a:cxn ang="f78">
                  <a:pos x="f112" y="f113"/>
                </a:cxn>
                <a:cxn ang="f78">
                  <a:pos x="f99" y="f114"/>
                </a:cxn>
              </a:cxnLst>
              <a:rect l="f95" t="f98" r="f96" b="f97"/>
              <a:pathLst>
                <a:path w="2807368" h="649803">
                  <a:moveTo>
                    <a:pt x="f5" y="f5"/>
                  </a:moveTo>
                  <a:lnTo>
                    <a:pt x="f8" y="f9"/>
                  </a:lnTo>
                  <a:cubicBezTo>
                    <a:pt x="f10" y="f11"/>
                    <a:pt x="f12" y="f13"/>
                    <a:pt x="f14" y="f15"/>
                  </a:cubicBezTo>
                  <a:cubicBezTo>
                    <a:pt x="f16" y="f17"/>
                    <a:pt x="f18" y="f19"/>
                    <a:pt x="f20" y="f21"/>
                  </a:cubicBezTo>
                  <a:lnTo>
                    <a:pt x="f6" y="f22"/>
                  </a:lnTo>
                  <a:lnTo>
                    <a:pt x="f6" y="f23"/>
                  </a:lnTo>
                  <a:lnTo>
                    <a:pt x="f24" y="f25"/>
                  </a:lnTo>
                  <a:cubicBezTo>
                    <a:pt x="f26" y="f27"/>
                    <a:pt x="f28" y="f29"/>
                    <a:pt x="f30" y="f31"/>
                  </a:cubicBezTo>
                  <a:lnTo>
                    <a:pt x="f5" y="f32"/>
                  </a:ln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grpSp>
      <p:sp>
        <p:nvSpPr>
          <p:cNvPr id="7" name="Picture Placeholder 6">
            <a:extLst>
              <a:ext uri="{FF2B5EF4-FFF2-40B4-BE49-F238E27FC236}">
                <a16:creationId xmlns:a16="http://schemas.microsoft.com/office/drawing/2014/main" id="{413F825B-E954-E621-1744-5497E79970D7}"/>
              </a:ext>
            </a:extLst>
          </p:cNvPr>
          <p:cNvSpPr txBox="1">
            <a:spLocks noGrp="1"/>
          </p:cNvSpPr>
          <p:nvPr>
            <p:ph type="pic" idx="4294967295"/>
          </p:nvPr>
        </p:nvSpPr>
        <p:spPr>
          <a:xfrm>
            <a:off x="2807363" y="457200"/>
            <a:ext cx="8915400" cy="5943600"/>
          </a:xfrm>
        </p:spPr>
        <p:txBody>
          <a:bodyPr/>
          <a:lstStyle>
            <a:lvl1pPr>
              <a:defRPr/>
            </a:lvl1pPr>
          </a:lstStyle>
          <a:p>
            <a:pPr lvl="0"/>
            <a:endParaRPr lang="en-US"/>
          </a:p>
        </p:txBody>
      </p:sp>
      <p:pic>
        <p:nvPicPr>
          <p:cNvPr id="8" name="Picture 14">
            <a:extLst>
              <a:ext uri="{FF2B5EF4-FFF2-40B4-BE49-F238E27FC236}">
                <a16:creationId xmlns:a16="http://schemas.microsoft.com/office/drawing/2014/main" id="{C36C66C4-0F55-0FD5-71A4-BCA78C0E3A55}"/>
              </a:ext>
            </a:extLst>
          </p:cNvPr>
          <p:cNvPicPr>
            <a:picLocks noChangeAspect="1"/>
          </p:cNvPicPr>
          <p:nvPr/>
        </p:nvPicPr>
        <p:blipFill>
          <a:blip r:embed="rId2"/>
          <a:srcRect/>
          <a:stretch>
            <a:fillRect/>
          </a:stretch>
        </p:blipFill>
        <p:spPr>
          <a:xfrm>
            <a:off x="513345" y="4385535"/>
            <a:ext cx="2025313" cy="911940"/>
          </a:xfrm>
          <a:prstGeom prst="rect">
            <a:avLst/>
          </a:prstGeom>
          <a:noFill/>
          <a:ln cap="flat">
            <a:noFill/>
          </a:ln>
        </p:spPr>
      </p:pic>
    </p:spTree>
    <p:extLst>
      <p:ext uri="{BB962C8B-B14F-4D97-AF65-F5344CB8AC3E}">
        <p14:creationId xmlns:p14="http://schemas.microsoft.com/office/powerpoint/2010/main" val="992011711"/>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type="obj" preserve="1">
  <p:cSld name="1_Title Slide">
    <p:spTree>
      <p:nvGrpSpPr>
        <p:cNvPr id="1" name=""/>
        <p:cNvGrpSpPr/>
        <p:nvPr/>
      </p:nvGrpSpPr>
      <p:grpSpPr>
        <a:xfrm>
          <a:off x="0" y="0"/>
          <a:ext cx="0" cy="0"/>
          <a:chOff x="0" y="0"/>
          <a:chExt cx="0" cy="0"/>
        </a:xfrm>
      </p:grpSpPr>
      <p:sp>
        <p:nvSpPr>
          <p:cNvPr id="2" name="bg object 16">
            <a:extLst>
              <a:ext uri="{FF2B5EF4-FFF2-40B4-BE49-F238E27FC236}">
                <a16:creationId xmlns:a16="http://schemas.microsoft.com/office/drawing/2014/main" id="{D224BC1D-A8AA-DF8E-320B-16208B1094F8}"/>
              </a:ext>
            </a:extLst>
          </p:cNvPr>
          <p:cNvSpPr/>
          <p:nvPr/>
        </p:nvSpPr>
        <p:spPr>
          <a:xfrm>
            <a:off x="0" y="0"/>
            <a:ext cx="12191996" cy="6858000"/>
          </a:xfrm>
          <a:custGeom>
            <a:avLst/>
            <a:gdLst>
              <a:gd name="f0" fmla="val w"/>
              <a:gd name="f1" fmla="val h"/>
              <a:gd name="f2" fmla="val 0"/>
              <a:gd name="f3" fmla="val 12192000"/>
              <a:gd name="f4" fmla="val 6858000"/>
              <a:gd name="f5" fmla="*/ f0 1 12192000"/>
              <a:gd name="f6" fmla="*/ f1 1 6858000"/>
              <a:gd name="f7" fmla="+- f4 0 f2"/>
              <a:gd name="f8" fmla="+- f3 0 f2"/>
              <a:gd name="f9" fmla="*/ f8 1 12192000"/>
              <a:gd name="f10" fmla="*/ f7 1 6858000"/>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12192000" h="6858000">
                <a:moveTo>
                  <a:pt x="f3" y="f2"/>
                </a:moveTo>
                <a:lnTo>
                  <a:pt x="f2" y="f2"/>
                </a:lnTo>
                <a:lnTo>
                  <a:pt x="f2" y="f4"/>
                </a:lnTo>
                <a:lnTo>
                  <a:pt x="f3" y="f4"/>
                </a:lnTo>
                <a:lnTo>
                  <a:pt x="f3" y="f2"/>
                </a:lnTo>
                <a:close/>
              </a:path>
            </a:pathLst>
          </a:custGeom>
          <a:solidFill>
            <a:srgbClr val="F3F6FA"/>
          </a:solidFill>
          <a:ln cap="flat">
            <a:noFill/>
            <a:prstDash val="solid"/>
          </a:ln>
        </p:spPr>
        <p:txBody>
          <a:bodyPr vert="horz" wrap="square" lIns="0" tIns="0" rIns="0" bIns="0" anchor="t"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3" name="bg object 17">
            <a:extLst>
              <a:ext uri="{FF2B5EF4-FFF2-40B4-BE49-F238E27FC236}">
                <a16:creationId xmlns:a16="http://schemas.microsoft.com/office/drawing/2014/main" id="{BA1F8524-E2A3-688A-E408-2F1E2D53C387}"/>
              </a:ext>
            </a:extLst>
          </p:cNvPr>
          <p:cNvSpPr/>
          <p:nvPr/>
        </p:nvSpPr>
        <p:spPr>
          <a:xfrm>
            <a:off x="1" y="5100853"/>
            <a:ext cx="7111361" cy="1757677"/>
          </a:xfrm>
          <a:custGeom>
            <a:avLst/>
            <a:gdLst>
              <a:gd name="f0" fmla="val w"/>
              <a:gd name="f1" fmla="val h"/>
              <a:gd name="f2" fmla="val 0"/>
              <a:gd name="f3" fmla="val 7111365"/>
              <a:gd name="f4" fmla="val 1757679"/>
              <a:gd name="f5" fmla="val 612238"/>
              <a:gd name="f6" fmla="val 72"/>
              <a:gd name="f7" fmla="val 558414"/>
              <a:gd name="f8" fmla="val 504455"/>
              <a:gd name="f9" fmla="val 346"/>
              <a:gd name="f10" fmla="val 450360"/>
              <a:gd name="f11" fmla="val 1116"/>
              <a:gd name="f12" fmla="val 396127"/>
              <a:gd name="f13" fmla="val 2315"/>
              <a:gd name="f14" fmla="val 341757"/>
              <a:gd name="f15" fmla="val 3949"/>
              <a:gd name="f16" fmla="val 292962"/>
              <a:gd name="f17" fmla="val 5809"/>
              <a:gd name="f18" fmla="val 244267"/>
              <a:gd name="f19" fmla="val 8061"/>
              <a:gd name="f20" fmla="val 195669"/>
              <a:gd name="f21" fmla="val 10711"/>
              <a:gd name="f22" fmla="val 147165"/>
              <a:gd name="f23" fmla="val 13764"/>
              <a:gd name="f24" fmla="val 98753"/>
              <a:gd name="f25" fmla="val 17223"/>
              <a:gd name="f26" fmla="val 50431"/>
              <a:gd name="f27" fmla="val 21096"/>
              <a:gd name="f28" fmla="val 25666"/>
              <a:gd name="f29" fmla="val 1757146"/>
              <a:gd name="f30" fmla="val 7110983"/>
              <a:gd name="f31" fmla="val 6700405"/>
              <a:gd name="f32" fmla="val 1636344"/>
              <a:gd name="f33" fmla="val 6607186"/>
              <a:gd name="f34" fmla="val 1607300"/>
              <a:gd name="f35" fmla="val 6467358"/>
              <a:gd name="f36" fmla="val 1562910"/>
              <a:gd name="f37" fmla="val 6327483"/>
              <a:gd name="f38" fmla="val 1517588"/>
              <a:gd name="f39" fmla="val 6187509"/>
              <a:gd name="f40" fmla="val 1471399"/>
              <a:gd name="f41" fmla="val 6000630"/>
              <a:gd name="f42" fmla="val 1408578"/>
              <a:gd name="f43" fmla="val 5766459"/>
              <a:gd name="f44" fmla="val 1328280"/>
              <a:gd name="f45" fmla="val 5484294"/>
              <a:gd name="f46" fmla="val 1229723"/>
              <a:gd name="f47" fmla="val 4285873"/>
              <a:gd name="f48" fmla="val 804446"/>
              <a:gd name="f49" fmla="val 3990553"/>
              <a:gd name="f50" fmla="val 701631"/>
              <a:gd name="f51" fmla="val 3741532"/>
              <a:gd name="f52" fmla="val 616526"/>
              <a:gd name="f53" fmla="val 3543643"/>
              <a:gd name="f54" fmla="val 550199"/>
              <a:gd name="f55" fmla="val 3449272"/>
              <a:gd name="f56" fmla="val 519263"/>
              <a:gd name="f57" fmla="val 3354639"/>
              <a:gd name="f58" fmla="val 488840"/>
              <a:gd name="f59" fmla="val 3259736"/>
              <a:gd name="f60" fmla="val 458969"/>
              <a:gd name="f61" fmla="val 3164554"/>
              <a:gd name="f62" fmla="val 429687"/>
              <a:gd name="f63" fmla="val 3069083"/>
              <a:gd name="f64" fmla="val 401033"/>
              <a:gd name="f65" fmla="val 2973315"/>
              <a:gd name="f66" fmla="val 373045"/>
              <a:gd name="f67" fmla="val 2877241"/>
              <a:gd name="f68" fmla="val 345760"/>
              <a:gd name="f69" fmla="val 2780851"/>
              <a:gd name="f70" fmla="val 319217"/>
              <a:gd name="f71" fmla="val 2684137"/>
              <a:gd name="f72" fmla="val 293454"/>
              <a:gd name="f73" fmla="val 2587089"/>
              <a:gd name="f74" fmla="val 268509"/>
              <a:gd name="f75" fmla="val 2489699"/>
              <a:gd name="f76" fmla="val 244419"/>
              <a:gd name="f77" fmla="val 2391957"/>
              <a:gd name="f78" fmla="val 221224"/>
              <a:gd name="f79" fmla="val 2293855"/>
              <a:gd name="f80" fmla="val 198961"/>
              <a:gd name="f81" fmla="val 2244665"/>
              <a:gd name="f82" fmla="val 188191"/>
              <a:gd name="f83" fmla="val 2195383"/>
              <a:gd name="f84" fmla="val 177668"/>
              <a:gd name="f85" fmla="val 2146005"/>
              <a:gd name="f86" fmla="val 167398"/>
              <a:gd name="f87" fmla="val 2096532"/>
              <a:gd name="f88" fmla="val 157384"/>
              <a:gd name="f89" fmla="val 2046962"/>
              <a:gd name="f90" fmla="val 147632"/>
              <a:gd name="f91" fmla="val 1997294"/>
              <a:gd name="f92" fmla="val 138146"/>
              <a:gd name="f93" fmla="val 1947526"/>
              <a:gd name="f94" fmla="val 128931"/>
              <a:gd name="f95" fmla="val 1897659"/>
              <a:gd name="f96" fmla="val 119992"/>
              <a:gd name="f97" fmla="val 1847690"/>
              <a:gd name="f98" fmla="val 111333"/>
              <a:gd name="f99" fmla="val 1797618"/>
              <a:gd name="f100" fmla="val 102960"/>
              <a:gd name="f101" fmla="val 1747443"/>
              <a:gd name="f102" fmla="val 94877"/>
              <a:gd name="f103" fmla="val 1697163"/>
              <a:gd name="f104" fmla="val 87089"/>
              <a:gd name="f105" fmla="val 1646777"/>
              <a:gd name="f106" fmla="val 79601"/>
              <a:gd name="f107" fmla="val 1596283"/>
              <a:gd name="f108" fmla="val 72417"/>
              <a:gd name="f109" fmla="val 1545682"/>
              <a:gd name="f110" fmla="val 65542"/>
              <a:gd name="f111" fmla="val 1494971"/>
              <a:gd name="f112" fmla="val 58981"/>
              <a:gd name="f113" fmla="val 1444150"/>
              <a:gd name="f114" fmla="val 52739"/>
              <a:gd name="f115" fmla="val 1393217"/>
              <a:gd name="f116" fmla="val 46821"/>
              <a:gd name="f117" fmla="val 1342172"/>
              <a:gd name="f118" fmla="val 41230"/>
              <a:gd name="f119" fmla="val 1291013"/>
              <a:gd name="f120" fmla="val 35972"/>
              <a:gd name="f121" fmla="val 1239738"/>
              <a:gd name="f122" fmla="val 31052"/>
              <a:gd name="f123" fmla="val 1188348"/>
              <a:gd name="f124" fmla="val 26475"/>
              <a:gd name="f125" fmla="val 1136840"/>
              <a:gd name="f126" fmla="val 22245"/>
              <a:gd name="f127" fmla="val 1085214"/>
              <a:gd name="f128" fmla="val 18367"/>
              <a:gd name="f129" fmla="val 1033469"/>
              <a:gd name="f130" fmla="val 14845"/>
              <a:gd name="f131" fmla="val 981602"/>
              <a:gd name="f132" fmla="val 11685"/>
              <a:gd name="f133" fmla="val 929614"/>
              <a:gd name="f134" fmla="val 8891"/>
              <a:gd name="f135" fmla="val 877504"/>
              <a:gd name="f136" fmla="val 6469"/>
              <a:gd name="f137" fmla="val 825269"/>
              <a:gd name="f138" fmla="val 4422"/>
              <a:gd name="f139" fmla="val 772909"/>
              <a:gd name="f140" fmla="val 2755"/>
              <a:gd name="f141" fmla="val 719484"/>
              <a:gd name="f142" fmla="val 1455"/>
              <a:gd name="f143" fmla="val 665927"/>
              <a:gd name="f144" fmla="val 559"/>
              <a:gd name="f145" fmla="*/ f0 1 7111365"/>
              <a:gd name="f146" fmla="*/ f1 1 1757679"/>
              <a:gd name="f147" fmla="+- f4 0 f2"/>
              <a:gd name="f148" fmla="+- f3 0 f2"/>
              <a:gd name="f149" fmla="*/ f148 1 7111365"/>
              <a:gd name="f150" fmla="*/ f147 1 1757679"/>
              <a:gd name="f151" fmla="*/ f2 1 f149"/>
              <a:gd name="f152" fmla="*/ f3 1 f149"/>
              <a:gd name="f153" fmla="*/ f2 1 f150"/>
              <a:gd name="f154" fmla="*/ f4 1 f150"/>
              <a:gd name="f155" fmla="*/ f151 f145 1"/>
              <a:gd name="f156" fmla="*/ f152 f145 1"/>
              <a:gd name="f157" fmla="*/ f154 f146 1"/>
              <a:gd name="f158" fmla="*/ f153 f146 1"/>
            </a:gdLst>
            <a:ahLst/>
            <a:cxnLst>
              <a:cxn ang="3cd4">
                <a:pos x="hc" y="t"/>
              </a:cxn>
              <a:cxn ang="0">
                <a:pos x="r" y="vc"/>
              </a:cxn>
              <a:cxn ang="cd4">
                <a:pos x="hc" y="b"/>
              </a:cxn>
              <a:cxn ang="cd2">
                <a:pos x="l" y="vc"/>
              </a:cxn>
            </a:cxnLst>
            <a:rect l="f155" t="f158" r="f156" b="f157"/>
            <a:pathLst>
              <a:path w="7111365" h="1757679">
                <a:moveTo>
                  <a:pt x="f5" y="f6"/>
                </a:moveTo>
                <a:lnTo>
                  <a:pt x="f7" y="f2"/>
                </a:lnTo>
                <a:lnTo>
                  <a:pt x="f8" y="f9"/>
                </a:lnTo>
                <a:lnTo>
                  <a:pt x="f10" y="f11"/>
                </a:lnTo>
                <a:lnTo>
                  <a:pt x="f12" y="f13"/>
                </a:lnTo>
                <a:lnTo>
                  <a:pt x="f14" y="f15"/>
                </a:lnTo>
                <a:lnTo>
                  <a:pt x="f16" y="f17"/>
                </a:lnTo>
                <a:lnTo>
                  <a:pt x="f18" y="f19"/>
                </a:lnTo>
                <a:lnTo>
                  <a:pt x="f20" y="f21"/>
                </a:lnTo>
                <a:lnTo>
                  <a:pt x="f22" y="f23"/>
                </a:lnTo>
                <a:lnTo>
                  <a:pt x="f24" y="f25"/>
                </a:lnTo>
                <a:lnTo>
                  <a:pt x="f26" y="f27"/>
                </a:lnTo>
                <a:lnTo>
                  <a:pt x="f2" y="f28"/>
                </a:lnTo>
                <a:lnTo>
                  <a:pt x="f2" y="f29"/>
                </a:lnTo>
                <a:lnTo>
                  <a:pt x="f30" y="f29"/>
                </a:lnTo>
                <a:lnTo>
                  <a:pt x="f31" y="f32"/>
                </a:lnTo>
                <a:lnTo>
                  <a:pt x="f33" y="f34"/>
                </a:lnTo>
                <a:lnTo>
                  <a:pt x="f35" y="f36"/>
                </a:lnTo>
                <a:lnTo>
                  <a:pt x="f37" y="f38"/>
                </a:lnTo>
                <a:lnTo>
                  <a:pt x="f39" y="f40"/>
                </a:lnTo>
                <a:lnTo>
                  <a:pt x="f41" y="f42"/>
                </a:lnTo>
                <a:lnTo>
                  <a:pt x="f43" y="f44"/>
                </a:lnTo>
                <a:lnTo>
                  <a:pt x="f45" y="f46"/>
                </a:lnTo>
                <a:lnTo>
                  <a:pt x="f47" y="f48"/>
                </a:lnTo>
                <a:lnTo>
                  <a:pt x="f49" y="f50"/>
                </a:lnTo>
                <a:lnTo>
                  <a:pt x="f51" y="f52"/>
                </a:lnTo>
                <a:lnTo>
                  <a:pt x="f53" y="f54"/>
                </a:lnTo>
                <a:lnTo>
                  <a:pt x="f55" y="f56"/>
                </a:lnTo>
                <a:lnTo>
                  <a:pt x="f57" y="f58"/>
                </a:lnTo>
                <a:lnTo>
                  <a:pt x="f59" y="f60"/>
                </a:lnTo>
                <a:lnTo>
                  <a:pt x="f61" y="f62"/>
                </a:lnTo>
                <a:lnTo>
                  <a:pt x="f63" y="f64"/>
                </a:lnTo>
                <a:lnTo>
                  <a:pt x="f65" y="f66"/>
                </a:lnTo>
                <a:lnTo>
                  <a:pt x="f67" y="f68"/>
                </a:lnTo>
                <a:lnTo>
                  <a:pt x="f69" y="f70"/>
                </a:lnTo>
                <a:lnTo>
                  <a:pt x="f71" y="f72"/>
                </a:lnTo>
                <a:lnTo>
                  <a:pt x="f73" y="f74"/>
                </a:lnTo>
                <a:lnTo>
                  <a:pt x="f75" y="f76"/>
                </a:lnTo>
                <a:lnTo>
                  <a:pt x="f77" y="f78"/>
                </a:lnTo>
                <a:lnTo>
                  <a:pt x="f79" y="f80"/>
                </a:lnTo>
                <a:lnTo>
                  <a:pt x="f81" y="f82"/>
                </a:lnTo>
                <a:lnTo>
                  <a:pt x="f83" y="f84"/>
                </a:lnTo>
                <a:lnTo>
                  <a:pt x="f85" y="f86"/>
                </a:lnTo>
                <a:lnTo>
                  <a:pt x="f87" y="f88"/>
                </a:lnTo>
                <a:lnTo>
                  <a:pt x="f89" y="f90"/>
                </a:lnTo>
                <a:lnTo>
                  <a:pt x="f91" y="f92"/>
                </a:lnTo>
                <a:lnTo>
                  <a:pt x="f93" y="f94"/>
                </a:lnTo>
                <a:lnTo>
                  <a:pt x="f95" y="f96"/>
                </a:lnTo>
                <a:lnTo>
                  <a:pt x="f97" y="f98"/>
                </a:lnTo>
                <a:lnTo>
                  <a:pt x="f99" y="f100"/>
                </a:lnTo>
                <a:lnTo>
                  <a:pt x="f101" y="f102"/>
                </a:lnTo>
                <a:lnTo>
                  <a:pt x="f103" y="f104"/>
                </a:lnTo>
                <a:lnTo>
                  <a:pt x="f105" y="f106"/>
                </a:lnTo>
                <a:lnTo>
                  <a:pt x="f107" y="f108"/>
                </a:lnTo>
                <a:lnTo>
                  <a:pt x="f109" y="f110"/>
                </a:lnTo>
                <a:lnTo>
                  <a:pt x="f111" y="f112"/>
                </a:lnTo>
                <a:lnTo>
                  <a:pt x="f113" y="f114"/>
                </a:lnTo>
                <a:lnTo>
                  <a:pt x="f115" y="f116"/>
                </a:lnTo>
                <a:lnTo>
                  <a:pt x="f117" y="f118"/>
                </a:lnTo>
                <a:lnTo>
                  <a:pt x="f119" y="f120"/>
                </a:lnTo>
                <a:lnTo>
                  <a:pt x="f121" y="f122"/>
                </a:lnTo>
                <a:lnTo>
                  <a:pt x="f123" y="f124"/>
                </a:lnTo>
                <a:lnTo>
                  <a:pt x="f125" y="f126"/>
                </a:lnTo>
                <a:lnTo>
                  <a:pt x="f127" y="f128"/>
                </a:lnTo>
                <a:lnTo>
                  <a:pt x="f129" y="f130"/>
                </a:lnTo>
                <a:lnTo>
                  <a:pt x="f131" y="f132"/>
                </a:lnTo>
                <a:lnTo>
                  <a:pt x="f133" y="f134"/>
                </a:lnTo>
                <a:lnTo>
                  <a:pt x="f135" y="f136"/>
                </a:lnTo>
                <a:lnTo>
                  <a:pt x="f137" y="f138"/>
                </a:lnTo>
                <a:lnTo>
                  <a:pt x="f139" y="f140"/>
                </a:lnTo>
                <a:lnTo>
                  <a:pt x="f141" y="f142"/>
                </a:lnTo>
                <a:lnTo>
                  <a:pt x="f143" y="f144"/>
                </a:lnTo>
                <a:lnTo>
                  <a:pt x="f5" y="f6"/>
                </a:lnTo>
                <a:close/>
              </a:path>
            </a:pathLst>
          </a:custGeom>
          <a:solidFill>
            <a:srgbClr val="FFFFFF"/>
          </a:solidFill>
          <a:ln cap="flat">
            <a:noFill/>
            <a:prstDash val="solid"/>
          </a:ln>
        </p:spPr>
        <p:txBody>
          <a:bodyPr vert="horz" wrap="square" lIns="0" tIns="0" rIns="0" bIns="0" anchor="t"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pic>
        <p:nvPicPr>
          <p:cNvPr id="4" name="bg object 18">
            <a:extLst>
              <a:ext uri="{FF2B5EF4-FFF2-40B4-BE49-F238E27FC236}">
                <a16:creationId xmlns:a16="http://schemas.microsoft.com/office/drawing/2014/main" id="{B424FC1C-277B-2BAC-25B5-522751589B95}"/>
              </a:ext>
            </a:extLst>
          </p:cNvPr>
          <p:cNvPicPr>
            <a:picLocks noChangeAspect="1"/>
          </p:cNvPicPr>
          <p:nvPr/>
        </p:nvPicPr>
        <p:blipFill>
          <a:blip r:embed="rId2"/>
          <a:stretch>
            <a:fillRect/>
          </a:stretch>
        </p:blipFill>
        <p:spPr>
          <a:xfrm>
            <a:off x="0" y="5041902"/>
            <a:ext cx="12191996" cy="1816098"/>
          </a:xfrm>
          <a:prstGeom prst="rect">
            <a:avLst/>
          </a:prstGeom>
          <a:noFill/>
          <a:ln cap="flat">
            <a:noFill/>
          </a:ln>
        </p:spPr>
      </p:pic>
      <p:sp>
        <p:nvSpPr>
          <p:cNvPr id="5" name="bg object 19">
            <a:extLst>
              <a:ext uri="{FF2B5EF4-FFF2-40B4-BE49-F238E27FC236}">
                <a16:creationId xmlns:a16="http://schemas.microsoft.com/office/drawing/2014/main" id="{C6B61A79-A6BA-E3E7-BE44-76299C180C09}"/>
              </a:ext>
            </a:extLst>
          </p:cNvPr>
          <p:cNvSpPr/>
          <p:nvPr/>
        </p:nvSpPr>
        <p:spPr>
          <a:xfrm>
            <a:off x="0" y="5020056"/>
            <a:ext cx="12191996" cy="1838328"/>
          </a:xfrm>
          <a:custGeom>
            <a:avLst/>
            <a:gdLst>
              <a:gd name="f0" fmla="val w"/>
              <a:gd name="f1" fmla="val h"/>
              <a:gd name="f2" fmla="val 0"/>
              <a:gd name="f3" fmla="val 12192000"/>
              <a:gd name="f4" fmla="val 1838325"/>
              <a:gd name="f5" fmla="val 682693"/>
              <a:gd name="f6" fmla="val 631977"/>
              <a:gd name="f7" fmla="val 191"/>
              <a:gd name="f8" fmla="val 584149"/>
              <a:gd name="f9" fmla="val 737"/>
              <a:gd name="f10" fmla="val 536385"/>
              <a:gd name="f11" fmla="val 1641"/>
              <a:gd name="f12" fmla="val 488688"/>
              <a:gd name="f13" fmla="val 2908"/>
              <a:gd name="f14" fmla="val 441056"/>
              <a:gd name="f15" fmla="val 4541"/>
              <a:gd name="f16" fmla="val 393493"/>
              <a:gd name="f17" fmla="val 6547"/>
              <a:gd name="f18" fmla="val 345998"/>
              <a:gd name="f19" fmla="val 8929"/>
              <a:gd name="f20" fmla="val 38164"/>
              <a:gd name="f21" fmla="val 105627"/>
              <a:gd name="f22" fmla="val 50435"/>
              <a:gd name="f23" fmla="val 101057"/>
              <a:gd name="f24" fmla="val 98761"/>
              <a:gd name="f25" fmla="val 97184"/>
              <a:gd name="f26" fmla="val 147175"/>
              <a:gd name="f27" fmla="val 93724"/>
              <a:gd name="f28" fmla="val 195680"/>
              <a:gd name="f29" fmla="val 90672"/>
              <a:gd name="f30" fmla="val 244280"/>
              <a:gd name="f31" fmla="val 88022"/>
              <a:gd name="f32" fmla="val 292975"/>
              <a:gd name="f33" fmla="val 85770"/>
              <a:gd name="f34" fmla="val 341769"/>
              <a:gd name="f35" fmla="val 83910"/>
              <a:gd name="f36" fmla="val 394500"/>
              <a:gd name="f37" fmla="val 82318"/>
              <a:gd name="f38" fmla="val 447099"/>
              <a:gd name="f39" fmla="val 81134"/>
              <a:gd name="f40" fmla="val 499569"/>
              <a:gd name="f41" fmla="val 80355"/>
              <a:gd name="f42" fmla="val 551910"/>
              <a:gd name="f43" fmla="val 79975"/>
              <a:gd name="f44" fmla="val 604123"/>
              <a:gd name="f45" fmla="val 79990"/>
              <a:gd name="f46" fmla="val 656210"/>
              <a:gd name="f47" fmla="val 80395"/>
              <a:gd name="f48" fmla="val 708172"/>
              <a:gd name="f49" fmla="val 81187"/>
              <a:gd name="f50" fmla="val 760009"/>
              <a:gd name="f51" fmla="val 82360"/>
              <a:gd name="f52" fmla="val 811723"/>
              <a:gd name="f53" fmla="val 83909"/>
              <a:gd name="f54" fmla="val 863315"/>
              <a:gd name="f55" fmla="val 85830"/>
              <a:gd name="f56" fmla="val 914785"/>
              <a:gd name="f57" fmla="val 88119"/>
              <a:gd name="f58" fmla="val 966136"/>
              <a:gd name="f59" fmla="val 90771"/>
              <a:gd name="f60" fmla="val 1017368"/>
              <a:gd name="f61" fmla="val 93782"/>
              <a:gd name="f62" fmla="val 1068481"/>
              <a:gd name="f63" fmla="val 97146"/>
              <a:gd name="f64" fmla="val 1119478"/>
              <a:gd name="f65" fmla="val 100859"/>
              <a:gd name="f66" fmla="val 1170360"/>
              <a:gd name="f67" fmla="val 104917"/>
              <a:gd name="f68" fmla="val 1221127"/>
              <a:gd name="f69" fmla="val 109315"/>
              <a:gd name="f70" fmla="val 1271780"/>
              <a:gd name="f71" fmla="val 114049"/>
              <a:gd name="f72" fmla="val 1322321"/>
              <a:gd name="f73" fmla="val 119113"/>
              <a:gd name="f74" fmla="val 1372750"/>
              <a:gd name="f75" fmla="val 124504"/>
              <a:gd name="f76" fmla="val 1423070"/>
              <a:gd name="f77" fmla="val 130217"/>
              <a:gd name="f78" fmla="val 1473280"/>
              <a:gd name="f79" fmla="val 136247"/>
              <a:gd name="f80" fmla="val 1523382"/>
              <a:gd name="f81" fmla="val 142589"/>
              <a:gd name="f82" fmla="val 1573377"/>
              <a:gd name="f83" fmla="val 149239"/>
              <a:gd name="f84" fmla="val 1623266"/>
              <a:gd name="f85" fmla="val 156193"/>
              <a:gd name="f86" fmla="val 1673051"/>
              <a:gd name="f87" fmla="val 163446"/>
              <a:gd name="f88" fmla="val 1722731"/>
              <a:gd name="f89" fmla="val 170993"/>
              <a:gd name="f90" fmla="val 1772309"/>
              <a:gd name="f91" fmla="val 178830"/>
              <a:gd name="f92" fmla="val 1821786"/>
              <a:gd name="f93" fmla="val 186951"/>
              <a:gd name="f94" fmla="val 1871162"/>
              <a:gd name="f95" fmla="val 195354"/>
              <a:gd name="f96" fmla="val 1920438"/>
              <a:gd name="f97" fmla="val 204032"/>
              <a:gd name="f98" fmla="val 1969617"/>
              <a:gd name="f99" fmla="val 212982"/>
              <a:gd name="f100" fmla="val 2018698"/>
              <a:gd name="f101" fmla="val 222199"/>
              <a:gd name="f102" fmla="val 2067683"/>
              <a:gd name="f103" fmla="val 231677"/>
              <a:gd name="f104" fmla="val 2116573"/>
              <a:gd name="f105" fmla="val 241414"/>
              <a:gd name="f106" fmla="val 2165369"/>
              <a:gd name="f107" fmla="val 251404"/>
              <a:gd name="f108" fmla="val 2214072"/>
              <a:gd name="f109" fmla="val 261642"/>
              <a:gd name="f110" fmla="val 2262683"/>
              <a:gd name="f111" fmla="val 272124"/>
              <a:gd name="f112" fmla="val 2359634"/>
              <a:gd name="f113" fmla="val 293801"/>
              <a:gd name="f114" fmla="val 2456232"/>
              <a:gd name="f115" fmla="val 316400"/>
              <a:gd name="f116" fmla="val 2552484"/>
              <a:gd name="f117" fmla="val 339883"/>
              <a:gd name="f118" fmla="val 2648399"/>
              <a:gd name="f119" fmla="val 364213"/>
              <a:gd name="f120" fmla="val 2743986"/>
              <a:gd name="f121" fmla="val 389354"/>
              <a:gd name="f122" fmla="val 2839253"/>
              <a:gd name="f123" fmla="val 415270"/>
              <a:gd name="f124" fmla="val 2934210"/>
              <a:gd name="f125" fmla="val 441923"/>
              <a:gd name="f126" fmla="val 3028865"/>
              <a:gd name="f127" fmla="val 469277"/>
              <a:gd name="f128" fmla="val 3123226"/>
              <a:gd name="f129" fmla="val 497296"/>
              <a:gd name="f130" fmla="val 3217303"/>
              <a:gd name="f131" fmla="val 525943"/>
              <a:gd name="f132" fmla="val 3311104"/>
              <a:gd name="f133" fmla="val 555181"/>
              <a:gd name="f134" fmla="val 3404637"/>
              <a:gd name="f135" fmla="val 584973"/>
              <a:gd name="f136" fmla="val 3497912"/>
              <a:gd name="f137" fmla="val 615284"/>
              <a:gd name="f138" fmla="val 3590937"/>
              <a:gd name="f139" fmla="val 646075"/>
              <a:gd name="f140" fmla="val 3791774"/>
              <a:gd name="f141" fmla="val 713748"/>
              <a:gd name="f142" fmla="val 4040254"/>
              <a:gd name="f143" fmla="val 799025"/>
              <a:gd name="f144" fmla="val 4334988"/>
              <a:gd name="f145" fmla="val 901968"/>
              <a:gd name="f146" fmla="val 5625866"/>
              <a:gd name="f147" fmla="val 1359840"/>
              <a:gd name="f148" fmla="val 5907371"/>
              <a:gd name="f149" fmla="val 1457295"/>
              <a:gd name="f150" fmla="val 6094441"/>
              <a:gd name="f151" fmla="val 1520802"/>
              <a:gd name="f152" fmla="val 6281177"/>
              <a:gd name="f153" fmla="val 1582959"/>
              <a:gd name="f154" fmla="val 6421085"/>
              <a:gd name="f155" fmla="val 1628599"/>
              <a:gd name="f156" fmla="val 6560929"/>
              <a:gd name="f157" fmla="val 1673327"/>
              <a:gd name="f158" fmla="val 6700761"/>
              <a:gd name="f159" fmla="val 1717079"/>
              <a:gd name="f160" fmla="val 7111365"/>
              <a:gd name="f161" fmla="val 1837945"/>
              <a:gd name="f162" fmla="val 1008838"/>
              <a:gd name="f163" fmla="val 12147976"/>
              <a:gd name="f164" fmla="val 1027873"/>
              <a:gd name="f165" fmla="val 12103695"/>
              <a:gd name="f166" fmla="val 1046580"/>
              <a:gd name="f167" fmla="val 12059162"/>
              <a:gd name="f168" fmla="val 1064960"/>
              <a:gd name="f169" fmla="val 12014382"/>
              <a:gd name="f170" fmla="val 1083015"/>
              <a:gd name="f171" fmla="val 11969360"/>
              <a:gd name="f172" fmla="val 1100744"/>
              <a:gd name="f173" fmla="val 11924100"/>
              <a:gd name="f174" fmla="val 1118147"/>
              <a:gd name="f175" fmla="val 11878609"/>
              <a:gd name="f176" fmla="val 1135227"/>
              <a:gd name="f177" fmla="val 11832891"/>
              <a:gd name="f178" fmla="val 1151982"/>
              <a:gd name="f179" fmla="val 11786951"/>
              <a:gd name="f180" fmla="val 1168414"/>
              <a:gd name="f181" fmla="val 11740793"/>
              <a:gd name="f182" fmla="val 1184523"/>
              <a:gd name="f183" fmla="val 11694424"/>
              <a:gd name="f184" fmla="val 1200309"/>
              <a:gd name="f185" fmla="val 11647847"/>
              <a:gd name="f186" fmla="val 1215774"/>
              <a:gd name="f187" fmla="val 11601068"/>
              <a:gd name="f188" fmla="val 1230917"/>
              <a:gd name="f189" fmla="val 11554093"/>
              <a:gd name="f190" fmla="val 1245740"/>
              <a:gd name="f191" fmla="val 11506925"/>
              <a:gd name="f192" fmla="val 1260242"/>
              <a:gd name="f193" fmla="val 11459569"/>
              <a:gd name="f194" fmla="val 1274425"/>
              <a:gd name="f195" fmla="val 11412032"/>
              <a:gd name="f196" fmla="val 1288288"/>
              <a:gd name="f197" fmla="val 11364318"/>
              <a:gd name="f198" fmla="val 1301833"/>
              <a:gd name="f199" fmla="val 11316431"/>
              <a:gd name="f200" fmla="val 1315060"/>
              <a:gd name="f201" fmla="val 11268377"/>
              <a:gd name="f202" fmla="val 1327969"/>
              <a:gd name="f203" fmla="val 11220161"/>
              <a:gd name="f204" fmla="val 1340561"/>
              <a:gd name="f205" fmla="val 11171788"/>
              <a:gd name="f206" fmla="val 1352836"/>
              <a:gd name="f207" fmla="val 11123263"/>
              <a:gd name="f208" fmla="val 1364796"/>
              <a:gd name="f209" fmla="val 11074590"/>
              <a:gd name="f210" fmla="val 1376440"/>
              <a:gd name="f211" fmla="val 11025776"/>
              <a:gd name="f212" fmla="val 1387769"/>
              <a:gd name="f213" fmla="val 10976824"/>
              <a:gd name="f214" fmla="val 1398783"/>
              <a:gd name="f215" fmla="val 10927740"/>
              <a:gd name="f216" fmla="val 1409484"/>
              <a:gd name="f217" fmla="val 10878528"/>
              <a:gd name="f218" fmla="val 1419872"/>
              <a:gd name="f219" fmla="val 10829194"/>
              <a:gd name="f220" fmla="val 1429946"/>
              <a:gd name="f221" fmla="val 10779744"/>
              <a:gd name="f222" fmla="val 1439709"/>
              <a:gd name="f223" fmla="val 10730180"/>
              <a:gd name="f224" fmla="val 1449159"/>
              <a:gd name="f225" fmla="val 10680510"/>
              <a:gd name="f226" fmla="val 1458299"/>
              <a:gd name="f227" fmla="val 10630737"/>
              <a:gd name="f228" fmla="val 1467128"/>
              <a:gd name="f229" fmla="val 10580867"/>
              <a:gd name="f230" fmla="val 1475646"/>
              <a:gd name="f231" fmla="val 10530905"/>
              <a:gd name="f232" fmla="val 1483856"/>
              <a:gd name="f233" fmla="val 10480855"/>
              <a:gd name="f234" fmla="val 1491756"/>
              <a:gd name="f235" fmla="val 10430723"/>
              <a:gd name="f236" fmla="val 1499347"/>
              <a:gd name="f237" fmla="val 10380514"/>
              <a:gd name="f238" fmla="val 1506631"/>
              <a:gd name="f239" fmla="val 10330232"/>
              <a:gd name="f240" fmla="val 1513607"/>
              <a:gd name="f241" fmla="val 10279883"/>
              <a:gd name="f242" fmla="val 1520276"/>
              <a:gd name="f243" fmla="val 10229472"/>
              <a:gd name="f244" fmla="val 1526638"/>
              <a:gd name="f245" fmla="val 10179004"/>
              <a:gd name="f246" fmla="val 1532695"/>
              <a:gd name="f247" fmla="val 10128483"/>
              <a:gd name="f248" fmla="val 1538447"/>
              <a:gd name="f249" fmla="val 10077914"/>
              <a:gd name="f250" fmla="val 1543893"/>
              <a:gd name="f251" fmla="val 10027304"/>
              <a:gd name="f252" fmla="val 1549036"/>
              <a:gd name="f253" fmla="val 9976655"/>
              <a:gd name="f254" fmla="val 1553875"/>
              <a:gd name="f255" fmla="val 9925975"/>
              <a:gd name="f256" fmla="val 1558410"/>
              <a:gd name="f257" fmla="val 9875267"/>
              <a:gd name="f258" fmla="val 1562643"/>
              <a:gd name="f259" fmla="val 9824537"/>
              <a:gd name="f260" fmla="val 1566574"/>
              <a:gd name="f261" fmla="val 9773789"/>
              <a:gd name="f262" fmla="val 1570203"/>
              <a:gd name="f263" fmla="val 9723029"/>
              <a:gd name="f264" fmla="val 1573531"/>
              <a:gd name="f265" fmla="val 9672261"/>
              <a:gd name="f266" fmla="val 1576558"/>
              <a:gd name="f267" fmla="val 9621491"/>
              <a:gd name="f268" fmla="val 1579285"/>
              <a:gd name="f269" fmla="val 9570724"/>
              <a:gd name="f270" fmla="val 1581713"/>
              <a:gd name="f271" fmla="val 9519964"/>
              <a:gd name="f272" fmla="val 1583842"/>
              <a:gd name="f273" fmla="val 9469216"/>
              <a:gd name="f274" fmla="val 1585673"/>
              <a:gd name="f275" fmla="val 9418487"/>
              <a:gd name="f276" fmla="val 1587206"/>
              <a:gd name="f277" fmla="val 9367779"/>
              <a:gd name="f278" fmla="val 1588441"/>
              <a:gd name="f279" fmla="val 9317099"/>
              <a:gd name="f280" fmla="val 1589380"/>
              <a:gd name="f281" fmla="val 9266452"/>
              <a:gd name="f282" fmla="val 1590022"/>
              <a:gd name="f283" fmla="val 9215842"/>
              <a:gd name="f284" fmla="val 1590369"/>
              <a:gd name="f285" fmla="val 9165275"/>
              <a:gd name="f286" fmla="val 1590420"/>
              <a:gd name="f287" fmla="val 9114755"/>
              <a:gd name="f288" fmla="val 1590177"/>
              <a:gd name="f289" fmla="val 9064287"/>
              <a:gd name="f290" fmla="val 1589639"/>
              <a:gd name="f291" fmla="val 9013877"/>
              <a:gd name="f292" fmla="val 1588808"/>
              <a:gd name="f293" fmla="val 8963530"/>
              <a:gd name="f294" fmla="val 1587684"/>
              <a:gd name="f295" fmla="val 8913250"/>
              <a:gd name="f296" fmla="val 1586267"/>
              <a:gd name="f297" fmla="val 8863042"/>
              <a:gd name="f298" fmla="val 1584559"/>
              <a:gd name="f299" fmla="val 8812912"/>
              <a:gd name="f300" fmla="val 1582559"/>
              <a:gd name="f301" fmla="val 8762864"/>
              <a:gd name="f302" fmla="val 1580267"/>
              <a:gd name="f303" fmla="val 8712904"/>
              <a:gd name="f304" fmla="val 1577686"/>
              <a:gd name="f305" fmla="val 8663036"/>
              <a:gd name="f306" fmla="val 1574814"/>
              <a:gd name="f307" fmla="val 8613265"/>
              <a:gd name="f308" fmla="val 1571654"/>
              <a:gd name="f309" fmla="val 8563597"/>
              <a:gd name="f310" fmla="val 1568204"/>
              <a:gd name="f311" fmla="val 8514036"/>
              <a:gd name="f312" fmla="val 1564466"/>
              <a:gd name="f313" fmla="val 8464588"/>
              <a:gd name="f314" fmla="val 1560440"/>
              <a:gd name="f315" fmla="val 8415256"/>
              <a:gd name="f316" fmla="val 1556128"/>
              <a:gd name="f317" fmla="val 8366048"/>
              <a:gd name="f318" fmla="val 1551528"/>
              <a:gd name="f319" fmla="val 8316966"/>
              <a:gd name="f320" fmla="val 1546642"/>
              <a:gd name="f321" fmla="val 8268017"/>
              <a:gd name="f322" fmla="val 1541471"/>
              <a:gd name="f323" fmla="val 8219205"/>
              <a:gd name="f324" fmla="val 1536015"/>
              <a:gd name="f325" fmla="val 8170536"/>
              <a:gd name="f326" fmla="val 1530274"/>
              <a:gd name="f327" fmla="val 8122014"/>
              <a:gd name="f328" fmla="val 1524249"/>
              <a:gd name="f329" fmla="val 8073644"/>
              <a:gd name="f330" fmla="val 1517940"/>
              <a:gd name="f331" fmla="val 8025431"/>
              <a:gd name="f332" fmla="val 1511349"/>
              <a:gd name="f333" fmla="val 7977381"/>
              <a:gd name="f334" fmla="val 1504475"/>
              <a:gd name="f335" fmla="val 7929498"/>
              <a:gd name="f336" fmla="val 1497319"/>
              <a:gd name="f337" fmla="val 7881788"/>
              <a:gd name="f338" fmla="val 1489882"/>
              <a:gd name="f339" fmla="val 7834254"/>
              <a:gd name="f340" fmla="val 1482164"/>
              <a:gd name="f341" fmla="val 7786903"/>
              <a:gd name="f342" fmla="val 1474166"/>
              <a:gd name="f343" fmla="val 7738126"/>
              <a:gd name="f344" fmla="val 1465660"/>
              <a:gd name="f345" fmla="val 7640491"/>
              <a:gd name="f346" fmla="val 1448021"/>
              <a:gd name="f347" fmla="val 7542751"/>
              <a:gd name="f348" fmla="val 1429573"/>
              <a:gd name="f349" fmla="val 7444910"/>
              <a:gd name="f350" fmla="val 1410348"/>
              <a:gd name="f351" fmla="val 7346973"/>
              <a:gd name="f352" fmla="val 1390379"/>
              <a:gd name="f353" fmla="val 7248943"/>
              <a:gd name="f354" fmla="val 1369697"/>
              <a:gd name="f355" fmla="val 7150826"/>
              <a:gd name="f356" fmla="val 1348335"/>
              <a:gd name="f357" fmla="val 7052624"/>
              <a:gd name="f358" fmla="val 1326325"/>
              <a:gd name="f359" fmla="val 6954344"/>
              <a:gd name="f360" fmla="val 1303699"/>
              <a:gd name="f361" fmla="val 6855988"/>
              <a:gd name="f362" fmla="val 1280488"/>
              <a:gd name="f363" fmla="val 6757561"/>
              <a:gd name="f364" fmla="val 1256726"/>
              <a:gd name="f365" fmla="val 6609797"/>
              <a:gd name="f366" fmla="val 1220118"/>
              <a:gd name="f367" fmla="val 6461898"/>
              <a:gd name="f368" fmla="val 1182449"/>
              <a:gd name="f369" fmla="val 6313878"/>
              <a:gd name="f370" fmla="val 1143828"/>
              <a:gd name="f371" fmla="val 6116354"/>
              <a:gd name="f372" fmla="val 1091037"/>
              <a:gd name="f373" fmla="val 5918674"/>
              <a:gd name="f374" fmla="val 1037003"/>
              <a:gd name="f375" fmla="val 5671408"/>
              <a:gd name="f376" fmla="val 968101"/>
              <a:gd name="f377" fmla="val 4632326"/>
              <a:gd name="f378" fmla="val 673191"/>
              <a:gd name="f379" fmla="val 4335739"/>
              <a:gd name="f380" fmla="val 590761"/>
              <a:gd name="f381" fmla="val 4138197"/>
              <a:gd name="f382" fmla="val 537088"/>
              <a:gd name="f383" fmla="val 3940841"/>
              <a:gd name="f384" fmla="val 484740"/>
              <a:gd name="f385" fmla="val 3792966"/>
              <a:gd name="f386" fmla="val 446503"/>
              <a:gd name="f387" fmla="val 3645230"/>
              <a:gd name="f388" fmla="val 409263"/>
              <a:gd name="f389" fmla="val 3497647"/>
              <a:gd name="f390" fmla="val 373130"/>
              <a:gd name="f391" fmla="val 3399350"/>
              <a:gd name="f392" fmla="val 349710"/>
              <a:gd name="f393" fmla="val 3301131"/>
              <a:gd name="f394" fmla="val 326862"/>
              <a:gd name="f395" fmla="val 3202995"/>
              <a:gd name="f396" fmla="val 304617"/>
              <a:gd name="f397" fmla="val 3104947"/>
              <a:gd name="f398" fmla="val 283009"/>
              <a:gd name="f399" fmla="val 3006989"/>
              <a:gd name="f400" fmla="val 262069"/>
              <a:gd name="f401" fmla="val 2909128"/>
              <a:gd name="f402" fmla="val 241830"/>
              <a:gd name="f403" fmla="val 2811366"/>
              <a:gd name="f404" fmla="val 222323"/>
              <a:gd name="f405" fmla="val 2713708"/>
              <a:gd name="f406" fmla="val 203581"/>
              <a:gd name="f407" fmla="val 2616159"/>
              <a:gd name="f408" fmla="val 185635"/>
              <a:gd name="f409" fmla="val 2518722"/>
              <a:gd name="f410" fmla="val 168518"/>
              <a:gd name="f411" fmla="val 2421402"/>
              <a:gd name="f412" fmla="val 152263"/>
              <a:gd name="f413" fmla="val 2324204"/>
              <a:gd name="f414" fmla="val 136900"/>
              <a:gd name="f415" fmla="val 2227131"/>
              <a:gd name="f416" fmla="val 122463"/>
              <a:gd name="f417" fmla="val 2130188"/>
              <a:gd name="f418" fmla="val 108983"/>
              <a:gd name="f419" fmla="val 2033378"/>
              <a:gd name="f420" fmla="val 96492"/>
              <a:gd name="f421" fmla="val 1936708"/>
              <a:gd name="f422" fmla="val 85023"/>
              <a:gd name="f423" fmla="val 1888425"/>
              <a:gd name="f424" fmla="val 79682"/>
              <a:gd name="f425" fmla="val 1840179"/>
              <a:gd name="f426" fmla="val 74608"/>
              <a:gd name="f427" fmla="val 1791970"/>
              <a:gd name="f428" fmla="val 69805"/>
              <a:gd name="f429" fmla="val 1743798"/>
              <a:gd name="f430" fmla="val 65278"/>
              <a:gd name="f431" fmla="val 1695663"/>
              <a:gd name="f432" fmla="val 61030"/>
              <a:gd name="f433" fmla="val 1647567"/>
              <a:gd name="f434" fmla="val 57066"/>
              <a:gd name="f435" fmla="val 1599510"/>
              <a:gd name="f436" fmla="val 53390"/>
              <a:gd name="f437" fmla="val 1551492"/>
              <a:gd name="f438" fmla="val 50004"/>
              <a:gd name="f439" fmla="val 1503514"/>
              <a:gd name="f440" fmla="val 46915"/>
              <a:gd name="f441" fmla="val 1451727"/>
              <a:gd name="f442" fmla="val 41426"/>
              <a:gd name="f443" fmla="val 1400000"/>
              <a:gd name="f444" fmla="val 36255"/>
              <a:gd name="f445" fmla="val 1348336"/>
              <a:gd name="f446" fmla="val 31407"/>
              <a:gd name="f447" fmla="val 1296735"/>
              <a:gd name="f448" fmla="val 26886"/>
              <a:gd name="f449" fmla="val 1245197"/>
              <a:gd name="f450" fmla="val 22697"/>
              <a:gd name="f451" fmla="val 1193723"/>
              <a:gd name="f452" fmla="val 18846"/>
              <a:gd name="f453" fmla="val 1142315"/>
              <a:gd name="f454" fmla="val 15337"/>
              <a:gd name="f455" fmla="val 1090973"/>
              <a:gd name="f456" fmla="val 12176"/>
              <a:gd name="f457" fmla="val 1039697"/>
              <a:gd name="f458" fmla="val 9368"/>
              <a:gd name="f459" fmla="val 988488"/>
              <a:gd name="f460" fmla="val 6917"/>
              <a:gd name="f461" fmla="val 937348"/>
              <a:gd name="f462" fmla="val 4828"/>
              <a:gd name="f463" fmla="val 886276"/>
              <a:gd name="f464" fmla="val 3107"/>
              <a:gd name="f465" fmla="val 835274"/>
              <a:gd name="f466" fmla="val 1759"/>
              <a:gd name="f467" fmla="val 784343"/>
              <a:gd name="f468" fmla="val 788"/>
              <a:gd name="f469" fmla="val 733482"/>
              <a:gd name="f470" fmla="val 200"/>
              <a:gd name="f471" fmla="*/ f0 1 12192000"/>
              <a:gd name="f472" fmla="*/ f1 1 1838325"/>
              <a:gd name="f473" fmla="+- f4 0 f2"/>
              <a:gd name="f474" fmla="+- f3 0 f2"/>
              <a:gd name="f475" fmla="*/ f474 1 12192000"/>
              <a:gd name="f476" fmla="*/ f473 1 1838325"/>
              <a:gd name="f477" fmla="*/ f2 1 f475"/>
              <a:gd name="f478" fmla="*/ f3 1 f475"/>
              <a:gd name="f479" fmla="*/ f2 1 f476"/>
              <a:gd name="f480" fmla="*/ f4 1 f476"/>
              <a:gd name="f481" fmla="*/ f477 f471 1"/>
              <a:gd name="f482" fmla="*/ f478 f471 1"/>
              <a:gd name="f483" fmla="*/ f480 f472 1"/>
              <a:gd name="f484" fmla="*/ f479 f472 1"/>
            </a:gdLst>
            <a:ahLst/>
            <a:cxnLst>
              <a:cxn ang="3cd4">
                <a:pos x="hc" y="t"/>
              </a:cxn>
              <a:cxn ang="0">
                <a:pos x="r" y="vc"/>
              </a:cxn>
              <a:cxn ang="cd4">
                <a:pos x="hc" y="b"/>
              </a:cxn>
              <a:cxn ang="cd2">
                <a:pos x="l" y="vc"/>
              </a:cxn>
            </a:cxnLst>
            <a:rect l="f481" t="f484" r="f482" b="f483"/>
            <a:pathLst>
              <a:path w="12192000" h="1838325">
                <a:moveTo>
                  <a:pt x="f5" y="f2"/>
                </a:moveTo>
                <a:lnTo>
                  <a:pt x="f6" y="f7"/>
                </a:lnTo>
                <a:lnTo>
                  <a:pt x="f8" y="f9"/>
                </a:lnTo>
                <a:lnTo>
                  <a:pt x="f10" y="f11"/>
                </a:lnTo>
                <a:lnTo>
                  <a:pt x="f12" y="f13"/>
                </a:lnTo>
                <a:lnTo>
                  <a:pt x="f14" y="f15"/>
                </a:lnTo>
                <a:lnTo>
                  <a:pt x="f16" y="f17"/>
                </a:lnTo>
                <a:lnTo>
                  <a:pt x="f18" y="f19"/>
                </a:lnTo>
                <a:lnTo>
                  <a:pt x="f2" y="f20"/>
                </a:lnTo>
                <a:lnTo>
                  <a:pt x="f2" y="f21"/>
                </a:lnTo>
                <a:lnTo>
                  <a:pt x="f22" y="f23"/>
                </a:lnTo>
                <a:lnTo>
                  <a:pt x="f24" y="f25"/>
                </a:lnTo>
                <a:lnTo>
                  <a:pt x="f26" y="f27"/>
                </a:lnTo>
                <a:lnTo>
                  <a:pt x="f28" y="f29"/>
                </a:lnTo>
                <a:lnTo>
                  <a:pt x="f30" y="f31"/>
                </a:lnTo>
                <a:lnTo>
                  <a:pt x="f32" y="f33"/>
                </a:lnTo>
                <a:lnTo>
                  <a:pt x="f34" y="f35"/>
                </a:lnTo>
                <a:lnTo>
                  <a:pt x="f36" y="f37"/>
                </a:lnTo>
                <a:lnTo>
                  <a:pt x="f38" y="f39"/>
                </a:lnTo>
                <a:lnTo>
                  <a:pt x="f40" y="f41"/>
                </a:lnTo>
                <a:lnTo>
                  <a:pt x="f42" y="f43"/>
                </a:lnTo>
                <a:lnTo>
                  <a:pt x="f44" y="f45"/>
                </a:lnTo>
                <a:lnTo>
                  <a:pt x="f46" y="f47"/>
                </a:lnTo>
                <a:lnTo>
                  <a:pt x="f48" y="f49"/>
                </a:lnTo>
                <a:lnTo>
                  <a:pt x="f50" y="f51"/>
                </a:lnTo>
                <a:lnTo>
                  <a:pt x="f52" y="f53"/>
                </a:lnTo>
                <a:lnTo>
                  <a:pt x="f54" y="f55"/>
                </a:lnTo>
                <a:lnTo>
                  <a:pt x="f56" y="f57"/>
                </a:lnTo>
                <a:lnTo>
                  <a:pt x="f58" y="f59"/>
                </a:lnTo>
                <a:lnTo>
                  <a:pt x="f60" y="f61"/>
                </a:lnTo>
                <a:lnTo>
                  <a:pt x="f62" y="f63"/>
                </a:lnTo>
                <a:lnTo>
                  <a:pt x="f64" y="f65"/>
                </a:lnTo>
                <a:lnTo>
                  <a:pt x="f66" y="f67"/>
                </a:lnTo>
                <a:lnTo>
                  <a:pt x="f68" y="f69"/>
                </a:lnTo>
                <a:lnTo>
                  <a:pt x="f70" y="f71"/>
                </a:lnTo>
                <a:lnTo>
                  <a:pt x="f72" y="f73"/>
                </a:lnTo>
                <a:lnTo>
                  <a:pt x="f74" y="f75"/>
                </a:lnTo>
                <a:lnTo>
                  <a:pt x="f76" y="f77"/>
                </a:lnTo>
                <a:lnTo>
                  <a:pt x="f78" y="f79"/>
                </a:lnTo>
                <a:lnTo>
                  <a:pt x="f80" y="f81"/>
                </a:lnTo>
                <a:lnTo>
                  <a:pt x="f82" y="f83"/>
                </a:lnTo>
                <a:lnTo>
                  <a:pt x="f84" y="f85"/>
                </a:lnTo>
                <a:lnTo>
                  <a:pt x="f86" y="f87"/>
                </a:lnTo>
                <a:lnTo>
                  <a:pt x="f88" y="f89"/>
                </a:lnTo>
                <a:lnTo>
                  <a:pt x="f90" y="f91"/>
                </a:lnTo>
                <a:lnTo>
                  <a:pt x="f92" y="f93"/>
                </a:lnTo>
                <a:lnTo>
                  <a:pt x="f94" y="f95"/>
                </a:lnTo>
                <a:lnTo>
                  <a:pt x="f96" y="f97"/>
                </a:lnTo>
                <a:lnTo>
                  <a:pt x="f98" y="f99"/>
                </a:lnTo>
                <a:lnTo>
                  <a:pt x="f100" y="f101"/>
                </a:lnTo>
                <a:lnTo>
                  <a:pt x="f102" y="f103"/>
                </a:lnTo>
                <a:lnTo>
                  <a:pt x="f104" y="f105"/>
                </a:lnTo>
                <a:lnTo>
                  <a:pt x="f106" y="f107"/>
                </a:lnTo>
                <a:lnTo>
                  <a:pt x="f108" y="f109"/>
                </a:lnTo>
                <a:lnTo>
                  <a:pt x="f110" y="f111"/>
                </a:lnTo>
                <a:lnTo>
                  <a:pt x="f112" y="f113"/>
                </a:lnTo>
                <a:lnTo>
                  <a:pt x="f114" y="f115"/>
                </a:lnTo>
                <a:lnTo>
                  <a:pt x="f116" y="f117"/>
                </a:lnTo>
                <a:lnTo>
                  <a:pt x="f118" y="f119"/>
                </a:lnTo>
                <a:lnTo>
                  <a:pt x="f120" y="f121"/>
                </a:lnTo>
                <a:lnTo>
                  <a:pt x="f122" y="f123"/>
                </a:lnTo>
                <a:lnTo>
                  <a:pt x="f124" y="f125"/>
                </a:lnTo>
                <a:lnTo>
                  <a:pt x="f126" y="f127"/>
                </a:lnTo>
                <a:lnTo>
                  <a:pt x="f128" y="f129"/>
                </a:lnTo>
                <a:lnTo>
                  <a:pt x="f130" y="f131"/>
                </a:lnTo>
                <a:lnTo>
                  <a:pt x="f132" y="f133"/>
                </a:lnTo>
                <a:lnTo>
                  <a:pt x="f134" y="f135"/>
                </a:lnTo>
                <a:lnTo>
                  <a:pt x="f136" y="f137"/>
                </a:lnTo>
                <a:lnTo>
                  <a:pt x="f138" y="f139"/>
                </a:lnTo>
                <a:lnTo>
                  <a:pt x="f140" y="f141"/>
                </a:lnTo>
                <a:lnTo>
                  <a:pt x="f142" y="f143"/>
                </a:lnTo>
                <a:lnTo>
                  <a:pt x="f144" y="f145"/>
                </a:lnTo>
                <a:lnTo>
                  <a:pt x="f146" y="f147"/>
                </a:lnTo>
                <a:lnTo>
                  <a:pt x="f148" y="f149"/>
                </a:lnTo>
                <a:lnTo>
                  <a:pt x="f150" y="f151"/>
                </a:lnTo>
                <a:lnTo>
                  <a:pt x="f152" y="f153"/>
                </a:lnTo>
                <a:lnTo>
                  <a:pt x="f154" y="f155"/>
                </a:lnTo>
                <a:lnTo>
                  <a:pt x="f156" y="f157"/>
                </a:lnTo>
                <a:lnTo>
                  <a:pt x="f158" y="f159"/>
                </a:lnTo>
                <a:lnTo>
                  <a:pt x="f160" y="f161"/>
                </a:lnTo>
                <a:lnTo>
                  <a:pt x="f3" y="f161"/>
                </a:lnTo>
                <a:lnTo>
                  <a:pt x="f3" y="f162"/>
                </a:lnTo>
                <a:lnTo>
                  <a:pt x="f163" y="f164"/>
                </a:lnTo>
                <a:lnTo>
                  <a:pt x="f165" y="f166"/>
                </a:lnTo>
                <a:lnTo>
                  <a:pt x="f167" y="f168"/>
                </a:lnTo>
                <a:lnTo>
                  <a:pt x="f169" y="f170"/>
                </a:lnTo>
                <a:lnTo>
                  <a:pt x="f171" y="f172"/>
                </a:lnTo>
                <a:lnTo>
                  <a:pt x="f173" y="f174"/>
                </a:lnTo>
                <a:lnTo>
                  <a:pt x="f175" y="f176"/>
                </a:lnTo>
                <a:lnTo>
                  <a:pt x="f177" y="f178"/>
                </a:lnTo>
                <a:lnTo>
                  <a:pt x="f179" y="f180"/>
                </a:lnTo>
                <a:lnTo>
                  <a:pt x="f181" y="f182"/>
                </a:lnTo>
                <a:lnTo>
                  <a:pt x="f183" y="f184"/>
                </a:lnTo>
                <a:lnTo>
                  <a:pt x="f185" y="f186"/>
                </a:lnTo>
                <a:lnTo>
                  <a:pt x="f187" y="f188"/>
                </a:lnTo>
                <a:lnTo>
                  <a:pt x="f189" y="f190"/>
                </a:lnTo>
                <a:lnTo>
                  <a:pt x="f191" y="f192"/>
                </a:lnTo>
                <a:lnTo>
                  <a:pt x="f193" y="f194"/>
                </a:lnTo>
                <a:lnTo>
                  <a:pt x="f195" y="f196"/>
                </a:lnTo>
                <a:lnTo>
                  <a:pt x="f197" y="f198"/>
                </a:lnTo>
                <a:lnTo>
                  <a:pt x="f199" y="f200"/>
                </a:lnTo>
                <a:lnTo>
                  <a:pt x="f201" y="f202"/>
                </a:lnTo>
                <a:lnTo>
                  <a:pt x="f203" y="f204"/>
                </a:lnTo>
                <a:lnTo>
                  <a:pt x="f205" y="f206"/>
                </a:lnTo>
                <a:lnTo>
                  <a:pt x="f207" y="f208"/>
                </a:lnTo>
                <a:lnTo>
                  <a:pt x="f209" y="f210"/>
                </a:lnTo>
                <a:lnTo>
                  <a:pt x="f211" y="f212"/>
                </a:lnTo>
                <a:lnTo>
                  <a:pt x="f213" y="f214"/>
                </a:lnTo>
                <a:lnTo>
                  <a:pt x="f215" y="f216"/>
                </a:lnTo>
                <a:lnTo>
                  <a:pt x="f217" y="f218"/>
                </a:lnTo>
                <a:lnTo>
                  <a:pt x="f219" y="f220"/>
                </a:lnTo>
                <a:lnTo>
                  <a:pt x="f221" y="f222"/>
                </a:lnTo>
                <a:lnTo>
                  <a:pt x="f223" y="f224"/>
                </a:lnTo>
                <a:lnTo>
                  <a:pt x="f225" y="f226"/>
                </a:lnTo>
                <a:lnTo>
                  <a:pt x="f227" y="f228"/>
                </a:lnTo>
                <a:lnTo>
                  <a:pt x="f229" y="f230"/>
                </a:lnTo>
                <a:lnTo>
                  <a:pt x="f231" y="f232"/>
                </a:lnTo>
                <a:lnTo>
                  <a:pt x="f233" y="f234"/>
                </a:lnTo>
                <a:lnTo>
                  <a:pt x="f235" y="f236"/>
                </a:lnTo>
                <a:lnTo>
                  <a:pt x="f237" y="f238"/>
                </a:lnTo>
                <a:lnTo>
                  <a:pt x="f239" y="f240"/>
                </a:lnTo>
                <a:lnTo>
                  <a:pt x="f241" y="f242"/>
                </a:lnTo>
                <a:lnTo>
                  <a:pt x="f243" y="f244"/>
                </a:lnTo>
                <a:lnTo>
                  <a:pt x="f245" y="f246"/>
                </a:lnTo>
                <a:lnTo>
                  <a:pt x="f247" y="f248"/>
                </a:lnTo>
                <a:lnTo>
                  <a:pt x="f249" y="f250"/>
                </a:lnTo>
                <a:lnTo>
                  <a:pt x="f251" y="f252"/>
                </a:lnTo>
                <a:lnTo>
                  <a:pt x="f253" y="f254"/>
                </a:lnTo>
                <a:lnTo>
                  <a:pt x="f255" y="f256"/>
                </a:lnTo>
                <a:lnTo>
                  <a:pt x="f257" y="f258"/>
                </a:lnTo>
                <a:lnTo>
                  <a:pt x="f259" y="f260"/>
                </a:lnTo>
                <a:lnTo>
                  <a:pt x="f261" y="f262"/>
                </a:lnTo>
                <a:lnTo>
                  <a:pt x="f263" y="f264"/>
                </a:lnTo>
                <a:lnTo>
                  <a:pt x="f265" y="f266"/>
                </a:lnTo>
                <a:lnTo>
                  <a:pt x="f267" y="f268"/>
                </a:lnTo>
                <a:lnTo>
                  <a:pt x="f269" y="f270"/>
                </a:lnTo>
                <a:lnTo>
                  <a:pt x="f271" y="f272"/>
                </a:lnTo>
                <a:lnTo>
                  <a:pt x="f273" y="f274"/>
                </a:lnTo>
                <a:lnTo>
                  <a:pt x="f275" y="f276"/>
                </a:lnTo>
                <a:lnTo>
                  <a:pt x="f277" y="f278"/>
                </a:lnTo>
                <a:lnTo>
                  <a:pt x="f279" y="f280"/>
                </a:lnTo>
                <a:lnTo>
                  <a:pt x="f281" y="f282"/>
                </a:lnTo>
                <a:lnTo>
                  <a:pt x="f283" y="f284"/>
                </a:lnTo>
                <a:lnTo>
                  <a:pt x="f285" y="f286"/>
                </a:lnTo>
                <a:lnTo>
                  <a:pt x="f287" y="f288"/>
                </a:lnTo>
                <a:lnTo>
                  <a:pt x="f289" y="f290"/>
                </a:lnTo>
                <a:lnTo>
                  <a:pt x="f291" y="f292"/>
                </a:lnTo>
                <a:lnTo>
                  <a:pt x="f293" y="f294"/>
                </a:lnTo>
                <a:lnTo>
                  <a:pt x="f295" y="f296"/>
                </a:lnTo>
                <a:lnTo>
                  <a:pt x="f297" y="f298"/>
                </a:lnTo>
                <a:lnTo>
                  <a:pt x="f299" y="f300"/>
                </a:lnTo>
                <a:lnTo>
                  <a:pt x="f301" y="f302"/>
                </a:lnTo>
                <a:lnTo>
                  <a:pt x="f303" y="f304"/>
                </a:lnTo>
                <a:lnTo>
                  <a:pt x="f305" y="f306"/>
                </a:lnTo>
                <a:lnTo>
                  <a:pt x="f307" y="f308"/>
                </a:lnTo>
                <a:lnTo>
                  <a:pt x="f309" y="f310"/>
                </a:lnTo>
                <a:lnTo>
                  <a:pt x="f311" y="f312"/>
                </a:lnTo>
                <a:lnTo>
                  <a:pt x="f313" y="f314"/>
                </a:lnTo>
                <a:lnTo>
                  <a:pt x="f315" y="f316"/>
                </a:lnTo>
                <a:lnTo>
                  <a:pt x="f317" y="f318"/>
                </a:lnTo>
                <a:lnTo>
                  <a:pt x="f319" y="f320"/>
                </a:lnTo>
                <a:lnTo>
                  <a:pt x="f321" y="f322"/>
                </a:lnTo>
                <a:lnTo>
                  <a:pt x="f323" y="f324"/>
                </a:lnTo>
                <a:lnTo>
                  <a:pt x="f325" y="f326"/>
                </a:lnTo>
                <a:lnTo>
                  <a:pt x="f327" y="f328"/>
                </a:lnTo>
                <a:lnTo>
                  <a:pt x="f329" y="f330"/>
                </a:lnTo>
                <a:lnTo>
                  <a:pt x="f331" y="f332"/>
                </a:lnTo>
                <a:lnTo>
                  <a:pt x="f333" y="f334"/>
                </a:lnTo>
                <a:lnTo>
                  <a:pt x="f335" y="f336"/>
                </a:lnTo>
                <a:lnTo>
                  <a:pt x="f337" y="f338"/>
                </a:lnTo>
                <a:lnTo>
                  <a:pt x="f339" y="f340"/>
                </a:lnTo>
                <a:lnTo>
                  <a:pt x="f341" y="f342"/>
                </a:lnTo>
                <a:lnTo>
                  <a:pt x="f343" y="f344"/>
                </a:lnTo>
                <a:lnTo>
                  <a:pt x="f345" y="f346"/>
                </a:lnTo>
                <a:lnTo>
                  <a:pt x="f347" y="f348"/>
                </a:lnTo>
                <a:lnTo>
                  <a:pt x="f349" y="f350"/>
                </a:lnTo>
                <a:lnTo>
                  <a:pt x="f351" y="f352"/>
                </a:lnTo>
                <a:lnTo>
                  <a:pt x="f353" y="f354"/>
                </a:lnTo>
                <a:lnTo>
                  <a:pt x="f355" y="f356"/>
                </a:lnTo>
                <a:lnTo>
                  <a:pt x="f357" y="f358"/>
                </a:lnTo>
                <a:lnTo>
                  <a:pt x="f359" y="f360"/>
                </a:lnTo>
                <a:lnTo>
                  <a:pt x="f361" y="f362"/>
                </a:lnTo>
                <a:lnTo>
                  <a:pt x="f363" y="f364"/>
                </a:lnTo>
                <a:lnTo>
                  <a:pt x="f365" y="f366"/>
                </a:lnTo>
                <a:lnTo>
                  <a:pt x="f367" y="f368"/>
                </a:lnTo>
                <a:lnTo>
                  <a:pt x="f369" y="f370"/>
                </a:lnTo>
                <a:lnTo>
                  <a:pt x="f371" y="f372"/>
                </a:lnTo>
                <a:lnTo>
                  <a:pt x="f373" y="f374"/>
                </a:lnTo>
                <a:lnTo>
                  <a:pt x="f375" y="f376"/>
                </a:lnTo>
                <a:lnTo>
                  <a:pt x="f377" y="f378"/>
                </a:lnTo>
                <a:lnTo>
                  <a:pt x="f379" y="f380"/>
                </a:lnTo>
                <a:lnTo>
                  <a:pt x="f381" y="f382"/>
                </a:lnTo>
                <a:lnTo>
                  <a:pt x="f383" y="f384"/>
                </a:lnTo>
                <a:lnTo>
                  <a:pt x="f385" y="f386"/>
                </a:lnTo>
                <a:lnTo>
                  <a:pt x="f387" y="f388"/>
                </a:lnTo>
                <a:lnTo>
                  <a:pt x="f389" y="f390"/>
                </a:lnTo>
                <a:lnTo>
                  <a:pt x="f391" y="f392"/>
                </a:lnTo>
                <a:lnTo>
                  <a:pt x="f393" y="f394"/>
                </a:lnTo>
                <a:lnTo>
                  <a:pt x="f395" y="f396"/>
                </a:lnTo>
                <a:lnTo>
                  <a:pt x="f397" y="f398"/>
                </a:lnTo>
                <a:lnTo>
                  <a:pt x="f399" y="f400"/>
                </a:lnTo>
                <a:lnTo>
                  <a:pt x="f401" y="f402"/>
                </a:lnTo>
                <a:lnTo>
                  <a:pt x="f403" y="f404"/>
                </a:lnTo>
                <a:lnTo>
                  <a:pt x="f405" y="f406"/>
                </a:lnTo>
                <a:lnTo>
                  <a:pt x="f407" y="f408"/>
                </a:lnTo>
                <a:lnTo>
                  <a:pt x="f409" y="f410"/>
                </a:lnTo>
                <a:lnTo>
                  <a:pt x="f411" y="f412"/>
                </a:lnTo>
                <a:lnTo>
                  <a:pt x="f413" y="f414"/>
                </a:lnTo>
                <a:lnTo>
                  <a:pt x="f415" y="f416"/>
                </a:lnTo>
                <a:lnTo>
                  <a:pt x="f417" y="f418"/>
                </a:lnTo>
                <a:lnTo>
                  <a:pt x="f419" y="f420"/>
                </a:lnTo>
                <a:lnTo>
                  <a:pt x="f421" y="f422"/>
                </a:lnTo>
                <a:lnTo>
                  <a:pt x="f423" y="f424"/>
                </a:lnTo>
                <a:lnTo>
                  <a:pt x="f425" y="f426"/>
                </a:lnTo>
                <a:lnTo>
                  <a:pt x="f427" y="f428"/>
                </a:lnTo>
                <a:lnTo>
                  <a:pt x="f429" y="f430"/>
                </a:lnTo>
                <a:lnTo>
                  <a:pt x="f431" y="f432"/>
                </a:lnTo>
                <a:lnTo>
                  <a:pt x="f433" y="f434"/>
                </a:lnTo>
                <a:lnTo>
                  <a:pt x="f435" y="f436"/>
                </a:lnTo>
                <a:lnTo>
                  <a:pt x="f437" y="f438"/>
                </a:lnTo>
                <a:lnTo>
                  <a:pt x="f439" y="f440"/>
                </a:lnTo>
                <a:lnTo>
                  <a:pt x="f441" y="f442"/>
                </a:lnTo>
                <a:lnTo>
                  <a:pt x="f443" y="f444"/>
                </a:lnTo>
                <a:lnTo>
                  <a:pt x="f445" y="f446"/>
                </a:lnTo>
                <a:lnTo>
                  <a:pt x="f447" y="f448"/>
                </a:lnTo>
                <a:lnTo>
                  <a:pt x="f449" y="f450"/>
                </a:lnTo>
                <a:lnTo>
                  <a:pt x="f451" y="f452"/>
                </a:lnTo>
                <a:lnTo>
                  <a:pt x="f453" y="f454"/>
                </a:lnTo>
                <a:lnTo>
                  <a:pt x="f455" y="f456"/>
                </a:lnTo>
                <a:lnTo>
                  <a:pt x="f457" y="f458"/>
                </a:lnTo>
                <a:lnTo>
                  <a:pt x="f459" y="f460"/>
                </a:lnTo>
                <a:lnTo>
                  <a:pt x="f461" y="f462"/>
                </a:lnTo>
                <a:lnTo>
                  <a:pt x="f463" y="f464"/>
                </a:lnTo>
                <a:lnTo>
                  <a:pt x="f465" y="f466"/>
                </a:lnTo>
                <a:lnTo>
                  <a:pt x="f467" y="f468"/>
                </a:lnTo>
                <a:lnTo>
                  <a:pt x="f469" y="f470"/>
                </a:lnTo>
                <a:lnTo>
                  <a:pt x="f5" y="f2"/>
                </a:lnTo>
                <a:close/>
              </a:path>
            </a:pathLst>
          </a:custGeom>
          <a:solidFill>
            <a:srgbClr val="1C488A"/>
          </a:solidFill>
          <a:ln cap="flat">
            <a:noFill/>
            <a:prstDash val="solid"/>
          </a:ln>
        </p:spPr>
        <p:txBody>
          <a:bodyPr vert="horz" wrap="square" lIns="0" tIns="0" rIns="0" bIns="0" anchor="t"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pic>
        <p:nvPicPr>
          <p:cNvPr id="6" name="bg object 20">
            <a:extLst>
              <a:ext uri="{FF2B5EF4-FFF2-40B4-BE49-F238E27FC236}">
                <a16:creationId xmlns:a16="http://schemas.microsoft.com/office/drawing/2014/main" id="{3B45B7AE-EC68-E93E-EEE9-E15BF9368FC0}"/>
              </a:ext>
            </a:extLst>
          </p:cNvPr>
          <p:cNvPicPr>
            <a:picLocks noChangeAspect="1"/>
          </p:cNvPicPr>
          <p:nvPr/>
        </p:nvPicPr>
        <p:blipFill>
          <a:blip r:embed="rId3"/>
          <a:stretch>
            <a:fillRect/>
          </a:stretch>
        </p:blipFill>
        <p:spPr>
          <a:xfrm>
            <a:off x="313960" y="5564125"/>
            <a:ext cx="2025386" cy="911355"/>
          </a:xfrm>
          <a:prstGeom prst="rect">
            <a:avLst/>
          </a:prstGeom>
          <a:noFill/>
          <a:ln cap="flat">
            <a:noFill/>
          </a:ln>
        </p:spPr>
      </p:pic>
      <p:sp>
        <p:nvSpPr>
          <p:cNvPr id="7" name="bg object 21">
            <a:extLst>
              <a:ext uri="{FF2B5EF4-FFF2-40B4-BE49-F238E27FC236}">
                <a16:creationId xmlns:a16="http://schemas.microsoft.com/office/drawing/2014/main" id="{07157F7C-518C-5DE9-356E-45FC4018E3AF}"/>
              </a:ext>
            </a:extLst>
          </p:cNvPr>
          <p:cNvSpPr/>
          <p:nvPr/>
        </p:nvSpPr>
        <p:spPr>
          <a:xfrm>
            <a:off x="1520190" y="2812538"/>
            <a:ext cx="2286000" cy="0"/>
          </a:xfrm>
          <a:custGeom>
            <a:avLst/>
            <a:gdLst>
              <a:gd name="f0" fmla="val w"/>
              <a:gd name="f1" fmla="val h"/>
              <a:gd name="f2" fmla="val ss"/>
              <a:gd name="f3" fmla="val 0"/>
              <a:gd name="f4" fmla="val 2286000"/>
              <a:gd name="f5" fmla="abs f0"/>
              <a:gd name="f6" fmla="abs f1"/>
              <a:gd name="f7" fmla="abs f2"/>
              <a:gd name="f8" fmla="*/ f0 1 2286000"/>
              <a:gd name="f9" fmla="+- f3 0 f3"/>
              <a:gd name="f10" fmla="+- f4 0 f3"/>
              <a:gd name="f11" fmla="?: f5 f0 1"/>
              <a:gd name="f12" fmla="?: f6 f1 1"/>
              <a:gd name="f13" fmla="?: f7 f2 1"/>
              <a:gd name="f14" fmla="*/ f10 1 2286000"/>
              <a:gd name="f15" fmla="*/ f9 1 0"/>
              <a:gd name="f16" fmla="*/ f11 1 2286000"/>
              <a:gd name="f17" fmla="*/ f12 1 21600"/>
              <a:gd name="f18" fmla="*/ 21600 f12 1"/>
              <a:gd name="f19" fmla="*/ 0 1 f14"/>
              <a:gd name="f20" fmla="*/ 2286000 1 f14"/>
              <a:gd name="f21" fmla="*/ 0 1 f15"/>
              <a:gd name="f22" fmla="*/ 1 1 f15"/>
              <a:gd name="f23" fmla="min f17 f16"/>
              <a:gd name="f24" fmla="*/ f18 1 f13"/>
              <a:gd name="f25" fmla="*/ f19 f8 1"/>
              <a:gd name="f26" fmla="*/ f20 f8 1"/>
              <a:gd name="f27" fmla="val f24"/>
              <a:gd name="f28" fmla="*/ f3 f23 1"/>
              <a:gd name="f29" fmla="+- f27 0 f3"/>
              <a:gd name="f30" fmla="*/ f29 1 0"/>
              <a:gd name="f31" fmla="*/ f22 f30 1"/>
              <a:gd name="f32" fmla="*/ f21 f30 1"/>
              <a:gd name="f33" fmla="*/ f32 f23 1"/>
              <a:gd name="f34" fmla="*/ f31 f23 1"/>
            </a:gdLst>
            <a:ahLst/>
            <a:cxnLst>
              <a:cxn ang="3cd4">
                <a:pos x="hc" y="t"/>
              </a:cxn>
              <a:cxn ang="0">
                <a:pos x="r" y="vc"/>
              </a:cxn>
              <a:cxn ang="cd4">
                <a:pos x="hc" y="b"/>
              </a:cxn>
              <a:cxn ang="cd2">
                <a:pos x="l" y="vc"/>
              </a:cxn>
            </a:cxnLst>
            <a:rect l="f25" t="f33" r="f26" b="f34"/>
            <a:pathLst>
              <a:path w="2286000">
                <a:moveTo>
                  <a:pt x="f3" y="f28"/>
                </a:moveTo>
                <a:lnTo>
                  <a:pt x="f4" y="f28"/>
                </a:lnTo>
              </a:path>
            </a:pathLst>
          </a:custGeom>
          <a:noFill/>
          <a:ln w="32004" cap="flat">
            <a:solidFill>
              <a:srgbClr val="F58366"/>
            </a:solidFill>
            <a:prstDash val="solid"/>
            <a:miter/>
          </a:ln>
        </p:spPr>
        <p:txBody>
          <a:bodyPr vert="horz" wrap="square" lIns="0" tIns="0" rIns="0" bIns="0" anchor="t"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8" name="Holder 2">
            <a:extLst>
              <a:ext uri="{FF2B5EF4-FFF2-40B4-BE49-F238E27FC236}">
                <a16:creationId xmlns:a16="http://schemas.microsoft.com/office/drawing/2014/main" id="{48326FA6-69FA-AF6A-FDE2-A6579BF4C417}"/>
              </a:ext>
            </a:extLst>
          </p:cNvPr>
          <p:cNvSpPr txBox="1">
            <a:spLocks noGrp="1"/>
          </p:cNvSpPr>
          <p:nvPr>
            <p:ph type="title"/>
          </p:nvPr>
        </p:nvSpPr>
        <p:spPr>
          <a:xfrm>
            <a:off x="471694" y="493922"/>
            <a:ext cx="11248619" cy="574042"/>
          </a:xfrm>
        </p:spPr>
        <p:txBody>
          <a:bodyPr wrap="square" lIns="0" tIns="0" rIns="0" bIns="0">
            <a:spAutoFit/>
          </a:bodyPr>
          <a:lstStyle>
            <a:lvl1pPr>
              <a:defRPr b="0">
                <a:solidFill>
                  <a:srgbClr val="444C55"/>
                </a:solidFill>
              </a:defRPr>
            </a:lvl1pPr>
          </a:lstStyle>
          <a:p>
            <a:pPr lvl="0"/>
            <a:endParaRPr lang="en-US"/>
          </a:p>
        </p:txBody>
      </p:sp>
      <p:sp>
        <p:nvSpPr>
          <p:cNvPr id="9" name="Holder 3">
            <a:extLst>
              <a:ext uri="{FF2B5EF4-FFF2-40B4-BE49-F238E27FC236}">
                <a16:creationId xmlns:a16="http://schemas.microsoft.com/office/drawing/2014/main" id="{07BECA19-ACB6-566D-4769-A81E0AEB2818}"/>
              </a:ext>
            </a:extLst>
          </p:cNvPr>
          <p:cNvSpPr txBox="1">
            <a:spLocks noGrp="1"/>
          </p:cNvSpPr>
          <p:nvPr>
            <p:ph type="subTitle" idx="4294967295"/>
          </p:nvPr>
        </p:nvSpPr>
        <p:spPr>
          <a:xfrm>
            <a:off x="1828800" y="3840480"/>
            <a:ext cx="8534396" cy="369332"/>
          </a:xfrm>
        </p:spPr>
        <p:txBody>
          <a:bodyPr wrap="square" lIns="0" tIns="0" rIns="0" bIns="0">
            <a:spAutoFit/>
          </a:bodyPr>
          <a:lstStyle>
            <a:lvl1pPr>
              <a:defRPr/>
            </a:lvl1pPr>
          </a:lstStyle>
          <a:p>
            <a:pPr lvl="0"/>
            <a:endParaRPr lang="en-US"/>
          </a:p>
        </p:txBody>
      </p:sp>
      <p:sp>
        <p:nvSpPr>
          <p:cNvPr id="10" name="Holder 4">
            <a:extLst>
              <a:ext uri="{FF2B5EF4-FFF2-40B4-BE49-F238E27FC236}">
                <a16:creationId xmlns:a16="http://schemas.microsoft.com/office/drawing/2014/main" id="{7C13951E-A996-C23B-B91E-D9D675FA1668}"/>
              </a:ext>
            </a:extLst>
          </p:cNvPr>
          <p:cNvSpPr txBox="1">
            <a:spLocks noGrp="1"/>
          </p:cNvSpPr>
          <p:nvPr>
            <p:ph type="ftr" sz="quarter" idx="9"/>
          </p:nvPr>
        </p:nvSpPr>
        <p:spPr/>
        <p:txBody>
          <a:bodyPr lIns="0" tIns="0" rIns="0" bIns="0" anchorCtr="1"/>
          <a:lstStyle>
            <a:lvl1pPr algn="ctr">
              <a:defRPr/>
            </a:lvl1pPr>
          </a:lstStyle>
          <a:p>
            <a:pPr lvl="0"/>
            <a:endParaRPr lang="en-US"/>
          </a:p>
        </p:txBody>
      </p:sp>
      <p:sp>
        <p:nvSpPr>
          <p:cNvPr id="11" name="Holder 5">
            <a:extLst>
              <a:ext uri="{FF2B5EF4-FFF2-40B4-BE49-F238E27FC236}">
                <a16:creationId xmlns:a16="http://schemas.microsoft.com/office/drawing/2014/main" id="{F5E9D53C-B455-3B47-6D1E-7167AB3556B3}"/>
              </a:ext>
            </a:extLst>
          </p:cNvPr>
          <p:cNvSpPr txBox="1">
            <a:spLocks noGrp="1"/>
          </p:cNvSpPr>
          <p:nvPr>
            <p:ph type="dt" sz="quarter" idx="7"/>
          </p:nvPr>
        </p:nvSpPr>
        <p:spPr>
          <a:xfrm>
            <a:off x="0" y="0"/>
            <a:ext cx="0" cy="0"/>
          </a:xfrm>
          <a:prstGeom prst="rect">
            <a:avLst/>
          </a:prstGeom>
          <a:noFill/>
          <a:ln>
            <a:noFill/>
          </a:ln>
        </p:spPr>
        <p:txBody>
          <a:bodyPr vert="horz" wrap="square" lIns="0" tIns="0" rIns="0" bIns="0" anchor="t" anchorCtr="0" compatLnSpc="1">
            <a:noAutofit/>
          </a:bodyPr>
          <a:lstStyle>
            <a:lvl1pPr marL="0" marR="0" lvl="0" indent="0" algn="l" defTabSz="914446" rtl="0" fontAlgn="auto" hangingPunct="1">
              <a:lnSpc>
                <a:spcPct val="100000"/>
              </a:lnSpc>
              <a:spcBef>
                <a:spcPts val="0"/>
              </a:spcBef>
              <a:spcAft>
                <a:spcPts val="0"/>
              </a:spcAft>
              <a:buNone/>
              <a:tabLst/>
              <a:defRPr lang="en-US" sz="1800" b="0" i="0" u="none" strike="noStrike" kern="1200" cap="none" spc="0" baseline="0">
                <a:solidFill>
                  <a:srgbClr val="939699"/>
                </a:solidFill>
                <a:uFillTx/>
                <a:latin typeface="Calibri"/>
              </a:defRPr>
            </a:lvl1pPr>
          </a:lstStyle>
          <a:p>
            <a:pPr lvl="0"/>
            <a:fld id="{DE7CC763-0293-49E5-B7A4-0E140F0C06B1}" type="datetime1">
              <a:rPr lang="en-US"/>
              <a:pPr lvl="0"/>
              <a:t>5/20/2026</a:t>
            </a:fld>
            <a:endParaRPr lang="en-US"/>
          </a:p>
        </p:txBody>
      </p:sp>
      <p:sp>
        <p:nvSpPr>
          <p:cNvPr id="12" name="Holder 6">
            <a:extLst>
              <a:ext uri="{FF2B5EF4-FFF2-40B4-BE49-F238E27FC236}">
                <a16:creationId xmlns:a16="http://schemas.microsoft.com/office/drawing/2014/main" id="{46D11FDD-8BB6-6D7F-79F7-0B5D3ADD9AF9}"/>
              </a:ext>
            </a:extLst>
          </p:cNvPr>
          <p:cNvSpPr txBox="1">
            <a:spLocks noGrp="1"/>
          </p:cNvSpPr>
          <p:nvPr>
            <p:ph type="sldNum" sz="quarter" idx="8"/>
          </p:nvPr>
        </p:nvSpPr>
        <p:spPr/>
        <p:txBody>
          <a:bodyPr lIns="0" tIns="0" rIns="0" bIns="0"/>
          <a:lstStyle>
            <a:lvl1pPr marL="38105">
              <a:lnSpc>
                <a:spcPts val="1425"/>
              </a:lnSpc>
              <a:defRPr spc="-5">
                <a:solidFill>
                  <a:srgbClr val="929599"/>
                </a:solidFill>
                <a:latin typeface="Arial"/>
                <a:cs typeface="Arial"/>
              </a:defRPr>
            </a:lvl1pPr>
          </a:lstStyle>
          <a:p>
            <a:pPr lvl="0"/>
            <a:fld id="{B1140ABF-645F-4315-BCDC-72D39E419145}" type="slidenum">
              <a:t>‹#›</a:t>
            </a:fld>
            <a:endParaRPr lang="en-US"/>
          </a:p>
        </p:txBody>
      </p:sp>
    </p:spTree>
    <p:extLst>
      <p:ext uri="{BB962C8B-B14F-4D97-AF65-F5344CB8AC3E}">
        <p14:creationId xmlns:p14="http://schemas.microsoft.com/office/powerpoint/2010/main" val="72556185"/>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16_Cover">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1A8900D4-475B-D50E-6C7A-EACB3FEAA68B}"/>
              </a:ext>
            </a:extLst>
          </p:cNvPr>
          <p:cNvSpPr/>
          <p:nvPr/>
        </p:nvSpPr>
        <p:spPr>
          <a:xfrm>
            <a:off x="902366" y="1294416"/>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57F1BC7F-2729-2BFA-0E72-B8E45BE60E7D}"/>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r>
              <a:rPr lang="en-US"/>
              <a:t>Click to edit Master title style</a:t>
            </a:r>
          </a:p>
        </p:txBody>
      </p:sp>
      <p:sp>
        <p:nvSpPr>
          <p:cNvPr id="4" name="Subtitle 2">
            <a:extLst>
              <a:ext uri="{FF2B5EF4-FFF2-40B4-BE49-F238E27FC236}">
                <a16:creationId xmlns:a16="http://schemas.microsoft.com/office/drawing/2014/main" id="{4A57C7D9-88C1-7C1E-2B47-B6AD754DBB19}"/>
              </a:ext>
            </a:extLst>
          </p:cNvPr>
          <p:cNvSpPr txBox="1">
            <a:spLocks noGrp="1"/>
          </p:cNvSpPr>
          <p:nvPr>
            <p:ph type="subTitle" idx="4294967295"/>
          </p:nvPr>
        </p:nvSpPr>
        <p:spPr>
          <a:xfrm>
            <a:off x="1413305" y="3766861"/>
            <a:ext cx="5194432" cy="986564"/>
          </a:xfrm>
        </p:spPr>
        <p:txBody>
          <a:bodyPr/>
          <a:lstStyle>
            <a:lvl1pPr marL="0" indent="0">
              <a:buNone/>
              <a:defRPr/>
            </a:lvl1pPr>
          </a:lstStyle>
          <a:p>
            <a:pPr lvl="0"/>
            <a:r>
              <a:rPr lang="en-US"/>
              <a:t>Click to edit Master subtitle style</a:t>
            </a:r>
          </a:p>
        </p:txBody>
      </p:sp>
      <p:sp>
        <p:nvSpPr>
          <p:cNvPr id="5" name="Picture Placeholder 21">
            <a:extLst>
              <a:ext uri="{FF2B5EF4-FFF2-40B4-BE49-F238E27FC236}">
                <a16:creationId xmlns:a16="http://schemas.microsoft.com/office/drawing/2014/main" id="{5E187241-FE73-A98A-A56F-7B0003BB5910}"/>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grpSp>
        <p:nvGrpSpPr>
          <p:cNvPr id="6" name="Group 26">
            <a:extLst>
              <a:ext uri="{FF2B5EF4-FFF2-40B4-BE49-F238E27FC236}">
                <a16:creationId xmlns:a16="http://schemas.microsoft.com/office/drawing/2014/main" id="{DD4337EE-4C78-9C7E-BFC5-59E54AE7EE1D}"/>
              </a:ext>
            </a:extLst>
          </p:cNvPr>
          <p:cNvGrpSpPr/>
          <p:nvPr/>
        </p:nvGrpSpPr>
        <p:grpSpPr>
          <a:xfrm>
            <a:off x="0" y="5020349"/>
            <a:ext cx="12191996" cy="1837651"/>
            <a:chOff x="0" y="5020348"/>
            <a:chExt cx="12191996" cy="1837651"/>
          </a:xfrm>
        </p:grpSpPr>
        <p:sp>
          <p:nvSpPr>
            <p:cNvPr id="7" name="Freeform 27">
              <a:extLst>
                <a:ext uri="{FF2B5EF4-FFF2-40B4-BE49-F238E27FC236}">
                  <a16:creationId xmlns:a16="http://schemas.microsoft.com/office/drawing/2014/main" id="{94463D45-C012-9B86-B999-E85CC7AAC3ED}"/>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8" name="Freeform 28">
              <a:extLst>
                <a:ext uri="{FF2B5EF4-FFF2-40B4-BE49-F238E27FC236}">
                  <a16:creationId xmlns:a16="http://schemas.microsoft.com/office/drawing/2014/main" id="{1EA6A589-3245-9365-566B-86948852B0EB}"/>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9" name="Picture 29">
              <a:extLst>
                <a:ext uri="{FF2B5EF4-FFF2-40B4-BE49-F238E27FC236}">
                  <a16:creationId xmlns:a16="http://schemas.microsoft.com/office/drawing/2014/main" id="{523D8C8D-0318-668A-12C7-B18D72BB2E9C}"/>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4199393285"/>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19_Cover">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8DA7C750-7620-8D5C-3248-E33116E209CB}"/>
              </a:ext>
            </a:extLst>
          </p:cNvPr>
          <p:cNvSpPr/>
          <p:nvPr/>
        </p:nvSpPr>
        <p:spPr>
          <a:xfrm>
            <a:off x="902366" y="1294416"/>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E0ED9220-0753-109A-3B6F-6DAEF31796DC}"/>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r>
              <a:rPr lang="en-US"/>
              <a:t>Click to edit Master title style</a:t>
            </a:r>
          </a:p>
        </p:txBody>
      </p:sp>
      <p:sp>
        <p:nvSpPr>
          <p:cNvPr id="4" name="Subtitle 2">
            <a:extLst>
              <a:ext uri="{FF2B5EF4-FFF2-40B4-BE49-F238E27FC236}">
                <a16:creationId xmlns:a16="http://schemas.microsoft.com/office/drawing/2014/main" id="{80C70CB8-8878-6166-9048-E7D2A1CE42D4}"/>
              </a:ext>
            </a:extLst>
          </p:cNvPr>
          <p:cNvSpPr txBox="1">
            <a:spLocks noGrp="1"/>
          </p:cNvSpPr>
          <p:nvPr>
            <p:ph type="subTitle" idx="4294967295"/>
          </p:nvPr>
        </p:nvSpPr>
        <p:spPr>
          <a:xfrm>
            <a:off x="1413305" y="3766861"/>
            <a:ext cx="5194432" cy="986564"/>
          </a:xfrm>
        </p:spPr>
        <p:txBody>
          <a:bodyPr/>
          <a:lstStyle>
            <a:lvl1pPr marL="0" indent="0">
              <a:buNone/>
              <a:defRPr/>
            </a:lvl1pPr>
          </a:lstStyle>
          <a:p>
            <a:pPr lvl="0"/>
            <a:r>
              <a:rPr lang="en-US"/>
              <a:t>Click to edit Master subtitle style</a:t>
            </a:r>
          </a:p>
        </p:txBody>
      </p:sp>
      <p:sp>
        <p:nvSpPr>
          <p:cNvPr id="5" name="Picture Placeholder 21">
            <a:extLst>
              <a:ext uri="{FF2B5EF4-FFF2-40B4-BE49-F238E27FC236}">
                <a16:creationId xmlns:a16="http://schemas.microsoft.com/office/drawing/2014/main" id="{5B836A9D-ED38-224C-34FD-CD4831F88353}"/>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grpSp>
        <p:nvGrpSpPr>
          <p:cNvPr id="6" name="Group 26">
            <a:extLst>
              <a:ext uri="{FF2B5EF4-FFF2-40B4-BE49-F238E27FC236}">
                <a16:creationId xmlns:a16="http://schemas.microsoft.com/office/drawing/2014/main" id="{BD15A23F-1245-C28C-1D86-12E5FBE18C3A}"/>
              </a:ext>
            </a:extLst>
          </p:cNvPr>
          <p:cNvGrpSpPr/>
          <p:nvPr/>
        </p:nvGrpSpPr>
        <p:grpSpPr>
          <a:xfrm>
            <a:off x="0" y="5020349"/>
            <a:ext cx="12191996" cy="1837651"/>
            <a:chOff x="0" y="5020348"/>
            <a:chExt cx="12191996" cy="1837651"/>
          </a:xfrm>
        </p:grpSpPr>
        <p:sp>
          <p:nvSpPr>
            <p:cNvPr id="7" name="Freeform 27">
              <a:extLst>
                <a:ext uri="{FF2B5EF4-FFF2-40B4-BE49-F238E27FC236}">
                  <a16:creationId xmlns:a16="http://schemas.microsoft.com/office/drawing/2014/main" id="{D1898098-5E0E-0336-7CE8-4438B13B77A4}"/>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8" name="Freeform 28">
              <a:extLst>
                <a:ext uri="{FF2B5EF4-FFF2-40B4-BE49-F238E27FC236}">
                  <a16:creationId xmlns:a16="http://schemas.microsoft.com/office/drawing/2014/main" id="{0E11EB32-3BBA-EA94-4FAD-BAC721D8E568}"/>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9" name="Picture 29">
              <a:extLst>
                <a:ext uri="{FF2B5EF4-FFF2-40B4-BE49-F238E27FC236}">
                  <a16:creationId xmlns:a16="http://schemas.microsoft.com/office/drawing/2014/main" id="{5555078E-0066-E13E-E6E0-8E12CABA5E4B}"/>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811709742"/>
      </p:ext>
    </p:extLst>
  </p:cSld>
  <p:clrMapOvr>
    <a:masterClrMapping/>
  </p:clrMapOvr>
  <p:hf sldNum="0" hdr="0" ftr="0" dt="0"/>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p:cSld name="16_Photo Slide">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6FD8CA5C-B1B5-0982-51A6-33486130BA37}"/>
              </a:ext>
            </a:extLst>
          </p:cNvPr>
          <p:cNvSpPr txBox="1">
            <a:spLocks noGrp="1"/>
          </p:cNvSpPr>
          <p:nvPr>
            <p:ph type="body" idx="4294967295"/>
          </p:nvPr>
        </p:nvSpPr>
        <p:spPr>
          <a:xfrm>
            <a:off x="457200" y="1146255"/>
            <a:ext cx="2350172" cy="2971800"/>
          </a:xfrm>
        </p:spPr>
        <p:txBody>
          <a:bodyPr/>
          <a:lstStyle>
            <a:lvl1pPr marL="0" indent="0">
              <a:buNone/>
              <a:defRPr/>
            </a:lvl1pPr>
          </a:lstStyle>
          <a:p>
            <a:pPr lvl="0"/>
            <a:r>
              <a:rPr lang="en-US"/>
              <a:t>Click to edit Master text styles</a:t>
            </a:r>
          </a:p>
        </p:txBody>
      </p:sp>
      <p:cxnSp>
        <p:nvCxnSpPr>
          <p:cNvPr id="3" name="Straight Connector 5">
            <a:extLst>
              <a:ext uri="{FF2B5EF4-FFF2-40B4-BE49-F238E27FC236}">
                <a16:creationId xmlns:a16="http://schemas.microsoft.com/office/drawing/2014/main" id="{70D52A8F-63B3-201E-D070-7D0A63101B3D}"/>
              </a:ext>
            </a:extLst>
          </p:cNvPr>
          <p:cNvCxnSpPr/>
          <p:nvPr/>
        </p:nvCxnSpPr>
        <p:spPr>
          <a:xfrm>
            <a:off x="457201" y="947985"/>
            <a:ext cx="2350163" cy="0"/>
          </a:xfrm>
          <a:prstGeom prst="straightConnector1">
            <a:avLst/>
          </a:prstGeom>
          <a:noFill/>
          <a:ln w="31747" cap="flat">
            <a:solidFill>
              <a:srgbClr val="F58366"/>
            </a:solidFill>
            <a:prstDash val="solid"/>
            <a:miter/>
          </a:ln>
        </p:spPr>
      </p:cxnSp>
      <p:grpSp>
        <p:nvGrpSpPr>
          <p:cNvPr id="4" name="Group 2">
            <a:extLst>
              <a:ext uri="{FF2B5EF4-FFF2-40B4-BE49-F238E27FC236}">
                <a16:creationId xmlns:a16="http://schemas.microsoft.com/office/drawing/2014/main" id="{72764D26-C337-8F3C-4A36-C1CABF476DB9}"/>
              </a:ext>
            </a:extLst>
          </p:cNvPr>
          <p:cNvGrpSpPr/>
          <p:nvPr/>
        </p:nvGrpSpPr>
        <p:grpSpPr>
          <a:xfrm>
            <a:off x="1" y="5379425"/>
            <a:ext cx="2807363" cy="753895"/>
            <a:chOff x="0" y="5379424"/>
            <a:chExt cx="2807363" cy="753895"/>
          </a:xfrm>
        </p:grpSpPr>
        <p:sp>
          <p:nvSpPr>
            <p:cNvPr id="5" name="Freeform 21">
              <a:extLst>
                <a:ext uri="{FF2B5EF4-FFF2-40B4-BE49-F238E27FC236}">
                  <a16:creationId xmlns:a16="http://schemas.microsoft.com/office/drawing/2014/main" id="{EA6980AE-DDA8-9837-D7E0-812294157542}"/>
                </a:ext>
              </a:extLst>
            </p:cNvPr>
            <p:cNvSpPr/>
            <p:nvPr/>
          </p:nvSpPr>
          <p:spPr>
            <a:xfrm>
              <a:off x="0" y="5532513"/>
              <a:ext cx="2807363" cy="600806"/>
            </a:xfrm>
            <a:custGeom>
              <a:avLst/>
              <a:gdLst>
                <a:gd name="f0" fmla="val 10800000"/>
                <a:gd name="f1" fmla="val 5400000"/>
                <a:gd name="f2" fmla="val 180"/>
                <a:gd name="f3" fmla="val w"/>
                <a:gd name="f4" fmla="val h"/>
                <a:gd name="f5" fmla="val 0"/>
                <a:gd name="f6" fmla="val 2807368"/>
                <a:gd name="f7" fmla="val 600807"/>
                <a:gd name="f8" fmla="val 429971"/>
                <a:gd name="f9" fmla="val 123998"/>
                <a:gd name="f10" fmla="val 1184765"/>
                <a:gd name="f11" fmla="val 325331"/>
                <a:gd name="f12" fmla="val 2014184"/>
                <a:gd name="f13" fmla="val 392492"/>
                <a:gd name="f14" fmla="val 2790212"/>
                <a:gd name="f15" fmla="val 235402"/>
                <a:gd name="f16" fmla="val 231522"/>
                <a:gd name="f17" fmla="val 566106"/>
                <a:gd name="f18" fmla="val 2593885"/>
                <a:gd name="f19" fmla="val 587498"/>
                <a:gd name="f20" fmla="val 1673646"/>
                <a:gd name="f21" fmla="val 651184"/>
                <a:gd name="f22" fmla="val 884869"/>
                <a:gd name="f23" fmla="val 479260"/>
                <a:gd name="f24" fmla="val 100844"/>
                <a:gd name="f25" fmla="val 222653"/>
                <a:gd name="f26" fmla="val 188389"/>
                <a:gd name="f27" fmla="+- 0 0 -90"/>
                <a:gd name="f28" fmla="*/ f3 1 2807368"/>
                <a:gd name="f29" fmla="*/ f4 1 600807"/>
                <a:gd name="f30" fmla="+- f7 0 f5"/>
                <a:gd name="f31" fmla="+- f6 0 f5"/>
                <a:gd name="f32" fmla="*/ f27 f0 1"/>
                <a:gd name="f33" fmla="*/ f31 1 2807368"/>
                <a:gd name="f34" fmla="*/ f30 1 600807"/>
                <a:gd name="f35" fmla="*/ 0 f31 1"/>
                <a:gd name="f36" fmla="*/ 0 f30 1"/>
                <a:gd name="f37" fmla="*/ 429971 f31 1"/>
                <a:gd name="f38" fmla="*/ 123998 f30 1"/>
                <a:gd name="f39" fmla="*/ 2790212 f31 1"/>
                <a:gd name="f40" fmla="*/ 235402 f30 1"/>
                <a:gd name="f41" fmla="*/ 2807368 f31 1"/>
                <a:gd name="f42" fmla="*/ 231522 f30 1"/>
                <a:gd name="f43" fmla="*/ 566106 f30 1"/>
                <a:gd name="f44" fmla="*/ 2593885 f31 1"/>
                <a:gd name="f45" fmla="*/ 587498 f30 1"/>
                <a:gd name="f46" fmla="*/ 100844 f31 1"/>
                <a:gd name="f47" fmla="*/ 222653 f30 1"/>
                <a:gd name="f48" fmla="*/ 188389 f30 1"/>
                <a:gd name="f49" fmla="*/ f32 1 f2"/>
                <a:gd name="f50" fmla="*/ f35 1 2807368"/>
                <a:gd name="f51" fmla="*/ f36 1 600807"/>
                <a:gd name="f52" fmla="*/ f37 1 2807368"/>
                <a:gd name="f53" fmla="*/ f38 1 600807"/>
                <a:gd name="f54" fmla="*/ f39 1 2807368"/>
                <a:gd name="f55" fmla="*/ f40 1 600807"/>
                <a:gd name="f56" fmla="*/ f41 1 2807368"/>
                <a:gd name="f57" fmla="*/ f42 1 600807"/>
                <a:gd name="f58" fmla="*/ f43 1 600807"/>
                <a:gd name="f59" fmla="*/ f44 1 2807368"/>
                <a:gd name="f60" fmla="*/ f45 1 600807"/>
                <a:gd name="f61" fmla="*/ f46 1 2807368"/>
                <a:gd name="f62" fmla="*/ f47 1 600807"/>
                <a:gd name="f63" fmla="*/ f48 1 600807"/>
                <a:gd name="f64" fmla="*/ f5 1 f33"/>
                <a:gd name="f65" fmla="*/ f6 1 f33"/>
                <a:gd name="f66" fmla="*/ f5 1 f34"/>
                <a:gd name="f67" fmla="*/ f7 1 f34"/>
                <a:gd name="f68" fmla="+- f49 0 f1"/>
                <a:gd name="f69" fmla="*/ f50 1 f33"/>
                <a:gd name="f70" fmla="*/ f51 1 f34"/>
                <a:gd name="f71" fmla="*/ f52 1 f33"/>
                <a:gd name="f72" fmla="*/ f53 1 f34"/>
                <a:gd name="f73" fmla="*/ f54 1 f33"/>
                <a:gd name="f74" fmla="*/ f55 1 f34"/>
                <a:gd name="f75" fmla="*/ f56 1 f33"/>
                <a:gd name="f76" fmla="*/ f57 1 f34"/>
                <a:gd name="f77" fmla="*/ f58 1 f34"/>
                <a:gd name="f78" fmla="*/ f59 1 f33"/>
                <a:gd name="f79" fmla="*/ f60 1 f34"/>
                <a:gd name="f80" fmla="*/ f61 1 f33"/>
                <a:gd name="f81" fmla="*/ f62 1 f34"/>
                <a:gd name="f82" fmla="*/ f63 1 f34"/>
                <a:gd name="f83" fmla="*/ f64 f28 1"/>
                <a:gd name="f84" fmla="*/ f65 f28 1"/>
                <a:gd name="f85" fmla="*/ f67 f29 1"/>
                <a:gd name="f86" fmla="*/ f66 f29 1"/>
                <a:gd name="f87" fmla="*/ f69 f28 1"/>
                <a:gd name="f88" fmla="*/ f70 f29 1"/>
                <a:gd name="f89" fmla="*/ f71 f28 1"/>
                <a:gd name="f90" fmla="*/ f72 f29 1"/>
                <a:gd name="f91" fmla="*/ f73 f28 1"/>
                <a:gd name="f92" fmla="*/ f74 f29 1"/>
                <a:gd name="f93" fmla="*/ f75 f28 1"/>
                <a:gd name="f94" fmla="*/ f76 f29 1"/>
                <a:gd name="f95" fmla="*/ f77 f29 1"/>
                <a:gd name="f96" fmla="*/ f78 f28 1"/>
                <a:gd name="f97" fmla="*/ f79 f29 1"/>
                <a:gd name="f98" fmla="*/ f80 f28 1"/>
                <a:gd name="f99" fmla="*/ f81 f29 1"/>
                <a:gd name="f100" fmla="*/ f82 f29 1"/>
              </a:gdLst>
              <a:ahLst/>
              <a:cxnLst>
                <a:cxn ang="3cd4">
                  <a:pos x="hc" y="t"/>
                </a:cxn>
                <a:cxn ang="0">
                  <a:pos x="r" y="vc"/>
                </a:cxn>
                <a:cxn ang="cd4">
                  <a:pos x="hc" y="b"/>
                </a:cxn>
                <a:cxn ang="cd2">
                  <a:pos x="l" y="vc"/>
                </a:cxn>
                <a:cxn ang="f68">
                  <a:pos x="f87" y="f88"/>
                </a:cxn>
                <a:cxn ang="f68">
                  <a:pos x="f89" y="f90"/>
                </a:cxn>
                <a:cxn ang="f68">
                  <a:pos x="f91" y="f92"/>
                </a:cxn>
                <a:cxn ang="f68">
                  <a:pos x="f93" y="f94"/>
                </a:cxn>
                <a:cxn ang="f68">
                  <a:pos x="f93" y="f95"/>
                </a:cxn>
                <a:cxn ang="f68">
                  <a:pos x="f96" y="f97"/>
                </a:cxn>
                <a:cxn ang="f68">
                  <a:pos x="f98" y="f99"/>
                </a:cxn>
                <a:cxn ang="f68">
                  <a:pos x="f87" y="f100"/>
                </a:cxn>
              </a:cxnLst>
              <a:rect l="f83" t="f86" r="f84" b="f85"/>
              <a:pathLst>
                <a:path w="2807368" h="600807">
                  <a:moveTo>
                    <a:pt x="f5" y="f5"/>
                  </a:moveTo>
                  <a:lnTo>
                    <a:pt x="f8" y="f9"/>
                  </a:lnTo>
                  <a:cubicBezTo>
                    <a:pt x="f10" y="f11"/>
                    <a:pt x="f12" y="f13"/>
                    <a:pt x="f14" y="f15"/>
                  </a:cubicBezTo>
                  <a:lnTo>
                    <a:pt x="f6" y="f16"/>
                  </a:lnTo>
                  <a:lnTo>
                    <a:pt x="f6" y="f17"/>
                  </a:lnTo>
                  <a:lnTo>
                    <a:pt x="f18" y="f19"/>
                  </a:lnTo>
                  <a:cubicBezTo>
                    <a:pt x="f20" y="f21"/>
                    <a:pt x="f22" y="f23"/>
                    <a:pt x="f24" y="f25"/>
                  </a:cubicBezTo>
                  <a:lnTo>
                    <a:pt x="f5" y="f26"/>
                  </a:ln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Freeform 19">
              <a:extLst>
                <a:ext uri="{FF2B5EF4-FFF2-40B4-BE49-F238E27FC236}">
                  <a16:creationId xmlns:a16="http://schemas.microsoft.com/office/drawing/2014/main" id="{B713C784-89EA-1CE1-05E2-6476531E8139}"/>
                </a:ext>
              </a:extLst>
            </p:cNvPr>
            <p:cNvSpPr/>
            <p:nvPr/>
          </p:nvSpPr>
          <p:spPr>
            <a:xfrm>
              <a:off x="0" y="5379424"/>
              <a:ext cx="2807363" cy="649800"/>
            </a:xfrm>
            <a:custGeom>
              <a:avLst/>
              <a:gdLst>
                <a:gd name="f0" fmla="val 10800000"/>
                <a:gd name="f1" fmla="val 5400000"/>
                <a:gd name="f2" fmla="val 180"/>
                <a:gd name="f3" fmla="val w"/>
                <a:gd name="f4" fmla="val h"/>
                <a:gd name="f5" fmla="val 0"/>
                <a:gd name="f6" fmla="val 2807368"/>
                <a:gd name="f7" fmla="val 649803"/>
                <a:gd name="f8" fmla="val 282676"/>
                <a:gd name="f9" fmla="val 70799"/>
                <a:gd name="f10" fmla="val 435964"/>
                <a:gd name="f11" fmla="val 106085"/>
                <a:gd name="f12" fmla="val 588770"/>
                <a:gd name="f13" fmla="val 137629"/>
                <a:gd name="f14" fmla="val 740881"/>
                <a:gd name="f15" fmla="val 163828"/>
                <a:gd name="f16" fmla="val 1362800"/>
                <a:gd name="f17" fmla="val 270912"/>
                <a:gd name="f18" fmla="val 2067879"/>
                <a:gd name="f19" fmla="val 253759"/>
                <a:gd name="f20" fmla="val 2706471"/>
                <a:gd name="f21" fmla="val 96397"/>
                <a:gd name="f22" fmla="val 67250"/>
                <a:gd name="f23" fmla="val 605551"/>
                <a:gd name="f24" fmla="val 2602685"/>
                <a:gd name="f25" fmla="val 629466"/>
                <a:gd name="f26" fmla="val 1684237"/>
                <a:gd name="f27" fmla="val 708219"/>
                <a:gd name="f28" fmla="val 893252"/>
                <a:gd name="f29" fmla="val 549395"/>
                <a:gd name="f30" fmla="val 105614"/>
                <a:gd name="f31" fmla="val 305882"/>
                <a:gd name="f32" fmla="val 271926"/>
                <a:gd name="f33" fmla="+- 0 0 -90"/>
                <a:gd name="f34" fmla="*/ f3 1 2807368"/>
                <a:gd name="f35" fmla="*/ f4 1 649803"/>
                <a:gd name="f36" fmla="+- f7 0 f5"/>
                <a:gd name="f37" fmla="+- f6 0 f5"/>
                <a:gd name="f38" fmla="*/ f33 f0 1"/>
                <a:gd name="f39" fmla="*/ f37 1 2807368"/>
                <a:gd name="f40" fmla="*/ f36 1 649803"/>
                <a:gd name="f41" fmla="*/ 0 f37 1"/>
                <a:gd name="f42" fmla="*/ 0 f36 1"/>
                <a:gd name="f43" fmla="*/ 282676 f37 1"/>
                <a:gd name="f44" fmla="*/ 70799 f36 1"/>
                <a:gd name="f45" fmla="*/ 740881 f37 1"/>
                <a:gd name="f46" fmla="*/ 163828 f36 1"/>
                <a:gd name="f47" fmla="*/ 2706471 f37 1"/>
                <a:gd name="f48" fmla="*/ 96397 f36 1"/>
                <a:gd name="f49" fmla="*/ 2807368 f37 1"/>
                <a:gd name="f50" fmla="*/ 67250 f36 1"/>
                <a:gd name="f51" fmla="*/ 605551 f36 1"/>
                <a:gd name="f52" fmla="*/ 2602685 f37 1"/>
                <a:gd name="f53" fmla="*/ 629466 f36 1"/>
                <a:gd name="f54" fmla="*/ 105614 f37 1"/>
                <a:gd name="f55" fmla="*/ 305882 f36 1"/>
                <a:gd name="f56" fmla="*/ 271926 f36 1"/>
                <a:gd name="f57" fmla="*/ f38 1 f2"/>
                <a:gd name="f58" fmla="*/ f41 1 2807368"/>
                <a:gd name="f59" fmla="*/ f42 1 649803"/>
                <a:gd name="f60" fmla="*/ f43 1 2807368"/>
                <a:gd name="f61" fmla="*/ f44 1 649803"/>
                <a:gd name="f62" fmla="*/ f45 1 2807368"/>
                <a:gd name="f63" fmla="*/ f46 1 649803"/>
                <a:gd name="f64" fmla="*/ f47 1 2807368"/>
                <a:gd name="f65" fmla="*/ f48 1 649803"/>
                <a:gd name="f66" fmla="*/ f49 1 2807368"/>
                <a:gd name="f67" fmla="*/ f50 1 649803"/>
                <a:gd name="f68" fmla="*/ f51 1 649803"/>
                <a:gd name="f69" fmla="*/ f52 1 2807368"/>
                <a:gd name="f70" fmla="*/ f53 1 649803"/>
                <a:gd name="f71" fmla="*/ f54 1 2807368"/>
                <a:gd name="f72" fmla="*/ f55 1 649803"/>
                <a:gd name="f73" fmla="*/ f56 1 649803"/>
                <a:gd name="f74" fmla="*/ f5 1 f39"/>
                <a:gd name="f75" fmla="*/ f6 1 f39"/>
                <a:gd name="f76" fmla="*/ f5 1 f40"/>
                <a:gd name="f77" fmla="*/ f7 1 f40"/>
                <a:gd name="f78" fmla="+- f57 0 f1"/>
                <a:gd name="f79" fmla="*/ f58 1 f39"/>
                <a:gd name="f80" fmla="*/ f59 1 f40"/>
                <a:gd name="f81" fmla="*/ f60 1 f39"/>
                <a:gd name="f82" fmla="*/ f61 1 f40"/>
                <a:gd name="f83" fmla="*/ f62 1 f39"/>
                <a:gd name="f84" fmla="*/ f63 1 f40"/>
                <a:gd name="f85" fmla="*/ f64 1 f39"/>
                <a:gd name="f86" fmla="*/ f65 1 f40"/>
                <a:gd name="f87" fmla="*/ f66 1 f39"/>
                <a:gd name="f88" fmla="*/ f67 1 f40"/>
                <a:gd name="f89" fmla="*/ f68 1 f40"/>
                <a:gd name="f90" fmla="*/ f69 1 f39"/>
                <a:gd name="f91" fmla="*/ f70 1 f40"/>
                <a:gd name="f92" fmla="*/ f71 1 f39"/>
                <a:gd name="f93" fmla="*/ f72 1 f40"/>
                <a:gd name="f94" fmla="*/ f73 1 f40"/>
                <a:gd name="f95" fmla="*/ f74 f34 1"/>
                <a:gd name="f96" fmla="*/ f75 f34 1"/>
                <a:gd name="f97" fmla="*/ f77 f35 1"/>
                <a:gd name="f98" fmla="*/ f76 f35 1"/>
                <a:gd name="f99" fmla="*/ f79 f34 1"/>
                <a:gd name="f100" fmla="*/ f80 f35 1"/>
                <a:gd name="f101" fmla="*/ f81 f34 1"/>
                <a:gd name="f102" fmla="*/ f82 f35 1"/>
                <a:gd name="f103" fmla="*/ f83 f34 1"/>
                <a:gd name="f104" fmla="*/ f84 f35 1"/>
                <a:gd name="f105" fmla="*/ f85 f34 1"/>
                <a:gd name="f106" fmla="*/ f86 f35 1"/>
                <a:gd name="f107" fmla="*/ f87 f34 1"/>
                <a:gd name="f108" fmla="*/ f88 f35 1"/>
                <a:gd name="f109" fmla="*/ f89 f35 1"/>
                <a:gd name="f110" fmla="*/ f90 f34 1"/>
                <a:gd name="f111" fmla="*/ f91 f35 1"/>
                <a:gd name="f112" fmla="*/ f92 f34 1"/>
                <a:gd name="f113" fmla="*/ f93 f35 1"/>
                <a:gd name="f114" fmla="*/ f94 f35 1"/>
              </a:gdLst>
              <a:ahLst/>
              <a:cxnLst>
                <a:cxn ang="3cd4">
                  <a:pos x="hc" y="t"/>
                </a:cxn>
                <a:cxn ang="0">
                  <a:pos x="r" y="vc"/>
                </a:cxn>
                <a:cxn ang="cd4">
                  <a:pos x="hc" y="b"/>
                </a:cxn>
                <a:cxn ang="cd2">
                  <a:pos x="l" y="vc"/>
                </a:cxn>
                <a:cxn ang="f78">
                  <a:pos x="f99" y="f100"/>
                </a:cxn>
                <a:cxn ang="f78">
                  <a:pos x="f101" y="f102"/>
                </a:cxn>
                <a:cxn ang="f78">
                  <a:pos x="f103" y="f104"/>
                </a:cxn>
                <a:cxn ang="f78">
                  <a:pos x="f105" y="f106"/>
                </a:cxn>
                <a:cxn ang="f78">
                  <a:pos x="f107" y="f108"/>
                </a:cxn>
                <a:cxn ang="f78">
                  <a:pos x="f107" y="f109"/>
                </a:cxn>
                <a:cxn ang="f78">
                  <a:pos x="f110" y="f111"/>
                </a:cxn>
                <a:cxn ang="f78">
                  <a:pos x="f112" y="f113"/>
                </a:cxn>
                <a:cxn ang="f78">
                  <a:pos x="f99" y="f114"/>
                </a:cxn>
              </a:cxnLst>
              <a:rect l="f95" t="f98" r="f96" b="f97"/>
              <a:pathLst>
                <a:path w="2807368" h="649803">
                  <a:moveTo>
                    <a:pt x="f5" y="f5"/>
                  </a:moveTo>
                  <a:lnTo>
                    <a:pt x="f8" y="f9"/>
                  </a:lnTo>
                  <a:cubicBezTo>
                    <a:pt x="f10" y="f11"/>
                    <a:pt x="f12" y="f13"/>
                    <a:pt x="f14" y="f15"/>
                  </a:cubicBezTo>
                  <a:cubicBezTo>
                    <a:pt x="f16" y="f17"/>
                    <a:pt x="f18" y="f19"/>
                    <a:pt x="f20" y="f21"/>
                  </a:cubicBezTo>
                  <a:lnTo>
                    <a:pt x="f6" y="f22"/>
                  </a:lnTo>
                  <a:lnTo>
                    <a:pt x="f6" y="f23"/>
                  </a:lnTo>
                  <a:lnTo>
                    <a:pt x="f24" y="f25"/>
                  </a:lnTo>
                  <a:cubicBezTo>
                    <a:pt x="f26" y="f27"/>
                    <a:pt x="f28" y="f29"/>
                    <a:pt x="f30" y="f31"/>
                  </a:cubicBezTo>
                  <a:lnTo>
                    <a:pt x="f5" y="f32"/>
                  </a:ln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grpSp>
      <p:sp>
        <p:nvSpPr>
          <p:cNvPr id="7" name="Picture Placeholder 6">
            <a:extLst>
              <a:ext uri="{FF2B5EF4-FFF2-40B4-BE49-F238E27FC236}">
                <a16:creationId xmlns:a16="http://schemas.microsoft.com/office/drawing/2014/main" id="{32AB3EF3-7496-D2B0-7AC8-97662A8B97DE}"/>
              </a:ext>
            </a:extLst>
          </p:cNvPr>
          <p:cNvSpPr txBox="1">
            <a:spLocks noGrp="1"/>
          </p:cNvSpPr>
          <p:nvPr>
            <p:ph type="pic" idx="4294967295"/>
          </p:nvPr>
        </p:nvSpPr>
        <p:spPr>
          <a:xfrm>
            <a:off x="2807363" y="457200"/>
            <a:ext cx="8915400" cy="5943600"/>
          </a:xfrm>
        </p:spPr>
        <p:txBody>
          <a:bodyPr/>
          <a:lstStyle>
            <a:lvl1pPr>
              <a:defRPr/>
            </a:lvl1pPr>
          </a:lstStyle>
          <a:p>
            <a:pPr lvl="0"/>
            <a:endParaRPr lang="en-US"/>
          </a:p>
        </p:txBody>
      </p:sp>
      <p:pic>
        <p:nvPicPr>
          <p:cNvPr id="8" name="Picture 14">
            <a:extLst>
              <a:ext uri="{FF2B5EF4-FFF2-40B4-BE49-F238E27FC236}">
                <a16:creationId xmlns:a16="http://schemas.microsoft.com/office/drawing/2014/main" id="{74D010A1-28C1-7837-DB5A-7386EF2A31A8}"/>
              </a:ext>
            </a:extLst>
          </p:cNvPr>
          <p:cNvPicPr>
            <a:picLocks noChangeAspect="1"/>
          </p:cNvPicPr>
          <p:nvPr/>
        </p:nvPicPr>
        <p:blipFill>
          <a:blip r:embed="rId2"/>
          <a:srcRect/>
          <a:stretch>
            <a:fillRect/>
          </a:stretch>
        </p:blipFill>
        <p:spPr>
          <a:xfrm>
            <a:off x="513345" y="4385535"/>
            <a:ext cx="2025313" cy="911940"/>
          </a:xfrm>
          <a:prstGeom prst="rect">
            <a:avLst/>
          </a:prstGeom>
          <a:noFill/>
          <a:ln cap="flat">
            <a:noFill/>
          </a:ln>
        </p:spPr>
      </p:pic>
    </p:spTree>
    <p:extLst>
      <p:ext uri="{BB962C8B-B14F-4D97-AF65-F5344CB8AC3E}">
        <p14:creationId xmlns:p14="http://schemas.microsoft.com/office/powerpoint/2010/main" val="2309251565"/>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p:cSld name="20_Cover">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86B7D7CB-18B6-CCAB-2751-A62C4770FCAA}"/>
              </a:ext>
            </a:extLst>
          </p:cNvPr>
          <p:cNvSpPr/>
          <p:nvPr/>
        </p:nvSpPr>
        <p:spPr>
          <a:xfrm>
            <a:off x="902366" y="1294416"/>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FC0A3290-0B72-7C63-303C-1DB667E01DB8}"/>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r>
              <a:rPr lang="en-US"/>
              <a:t>Click to edit Master title style</a:t>
            </a:r>
          </a:p>
        </p:txBody>
      </p:sp>
      <p:sp>
        <p:nvSpPr>
          <p:cNvPr id="4" name="Subtitle 2">
            <a:extLst>
              <a:ext uri="{FF2B5EF4-FFF2-40B4-BE49-F238E27FC236}">
                <a16:creationId xmlns:a16="http://schemas.microsoft.com/office/drawing/2014/main" id="{81709E66-BDA8-D598-0795-1B59FDC5CB05}"/>
              </a:ext>
            </a:extLst>
          </p:cNvPr>
          <p:cNvSpPr txBox="1">
            <a:spLocks noGrp="1"/>
          </p:cNvSpPr>
          <p:nvPr>
            <p:ph type="subTitle" idx="4294967295"/>
          </p:nvPr>
        </p:nvSpPr>
        <p:spPr>
          <a:xfrm>
            <a:off x="1413305" y="3766861"/>
            <a:ext cx="5194432" cy="986564"/>
          </a:xfrm>
        </p:spPr>
        <p:txBody>
          <a:bodyPr/>
          <a:lstStyle>
            <a:lvl1pPr marL="0" indent="0">
              <a:buNone/>
              <a:defRPr/>
            </a:lvl1pPr>
          </a:lstStyle>
          <a:p>
            <a:pPr lvl="0"/>
            <a:r>
              <a:rPr lang="en-US"/>
              <a:t>Click to edit Master subtitle style</a:t>
            </a:r>
          </a:p>
        </p:txBody>
      </p:sp>
      <p:sp>
        <p:nvSpPr>
          <p:cNvPr id="5" name="Picture Placeholder 21">
            <a:extLst>
              <a:ext uri="{FF2B5EF4-FFF2-40B4-BE49-F238E27FC236}">
                <a16:creationId xmlns:a16="http://schemas.microsoft.com/office/drawing/2014/main" id="{CAB6D10D-11F8-A244-B146-1E2C381278CB}"/>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grpSp>
        <p:nvGrpSpPr>
          <p:cNvPr id="6" name="Group 26">
            <a:extLst>
              <a:ext uri="{FF2B5EF4-FFF2-40B4-BE49-F238E27FC236}">
                <a16:creationId xmlns:a16="http://schemas.microsoft.com/office/drawing/2014/main" id="{5CC521F7-F675-C6DF-8340-E906F3F40AE5}"/>
              </a:ext>
            </a:extLst>
          </p:cNvPr>
          <p:cNvGrpSpPr/>
          <p:nvPr/>
        </p:nvGrpSpPr>
        <p:grpSpPr>
          <a:xfrm>
            <a:off x="0" y="5020349"/>
            <a:ext cx="12191996" cy="1837651"/>
            <a:chOff x="0" y="5020348"/>
            <a:chExt cx="12191996" cy="1837651"/>
          </a:xfrm>
        </p:grpSpPr>
        <p:sp>
          <p:nvSpPr>
            <p:cNvPr id="7" name="Freeform 27">
              <a:extLst>
                <a:ext uri="{FF2B5EF4-FFF2-40B4-BE49-F238E27FC236}">
                  <a16:creationId xmlns:a16="http://schemas.microsoft.com/office/drawing/2014/main" id="{5944293B-8D87-BEF2-7F9F-BF9120DC3C92}"/>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8" name="Freeform 28">
              <a:extLst>
                <a:ext uri="{FF2B5EF4-FFF2-40B4-BE49-F238E27FC236}">
                  <a16:creationId xmlns:a16="http://schemas.microsoft.com/office/drawing/2014/main" id="{87C6D7CD-A392-EF7C-2E0F-C506202B8A53}"/>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9" name="Picture 29">
              <a:extLst>
                <a:ext uri="{FF2B5EF4-FFF2-40B4-BE49-F238E27FC236}">
                  <a16:creationId xmlns:a16="http://schemas.microsoft.com/office/drawing/2014/main" id="{5C98ABCA-A6AB-4F9D-EF35-4A4D01AB5A80}"/>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673066941"/>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p:cSld name="19_Photo Slide">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8B910ED0-1A86-CBAD-FA22-9D637A410A75}"/>
              </a:ext>
            </a:extLst>
          </p:cNvPr>
          <p:cNvSpPr txBox="1">
            <a:spLocks noGrp="1"/>
          </p:cNvSpPr>
          <p:nvPr>
            <p:ph type="body" idx="4294967295"/>
          </p:nvPr>
        </p:nvSpPr>
        <p:spPr>
          <a:xfrm>
            <a:off x="457200" y="1146255"/>
            <a:ext cx="2350172" cy="2971800"/>
          </a:xfrm>
        </p:spPr>
        <p:txBody>
          <a:bodyPr/>
          <a:lstStyle>
            <a:lvl1pPr marL="0" indent="0">
              <a:buNone/>
              <a:defRPr/>
            </a:lvl1pPr>
          </a:lstStyle>
          <a:p>
            <a:pPr lvl="0"/>
            <a:r>
              <a:rPr lang="en-US"/>
              <a:t>Click to edit Master text styles</a:t>
            </a:r>
          </a:p>
        </p:txBody>
      </p:sp>
      <p:cxnSp>
        <p:nvCxnSpPr>
          <p:cNvPr id="3" name="Straight Connector 5">
            <a:extLst>
              <a:ext uri="{FF2B5EF4-FFF2-40B4-BE49-F238E27FC236}">
                <a16:creationId xmlns:a16="http://schemas.microsoft.com/office/drawing/2014/main" id="{05A0525D-6C5C-7B2B-C1FE-E767134F289B}"/>
              </a:ext>
            </a:extLst>
          </p:cNvPr>
          <p:cNvCxnSpPr/>
          <p:nvPr/>
        </p:nvCxnSpPr>
        <p:spPr>
          <a:xfrm>
            <a:off x="457201" y="947985"/>
            <a:ext cx="2350163" cy="0"/>
          </a:xfrm>
          <a:prstGeom prst="straightConnector1">
            <a:avLst/>
          </a:prstGeom>
          <a:noFill/>
          <a:ln w="31747" cap="flat">
            <a:solidFill>
              <a:srgbClr val="F58366"/>
            </a:solidFill>
            <a:prstDash val="solid"/>
            <a:miter/>
          </a:ln>
        </p:spPr>
      </p:cxnSp>
      <p:grpSp>
        <p:nvGrpSpPr>
          <p:cNvPr id="4" name="Group 2">
            <a:extLst>
              <a:ext uri="{FF2B5EF4-FFF2-40B4-BE49-F238E27FC236}">
                <a16:creationId xmlns:a16="http://schemas.microsoft.com/office/drawing/2014/main" id="{7DF02C6D-1BDD-986B-3E5B-A8D06BD1C8B2}"/>
              </a:ext>
            </a:extLst>
          </p:cNvPr>
          <p:cNvGrpSpPr/>
          <p:nvPr/>
        </p:nvGrpSpPr>
        <p:grpSpPr>
          <a:xfrm>
            <a:off x="1" y="5379425"/>
            <a:ext cx="2807363" cy="753895"/>
            <a:chOff x="0" y="5379424"/>
            <a:chExt cx="2807363" cy="753895"/>
          </a:xfrm>
        </p:grpSpPr>
        <p:sp>
          <p:nvSpPr>
            <p:cNvPr id="5" name="Freeform 21">
              <a:extLst>
                <a:ext uri="{FF2B5EF4-FFF2-40B4-BE49-F238E27FC236}">
                  <a16:creationId xmlns:a16="http://schemas.microsoft.com/office/drawing/2014/main" id="{EA44C9D1-2226-64C9-867F-BA3B529EB4C8}"/>
                </a:ext>
              </a:extLst>
            </p:cNvPr>
            <p:cNvSpPr/>
            <p:nvPr/>
          </p:nvSpPr>
          <p:spPr>
            <a:xfrm>
              <a:off x="0" y="5532513"/>
              <a:ext cx="2807363" cy="600806"/>
            </a:xfrm>
            <a:custGeom>
              <a:avLst/>
              <a:gdLst>
                <a:gd name="f0" fmla="val 10800000"/>
                <a:gd name="f1" fmla="val 5400000"/>
                <a:gd name="f2" fmla="val 180"/>
                <a:gd name="f3" fmla="val w"/>
                <a:gd name="f4" fmla="val h"/>
                <a:gd name="f5" fmla="val 0"/>
                <a:gd name="f6" fmla="val 2807368"/>
                <a:gd name="f7" fmla="val 600807"/>
                <a:gd name="f8" fmla="val 429971"/>
                <a:gd name="f9" fmla="val 123998"/>
                <a:gd name="f10" fmla="val 1184765"/>
                <a:gd name="f11" fmla="val 325331"/>
                <a:gd name="f12" fmla="val 2014184"/>
                <a:gd name="f13" fmla="val 392492"/>
                <a:gd name="f14" fmla="val 2790212"/>
                <a:gd name="f15" fmla="val 235402"/>
                <a:gd name="f16" fmla="val 231522"/>
                <a:gd name="f17" fmla="val 566106"/>
                <a:gd name="f18" fmla="val 2593885"/>
                <a:gd name="f19" fmla="val 587498"/>
                <a:gd name="f20" fmla="val 1673646"/>
                <a:gd name="f21" fmla="val 651184"/>
                <a:gd name="f22" fmla="val 884869"/>
                <a:gd name="f23" fmla="val 479260"/>
                <a:gd name="f24" fmla="val 100844"/>
                <a:gd name="f25" fmla="val 222653"/>
                <a:gd name="f26" fmla="val 188389"/>
                <a:gd name="f27" fmla="+- 0 0 -90"/>
                <a:gd name="f28" fmla="*/ f3 1 2807368"/>
                <a:gd name="f29" fmla="*/ f4 1 600807"/>
                <a:gd name="f30" fmla="+- f7 0 f5"/>
                <a:gd name="f31" fmla="+- f6 0 f5"/>
                <a:gd name="f32" fmla="*/ f27 f0 1"/>
                <a:gd name="f33" fmla="*/ f31 1 2807368"/>
                <a:gd name="f34" fmla="*/ f30 1 600807"/>
                <a:gd name="f35" fmla="*/ 0 f31 1"/>
                <a:gd name="f36" fmla="*/ 0 f30 1"/>
                <a:gd name="f37" fmla="*/ 429971 f31 1"/>
                <a:gd name="f38" fmla="*/ 123998 f30 1"/>
                <a:gd name="f39" fmla="*/ 2790212 f31 1"/>
                <a:gd name="f40" fmla="*/ 235402 f30 1"/>
                <a:gd name="f41" fmla="*/ 2807368 f31 1"/>
                <a:gd name="f42" fmla="*/ 231522 f30 1"/>
                <a:gd name="f43" fmla="*/ 566106 f30 1"/>
                <a:gd name="f44" fmla="*/ 2593885 f31 1"/>
                <a:gd name="f45" fmla="*/ 587498 f30 1"/>
                <a:gd name="f46" fmla="*/ 100844 f31 1"/>
                <a:gd name="f47" fmla="*/ 222653 f30 1"/>
                <a:gd name="f48" fmla="*/ 188389 f30 1"/>
                <a:gd name="f49" fmla="*/ f32 1 f2"/>
                <a:gd name="f50" fmla="*/ f35 1 2807368"/>
                <a:gd name="f51" fmla="*/ f36 1 600807"/>
                <a:gd name="f52" fmla="*/ f37 1 2807368"/>
                <a:gd name="f53" fmla="*/ f38 1 600807"/>
                <a:gd name="f54" fmla="*/ f39 1 2807368"/>
                <a:gd name="f55" fmla="*/ f40 1 600807"/>
                <a:gd name="f56" fmla="*/ f41 1 2807368"/>
                <a:gd name="f57" fmla="*/ f42 1 600807"/>
                <a:gd name="f58" fmla="*/ f43 1 600807"/>
                <a:gd name="f59" fmla="*/ f44 1 2807368"/>
                <a:gd name="f60" fmla="*/ f45 1 600807"/>
                <a:gd name="f61" fmla="*/ f46 1 2807368"/>
                <a:gd name="f62" fmla="*/ f47 1 600807"/>
                <a:gd name="f63" fmla="*/ f48 1 600807"/>
                <a:gd name="f64" fmla="*/ f5 1 f33"/>
                <a:gd name="f65" fmla="*/ f6 1 f33"/>
                <a:gd name="f66" fmla="*/ f5 1 f34"/>
                <a:gd name="f67" fmla="*/ f7 1 f34"/>
                <a:gd name="f68" fmla="+- f49 0 f1"/>
                <a:gd name="f69" fmla="*/ f50 1 f33"/>
                <a:gd name="f70" fmla="*/ f51 1 f34"/>
                <a:gd name="f71" fmla="*/ f52 1 f33"/>
                <a:gd name="f72" fmla="*/ f53 1 f34"/>
                <a:gd name="f73" fmla="*/ f54 1 f33"/>
                <a:gd name="f74" fmla="*/ f55 1 f34"/>
                <a:gd name="f75" fmla="*/ f56 1 f33"/>
                <a:gd name="f76" fmla="*/ f57 1 f34"/>
                <a:gd name="f77" fmla="*/ f58 1 f34"/>
                <a:gd name="f78" fmla="*/ f59 1 f33"/>
                <a:gd name="f79" fmla="*/ f60 1 f34"/>
                <a:gd name="f80" fmla="*/ f61 1 f33"/>
                <a:gd name="f81" fmla="*/ f62 1 f34"/>
                <a:gd name="f82" fmla="*/ f63 1 f34"/>
                <a:gd name="f83" fmla="*/ f64 f28 1"/>
                <a:gd name="f84" fmla="*/ f65 f28 1"/>
                <a:gd name="f85" fmla="*/ f67 f29 1"/>
                <a:gd name="f86" fmla="*/ f66 f29 1"/>
                <a:gd name="f87" fmla="*/ f69 f28 1"/>
                <a:gd name="f88" fmla="*/ f70 f29 1"/>
                <a:gd name="f89" fmla="*/ f71 f28 1"/>
                <a:gd name="f90" fmla="*/ f72 f29 1"/>
                <a:gd name="f91" fmla="*/ f73 f28 1"/>
                <a:gd name="f92" fmla="*/ f74 f29 1"/>
                <a:gd name="f93" fmla="*/ f75 f28 1"/>
                <a:gd name="f94" fmla="*/ f76 f29 1"/>
                <a:gd name="f95" fmla="*/ f77 f29 1"/>
                <a:gd name="f96" fmla="*/ f78 f28 1"/>
                <a:gd name="f97" fmla="*/ f79 f29 1"/>
                <a:gd name="f98" fmla="*/ f80 f28 1"/>
                <a:gd name="f99" fmla="*/ f81 f29 1"/>
                <a:gd name="f100" fmla="*/ f82 f29 1"/>
              </a:gdLst>
              <a:ahLst/>
              <a:cxnLst>
                <a:cxn ang="3cd4">
                  <a:pos x="hc" y="t"/>
                </a:cxn>
                <a:cxn ang="0">
                  <a:pos x="r" y="vc"/>
                </a:cxn>
                <a:cxn ang="cd4">
                  <a:pos x="hc" y="b"/>
                </a:cxn>
                <a:cxn ang="cd2">
                  <a:pos x="l" y="vc"/>
                </a:cxn>
                <a:cxn ang="f68">
                  <a:pos x="f87" y="f88"/>
                </a:cxn>
                <a:cxn ang="f68">
                  <a:pos x="f89" y="f90"/>
                </a:cxn>
                <a:cxn ang="f68">
                  <a:pos x="f91" y="f92"/>
                </a:cxn>
                <a:cxn ang="f68">
                  <a:pos x="f93" y="f94"/>
                </a:cxn>
                <a:cxn ang="f68">
                  <a:pos x="f93" y="f95"/>
                </a:cxn>
                <a:cxn ang="f68">
                  <a:pos x="f96" y="f97"/>
                </a:cxn>
                <a:cxn ang="f68">
                  <a:pos x="f98" y="f99"/>
                </a:cxn>
                <a:cxn ang="f68">
                  <a:pos x="f87" y="f100"/>
                </a:cxn>
              </a:cxnLst>
              <a:rect l="f83" t="f86" r="f84" b="f85"/>
              <a:pathLst>
                <a:path w="2807368" h="600807">
                  <a:moveTo>
                    <a:pt x="f5" y="f5"/>
                  </a:moveTo>
                  <a:lnTo>
                    <a:pt x="f8" y="f9"/>
                  </a:lnTo>
                  <a:cubicBezTo>
                    <a:pt x="f10" y="f11"/>
                    <a:pt x="f12" y="f13"/>
                    <a:pt x="f14" y="f15"/>
                  </a:cubicBezTo>
                  <a:lnTo>
                    <a:pt x="f6" y="f16"/>
                  </a:lnTo>
                  <a:lnTo>
                    <a:pt x="f6" y="f17"/>
                  </a:lnTo>
                  <a:lnTo>
                    <a:pt x="f18" y="f19"/>
                  </a:lnTo>
                  <a:cubicBezTo>
                    <a:pt x="f20" y="f21"/>
                    <a:pt x="f22" y="f23"/>
                    <a:pt x="f24" y="f25"/>
                  </a:cubicBezTo>
                  <a:lnTo>
                    <a:pt x="f5" y="f26"/>
                  </a:ln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Freeform 19">
              <a:extLst>
                <a:ext uri="{FF2B5EF4-FFF2-40B4-BE49-F238E27FC236}">
                  <a16:creationId xmlns:a16="http://schemas.microsoft.com/office/drawing/2014/main" id="{9F99C516-74C8-E8D2-BA32-F2FC82967E48}"/>
                </a:ext>
              </a:extLst>
            </p:cNvPr>
            <p:cNvSpPr/>
            <p:nvPr/>
          </p:nvSpPr>
          <p:spPr>
            <a:xfrm>
              <a:off x="0" y="5379424"/>
              <a:ext cx="2807363" cy="649800"/>
            </a:xfrm>
            <a:custGeom>
              <a:avLst/>
              <a:gdLst>
                <a:gd name="f0" fmla="val 10800000"/>
                <a:gd name="f1" fmla="val 5400000"/>
                <a:gd name="f2" fmla="val 180"/>
                <a:gd name="f3" fmla="val w"/>
                <a:gd name="f4" fmla="val h"/>
                <a:gd name="f5" fmla="val 0"/>
                <a:gd name="f6" fmla="val 2807368"/>
                <a:gd name="f7" fmla="val 649803"/>
                <a:gd name="f8" fmla="val 282676"/>
                <a:gd name="f9" fmla="val 70799"/>
                <a:gd name="f10" fmla="val 435964"/>
                <a:gd name="f11" fmla="val 106085"/>
                <a:gd name="f12" fmla="val 588770"/>
                <a:gd name="f13" fmla="val 137629"/>
                <a:gd name="f14" fmla="val 740881"/>
                <a:gd name="f15" fmla="val 163828"/>
                <a:gd name="f16" fmla="val 1362800"/>
                <a:gd name="f17" fmla="val 270912"/>
                <a:gd name="f18" fmla="val 2067879"/>
                <a:gd name="f19" fmla="val 253759"/>
                <a:gd name="f20" fmla="val 2706471"/>
                <a:gd name="f21" fmla="val 96397"/>
                <a:gd name="f22" fmla="val 67250"/>
                <a:gd name="f23" fmla="val 605551"/>
                <a:gd name="f24" fmla="val 2602685"/>
                <a:gd name="f25" fmla="val 629466"/>
                <a:gd name="f26" fmla="val 1684237"/>
                <a:gd name="f27" fmla="val 708219"/>
                <a:gd name="f28" fmla="val 893252"/>
                <a:gd name="f29" fmla="val 549395"/>
                <a:gd name="f30" fmla="val 105614"/>
                <a:gd name="f31" fmla="val 305882"/>
                <a:gd name="f32" fmla="val 271926"/>
                <a:gd name="f33" fmla="+- 0 0 -90"/>
                <a:gd name="f34" fmla="*/ f3 1 2807368"/>
                <a:gd name="f35" fmla="*/ f4 1 649803"/>
                <a:gd name="f36" fmla="+- f7 0 f5"/>
                <a:gd name="f37" fmla="+- f6 0 f5"/>
                <a:gd name="f38" fmla="*/ f33 f0 1"/>
                <a:gd name="f39" fmla="*/ f37 1 2807368"/>
                <a:gd name="f40" fmla="*/ f36 1 649803"/>
                <a:gd name="f41" fmla="*/ 0 f37 1"/>
                <a:gd name="f42" fmla="*/ 0 f36 1"/>
                <a:gd name="f43" fmla="*/ 282676 f37 1"/>
                <a:gd name="f44" fmla="*/ 70799 f36 1"/>
                <a:gd name="f45" fmla="*/ 740881 f37 1"/>
                <a:gd name="f46" fmla="*/ 163828 f36 1"/>
                <a:gd name="f47" fmla="*/ 2706471 f37 1"/>
                <a:gd name="f48" fmla="*/ 96397 f36 1"/>
                <a:gd name="f49" fmla="*/ 2807368 f37 1"/>
                <a:gd name="f50" fmla="*/ 67250 f36 1"/>
                <a:gd name="f51" fmla="*/ 605551 f36 1"/>
                <a:gd name="f52" fmla="*/ 2602685 f37 1"/>
                <a:gd name="f53" fmla="*/ 629466 f36 1"/>
                <a:gd name="f54" fmla="*/ 105614 f37 1"/>
                <a:gd name="f55" fmla="*/ 305882 f36 1"/>
                <a:gd name="f56" fmla="*/ 271926 f36 1"/>
                <a:gd name="f57" fmla="*/ f38 1 f2"/>
                <a:gd name="f58" fmla="*/ f41 1 2807368"/>
                <a:gd name="f59" fmla="*/ f42 1 649803"/>
                <a:gd name="f60" fmla="*/ f43 1 2807368"/>
                <a:gd name="f61" fmla="*/ f44 1 649803"/>
                <a:gd name="f62" fmla="*/ f45 1 2807368"/>
                <a:gd name="f63" fmla="*/ f46 1 649803"/>
                <a:gd name="f64" fmla="*/ f47 1 2807368"/>
                <a:gd name="f65" fmla="*/ f48 1 649803"/>
                <a:gd name="f66" fmla="*/ f49 1 2807368"/>
                <a:gd name="f67" fmla="*/ f50 1 649803"/>
                <a:gd name="f68" fmla="*/ f51 1 649803"/>
                <a:gd name="f69" fmla="*/ f52 1 2807368"/>
                <a:gd name="f70" fmla="*/ f53 1 649803"/>
                <a:gd name="f71" fmla="*/ f54 1 2807368"/>
                <a:gd name="f72" fmla="*/ f55 1 649803"/>
                <a:gd name="f73" fmla="*/ f56 1 649803"/>
                <a:gd name="f74" fmla="*/ f5 1 f39"/>
                <a:gd name="f75" fmla="*/ f6 1 f39"/>
                <a:gd name="f76" fmla="*/ f5 1 f40"/>
                <a:gd name="f77" fmla="*/ f7 1 f40"/>
                <a:gd name="f78" fmla="+- f57 0 f1"/>
                <a:gd name="f79" fmla="*/ f58 1 f39"/>
                <a:gd name="f80" fmla="*/ f59 1 f40"/>
                <a:gd name="f81" fmla="*/ f60 1 f39"/>
                <a:gd name="f82" fmla="*/ f61 1 f40"/>
                <a:gd name="f83" fmla="*/ f62 1 f39"/>
                <a:gd name="f84" fmla="*/ f63 1 f40"/>
                <a:gd name="f85" fmla="*/ f64 1 f39"/>
                <a:gd name="f86" fmla="*/ f65 1 f40"/>
                <a:gd name="f87" fmla="*/ f66 1 f39"/>
                <a:gd name="f88" fmla="*/ f67 1 f40"/>
                <a:gd name="f89" fmla="*/ f68 1 f40"/>
                <a:gd name="f90" fmla="*/ f69 1 f39"/>
                <a:gd name="f91" fmla="*/ f70 1 f40"/>
                <a:gd name="f92" fmla="*/ f71 1 f39"/>
                <a:gd name="f93" fmla="*/ f72 1 f40"/>
                <a:gd name="f94" fmla="*/ f73 1 f40"/>
                <a:gd name="f95" fmla="*/ f74 f34 1"/>
                <a:gd name="f96" fmla="*/ f75 f34 1"/>
                <a:gd name="f97" fmla="*/ f77 f35 1"/>
                <a:gd name="f98" fmla="*/ f76 f35 1"/>
                <a:gd name="f99" fmla="*/ f79 f34 1"/>
                <a:gd name="f100" fmla="*/ f80 f35 1"/>
                <a:gd name="f101" fmla="*/ f81 f34 1"/>
                <a:gd name="f102" fmla="*/ f82 f35 1"/>
                <a:gd name="f103" fmla="*/ f83 f34 1"/>
                <a:gd name="f104" fmla="*/ f84 f35 1"/>
                <a:gd name="f105" fmla="*/ f85 f34 1"/>
                <a:gd name="f106" fmla="*/ f86 f35 1"/>
                <a:gd name="f107" fmla="*/ f87 f34 1"/>
                <a:gd name="f108" fmla="*/ f88 f35 1"/>
                <a:gd name="f109" fmla="*/ f89 f35 1"/>
                <a:gd name="f110" fmla="*/ f90 f34 1"/>
                <a:gd name="f111" fmla="*/ f91 f35 1"/>
                <a:gd name="f112" fmla="*/ f92 f34 1"/>
                <a:gd name="f113" fmla="*/ f93 f35 1"/>
                <a:gd name="f114" fmla="*/ f94 f35 1"/>
              </a:gdLst>
              <a:ahLst/>
              <a:cxnLst>
                <a:cxn ang="3cd4">
                  <a:pos x="hc" y="t"/>
                </a:cxn>
                <a:cxn ang="0">
                  <a:pos x="r" y="vc"/>
                </a:cxn>
                <a:cxn ang="cd4">
                  <a:pos x="hc" y="b"/>
                </a:cxn>
                <a:cxn ang="cd2">
                  <a:pos x="l" y="vc"/>
                </a:cxn>
                <a:cxn ang="f78">
                  <a:pos x="f99" y="f100"/>
                </a:cxn>
                <a:cxn ang="f78">
                  <a:pos x="f101" y="f102"/>
                </a:cxn>
                <a:cxn ang="f78">
                  <a:pos x="f103" y="f104"/>
                </a:cxn>
                <a:cxn ang="f78">
                  <a:pos x="f105" y="f106"/>
                </a:cxn>
                <a:cxn ang="f78">
                  <a:pos x="f107" y="f108"/>
                </a:cxn>
                <a:cxn ang="f78">
                  <a:pos x="f107" y="f109"/>
                </a:cxn>
                <a:cxn ang="f78">
                  <a:pos x="f110" y="f111"/>
                </a:cxn>
                <a:cxn ang="f78">
                  <a:pos x="f112" y="f113"/>
                </a:cxn>
                <a:cxn ang="f78">
                  <a:pos x="f99" y="f114"/>
                </a:cxn>
              </a:cxnLst>
              <a:rect l="f95" t="f98" r="f96" b="f97"/>
              <a:pathLst>
                <a:path w="2807368" h="649803">
                  <a:moveTo>
                    <a:pt x="f5" y="f5"/>
                  </a:moveTo>
                  <a:lnTo>
                    <a:pt x="f8" y="f9"/>
                  </a:lnTo>
                  <a:cubicBezTo>
                    <a:pt x="f10" y="f11"/>
                    <a:pt x="f12" y="f13"/>
                    <a:pt x="f14" y="f15"/>
                  </a:cubicBezTo>
                  <a:cubicBezTo>
                    <a:pt x="f16" y="f17"/>
                    <a:pt x="f18" y="f19"/>
                    <a:pt x="f20" y="f21"/>
                  </a:cubicBezTo>
                  <a:lnTo>
                    <a:pt x="f6" y="f22"/>
                  </a:lnTo>
                  <a:lnTo>
                    <a:pt x="f6" y="f23"/>
                  </a:lnTo>
                  <a:lnTo>
                    <a:pt x="f24" y="f25"/>
                  </a:lnTo>
                  <a:cubicBezTo>
                    <a:pt x="f26" y="f27"/>
                    <a:pt x="f28" y="f29"/>
                    <a:pt x="f30" y="f31"/>
                  </a:cubicBezTo>
                  <a:lnTo>
                    <a:pt x="f5" y="f32"/>
                  </a:ln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grpSp>
      <p:sp>
        <p:nvSpPr>
          <p:cNvPr id="7" name="Picture Placeholder 6">
            <a:extLst>
              <a:ext uri="{FF2B5EF4-FFF2-40B4-BE49-F238E27FC236}">
                <a16:creationId xmlns:a16="http://schemas.microsoft.com/office/drawing/2014/main" id="{83832F2F-6369-0628-9310-8BE327843BEA}"/>
              </a:ext>
            </a:extLst>
          </p:cNvPr>
          <p:cNvSpPr txBox="1">
            <a:spLocks noGrp="1"/>
          </p:cNvSpPr>
          <p:nvPr>
            <p:ph type="pic" idx="4294967295"/>
          </p:nvPr>
        </p:nvSpPr>
        <p:spPr>
          <a:xfrm>
            <a:off x="2807363" y="457200"/>
            <a:ext cx="8915400" cy="5943600"/>
          </a:xfrm>
        </p:spPr>
        <p:txBody>
          <a:bodyPr/>
          <a:lstStyle>
            <a:lvl1pPr>
              <a:defRPr/>
            </a:lvl1pPr>
          </a:lstStyle>
          <a:p>
            <a:pPr lvl="0"/>
            <a:endParaRPr lang="en-US"/>
          </a:p>
        </p:txBody>
      </p:sp>
      <p:pic>
        <p:nvPicPr>
          <p:cNvPr id="8" name="Picture 14">
            <a:extLst>
              <a:ext uri="{FF2B5EF4-FFF2-40B4-BE49-F238E27FC236}">
                <a16:creationId xmlns:a16="http://schemas.microsoft.com/office/drawing/2014/main" id="{F2C34608-7FB6-5A38-32A0-CFA7A3485108}"/>
              </a:ext>
            </a:extLst>
          </p:cNvPr>
          <p:cNvPicPr>
            <a:picLocks noChangeAspect="1"/>
          </p:cNvPicPr>
          <p:nvPr/>
        </p:nvPicPr>
        <p:blipFill>
          <a:blip r:embed="rId2"/>
          <a:srcRect/>
          <a:stretch>
            <a:fillRect/>
          </a:stretch>
        </p:blipFill>
        <p:spPr>
          <a:xfrm>
            <a:off x="513345" y="4385535"/>
            <a:ext cx="2025313" cy="911940"/>
          </a:xfrm>
          <a:prstGeom prst="rect">
            <a:avLst/>
          </a:prstGeom>
          <a:noFill/>
          <a:ln cap="flat">
            <a:noFill/>
          </a:ln>
        </p:spPr>
      </p:pic>
    </p:spTree>
    <p:extLst>
      <p:ext uri="{BB962C8B-B14F-4D97-AF65-F5344CB8AC3E}">
        <p14:creationId xmlns:p14="http://schemas.microsoft.com/office/powerpoint/2010/main" val="2215796642"/>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21_Cover">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999C7C12-AD91-45D5-8C4D-3FAB8C92833C}"/>
              </a:ext>
            </a:extLst>
          </p:cNvPr>
          <p:cNvSpPr/>
          <p:nvPr/>
        </p:nvSpPr>
        <p:spPr>
          <a:xfrm>
            <a:off x="902366" y="1294416"/>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BC7A202B-6635-0156-9AAB-B0000CFF2F98}"/>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r>
              <a:rPr lang="en-US"/>
              <a:t>Click to edit Master title style</a:t>
            </a:r>
          </a:p>
        </p:txBody>
      </p:sp>
      <p:sp>
        <p:nvSpPr>
          <p:cNvPr id="4" name="Subtitle 2">
            <a:extLst>
              <a:ext uri="{FF2B5EF4-FFF2-40B4-BE49-F238E27FC236}">
                <a16:creationId xmlns:a16="http://schemas.microsoft.com/office/drawing/2014/main" id="{634BD744-9B8F-DC96-91C6-6E90981519DA}"/>
              </a:ext>
            </a:extLst>
          </p:cNvPr>
          <p:cNvSpPr txBox="1">
            <a:spLocks noGrp="1"/>
          </p:cNvSpPr>
          <p:nvPr>
            <p:ph type="subTitle" idx="4294967295"/>
          </p:nvPr>
        </p:nvSpPr>
        <p:spPr>
          <a:xfrm>
            <a:off x="1413305" y="3766861"/>
            <a:ext cx="5194432" cy="986564"/>
          </a:xfrm>
        </p:spPr>
        <p:txBody>
          <a:bodyPr/>
          <a:lstStyle>
            <a:lvl1pPr marL="0" indent="0">
              <a:buNone/>
              <a:defRPr/>
            </a:lvl1pPr>
          </a:lstStyle>
          <a:p>
            <a:pPr lvl="0"/>
            <a:r>
              <a:rPr lang="en-US"/>
              <a:t>Click to edit Master subtitle style</a:t>
            </a:r>
          </a:p>
        </p:txBody>
      </p:sp>
      <p:sp>
        <p:nvSpPr>
          <p:cNvPr id="5" name="Picture Placeholder 21">
            <a:extLst>
              <a:ext uri="{FF2B5EF4-FFF2-40B4-BE49-F238E27FC236}">
                <a16:creationId xmlns:a16="http://schemas.microsoft.com/office/drawing/2014/main" id="{374B301A-CB7D-4ED4-8E9A-124A152F628B}"/>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grpSp>
        <p:nvGrpSpPr>
          <p:cNvPr id="6" name="Group 26">
            <a:extLst>
              <a:ext uri="{FF2B5EF4-FFF2-40B4-BE49-F238E27FC236}">
                <a16:creationId xmlns:a16="http://schemas.microsoft.com/office/drawing/2014/main" id="{D661852F-E9FA-4739-E0E7-6A3FD8D683E2}"/>
              </a:ext>
            </a:extLst>
          </p:cNvPr>
          <p:cNvGrpSpPr/>
          <p:nvPr/>
        </p:nvGrpSpPr>
        <p:grpSpPr>
          <a:xfrm>
            <a:off x="0" y="5020349"/>
            <a:ext cx="12191996" cy="1837651"/>
            <a:chOff x="0" y="5020348"/>
            <a:chExt cx="12191996" cy="1837651"/>
          </a:xfrm>
        </p:grpSpPr>
        <p:sp>
          <p:nvSpPr>
            <p:cNvPr id="7" name="Freeform 27">
              <a:extLst>
                <a:ext uri="{FF2B5EF4-FFF2-40B4-BE49-F238E27FC236}">
                  <a16:creationId xmlns:a16="http://schemas.microsoft.com/office/drawing/2014/main" id="{090D4AA0-2CD7-B9B7-92F7-4107EFC7D196}"/>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8" name="Freeform 28">
              <a:extLst>
                <a:ext uri="{FF2B5EF4-FFF2-40B4-BE49-F238E27FC236}">
                  <a16:creationId xmlns:a16="http://schemas.microsoft.com/office/drawing/2014/main" id="{99B024E7-E3F0-44CA-4078-6E265EBAB69B}"/>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9" name="Picture 29">
              <a:extLst>
                <a:ext uri="{FF2B5EF4-FFF2-40B4-BE49-F238E27FC236}">
                  <a16:creationId xmlns:a16="http://schemas.microsoft.com/office/drawing/2014/main" id="{A99C1918-2C44-C152-D022-A7F75AB25047}"/>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71866930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Divider">
  <p:cSld name="Divider 4">
    <p:spTree>
      <p:nvGrpSpPr>
        <p:cNvPr id="1" name="Shape 9437"/>
        <p:cNvGrpSpPr/>
        <p:nvPr/>
      </p:nvGrpSpPr>
      <p:grpSpPr>
        <a:xfrm>
          <a:off x="0" y="0"/>
          <a:ext cx="0" cy="0"/>
          <a:chOff x="0" y="0"/>
          <a:chExt cx="0" cy="0"/>
        </a:xfrm>
      </p:grpSpPr>
      <p:grpSp>
        <p:nvGrpSpPr>
          <p:cNvPr id="9438" name="Google Shape;9438;p1355"/>
          <p:cNvGrpSpPr/>
          <p:nvPr/>
        </p:nvGrpSpPr>
        <p:grpSpPr>
          <a:xfrm>
            <a:off x="0" y="5020347"/>
            <a:ext cx="12192000" cy="1837653"/>
            <a:chOff x="0" y="5020347"/>
            <a:chExt cx="12192000" cy="1837653"/>
          </a:xfrm>
        </p:grpSpPr>
        <p:sp>
          <p:nvSpPr>
            <p:cNvPr id="9439" name="Google Shape;9439;p135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440" name="Google Shape;9440;p135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441" name="Google Shape;9441;p135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442" name="Google Shape;9442;p135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443" name="Google Shape;9443;p135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444" name="Google Shape;9444;p135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p:cSld name="20_Photo Slide">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FF28B023-B96D-D4BF-0525-6D8FD610328B}"/>
              </a:ext>
            </a:extLst>
          </p:cNvPr>
          <p:cNvSpPr txBox="1">
            <a:spLocks noGrp="1"/>
          </p:cNvSpPr>
          <p:nvPr>
            <p:ph type="body" idx="4294967295"/>
          </p:nvPr>
        </p:nvSpPr>
        <p:spPr>
          <a:xfrm>
            <a:off x="457200" y="1146255"/>
            <a:ext cx="2350172" cy="2971800"/>
          </a:xfrm>
        </p:spPr>
        <p:txBody>
          <a:bodyPr/>
          <a:lstStyle>
            <a:lvl1pPr marL="0" indent="0">
              <a:buNone/>
              <a:defRPr/>
            </a:lvl1pPr>
          </a:lstStyle>
          <a:p>
            <a:pPr lvl="0"/>
            <a:r>
              <a:rPr lang="en-US"/>
              <a:t>Click to edit Master text styles</a:t>
            </a:r>
          </a:p>
        </p:txBody>
      </p:sp>
      <p:cxnSp>
        <p:nvCxnSpPr>
          <p:cNvPr id="3" name="Straight Connector 5">
            <a:extLst>
              <a:ext uri="{FF2B5EF4-FFF2-40B4-BE49-F238E27FC236}">
                <a16:creationId xmlns:a16="http://schemas.microsoft.com/office/drawing/2014/main" id="{55915A80-819A-314F-CD5C-226C76BA1079}"/>
              </a:ext>
            </a:extLst>
          </p:cNvPr>
          <p:cNvCxnSpPr/>
          <p:nvPr/>
        </p:nvCxnSpPr>
        <p:spPr>
          <a:xfrm>
            <a:off x="457201" y="947985"/>
            <a:ext cx="2350163" cy="0"/>
          </a:xfrm>
          <a:prstGeom prst="straightConnector1">
            <a:avLst/>
          </a:prstGeom>
          <a:noFill/>
          <a:ln w="31747" cap="flat">
            <a:solidFill>
              <a:srgbClr val="F58366"/>
            </a:solidFill>
            <a:prstDash val="solid"/>
            <a:miter/>
          </a:ln>
        </p:spPr>
      </p:cxnSp>
      <p:grpSp>
        <p:nvGrpSpPr>
          <p:cNvPr id="4" name="Group 2">
            <a:extLst>
              <a:ext uri="{FF2B5EF4-FFF2-40B4-BE49-F238E27FC236}">
                <a16:creationId xmlns:a16="http://schemas.microsoft.com/office/drawing/2014/main" id="{D2FF9554-E11D-47BC-0129-C37B7530DBC2}"/>
              </a:ext>
            </a:extLst>
          </p:cNvPr>
          <p:cNvGrpSpPr/>
          <p:nvPr/>
        </p:nvGrpSpPr>
        <p:grpSpPr>
          <a:xfrm>
            <a:off x="1" y="5379425"/>
            <a:ext cx="2807363" cy="753895"/>
            <a:chOff x="0" y="5379424"/>
            <a:chExt cx="2807363" cy="753895"/>
          </a:xfrm>
        </p:grpSpPr>
        <p:sp>
          <p:nvSpPr>
            <p:cNvPr id="5" name="Freeform 21">
              <a:extLst>
                <a:ext uri="{FF2B5EF4-FFF2-40B4-BE49-F238E27FC236}">
                  <a16:creationId xmlns:a16="http://schemas.microsoft.com/office/drawing/2014/main" id="{A98B339A-B243-7E35-7871-79BD2B13BF86}"/>
                </a:ext>
              </a:extLst>
            </p:cNvPr>
            <p:cNvSpPr/>
            <p:nvPr/>
          </p:nvSpPr>
          <p:spPr>
            <a:xfrm>
              <a:off x="0" y="5532513"/>
              <a:ext cx="2807363" cy="600806"/>
            </a:xfrm>
            <a:custGeom>
              <a:avLst/>
              <a:gdLst>
                <a:gd name="f0" fmla="val 10800000"/>
                <a:gd name="f1" fmla="val 5400000"/>
                <a:gd name="f2" fmla="val 180"/>
                <a:gd name="f3" fmla="val w"/>
                <a:gd name="f4" fmla="val h"/>
                <a:gd name="f5" fmla="val 0"/>
                <a:gd name="f6" fmla="val 2807368"/>
                <a:gd name="f7" fmla="val 600807"/>
                <a:gd name="f8" fmla="val 429971"/>
                <a:gd name="f9" fmla="val 123998"/>
                <a:gd name="f10" fmla="val 1184765"/>
                <a:gd name="f11" fmla="val 325331"/>
                <a:gd name="f12" fmla="val 2014184"/>
                <a:gd name="f13" fmla="val 392492"/>
                <a:gd name="f14" fmla="val 2790212"/>
                <a:gd name="f15" fmla="val 235402"/>
                <a:gd name="f16" fmla="val 231522"/>
                <a:gd name="f17" fmla="val 566106"/>
                <a:gd name="f18" fmla="val 2593885"/>
                <a:gd name="f19" fmla="val 587498"/>
                <a:gd name="f20" fmla="val 1673646"/>
                <a:gd name="f21" fmla="val 651184"/>
                <a:gd name="f22" fmla="val 884869"/>
                <a:gd name="f23" fmla="val 479260"/>
                <a:gd name="f24" fmla="val 100844"/>
                <a:gd name="f25" fmla="val 222653"/>
                <a:gd name="f26" fmla="val 188389"/>
                <a:gd name="f27" fmla="+- 0 0 -90"/>
                <a:gd name="f28" fmla="*/ f3 1 2807368"/>
                <a:gd name="f29" fmla="*/ f4 1 600807"/>
                <a:gd name="f30" fmla="+- f7 0 f5"/>
                <a:gd name="f31" fmla="+- f6 0 f5"/>
                <a:gd name="f32" fmla="*/ f27 f0 1"/>
                <a:gd name="f33" fmla="*/ f31 1 2807368"/>
                <a:gd name="f34" fmla="*/ f30 1 600807"/>
                <a:gd name="f35" fmla="*/ 0 f31 1"/>
                <a:gd name="f36" fmla="*/ 0 f30 1"/>
                <a:gd name="f37" fmla="*/ 429971 f31 1"/>
                <a:gd name="f38" fmla="*/ 123998 f30 1"/>
                <a:gd name="f39" fmla="*/ 2790212 f31 1"/>
                <a:gd name="f40" fmla="*/ 235402 f30 1"/>
                <a:gd name="f41" fmla="*/ 2807368 f31 1"/>
                <a:gd name="f42" fmla="*/ 231522 f30 1"/>
                <a:gd name="f43" fmla="*/ 566106 f30 1"/>
                <a:gd name="f44" fmla="*/ 2593885 f31 1"/>
                <a:gd name="f45" fmla="*/ 587498 f30 1"/>
                <a:gd name="f46" fmla="*/ 100844 f31 1"/>
                <a:gd name="f47" fmla="*/ 222653 f30 1"/>
                <a:gd name="f48" fmla="*/ 188389 f30 1"/>
                <a:gd name="f49" fmla="*/ f32 1 f2"/>
                <a:gd name="f50" fmla="*/ f35 1 2807368"/>
                <a:gd name="f51" fmla="*/ f36 1 600807"/>
                <a:gd name="f52" fmla="*/ f37 1 2807368"/>
                <a:gd name="f53" fmla="*/ f38 1 600807"/>
                <a:gd name="f54" fmla="*/ f39 1 2807368"/>
                <a:gd name="f55" fmla="*/ f40 1 600807"/>
                <a:gd name="f56" fmla="*/ f41 1 2807368"/>
                <a:gd name="f57" fmla="*/ f42 1 600807"/>
                <a:gd name="f58" fmla="*/ f43 1 600807"/>
                <a:gd name="f59" fmla="*/ f44 1 2807368"/>
                <a:gd name="f60" fmla="*/ f45 1 600807"/>
                <a:gd name="f61" fmla="*/ f46 1 2807368"/>
                <a:gd name="f62" fmla="*/ f47 1 600807"/>
                <a:gd name="f63" fmla="*/ f48 1 600807"/>
                <a:gd name="f64" fmla="*/ f5 1 f33"/>
                <a:gd name="f65" fmla="*/ f6 1 f33"/>
                <a:gd name="f66" fmla="*/ f5 1 f34"/>
                <a:gd name="f67" fmla="*/ f7 1 f34"/>
                <a:gd name="f68" fmla="+- f49 0 f1"/>
                <a:gd name="f69" fmla="*/ f50 1 f33"/>
                <a:gd name="f70" fmla="*/ f51 1 f34"/>
                <a:gd name="f71" fmla="*/ f52 1 f33"/>
                <a:gd name="f72" fmla="*/ f53 1 f34"/>
                <a:gd name="f73" fmla="*/ f54 1 f33"/>
                <a:gd name="f74" fmla="*/ f55 1 f34"/>
                <a:gd name="f75" fmla="*/ f56 1 f33"/>
                <a:gd name="f76" fmla="*/ f57 1 f34"/>
                <a:gd name="f77" fmla="*/ f58 1 f34"/>
                <a:gd name="f78" fmla="*/ f59 1 f33"/>
                <a:gd name="f79" fmla="*/ f60 1 f34"/>
                <a:gd name="f80" fmla="*/ f61 1 f33"/>
                <a:gd name="f81" fmla="*/ f62 1 f34"/>
                <a:gd name="f82" fmla="*/ f63 1 f34"/>
                <a:gd name="f83" fmla="*/ f64 f28 1"/>
                <a:gd name="f84" fmla="*/ f65 f28 1"/>
                <a:gd name="f85" fmla="*/ f67 f29 1"/>
                <a:gd name="f86" fmla="*/ f66 f29 1"/>
                <a:gd name="f87" fmla="*/ f69 f28 1"/>
                <a:gd name="f88" fmla="*/ f70 f29 1"/>
                <a:gd name="f89" fmla="*/ f71 f28 1"/>
                <a:gd name="f90" fmla="*/ f72 f29 1"/>
                <a:gd name="f91" fmla="*/ f73 f28 1"/>
                <a:gd name="f92" fmla="*/ f74 f29 1"/>
                <a:gd name="f93" fmla="*/ f75 f28 1"/>
                <a:gd name="f94" fmla="*/ f76 f29 1"/>
                <a:gd name="f95" fmla="*/ f77 f29 1"/>
                <a:gd name="f96" fmla="*/ f78 f28 1"/>
                <a:gd name="f97" fmla="*/ f79 f29 1"/>
                <a:gd name="f98" fmla="*/ f80 f28 1"/>
                <a:gd name="f99" fmla="*/ f81 f29 1"/>
                <a:gd name="f100" fmla="*/ f82 f29 1"/>
              </a:gdLst>
              <a:ahLst/>
              <a:cxnLst>
                <a:cxn ang="3cd4">
                  <a:pos x="hc" y="t"/>
                </a:cxn>
                <a:cxn ang="0">
                  <a:pos x="r" y="vc"/>
                </a:cxn>
                <a:cxn ang="cd4">
                  <a:pos x="hc" y="b"/>
                </a:cxn>
                <a:cxn ang="cd2">
                  <a:pos x="l" y="vc"/>
                </a:cxn>
                <a:cxn ang="f68">
                  <a:pos x="f87" y="f88"/>
                </a:cxn>
                <a:cxn ang="f68">
                  <a:pos x="f89" y="f90"/>
                </a:cxn>
                <a:cxn ang="f68">
                  <a:pos x="f91" y="f92"/>
                </a:cxn>
                <a:cxn ang="f68">
                  <a:pos x="f93" y="f94"/>
                </a:cxn>
                <a:cxn ang="f68">
                  <a:pos x="f93" y="f95"/>
                </a:cxn>
                <a:cxn ang="f68">
                  <a:pos x="f96" y="f97"/>
                </a:cxn>
                <a:cxn ang="f68">
                  <a:pos x="f98" y="f99"/>
                </a:cxn>
                <a:cxn ang="f68">
                  <a:pos x="f87" y="f100"/>
                </a:cxn>
              </a:cxnLst>
              <a:rect l="f83" t="f86" r="f84" b="f85"/>
              <a:pathLst>
                <a:path w="2807368" h="600807">
                  <a:moveTo>
                    <a:pt x="f5" y="f5"/>
                  </a:moveTo>
                  <a:lnTo>
                    <a:pt x="f8" y="f9"/>
                  </a:lnTo>
                  <a:cubicBezTo>
                    <a:pt x="f10" y="f11"/>
                    <a:pt x="f12" y="f13"/>
                    <a:pt x="f14" y="f15"/>
                  </a:cubicBezTo>
                  <a:lnTo>
                    <a:pt x="f6" y="f16"/>
                  </a:lnTo>
                  <a:lnTo>
                    <a:pt x="f6" y="f17"/>
                  </a:lnTo>
                  <a:lnTo>
                    <a:pt x="f18" y="f19"/>
                  </a:lnTo>
                  <a:cubicBezTo>
                    <a:pt x="f20" y="f21"/>
                    <a:pt x="f22" y="f23"/>
                    <a:pt x="f24" y="f25"/>
                  </a:cubicBezTo>
                  <a:lnTo>
                    <a:pt x="f5" y="f26"/>
                  </a:ln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Freeform 19">
              <a:extLst>
                <a:ext uri="{FF2B5EF4-FFF2-40B4-BE49-F238E27FC236}">
                  <a16:creationId xmlns:a16="http://schemas.microsoft.com/office/drawing/2014/main" id="{DF786C34-82EA-A627-BF51-011F59A0B402}"/>
                </a:ext>
              </a:extLst>
            </p:cNvPr>
            <p:cNvSpPr/>
            <p:nvPr/>
          </p:nvSpPr>
          <p:spPr>
            <a:xfrm>
              <a:off x="0" y="5379424"/>
              <a:ext cx="2807363" cy="649800"/>
            </a:xfrm>
            <a:custGeom>
              <a:avLst/>
              <a:gdLst>
                <a:gd name="f0" fmla="val 10800000"/>
                <a:gd name="f1" fmla="val 5400000"/>
                <a:gd name="f2" fmla="val 180"/>
                <a:gd name="f3" fmla="val w"/>
                <a:gd name="f4" fmla="val h"/>
                <a:gd name="f5" fmla="val 0"/>
                <a:gd name="f6" fmla="val 2807368"/>
                <a:gd name="f7" fmla="val 649803"/>
                <a:gd name="f8" fmla="val 282676"/>
                <a:gd name="f9" fmla="val 70799"/>
                <a:gd name="f10" fmla="val 435964"/>
                <a:gd name="f11" fmla="val 106085"/>
                <a:gd name="f12" fmla="val 588770"/>
                <a:gd name="f13" fmla="val 137629"/>
                <a:gd name="f14" fmla="val 740881"/>
                <a:gd name="f15" fmla="val 163828"/>
                <a:gd name="f16" fmla="val 1362800"/>
                <a:gd name="f17" fmla="val 270912"/>
                <a:gd name="f18" fmla="val 2067879"/>
                <a:gd name="f19" fmla="val 253759"/>
                <a:gd name="f20" fmla="val 2706471"/>
                <a:gd name="f21" fmla="val 96397"/>
                <a:gd name="f22" fmla="val 67250"/>
                <a:gd name="f23" fmla="val 605551"/>
                <a:gd name="f24" fmla="val 2602685"/>
                <a:gd name="f25" fmla="val 629466"/>
                <a:gd name="f26" fmla="val 1684237"/>
                <a:gd name="f27" fmla="val 708219"/>
                <a:gd name="f28" fmla="val 893252"/>
                <a:gd name="f29" fmla="val 549395"/>
                <a:gd name="f30" fmla="val 105614"/>
                <a:gd name="f31" fmla="val 305882"/>
                <a:gd name="f32" fmla="val 271926"/>
                <a:gd name="f33" fmla="+- 0 0 -90"/>
                <a:gd name="f34" fmla="*/ f3 1 2807368"/>
                <a:gd name="f35" fmla="*/ f4 1 649803"/>
                <a:gd name="f36" fmla="+- f7 0 f5"/>
                <a:gd name="f37" fmla="+- f6 0 f5"/>
                <a:gd name="f38" fmla="*/ f33 f0 1"/>
                <a:gd name="f39" fmla="*/ f37 1 2807368"/>
                <a:gd name="f40" fmla="*/ f36 1 649803"/>
                <a:gd name="f41" fmla="*/ 0 f37 1"/>
                <a:gd name="f42" fmla="*/ 0 f36 1"/>
                <a:gd name="f43" fmla="*/ 282676 f37 1"/>
                <a:gd name="f44" fmla="*/ 70799 f36 1"/>
                <a:gd name="f45" fmla="*/ 740881 f37 1"/>
                <a:gd name="f46" fmla="*/ 163828 f36 1"/>
                <a:gd name="f47" fmla="*/ 2706471 f37 1"/>
                <a:gd name="f48" fmla="*/ 96397 f36 1"/>
                <a:gd name="f49" fmla="*/ 2807368 f37 1"/>
                <a:gd name="f50" fmla="*/ 67250 f36 1"/>
                <a:gd name="f51" fmla="*/ 605551 f36 1"/>
                <a:gd name="f52" fmla="*/ 2602685 f37 1"/>
                <a:gd name="f53" fmla="*/ 629466 f36 1"/>
                <a:gd name="f54" fmla="*/ 105614 f37 1"/>
                <a:gd name="f55" fmla="*/ 305882 f36 1"/>
                <a:gd name="f56" fmla="*/ 271926 f36 1"/>
                <a:gd name="f57" fmla="*/ f38 1 f2"/>
                <a:gd name="f58" fmla="*/ f41 1 2807368"/>
                <a:gd name="f59" fmla="*/ f42 1 649803"/>
                <a:gd name="f60" fmla="*/ f43 1 2807368"/>
                <a:gd name="f61" fmla="*/ f44 1 649803"/>
                <a:gd name="f62" fmla="*/ f45 1 2807368"/>
                <a:gd name="f63" fmla="*/ f46 1 649803"/>
                <a:gd name="f64" fmla="*/ f47 1 2807368"/>
                <a:gd name="f65" fmla="*/ f48 1 649803"/>
                <a:gd name="f66" fmla="*/ f49 1 2807368"/>
                <a:gd name="f67" fmla="*/ f50 1 649803"/>
                <a:gd name="f68" fmla="*/ f51 1 649803"/>
                <a:gd name="f69" fmla="*/ f52 1 2807368"/>
                <a:gd name="f70" fmla="*/ f53 1 649803"/>
                <a:gd name="f71" fmla="*/ f54 1 2807368"/>
                <a:gd name="f72" fmla="*/ f55 1 649803"/>
                <a:gd name="f73" fmla="*/ f56 1 649803"/>
                <a:gd name="f74" fmla="*/ f5 1 f39"/>
                <a:gd name="f75" fmla="*/ f6 1 f39"/>
                <a:gd name="f76" fmla="*/ f5 1 f40"/>
                <a:gd name="f77" fmla="*/ f7 1 f40"/>
                <a:gd name="f78" fmla="+- f57 0 f1"/>
                <a:gd name="f79" fmla="*/ f58 1 f39"/>
                <a:gd name="f80" fmla="*/ f59 1 f40"/>
                <a:gd name="f81" fmla="*/ f60 1 f39"/>
                <a:gd name="f82" fmla="*/ f61 1 f40"/>
                <a:gd name="f83" fmla="*/ f62 1 f39"/>
                <a:gd name="f84" fmla="*/ f63 1 f40"/>
                <a:gd name="f85" fmla="*/ f64 1 f39"/>
                <a:gd name="f86" fmla="*/ f65 1 f40"/>
                <a:gd name="f87" fmla="*/ f66 1 f39"/>
                <a:gd name="f88" fmla="*/ f67 1 f40"/>
                <a:gd name="f89" fmla="*/ f68 1 f40"/>
                <a:gd name="f90" fmla="*/ f69 1 f39"/>
                <a:gd name="f91" fmla="*/ f70 1 f40"/>
                <a:gd name="f92" fmla="*/ f71 1 f39"/>
                <a:gd name="f93" fmla="*/ f72 1 f40"/>
                <a:gd name="f94" fmla="*/ f73 1 f40"/>
                <a:gd name="f95" fmla="*/ f74 f34 1"/>
                <a:gd name="f96" fmla="*/ f75 f34 1"/>
                <a:gd name="f97" fmla="*/ f77 f35 1"/>
                <a:gd name="f98" fmla="*/ f76 f35 1"/>
                <a:gd name="f99" fmla="*/ f79 f34 1"/>
                <a:gd name="f100" fmla="*/ f80 f35 1"/>
                <a:gd name="f101" fmla="*/ f81 f34 1"/>
                <a:gd name="f102" fmla="*/ f82 f35 1"/>
                <a:gd name="f103" fmla="*/ f83 f34 1"/>
                <a:gd name="f104" fmla="*/ f84 f35 1"/>
                <a:gd name="f105" fmla="*/ f85 f34 1"/>
                <a:gd name="f106" fmla="*/ f86 f35 1"/>
                <a:gd name="f107" fmla="*/ f87 f34 1"/>
                <a:gd name="f108" fmla="*/ f88 f35 1"/>
                <a:gd name="f109" fmla="*/ f89 f35 1"/>
                <a:gd name="f110" fmla="*/ f90 f34 1"/>
                <a:gd name="f111" fmla="*/ f91 f35 1"/>
                <a:gd name="f112" fmla="*/ f92 f34 1"/>
                <a:gd name="f113" fmla="*/ f93 f35 1"/>
                <a:gd name="f114" fmla="*/ f94 f35 1"/>
              </a:gdLst>
              <a:ahLst/>
              <a:cxnLst>
                <a:cxn ang="3cd4">
                  <a:pos x="hc" y="t"/>
                </a:cxn>
                <a:cxn ang="0">
                  <a:pos x="r" y="vc"/>
                </a:cxn>
                <a:cxn ang="cd4">
                  <a:pos x="hc" y="b"/>
                </a:cxn>
                <a:cxn ang="cd2">
                  <a:pos x="l" y="vc"/>
                </a:cxn>
                <a:cxn ang="f78">
                  <a:pos x="f99" y="f100"/>
                </a:cxn>
                <a:cxn ang="f78">
                  <a:pos x="f101" y="f102"/>
                </a:cxn>
                <a:cxn ang="f78">
                  <a:pos x="f103" y="f104"/>
                </a:cxn>
                <a:cxn ang="f78">
                  <a:pos x="f105" y="f106"/>
                </a:cxn>
                <a:cxn ang="f78">
                  <a:pos x="f107" y="f108"/>
                </a:cxn>
                <a:cxn ang="f78">
                  <a:pos x="f107" y="f109"/>
                </a:cxn>
                <a:cxn ang="f78">
                  <a:pos x="f110" y="f111"/>
                </a:cxn>
                <a:cxn ang="f78">
                  <a:pos x="f112" y="f113"/>
                </a:cxn>
                <a:cxn ang="f78">
                  <a:pos x="f99" y="f114"/>
                </a:cxn>
              </a:cxnLst>
              <a:rect l="f95" t="f98" r="f96" b="f97"/>
              <a:pathLst>
                <a:path w="2807368" h="649803">
                  <a:moveTo>
                    <a:pt x="f5" y="f5"/>
                  </a:moveTo>
                  <a:lnTo>
                    <a:pt x="f8" y="f9"/>
                  </a:lnTo>
                  <a:cubicBezTo>
                    <a:pt x="f10" y="f11"/>
                    <a:pt x="f12" y="f13"/>
                    <a:pt x="f14" y="f15"/>
                  </a:cubicBezTo>
                  <a:cubicBezTo>
                    <a:pt x="f16" y="f17"/>
                    <a:pt x="f18" y="f19"/>
                    <a:pt x="f20" y="f21"/>
                  </a:cubicBezTo>
                  <a:lnTo>
                    <a:pt x="f6" y="f22"/>
                  </a:lnTo>
                  <a:lnTo>
                    <a:pt x="f6" y="f23"/>
                  </a:lnTo>
                  <a:lnTo>
                    <a:pt x="f24" y="f25"/>
                  </a:lnTo>
                  <a:cubicBezTo>
                    <a:pt x="f26" y="f27"/>
                    <a:pt x="f28" y="f29"/>
                    <a:pt x="f30" y="f31"/>
                  </a:cubicBezTo>
                  <a:lnTo>
                    <a:pt x="f5" y="f32"/>
                  </a:ln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grpSp>
      <p:sp>
        <p:nvSpPr>
          <p:cNvPr id="7" name="Picture Placeholder 6">
            <a:extLst>
              <a:ext uri="{FF2B5EF4-FFF2-40B4-BE49-F238E27FC236}">
                <a16:creationId xmlns:a16="http://schemas.microsoft.com/office/drawing/2014/main" id="{E0829E0F-0A45-E997-6373-2E8C3F6714D6}"/>
              </a:ext>
            </a:extLst>
          </p:cNvPr>
          <p:cNvSpPr txBox="1">
            <a:spLocks noGrp="1"/>
          </p:cNvSpPr>
          <p:nvPr>
            <p:ph type="pic" idx="4294967295"/>
          </p:nvPr>
        </p:nvSpPr>
        <p:spPr>
          <a:xfrm>
            <a:off x="2807363" y="457200"/>
            <a:ext cx="8915400" cy="5943600"/>
          </a:xfrm>
        </p:spPr>
        <p:txBody>
          <a:bodyPr/>
          <a:lstStyle>
            <a:lvl1pPr>
              <a:defRPr/>
            </a:lvl1pPr>
          </a:lstStyle>
          <a:p>
            <a:pPr lvl="0"/>
            <a:endParaRPr lang="en-US"/>
          </a:p>
        </p:txBody>
      </p:sp>
      <p:pic>
        <p:nvPicPr>
          <p:cNvPr id="8" name="Picture 14">
            <a:extLst>
              <a:ext uri="{FF2B5EF4-FFF2-40B4-BE49-F238E27FC236}">
                <a16:creationId xmlns:a16="http://schemas.microsoft.com/office/drawing/2014/main" id="{3EF8DFE3-C9EE-0B88-B9B8-D407C3A161AD}"/>
              </a:ext>
            </a:extLst>
          </p:cNvPr>
          <p:cNvPicPr>
            <a:picLocks noChangeAspect="1"/>
          </p:cNvPicPr>
          <p:nvPr/>
        </p:nvPicPr>
        <p:blipFill>
          <a:blip r:embed="rId2"/>
          <a:srcRect/>
          <a:stretch>
            <a:fillRect/>
          </a:stretch>
        </p:blipFill>
        <p:spPr>
          <a:xfrm>
            <a:off x="513345" y="4385535"/>
            <a:ext cx="2025313" cy="911940"/>
          </a:xfrm>
          <a:prstGeom prst="rect">
            <a:avLst/>
          </a:prstGeom>
          <a:noFill/>
          <a:ln cap="flat">
            <a:noFill/>
          </a:ln>
        </p:spPr>
      </p:pic>
    </p:spTree>
    <p:extLst>
      <p:ext uri="{BB962C8B-B14F-4D97-AF65-F5344CB8AC3E}">
        <p14:creationId xmlns:p14="http://schemas.microsoft.com/office/powerpoint/2010/main" val="4174177039"/>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p:cSld name="21_Photo Slide">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1E146CFF-618A-5934-3F14-E4707AD28CDF}"/>
              </a:ext>
            </a:extLst>
          </p:cNvPr>
          <p:cNvSpPr txBox="1">
            <a:spLocks noGrp="1"/>
          </p:cNvSpPr>
          <p:nvPr>
            <p:ph type="body" idx="4294967295"/>
          </p:nvPr>
        </p:nvSpPr>
        <p:spPr>
          <a:xfrm>
            <a:off x="457200" y="1146255"/>
            <a:ext cx="2350172" cy="2971800"/>
          </a:xfrm>
        </p:spPr>
        <p:txBody>
          <a:bodyPr/>
          <a:lstStyle>
            <a:lvl1pPr marL="0" indent="0">
              <a:buNone/>
              <a:defRPr/>
            </a:lvl1pPr>
          </a:lstStyle>
          <a:p>
            <a:pPr lvl="0"/>
            <a:r>
              <a:rPr lang="en-US"/>
              <a:t>Click to edit Master text styles</a:t>
            </a:r>
          </a:p>
        </p:txBody>
      </p:sp>
      <p:cxnSp>
        <p:nvCxnSpPr>
          <p:cNvPr id="3" name="Straight Connector 5">
            <a:extLst>
              <a:ext uri="{FF2B5EF4-FFF2-40B4-BE49-F238E27FC236}">
                <a16:creationId xmlns:a16="http://schemas.microsoft.com/office/drawing/2014/main" id="{58773F56-2CE4-1E03-FFEB-4FA95A230D1C}"/>
              </a:ext>
            </a:extLst>
          </p:cNvPr>
          <p:cNvCxnSpPr/>
          <p:nvPr/>
        </p:nvCxnSpPr>
        <p:spPr>
          <a:xfrm>
            <a:off x="457201" y="947985"/>
            <a:ext cx="2350163" cy="0"/>
          </a:xfrm>
          <a:prstGeom prst="straightConnector1">
            <a:avLst/>
          </a:prstGeom>
          <a:noFill/>
          <a:ln w="31747" cap="flat">
            <a:solidFill>
              <a:srgbClr val="F58366"/>
            </a:solidFill>
            <a:prstDash val="solid"/>
            <a:miter/>
          </a:ln>
        </p:spPr>
      </p:cxnSp>
      <p:grpSp>
        <p:nvGrpSpPr>
          <p:cNvPr id="4" name="Group 2">
            <a:extLst>
              <a:ext uri="{FF2B5EF4-FFF2-40B4-BE49-F238E27FC236}">
                <a16:creationId xmlns:a16="http://schemas.microsoft.com/office/drawing/2014/main" id="{5E490CB2-2DF6-5296-3349-4913FE01D0B8}"/>
              </a:ext>
            </a:extLst>
          </p:cNvPr>
          <p:cNvGrpSpPr/>
          <p:nvPr/>
        </p:nvGrpSpPr>
        <p:grpSpPr>
          <a:xfrm>
            <a:off x="1" y="5379425"/>
            <a:ext cx="2807363" cy="753895"/>
            <a:chOff x="0" y="5379424"/>
            <a:chExt cx="2807363" cy="753895"/>
          </a:xfrm>
        </p:grpSpPr>
        <p:sp>
          <p:nvSpPr>
            <p:cNvPr id="5" name="Freeform 21">
              <a:extLst>
                <a:ext uri="{FF2B5EF4-FFF2-40B4-BE49-F238E27FC236}">
                  <a16:creationId xmlns:a16="http://schemas.microsoft.com/office/drawing/2014/main" id="{AD8E8F19-501C-FF24-42BE-69593FF15776}"/>
                </a:ext>
              </a:extLst>
            </p:cNvPr>
            <p:cNvSpPr/>
            <p:nvPr/>
          </p:nvSpPr>
          <p:spPr>
            <a:xfrm>
              <a:off x="0" y="5532513"/>
              <a:ext cx="2807363" cy="600806"/>
            </a:xfrm>
            <a:custGeom>
              <a:avLst/>
              <a:gdLst>
                <a:gd name="f0" fmla="val 10800000"/>
                <a:gd name="f1" fmla="val 5400000"/>
                <a:gd name="f2" fmla="val 180"/>
                <a:gd name="f3" fmla="val w"/>
                <a:gd name="f4" fmla="val h"/>
                <a:gd name="f5" fmla="val 0"/>
                <a:gd name="f6" fmla="val 2807368"/>
                <a:gd name="f7" fmla="val 600807"/>
                <a:gd name="f8" fmla="val 429971"/>
                <a:gd name="f9" fmla="val 123998"/>
                <a:gd name="f10" fmla="val 1184765"/>
                <a:gd name="f11" fmla="val 325331"/>
                <a:gd name="f12" fmla="val 2014184"/>
                <a:gd name="f13" fmla="val 392492"/>
                <a:gd name="f14" fmla="val 2790212"/>
                <a:gd name="f15" fmla="val 235402"/>
                <a:gd name="f16" fmla="val 231522"/>
                <a:gd name="f17" fmla="val 566106"/>
                <a:gd name="f18" fmla="val 2593885"/>
                <a:gd name="f19" fmla="val 587498"/>
                <a:gd name="f20" fmla="val 1673646"/>
                <a:gd name="f21" fmla="val 651184"/>
                <a:gd name="f22" fmla="val 884869"/>
                <a:gd name="f23" fmla="val 479260"/>
                <a:gd name="f24" fmla="val 100844"/>
                <a:gd name="f25" fmla="val 222653"/>
                <a:gd name="f26" fmla="val 188389"/>
                <a:gd name="f27" fmla="+- 0 0 -90"/>
                <a:gd name="f28" fmla="*/ f3 1 2807368"/>
                <a:gd name="f29" fmla="*/ f4 1 600807"/>
                <a:gd name="f30" fmla="+- f7 0 f5"/>
                <a:gd name="f31" fmla="+- f6 0 f5"/>
                <a:gd name="f32" fmla="*/ f27 f0 1"/>
                <a:gd name="f33" fmla="*/ f31 1 2807368"/>
                <a:gd name="f34" fmla="*/ f30 1 600807"/>
                <a:gd name="f35" fmla="*/ 0 f31 1"/>
                <a:gd name="f36" fmla="*/ 0 f30 1"/>
                <a:gd name="f37" fmla="*/ 429971 f31 1"/>
                <a:gd name="f38" fmla="*/ 123998 f30 1"/>
                <a:gd name="f39" fmla="*/ 2790212 f31 1"/>
                <a:gd name="f40" fmla="*/ 235402 f30 1"/>
                <a:gd name="f41" fmla="*/ 2807368 f31 1"/>
                <a:gd name="f42" fmla="*/ 231522 f30 1"/>
                <a:gd name="f43" fmla="*/ 566106 f30 1"/>
                <a:gd name="f44" fmla="*/ 2593885 f31 1"/>
                <a:gd name="f45" fmla="*/ 587498 f30 1"/>
                <a:gd name="f46" fmla="*/ 100844 f31 1"/>
                <a:gd name="f47" fmla="*/ 222653 f30 1"/>
                <a:gd name="f48" fmla="*/ 188389 f30 1"/>
                <a:gd name="f49" fmla="*/ f32 1 f2"/>
                <a:gd name="f50" fmla="*/ f35 1 2807368"/>
                <a:gd name="f51" fmla="*/ f36 1 600807"/>
                <a:gd name="f52" fmla="*/ f37 1 2807368"/>
                <a:gd name="f53" fmla="*/ f38 1 600807"/>
                <a:gd name="f54" fmla="*/ f39 1 2807368"/>
                <a:gd name="f55" fmla="*/ f40 1 600807"/>
                <a:gd name="f56" fmla="*/ f41 1 2807368"/>
                <a:gd name="f57" fmla="*/ f42 1 600807"/>
                <a:gd name="f58" fmla="*/ f43 1 600807"/>
                <a:gd name="f59" fmla="*/ f44 1 2807368"/>
                <a:gd name="f60" fmla="*/ f45 1 600807"/>
                <a:gd name="f61" fmla="*/ f46 1 2807368"/>
                <a:gd name="f62" fmla="*/ f47 1 600807"/>
                <a:gd name="f63" fmla="*/ f48 1 600807"/>
                <a:gd name="f64" fmla="*/ f5 1 f33"/>
                <a:gd name="f65" fmla="*/ f6 1 f33"/>
                <a:gd name="f66" fmla="*/ f5 1 f34"/>
                <a:gd name="f67" fmla="*/ f7 1 f34"/>
                <a:gd name="f68" fmla="+- f49 0 f1"/>
                <a:gd name="f69" fmla="*/ f50 1 f33"/>
                <a:gd name="f70" fmla="*/ f51 1 f34"/>
                <a:gd name="f71" fmla="*/ f52 1 f33"/>
                <a:gd name="f72" fmla="*/ f53 1 f34"/>
                <a:gd name="f73" fmla="*/ f54 1 f33"/>
                <a:gd name="f74" fmla="*/ f55 1 f34"/>
                <a:gd name="f75" fmla="*/ f56 1 f33"/>
                <a:gd name="f76" fmla="*/ f57 1 f34"/>
                <a:gd name="f77" fmla="*/ f58 1 f34"/>
                <a:gd name="f78" fmla="*/ f59 1 f33"/>
                <a:gd name="f79" fmla="*/ f60 1 f34"/>
                <a:gd name="f80" fmla="*/ f61 1 f33"/>
                <a:gd name="f81" fmla="*/ f62 1 f34"/>
                <a:gd name="f82" fmla="*/ f63 1 f34"/>
                <a:gd name="f83" fmla="*/ f64 f28 1"/>
                <a:gd name="f84" fmla="*/ f65 f28 1"/>
                <a:gd name="f85" fmla="*/ f67 f29 1"/>
                <a:gd name="f86" fmla="*/ f66 f29 1"/>
                <a:gd name="f87" fmla="*/ f69 f28 1"/>
                <a:gd name="f88" fmla="*/ f70 f29 1"/>
                <a:gd name="f89" fmla="*/ f71 f28 1"/>
                <a:gd name="f90" fmla="*/ f72 f29 1"/>
                <a:gd name="f91" fmla="*/ f73 f28 1"/>
                <a:gd name="f92" fmla="*/ f74 f29 1"/>
                <a:gd name="f93" fmla="*/ f75 f28 1"/>
                <a:gd name="f94" fmla="*/ f76 f29 1"/>
                <a:gd name="f95" fmla="*/ f77 f29 1"/>
                <a:gd name="f96" fmla="*/ f78 f28 1"/>
                <a:gd name="f97" fmla="*/ f79 f29 1"/>
                <a:gd name="f98" fmla="*/ f80 f28 1"/>
                <a:gd name="f99" fmla="*/ f81 f29 1"/>
                <a:gd name="f100" fmla="*/ f82 f29 1"/>
              </a:gdLst>
              <a:ahLst/>
              <a:cxnLst>
                <a:cxn ang="3cd4">
                  <a:pos x="hc" y="t"/>
                </a:cxn>
                <a:cxn ang="0">
                  <a:pos x="r" y="vc"/>
                </a:cxn>
                <a:cxn ang="cd4">
                  <a:pos x="hc" y="b"/>
                </a:cxn>
                <a:cxn ang="cd2">
                  <a:pos x="l" y="vc"/>
                </a:cxn>
                <a:cxn ang="f68">
                  <a:pos x="f87" y="f88"/>
                </a:cxn>
                <a:cxn ang="f68">
                  <a:pos x="f89" y="f90"/>
                </a:cxn>
                <a:cxn ang="f68">
                  <a:pos x="f91" y="f92"/>
                </a:cxn>
                <a:cxn ang="f68">
                  <a:pos x="f93" y="f94"/>
                </a:cxn>
                <a:cxn ang="f68">
                  <a:pos x="f93" y="f95"/>
                </a:cxn>
                <a:cxn ang="f68">
                  <a:pos x="f96" y="f97"/>
                </a:cxn>
                <a:cxn ang="f68">
                  <a:pos x="f98" y="f99"/>
                </a:cxn>
                <a:cxn ang="f68">
                  <a:pos x="f87" y="f100"/>
                </a:cxn>
              </a:cxnLst>
              <a:rect l="f83" t="f86" r="f84" b="f85"/>
              <a:pathLst>
                <a:path w="2807368" h="600807">
                  <a:moveTo>
                    <a:pt x="f5" y="f5"/>
                  </a:moveTo>
                  <a:lnTo>
                    <a:pt x="f8" y="f9"/>
                  </a:lnTo>
                  <a:cubicBezTo>
                    <a:pt x="f10" y="f11"/>
                    <a:pt x="f12" y="f13"/>
                    <a:pt x="f14" y="f15"/>
                  </a:cubicBezTo>
                  <a:lnTo>
                    <a:pt x="f6" y="f16"/>
                  </a:lnTo>
                  <a:lnTo>
                    <a:pt x="f6" y="f17"/>
                  </a:lnTo>
                  <a:lnTo>
                    <a:pt x="f18" y="f19"/>
                  </a:lnTo>
                  <a:cubicBezTo>
                    <a:pt x="f20" y="f21"/>
                    <a:pt x="f22" y="f23"/>
                    <a:pt x="f24" y="f25"/>
                  </a:cubicBezTo>
                  <a:lnTo>
                    <a:pt x="f5" y="f26"/>
                  </a:ln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Freeform 19">
              <a:extLst>
                <a:ext uri="{FF2B5EF4-FFF2-40B4-BE49-F238E27FC236}">
                  <a16:creationId xmlns:a16="http://schemas.microsoft.com/office/drawing/2014/main" id="{CCC99734-A1FE-81D1-A1AD-3973CA29C3BA}"/>
                </a:ext>
              </a:extLst>
            </p:cNvPr>
            <p:cNvSpPr/>
            <p:nvPr/>
          </p:nvSpPr>
          <p:spPr>
            <a:xfrm>
              <a:off x="0" y="5379424"/>
              <a:ext cx="2807363" cy="649800"/>
            </a:xfrm>
            <a:custGeom>
              <a:avLst/>
              <a:gdLst>
                <a:gd name="f0" fmla="val 10800000"/>
                <a:gd name="f1" fmla="val 5400000"/>
                <a:gd name="f2" fmla="val 180"/>
                <a:gd name="f3" fmla="val w"/>
                <a:gd name="f4" fmla="val h"/>
                <a:gd name="f5" fmla="val 0"/>
                <a:gd name="f6" fmla="val 2807368"/>
                <a:gd name="f7" fmla="val 649803"/>
                <a:gd name="f8" fmla="val 282676"/>
                <a:gd name="f9" fmla="val 70799"/>
                <a:gd name="f10" fmla="val 435964"/>
                <a:gd name="f11" fmla="val 106085"/>
                <a:gd name="f12" fmla="val 588770"/>
                <a:gd name="f13" fmla="val 137629"/>
                <a:gd name="f14" fmla="val 740881"/>
                <a:gd name="f15" fmla="val 163828"/>
                <a:gd name="f16" fmla="val 1362800"/>
                <a:gd name="f17" fmla="val 270912"/>
                <a:gd name="f18" fmla="val 2067879"/>
                <a:gd name="f19" fmla="val 253759"/>
                <a:gd name="f20" fmla="val 2706471"/>
                <a:gd name="f21" fmla="val 96397"/>
                <a:gd name="f22" fmla="val 67250"/>
                <a:gd name="f23" fmla="val 605551"/>
                <a:gd name="f24" fmla="val 2602685"/>
                <a:gd name="f25" fmla="val 629466"/>
                <a:gd name="f26" fmla="val 1684237"/>
                <a:gd name="f27" fmla="val 708219"/>
                <a:gd name="f28" fmla="val 893252"/>
                <a:gd name="f29" fmla="val 549395"/>
                <a:gd name="f30" fmla="val 105614"/>
                <a:gd name="f31" fmla="val 305882"/>
                <a:gd name="f32" fmla="val 271926"/>
                <a:gd name="f33" fmla="+- 0 0 -90"/>
                <a:gd name="f34" fmla="*/ f3 1 2807368"/>
                <a:gd name="f35" fmla="*/ f4 1 649803"/>
                <a:gd name="f36" fmla="+- f7 0 f5"/>
                <a:gd name="f37" fmla="+- f6 0 f5"/>
                <a:gd name="f38" fmla="*/ f33 f0 1"/>
                <a:gd name="f39" fmla="*/ f37 1 2807368"/>
                <a:gd name="f40" fmla="*/ f36 1 649803"/>
                <a:gd name="f41" fmla="*/ 0 f37 1"/>
                <a:gd name="f42" fmla="*/ 0 f36 1"/>
                <a:gd name="f43" fmla="*/ 282676 f37 1"/>
                <a:gd name="f44" fmla="*/ 70799 f36 1"/>
                <a:gd name="f45" fmla="*/ 740881 f37 1"/>
                <a:gd name="f46" fmla="*/ 163828 f36 1"/>
                <a:gd name="f47" fmla="*/ 2706471 f37 1"/>
                <a:gd name="f48" fmla="*/ 96397 f36 1"/>
                <a:gd name="f49" fmla="*/ 2807368 f37 1"/>
                <a:gd name="f50" fmla="*/ 67250 f36 1"/>
                <a:gd name="f51" fmla="*/ 605551 f36 1"/>
                <a:gd name="f52" fmla="*/ 2602685 f37 1"/>
                <a:gd name="f53" fmla="*/ 629466 f36 1"/>
                <a:gd name="f54" fmla="*/ 105614 f37 1"/>
                <a:gd name="f55" fmla="*/ 305882 f36 1"/>
                <a:gd name="f56" fmla="*/ 271926 f36 1"/>
                <a:gd name="f57" fmla="*/ f38 1 f2"/>
                <a:gd name="f58" fmla="*/ f41 1 2807368"/>
                <a:gd name="f59" fmla="*/ f42 1 649803"/>
                <a:gd name="f60" fmla="*/ f43 1 2807368"/>
                <a:gd name="f61" fmla="*/ f44 1 649803"/>
                <a:gd name="f62" fmla="*/ f45 1 2807368"/>
                <a:gd name="f63" fmla="*/ f46 1 649803"/>
                <a:gd name="f64" fmla="*/ f47 1 2807368"/>
                <a:gd name="f65" fmla="*/ f48 1 649803"/>
                <a:gd name="f66" fmla="*/ f49 1 2807368"/>
                <a:gd name="f67" fmla="*/ f50 1 649803"/>
                <a:gd name="f68" fmla="*/ f51 1 649803"/>
                <a:gd name="f69" fmla="*/ f52 1 2807368"/>
                <a:gd name="f70" fmla="*/ f53 1 649803"/>
                <a:gd name="f71" fmla="*/ f54 1 2807368"/>
                <a:gd name="f72" fmla="*/ f55 1 649803"/>
                <a:gd name="f73" fmla="*/ f56 1 649803"/>
                <a:gd name="f74" fmla="*/ f5 1 f39"/>
                <a:gd name="f75" fmla="*/ f6 1 f39"/>
                <a:gd name="f76" fmla="*/ f5 1 f40"/>
                <a:gd name="f77" fmla="*/ f7 1 f40"/>
                <a:gd name="f78" fmla="+- f57 0 f1"/>
                <a:gd name="f79" fmla="*/ f58 1 f39"/>
                <a:gd name="f80" fmla="*/ f59 1 f40"/>
                <a:gd name="f81" fmla="*/ f60 1 f39"/>
                <a:gd name="f82" fmla="*/ f61 1 f40"/>
                <a:gd name="f83" fmla="*/ f62 1 f39"/>
                <a:gd name="f84" fmla="*/ f63 1 f40"/>
                <a:gd name="f85" fmla="*/ f64 1 f39"/>
                <a:gd name="f86" fmla="*/ f65 1 f40"/>
                <a:gd name="f87" fmla="*/ f66 1 f39"/>
                <a:gd name="f88" fmla="*/ f67 1 f40"/>
                <a:gd name="f89" fmla="*/ f68 1 f40"/>
                <a:gd name="f90" fmla="*/ f69 1 f39"/>
                <a:gd name="f91" fmla="*/ f70 1 f40"/>
                <a:gd name="f92" fmla="*/ f71 1 f39"/>
                <a:gd name="f93" fmla="*/ f72 1 f40"/>
                <a:gd name="f94" fmla="*/ f73 1 f40"/>
                <a:gd name="f95" fmla="*/ f74 f34 1"/>
                <a:gd name="f96" fmla="*/ f75 f34 1"/>
                <a:gd name="f97" fmla="*/ f77 f35 1"/>
                <a:gd name="f98" fmla="*/ f76 f35 1"/>
                <a:gd name="f99" fmla="*/ f79 f34 1"/>
                <a:gd name="f100" fmla="*/ f80 f35 1"/>
                <a:gd name="f101" fmla="*/ f81 f34 1"/>
                <a:gd name="f102" fmla="*/ f82 f35 1"/>
                <a:gd name="f103" fmla="*/ f83 f34 1"/>
                <a:gd name="f104" fmla="*/ f84 f35 1"/>
                <a:gd name="f105" fmla="*/ f85 f34 1"/>
                <a:gd name="f106" fmla="*/ f86 f35 1"/>
                <a:gd name="f107" fmla="*/ f87 f34 1"/>
                <a:gd name="f108" fmla="*/ f88 f35 1"/>
                <a:gd name="f109" fmla="*/ f89 f35 1"/>
                <a:gd name="f110" fmla="*/ f90 f34 1"/>
                <a:gd name="f111" fmla="*/ f91 f35 1"/>
                <a:gd name="f112" fmla="*/ f92 f34 1"/>
                <a:gd name="f113" fmla="*/ f93 f35 1"/>
                <a:gd name="f114" fmla="*/ f94 f35 1"/>
              </a:gdLst>
              <a:ahLst/>
              <a:cxnLst>
                <a:cxn ang="3cd4">
                  <a:pos x="hc" y="t"/>
                </a:cxn>
                <a:cxn ang="0">
                  <a:pos x="r" y="vc"/>
                </a:cxn>
                <a:cxn ang="cd4">
                  <a:pos x="hc" y="b"/>
                </a:cxn>
                <a:cxn ang="cd2">
                  <a:pos x="l" y="vc"/>
                </a:cxn>
                <a:cxn ang="f78">
                  <a:pos x="f99" y="f100"/>
                </a:cxn>
                <a:cxn ang="f78">
                  <a:pos x="f101" y="f102"/>
                </a:cxn>
                <a:cxn ang="f78">
                  <a:pos x="f103" y="f104"/>
                </a:cxn>
                <a:cxn ang="f78">
                  <a:pos x="f105" y="f106"/>
                </a:cxn>
                <a:cxn ang="f78">
                  <a:pos x="f107" y="f108"/>
                </a:cxn>
                <a:cxn ang="f78">
                  <a:pos x="f107" y="f109"/>
                </a:cxn>
                <a:cxn ang="f78">
                  <a:pos x="f110" y="f111"/>
                </a:cxn>
                <a:cxn ang="f78">
                  <a:pos x="f112" y="f113"/>
                </a:cxn>
                <a:cxn ang="f78">
                  <a:pos x="f99" y="f114"/>
                </a:cxn>
              </a:cxnLst>
              <a:rect l="f95" t="f98" r="f96" b="f97"/>
              <a:pathLst>
                <a:path w="2807368" h="649803">
                  <a:moveTo>
                    <a:pt x="f5" y="f5"/>
                  </a:moveTo>
                  <a:lnTo>
                    <a:pt x="f8" y="f9"/>
                  </a:lnTo>
                  <a:cubicBezTo>
                    <a:pt x="f10" y="f11"/>
                    <a:pt x="f12" y="f13"/>
                    <a:pt x="f14" y="f15"/>
                  </a:cubicBezTo>
                  <a:cubicBezTo>
                    <a:pt x="f16" y="f17"/>
                    <a:pt x="f18" y="f19"/>
                    <a:pt x="f20" y="f21"/>
                  </a:cubicBezTo>
                  <a:lnTo>
                    <a:pt x="f6" y="f22"/>
                  </a:lnTo>
                  <a:lnTo>
                    <a:pt x="f6" y="f23"/>
                  </a:lnTo>
                  <a:lnTo>
                    <a:pt x="f24" y="f25"/>
                  </a:lnTo>
                  <a:cubicBezTo>
                    <a:pt x="f26" y="f27"/>
                    <a:pt x="f28" y="f29"/>
                    <a:pt x="f30" y="f31"/>
                  </a:cubicBezTo>
                  <a:lnTo>
                    <a:pt x="f5" y="f32"/>
                  </a:ln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grpSp>
      <p:sp>
        <p:nvSpPr>
          <p:cNvPr id="7" name="Picture Placeholder 6">
            <a:extLst>
              <a:ext uri="{FF2B5EF4-FFF2-40B4-BE49-F238E27FC236}">
                <a16:creationId xmlns:a16="http://schemas.microsoft.com/office/drawing/2014/main" id="{1CAD74B2-C640-5CC5-C169-9AF49CE49012}"/>
              </a:ext>
            </a:extLst>
          </p:cNvPr>
          <p:cNvSpPr txBox="1">
            <a:spLocks noGrp="1"/>
          </p:cNvSpPr>
          <p:nvPr>
            <p:ph type="pic" idx="4294967295"/>
          </p:nvPr>
        </p:nvSpPr>
        <p:spPr>
          <a:xfrm>
            <a:off x="2807363" y="457200"/>
            <a:ext cx="8915400" cy="5943600"/>
          </a:xfrm>
        </p:spPr>
        <p:txBody>
          <a:bodyPr/>
          <a:lstStyle>
            <a:lvl1pPr>
              <a:defRPr/>
            </a:lvl1pPr>
          </a:lstStyle>
          <a:p>
            <a:pPr lvl="0"/>
            <a:endParaRPr lang="en-US"/>
          </a:p>
        </p:txBody>
      </p:sp>
      <p:pic>
        <p:nvPicPr>
          <p:cNvPr id="8" name="Picture 14">
            <a:extLst>
              <a:ext uri="{FF2B5EF4-FFF2-40B4-BE49-F238E27FC236}">
                <a16:creationId xmlns:a16="http://schemas.microsoft.com/office/drawing/2014/main" id="{BEA3C746-AD9F-12C9-192E-5B5424DD29CC}"/>
              </a:ext>
            </a:extLst>
          </p:cNvPr>
          <p:cNvPicPr>
            <a:picLocks noChangeAspect="1"/>
          </p:cNvPicPr>
          <p:nvPr/>
        </p:nvPicPr>
        <p:blipFill>
          <a:blip r:embed="rId2"/>
          <a:srcRect/>
          <a:stretch>
            <a:fillRect/>
          </a:stretch>
        </p:blipFill>
        <p:spPr>
          <a:xfrm>
            <a:off x="513345" y="4385535"/>
            <a:ext cx="2025313" cy="911940"/>
          </a:xfrm>
          <a:prstGeom prst="rect">
            <a:avLst/>
          </a:prstGeom>
          <a:noFill/>
          <a:ln cap="flat">
            <a:noFill/>
          </a:ln>
        </p:spPr>
      </p:pic>
    </p:spTree>
    <p:extLst>
      <p:ext uri="{BB962C8B-B14F-4D97-AF65-F5344CB8AC3E}">
        <p14:creationId xmlns:p14="http://schemas.microsoft.com/office/powerpoint/2010/main" val="1460288878"/>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p:cSld name="22_Cover">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B91A7B26-2AFF-A132-CB52-7E6C89822F8E}"/>
              </a:ext>
            </a:extLst>
          </p:cNvPr>
          <p:cNvSpPr/>
          <p:nvPr/>
        </p:nvSpPr>
        <p:spPr>
          <a:xfrm>
            <a:off x="902366" y="1294416"/>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86EA5076-8B1D-5422-9E0E-75F7E313B494}"/>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r>
              <a:rPr lang="en-US"/>
              <a:t>Click to edit Master title style</a:t>
            </a:r>
          </a:p>
        </p:txBody>
      </p:sp>
      <p:sp>
        <p:nvSpPr>
          <p:cNvPr id="4" name="Subtitle 2">
            <a:extLst>
              <a:ext uri="{FF2B5EF4-FFF2-40B4-BE49-F238E27FC236}">
                <a16:creationId xmlns:a16="http://schemas.microsoft.com/office/drawing/2014/main" id="{17EAEE1E-CB73-85A3-2295-0EE9F8E484BB}"/>
              </a:ext>
            </a:extLst>
          </p:cNvPr>
          <p:cNvSpPr txBox="1">
            <a:spLocks noGrp="1"/>
          </p:cNvSpPr>
          <p:nvPr>
            <p:ph type="subTitle" idx="4294967295"/>
          </p:nvPr>
        </p:nvSpPr>
        <p:spPr>
          <a:xfrm>
            <a:off x="1413305" y="3766861"/>
            <a:ext cx="5194432" cy="986564"/>
          </a:xfrm>
        </p:spPr>
        <p:txBody>
          <a:bodyPr/>
          <a:lstStyle>
            <a:lvl1pPr marL="0" indent="0">
              <a:buNone/>
              <a:defRPr/>
            </a:lvl1pPr>
          </a:lstStyle>
          <a:p>
            <a:pPr lvl="0"/>
            <a:r>
              <a:rPr lang="en-US"/>
              <a:t>Click to edit Master subtitle style</a:t>
            </a:r>
          </a:p>
        </p:txBody>
      </p:sp>
      <p:sp>
        <p:nvSpPr>
          <p:cNvPr id="5" name="Picture Placeholder 21">
            <a:extLst>
              <a:ext uri="{FF2B5EF4-FFF2-40B4-BE49-F238E27FC236}">
                <a16:creationId xmlns:a16="http://schemas.microsoft.com/office/drawing/2014/main" id="{60445D56-F537-A824-3CC7-4C481FFBF969}"/>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grpSp>
        <p:nvGrpSpPr>
          <p:cNvPr id="6" name="Group 26">
            <a:extLst>
              <a:ext uri="{FF2B5EF4-FFF2-40B4-BE49-F238E27FC236}">
                <a16:creationId xmlns:a16="http://schemas.microsoft.com/office/drawing/2014/main" id="{CE27CBB2-6EB4-6A23-7E5B-AD5308435180}"/>
              </a:ext>
            </a:extLst>
          </p:cNvPr>
          <p:cNvGrpSpPr/>
          <p:nvPr/>
        </p:nvGrpSpPr>
        <p:grpSpPr>
          <a:xfrm>
            <a:off x="0" y="5020349"/>
            <a:ext cx="12191996" cy="1837651"/>
            <a:chOff x="0" y="5020348"/>
            <a:chExt cx="12191996" cy="1837651"/>
          </a:xfrm>
        </p:grpSpPr>
        <p:sp>
          <p:nvSpPr>
            <p:cNvPr id="7" name="Freeform 27">
              <a:extLst>
                <a:ext uri="{FF2B5EF4-FFF2-40B4-BE49-F238E27FC236}">
                  <a16:creationId xmlns:a16="http://schemas.microsoft.com/office/drawing/2014/main" id="{074AE696-2131-D456-5106-18327A77633E}"/>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8" name="Freeform 28">
              <a:extLst>
                <a:ext uri="{FF2B5EF4-FFF2-40B4-BE49-F238E27FC236}">
                  <a16:creationId xmlns:a16="http://schemas.microsoft.com/office/drawing/2014/main" id="{B1B4B91B-546A-EF5A-AE9E-C0A7C56CDF66}"/>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9" name="Picture 29">
              <a:extLst>
                <a:ext uri="{FF2B5EF4-FFF2-40B4-BE49-F238E27FC236}">
                  <a16:creationId xmlns:a16="http://schemas.microsoft.com/office/drawing/2014/main" id="{7AC00733-582D-E57C-A278-99084C51C4CF}"/>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1483749751"/>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22_Photo Slide">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6D375B54-9970-4E9E-BE41-A4D9BA680D35}"/>
              </a:ext>
            </a:extLst>
          </p:cNvPr>
          <p:cNvSpPr txBox="1">
            <a:spLocks noGrp="1"/>
          </p:cNvSpPr>
          <p:nvPr>
            <p:ph type="body" idx="4294967295"/>
          </p:nvPr>
        </p:nvSpPr>
        <p:spPr>
          <a:xfrm>
            <a:off x="457200" y="1146255"/>
            <a:ext cx="2350172" cy="2971800"/>
          </a:xfrm>
        </p:spPr>
        <p:txBody>
          <a:bodyPr/>
          <a:lstStyle>
            <a:lvl1pPr marL="0" indent="0">
              <a:buNone/>
              <a:defRPr/>
            </a:lvl1pPr>
          </a:lstStyle>
          <a:p>
            <a:pPr lvl="0"/>
            <a:r>
              <a:rPr lang="en-US"/>
              <a:t>Click to edit Master text styles</a:t>
            </a:r>
          </a:p>
        </p:txBody>
      </p:sp>
      <p:cxnSp>
        <p:nvCxnSpPr>
          <p:cNvPr id="3" name="Straight Connector 5">
            <a:extLst>
              <a:ext uri="{FF2B5EF4-FFF2-40B4-BE49-F238E27FC236}">
                <a16:creationId xmlns:a16="http://schemas.microsoft.com/office/drawing/2014/main" id="{AFAF5921-167A-0DFF-EFFB-0CC7355AA8EE}"/>
              </a:ext>
            </a:extLst>
          </p:cNvPr>
          <p:cNvCxnSpPr/>
          <p:nvPr/>
        </p:nvCxnSpPr>
        <p:spPr>
          <a:xfrm>
            <a:off x="457201" y="947985"/>
            <a:ext cx="2350163" cy="0"/>
          </a:xfrm>
          <a:prstGeom prst="straightConnector1">
            <a:avLst/>
          </a:prstGeom>
          <a:noFill/>
          <a:ln w="31747" cap="flat">
            <a:solidFill>
              <a:srgbClr val="F58366"/>
            </a:solidFill>
            <a:prstDash val="solid"/>
            <a:miter/>
          </a:ln>
        </p:spPr>
      </p:cxnSp>
      <p:grpSp>
        <p:nvGrpSpPr>
          <p:cNvPr id="4" name="Group 2">
            <a:extLst>
              <a:ext uri="{FF2B5EF4-FFF2-40B4-BE49-F238E27FC236}">
                <a16:creationId xmlns:a16="http://schemas.microsoft.com/office/drawing/2014/main" id="{354442E5-E13E-386E-C872-A52BF29C60CE}"/>
              </a:ext>
            </a:extLst>
          </p:cNvPr>
          <p:cNvGrpSpPr/>
          <p:nvPr/>
        </p:nvGrpSpPr>
        <p:grpSpPr>
          <a:xfrm>
            <a:off x="1" y="5379425"/>
            <a:ext cx="2807363" cy="753895"/>
            <a:chOff x="0" y="5379424"/>
            <a:chExt cx="2807363" cy="753895"/>
          </a:xfrm>
        </p:grpSpPr>
        <p:sp>
          <p:nvSpPr>
            <p:cNvPr id="5" name="Freeform 21">
              <a:extLst>
                <a:ext uri="{FF2B5EF4-FFF2-40B4-BE49-F238E27FC236}">
                  <a16:creationId xmlns:a16="http://schemas.microsoft.com/office/drawing/2014/main" id="{0AFF2F6F-FC98-025A-4029-E678A2A9CCD2}"/>
                </a:ext>
              </a:extLst>
            </p:cNvPr>
            <p:cNvSpPr/>
            <p:nvPr/>
          </p:nvSpPr>
          <p:spPr>
            <a:xfrm>
              <a:off x="0" y="5532513"/>
              <a:ext cx="2807363" cy="600806"/>
            </a:xfrm>
            <a:custGeom>
              <a:avLst/>
              <a:gdLst>
                <a:gd name="f0" fmla="val 10800000"/>
                <a:gd name="f1" fmla="val 5400000"/>
                <a:gd name="f2" fmla="val 180"/>
                <a:gd name="f3" fmla="val w"/>
                <a:gd name="f4" fmla="val h"/>
                <a:gd name="f5" fmla="val 0"/>
                <a:gd name="f6" fmla="val 2807368"/>
                <a:gd name="f7" fmla="val 600807"/>
                <a:gd name="f8" fmla="val 429971"/>
                <a:gd name="f9" fmla="val 123998"/>
                <a:gd name="f10" fmla="val 1184765"/>
                <a:gd name="f11" fmla="val 325331"/>
                <a:gd name="f12" fmla="val 2014184"/>
                <a:gd name="f13" fmla="val 392492"/>
                <a:gd name="f14" fmla="val 2790212"/>
                <a:gd name="f15" fmla="val 235402"/>
                <a:gd name="f16" fmla="val 231522"/>
                <a:gd name="f17" fmla="val 566106"/>
                <a:gd name="f18" fmla="val 2593885"/>
                <a:gd name="f19" fmla="val 587498"/>
                <a:gd name="f20" fmla="val 1673646"/>
                <a:gd name="f21" fmla="val 651184"/>
                <a:gd name="f22" fmla="val 884869"/>
                <a:gd name="f23" fmla="val 479260"/>
                <a:gd name="f24" fmla="val 100844"/>
                <a:gd name="f25" fmla="val 222653"/>
                <a:gd name="f26" fmla="val 188389"/>
                <a:gd name="f27" fmla="+- 0 0 -90"/>
                <a:gd name="f28" fmla="*/ f3 1 2807368"/>
                <a:gd name="f29" fmla="*/ f4 1 600807"/>
                <a:gd name="f30" fmla="+- f7 0 f5"/>
                <a:gd name="f31" fmla="+- f6 0 f5"/>
                <a:gd name="f32" fmla="*/ f27 f0 1"/>
                <a:gd name="f33" fmla="*/ f31 1 2807368"/>
                <a:gd name="f34" fmla="*/ f30 1 600807"/>
                <a:gd name="f35" fmla="*/ 0 f31 1"/>
                <a:gd name="f36" fmla="*/ 0 f30 1"/>
                <a:gd name="f37" fmla="*/ 429971 f31 1"/>
                <a:gd name="f38" fmla="*/ 123998 f30 1"/>
                <a:gd name="f39" fmla="*/ 2790212 f31 1"/>
                <a:gd name="f40" fmla="*/ 235402 f30 1"/>
                <a:gd name="f41" fmla="*/ 2807368 f31 1"/>
                <a:gd name="f42" fmla="*/ 231522 f30 1"/>
                <a:gd name="f43" fmla="*/ 566106 f30 1"/>
                <a:gd name="f44" fmla="*/ 2593885 f31 1"/>
                <a:gd name="f45" fmla="*/ 587498 f30 1"/>
                <a:gd name="f46" fmla="*/ 100844 f31 1"/>
                <a:gd name="f47" fmla="*/ 222653 f30 1"/>
                <a:gd name="f48" fmla="*/ 188389 f30 1"/>
                <a:gd name="f49" fmla="*/ f32 1 f2"/>
                <a:gd name="f50" fmla="*/ f35 1 2807368"/>
                <a:gd name="f51" fmla="*/ f36 1 600807"/>
                <a:gd name="f52" fmla="*/ f37 1 2807368"/>
                <a:gd name="f53" fmla="*/ f38 1 600807"/>
                <a:gd name="f54" fmla="*/ f39 1 2807368"/>
                <a:gd name="f55" fmla="*/ f40 1 600807"/>
                <a:gd name="f56" fmla="*/ f41 1 2807368"/>
                <a:gd name="f57" fmla="*/ f42 1 600807"/>
                <a:gd name="f58" fmla="*/ f43 1 600807"/>
                <a:gd name="f59" fmla="*/ f44 1 2807368"/>
                <a:gd name="f60" fmla="*/ f45 1 600807"/>
                <a:gd name="f61" fmla="*/ f46 1 2807368"/>
                <a:gd name="f62" fmla="*/ f47 1 600807"/>
                <a:gd name="f63" fmla="*/ f48 1 600807"/>
                <a:gd name="f64" fmla="*/ f5 1 f33"/>
                <a:gd name="f65" fmla="*/ f6 1 f33"/>
                <a:gd name="f66" fmla="*/ f5 1 f34"/>
                <a:gd name="f67" fmla="*/ f7 1 f34"/>
                <a:gd name="f68" fmla="+- f49 0 f1"/>
                <a:gd name="f69" fmla="*/ f50 1 f33"/>
                <a:gd name="f70" fmla="*/ f51 1 f34"/>
                <a:gd name="f71" fmla="*/ f52 1 f33"/>
                <a:gd name="f72" fmla="*/ f53 1 f34"/>
                <a:gd name="f73" fmla="*/ f54 1 f33"/>
                <a:gd name="f74" fmla="*/ f55 1 f34"/>
                <a:gd name="f75" fmla="*/ f56 1 f33"/>
                <a:gd name="f76" fmla="*/ f57 1 f34"/>
                <a:gd name="f77" fmla="*/ f58 1 f34"/>
                <a:gd name="f78" fmla="*/ f59 1 f33"/>
                <a:gd name="f79" fmla="*/ f60 1 f34"/>
                <a:gd name="f80" fmla="*/ f61 1 f33"/>
                <a:gd name="f81" fmla="*/ f62 1 f34"/>
                <a:gd name="f82" fmla="*/ f63 1 f34"/>
                <a:gd name="f83" fmla="*/ f64 f28 1"/>
                <a:gd name="f84" fmla="*/ f65 f28 1"/>
                <a:gd name="f85" fmla="*/ f67 f29 1"/>
                <a:gd name="f86" fmla="*/ f66 f29 1"/>
                <a:gd name="f87" fmla="*/ f69 f28 1"/>
                <a:gd name="f88" fmla="*/ f70 f29 1"/>
                <a:gd name="f89" fmla="*/ f71 f28 1"/>
                <a:gd name="f90" fmla="*/ f72 f29 1"/>
                <a:gd name="f91" fmla="*/ f73 f28 1"/>
                <a:gd name="f92" fmla="*/ f74 f29 1"/>
                <a:gd name="f93" fmla="*/ f75 f28 1"/>
                <a:gd name="f94" fmla="*/ f76 f29 1"/>
                <a:gd name="f95" fmla="*/ f77 f29 1"/>
                <a:gd name="f96" fmla="*/ f78 f28 1"/>
                <a:gd name="f97" fmla="*/ f79 f29 1"/>
                <a:gd name="f98" fmla="*/ f80 f28 1"/>
                <a:gd name="f99" fmla="*/ f81 f29 1"/>
                <a:gd name="f100" fmla="*/ f82 f29 1"/>
              </a:gdLst>
              <a:ahLst/>
              <a:cxnLst>
                <a:cxn ang="3cd4">
                  <a:pos x="hc" y="t"/>
                </a:cxn>
                <a:cxn ang="0">
                  <a:pos x="r" y="vc"/>
                </a:cxn>
                <a:cxn ang="cd4">
                  <a:pos x="hc" y="b"/>
                </a:cxn>
                <a:cxn ang="cd2">
                  <a:pos x="l" y="vc"/>
                </a:cxn>
                <a:cxn ang="f68">
                  <a:pos x="f87" y="f88"/>
                </a:cxn>
                <a:cxn ang="f68">
                  <a:pos x="f89" y="f90"/>
                </a:cxn>
                <a:cxn ang="f68">
                  <a:pos x="f91" y="f92"/>
                </a:cxn>
                <a:cxn ang="f68">
                  <a:pos x="f93" y="f94"/>
                </a:cxn>
                <a:cxn ang="f68">
                  <a:pos x="f93" y="f95"/>
                </a:cxn>
                <a:cxn ang="f68">
                  <a:pos x="f96" y="f97"/>
                </a:cxn>
                <a:cxn ang="f68">
                  <a:pos x="f98" y="f99"/>
                </a:cxn>
                <a:cxn ang="f68">
                  <a:pos x="f87" y="f100"/>
                </a:cxn>
              </a:cxnLst>
              <a:rect l="f83" t="f86" r="f84" b="f85"/>
              <a:pathLst>
                <a:path w="2807368" h="600807">
                  <a:moveTo>
                    <a:pt x="f5" y="f5"/>
                  </a:moveTo>
                  <a:lnTo>
                    <a:pt x="f8" y="f9"/>
                  </a:lnTo>
                  <a:cubicBezTo>
                    <a:pt x="f10" y="f11"/>
                    <a:pt x="f12" y="f13"/>
                    <a:pt x="f14" y="f15"/>
                  </a:cubicBezTo>
                  <a:lnTo>
                    <a:pt x="f6" y="f16"/>
                  </a:lnTo>
                  <a:lnTo>
                    <a:pt x="f6" y="f17"/>
                  </a:lnTo>
                  <a:lnTo>
                    <a:pt x="f18" y="f19"/>
                  </a:lnTo>
                  <a:cubicBezTo>
                    <a:pt x="f20" y="f21"/>
                    <a:pt x="f22" y="f23"/>
                    <a:pt x="f24" y="f25"/>
                  </a:cubicBezTo>
                  <a:lnTo>
                    <a:pt x="f5" y="f26"/>
                  </a:ln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Freeform 19">
              <a:extLst>
                <a:ext uri="{FF2B5EF4-FFF2-40B4-BE49-F238E27FC236}">
                  <a16:creationId xmlns:a16="http://schemas.microsoft.com/office/drawing/2014/main" id="{5B01B812-7ABE-35FC-464E-D13480BBEEDB}"/>
                </a:ext>
              </a:extLst>
            </p:cNvPr>
            <p:cNvSpPr/>
            <p:nvPr/>
          </p:nvSpPr>
          <p:spPr>
            <a:xfrm>
              <a:off x="0" y="5379424"/>
              <a:ext cx="2807363" cy="649800"/>
            </a:xfrm>
            <a:custGeom>
              <a:avLst/>
              <a:gdLst>
                <a:gd name="f0" fmla="val 10800000"/>
                <a:gd name="f1" fmla="val 5400000"/>
                <a:gd name="f2" fmla="val 180"/>
                <a:gd name="f3" fmla="val w"/>
                <a:gd name="f4" fmla="val h"/>
                <a:gd name="f5" fmla="val 0"/>
                <a:gd name="f6" fmla="val 2807368"/>
                <a:gd name="f7" fmla="val 649803"/>
                <a:gd name="f8" fmla="val 282676"/>
                <a:gd name="f9" fmla="val 70799"/>
                <a:gd name="f10" fmla="val 435964"/>
                <a:gd name="f11" fmla="val 106085"/>
                <a:gd name="f12" fmla="val 588770"/>
                <a:gd name="f13" fmla="val 137629"/>
                <a:gd name="f14" fmla="val 740881"/>
                <a:gd name="f15" fmla="val 163828"/>
                <a:gd name="f16" fmla="val 1362800"/>
                <a:gd name="f17" fmla="val 270912"/>
                <a:gd name="f18" fmla="val 2067879"/>
                <a:gd name="f19" fmla="val 253759"/>
                <a:gd name="f20" fmla="val 2706471"/>
                <a:gd name="f21" fmla="val 96397"/>
                <a:gd name="f22" fmla="val 67250"/>
                <a:gd name="f23" fmla="val 605551"/>
                <a:gd name="f24" fmla="val 2602685"/>
                <a:gd name="f25" fmla="val 629466"/>
                <a:gd name="f26" fmla="val 1684237"/>
                <a:gd name="f27" fmla="val 708219"/>
                <a:gd name="f28" fmla="val 893252"/>
                <a:gd name="f29" fmla="val 549395"/>
                <a:gd name="f30" fmla="val 105614"/>
                <a:gd name="f31" fmla="val 305882"/>
                <a:gd name="f32" fmla="val 271926"/>
                <a:gd name="f33" fmla="+- 0 0 -90"/>
                <a:gd name="f34" fmla="*/ f3 1 2807368"/>
                <a:gd name="f35" fmla="*/ f4 1 649803"/>
                <a:gd name="f36" fmla="+- f7 0 f5"/>
                <a:gd name="f37" fmla="+- f6 0 f5"/>
                <a:gd name="f38" fmla="*/ f33 f0 1"/>
                <a:gd name="f39" fmla="*/ f37 1 2807368"/>
                <a:gd name="f40" fmla="*/ f36 1 649803"/>
                <a:gd name="f41" fmla="*/ 0 f37 1"/>
                <a:gd name="f42" fmla="*/ 0 f36 1"/>
                <a:gd name="f43" fmla="*/ 282676 f37 1"/>
                <a:gd name="f44" fmla="*/ 70799 f36 1"/>
                <a:gd name="f45" fmla="*/ 740881 f37 1"/>
                <a:gd name="f46" fmla="*/ 163828 f36 1"/>
                <a:gd name="f47" fmla="*/ 2706471 f37 1"/>
                <a:gd name="f48" fmla="*/ 96397 f36 1"/>
                <a:gd name="f49" fmla="*/ 2807368 f37 1"/>
                <a:gd name="f50" fmla="*/ 67250 f36 1"/>
                <a:gd name="f51" fmla="*/ 605551 f36 1"/>
                <a:gd name="f52" fmla="*/ 2602685 f37 1"/>
                <a:gd name="f53" fmla="*/ 629466 f36 1"/>
                <a:gd name="f54" fmla="*/ 105614 f37 1"/>
                <a:gd name="f55" fmla="*/ 305882 f36 1"/>
                <a:gd name="f56" fmla="*/ 271926 f36 1"/>
                <a:gd name="f57" fmla="*/ f38 1 f2"/>
                <a:gd name="f58" fmla="*/ f41 1 2807368"/>
                <a:gd name="f59" fmla="*/ f42 1 649803"/>
                <a:gd name="f60" fmla="*/ f43 1 2807368"/>
                <a:gd name="f61" fmla="*/ f44 1 649803"/>
                <a:gd name="f62" fmla="*/ f45 1 2807368"/>
                <a:gd name="f63" fmla="*/ f46 1 649803"/>
                <a:gd name="f64" fmla="*/ f47 1 2807368"/>
                <a:gd name="f65" fmla="*/ f48 1 649803"/>
                <a:gd name="f66" fmla="*/ f49 1 2807368"/>
                <a:gd name="f67" fmla="*/ f50 1 649803"/>
                <a:gd name="f68" fmla="*/ f51 1 649803"/>
                <a:gd name="f69" fmla="*/ f52 1 2807368"/>
                <a:gd name="f70" fmla="*/ f53 1 649803"/>
                <a:gd name="f71" fmla="*/ f54 1 2807368"/>
                <a:gd name="f72" fmla="*/ f55 1 649803"/>
                <a:gd name="f73" fmla="*/ f56 1 649803"/>
                <a:gd name="f74" fmla="*/ f5 1 f39"/>
                <a:gd name="f75" fmla="*/ f6 1 f39"/>
                <a:gd name="f76" fmla="*/ f5 1 f40"/>
                <a:gd name="f77" fmla="*/ f7 1 f40"/>
                <a:gd name="f78" fmla="+- f57 0 f1"/>
                <a:gd name="f79" fmla="*/ f58 1 f39"/>
                <a:gd name="f80" fmla="*/ f59 1 f40"/>
                <a:gd name="f81" fmla="*/ f60 1 f39"/>
                <a:gd name="f82" fmla="*/ f61 1 f40"/>
                <a:gd name="f83" fmla="*/ f62 1 f39"/>
                <a:gd name="f84" fmla="*/ f63 1 f40"/>
                <a:gd name="f85" fmla="*/ f64 1 f39"/>
                <a:gd name="f86" fmla="*/ f65 1 f40"/>
                <a:gd name="f87" fmla="*/ f66 1 f39"/>
                <a:gd name="f88" fmla="*/ f67 1 f40"/>
                <a:gd name="f89" fmla="*/ f68 1 f40"/>
                <a:gd name="f90" fmla="*/ f69 1 f39"/>
                <a:gd name="f91" fmla="*/ f70 1 f40"/>
                <a:gd name="f92" fmla="*/ f71 1 f39"/>
                <a:gd name="f93" fmla="*/ f72 1 f40"/>
                <a:gd name="f94" fmla="*/ f73 1 f40"/>
                <a:gd name="f95" fmla="*/ f74 f34 1"/>
                <a:gd name="f96" fmla="*/ f75 f34 1"/>
                <a:gd name="f97" fmla="*/ f77 f35 1"/>
                <a:gd name="f98" fmla="*/ f76 f35 1"/>
                <a:gd name="f99" fmla="*/ f79 f34 1"/>
                <a:gd name="f100" fmla="*/ f80 f35 1"/>
                <a:gd name="f101" fmla="*/ f81 f34 1"/>
                <a:gd name="f102" fmla="*/ f82 f35 1"/>
                <a:gd name="f103" fmla="*/ f83 f34 1"/>
                <a:gd name="f104" fmla="*/ f84 f35 1"/>
                <a:gd name="f105" fmla="*/ f85 f34 1"/>
                <a:gd name="f106" fmla="*/ f86 f35 1"/>
                <a:gd name="f107" fmla="*/ f87 f34 1"/>
                <a:gd name="f108" fmla="*/ f88 f35 1"/>
                <a:gd name="f109" fmla="*/ f89 f35 1"/>
                <a:gd name="f110" fmla="*/ f90 f34 1"/>
                <a:gd name="f111" fmla="*/ f91 f35 1"/>
                <a:gd name="f112" fmla="*/ f92 f34 1"/>
                <a:gd name="f113" fmla="*/ f93 f35 1"/>
                <a:gd name="f114" fmla="*/ f94 f35 1"/>
              </a:gdLst>
              <a:ahLst/>
              <a:cxnLst>
                <a:cxn ang="3cd4">
                  <a:pos x="hc" y="t"/>
                </a:cxn>
                <a:cxn ang="0">
                  <a:pos x="r" y="vc"/>
                </a:cxn>
                <a:cxn ang="cd4">
                  <a:pos x="hc" y="b"/>
                </a:cxn>
                <a:cxn ang="cd2">
                  <a:pos x="l" y="vc"/>
                </a:cxn>
                <a:cxn ang="f78">
                  <a:pos x="f99" y="f100"/>
                </a:cxn>
                <a:cxn ang="f78">
                  <a:pos x="f101" y="f102"/>
                </a:cxn>
                <a:cxn ang="f78">
                  <a:pos x="f103" y="f104"/>
                </a:cxn>
                <a:cxn ang="f78">
                  <a:pos x="f105" y="f106"/>
                </a:cxn>
                <a:cxn ang="f78">
                  <a:pos x="f107" y="f108"/>
                </a:cxn>
                <a:cxn ang="f78">
                  <a:pos x="f107" y="f109"/>
                </a:cxn>
                <a:cxn ang="f78">
                  <a:pos x="f110" y="f111"/>
                </a:cxn>
                <a:cxn ang="f78">
                  <a:pos x="f112" y="f113"/>
                </a:cxn>
                <a:cxn ang="f78">
                  <a:pos x="f99" y="f114"/>
                </a:cxn>
              </a:cxnLst>
              <a:rect l="f95" t="f98" r="f96" b="f97"/>
              <a:pathLst>
                <a:path w="2807368" h="649803">
                  <a:moveTo>
                    <a:pt x="f5" y="f5"/>
                  </a:moveTo>
                  <a:lnTo>
                    <a:pt x="f8" y="f9"/>
                  </a:lnTo>
                  <a:cubicBezTo>
                    <a:pt x="f10" y="f11"/>
                    <a:pt x="f12" y="f13"/>
                    <a:pt x="f14" y="f15"/>
                  </a:cubicBezTo>
                  <a:cubicBezTo>
                    <a:pt x="f16" y="f17"/>
                    <a:pt x="f18" y="f19"/>
                    <a:pt x="f20" y="f21"/>
                  </a:cubicBezTo>
                  <a:lnTo>
                    <a:pt x="f6" y="f22"/>
                  </a:lnTo>
                  <a:lnTo>
                    <a:pt x="f6" y="f23"/>
                  </a:lnTo>
                  <a:lnTo>
                    <a:pt x="f24" y="f25"/>
                  </a:lnTo>
                  <a:cubicBezTo>
                    <a:pt x="f26" y="f27"/>
                    <a:pt x="f28" y="f29"/>
                    <a:pt x="f30" y="f31"/>
                  </a:cubicBezTo>
                  <a:lnTo>
                    <a:pt x="f5" y="f32"/>
                  </a:ln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grpSp>
      <p:sp>
        <p:nvSpPr>
          <p:cNvPr id="7" name="Picture Placeholder 6">
            <a:extLst>
              <a:ext uri="{FF2B5EF4-FFF2-40B4-BE49-F238E27FC236}">
                <a16:creationId xmlns:a16="http://schemas.microsoft.com/office/drawing/2014/main" id="{0632114F-60B9-0721-E848-E7EF441A671A}"/>
              </a:ext>
            </a:extLst>
          </p:cNvPr>
          <p:cNvSpPr txBox="1">
            <a:spLocks noGrp="1"/>
          </p:cNvSpPr>
          <p:nvPr>
            <p:ph type="pic" idx="4294967295"/>
          </p:nvPr>
        </p:nvSpPr>
        <p:spPr>
          <a:xfrm>
            <a:off x="2807363" y="457200"/>
            <a:ext cx="8915400" cy="5943600"/>
          </a:xfrm>
        </p:spPr>
        <p:txBody>
          <a:bodyPr/>
          <a:lstStyle>
            <a:lvl1pPr>
              <a:defRPr/>
            </a:lvl1pPr>
          </a:lstStyle>
          <a:p>
            <a:pPr lvl="0"/>
            <a:endParaRPr lang="en-US"/>
          </a:p>
        </p:txBody>
      </p:sp>
      <p:pic>
        <p:nvPicPr>
          <p:cNvPr id="8" name="Picture 14">
            <a:extLst>
              <a:ext uri="{FF2B5EF4-FFF2-40B4-BE49-F238E27FC236}">
                <a16:creationId xmlns:a16="http://schemas.microsoft.com/office/drawing/2014/main" id="{C54E8EB9-BFBC-B36C-743E-D2F451504F1C}"/>
              </a:ext>
            </a:extLst>
          </p:cNvPr>
          <p:cNvPicPr>
            <a:picLocks noChangeAspect="1"/>
          </p:cNvPicPr>
          <p:nvPr/>
        </p:nvPicPr>
        <p:blipFill>
          <a:blip r:embed="rId2"/>
          <a:srcRect/>
          <a:stretch>
            <a:fillRect/>
          </a:stretch>
        </p:blipFill>
        <p:spPr>
          <a:xfrm>
            <a:off x="513345" y="4385535"/>
            <a:ext cx="2025313" cy="911940"/>
          </a:xfrm>
          <a:prstGeom prst="rect">
            <a:avLst/>
          </a:prstGeom>
          <a:noFill/>
          <a:ln cap="flat">
            <a:noFill/>
          </a:ln>
        </p:spPr>
      </p:pic>
    </p:spTree>
    <p:extLst>
      <p:ext uri="{BB962C8B-B14F-4D97-AF65-F5344CB8AC3E}">
        <p14:creationId xmlns:p14="http://schemas.microsoft.com/office/powerpoint/2010/main" val="4096766524"/>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p:cSld name="23_Cover">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1956FA22-B07A-16AB-0A2E-78FC203342E9}"/>
              </a:ext>
            </a:extLst>
          </p:cNvPr>
          <p:cNvSpPr/>
          <p:nvPr/>
        </p:nvSpPr>
        <p:spPr>
          <a:xfrm>
            <a:off x="902366" y="1294416"/>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0B7637CE-DB9D-727D-C54E-A5D6DFB1FD7C}"/>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r>
              <a:rPr lang="en-US"/>
              <a:t>Click to edit Master title style</a:t>
            </a:r>
          </a:p>
        </p:txBody>
      </p:sp>
      <p:sp>
        <p:nvSpPr>
          <p:cNvPr id="4" name="Subtitle 2">
            <a:extLst>
              <a:ext uri="{FF2B5EF4-FFF2-40B4-BE49-F238E27FC236}">
                <a16:creationId xmlns:a16="http://schemas.microsoft.com/office/drawing/2014/main" id="{6F6F4D25-1CF1-A909-2784-0F840027D090}"/>
              </a:ext>
            </a:extLst>
          </p:cNvPr>
          <p:cNvSpPr txBox="1">
            <a:spLocks noGrp="1"/>
          </p:cNvSpPr>
          <p:nvPr>
            <p:ph type="subTitle" idx="4294967295"/>
          </p:nvPr>
        </p:nvSpPr>
        <p:spPr>
          <a:xfrm>
            <a:off x="1413305" y="3766861"/>
            <a:ext cx="5194432" cy="986564"/>
          </a:xfrm>
        </p:spPr>
        <p:txBody>
          <a:bodyPr/>
          <a:lstStyle>
            <a:lvl1pPr marL="0" indent="0">
              <a:buNone/>
              <a:defRPr/>
            </a:lvl1pPr>
          </a:lstStyle>
          <a:p>
            <a:pPr lvl="0"/>
            <a:r>
              <a:rPr lang="en-US"/>
              <a:t>Click to edit Master subtitle style</a:t>
            </a:r>
          </a:p>
        </p:txBody>
      </p:sp>
      <p:sp>
        <p:nvSpPr>
          <p:cNvPr id="5" name="Picture Placeholder 21">
            <a:extLst>
              <a:ext uri="{FF2B5EF4-FFF2-40B4-BE49-F238E27FC236}">
                <a16:creationId xmlns:a16="http://schemas.microsoft.com/office/drawing/2014/main" id="{229190F4-D632-AC3A-BBCA-9211FC5E299B}"/>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grpSp>
        <p:nvGrpSpPr>
          <p:cNvPr id="6" name="Group 26">
            <a:extLst>
              <a:ext uri="{FF2B5EF4-FFF2-40B4-BE49-F238E27FC236}">
                <a16:creationId xmlns:a16="http://schemas.microsoft.com/office/drawing/2014/main" id="{6D1B66D6-5617-0737-77F9-FFD826281197}"/>
              </a:ext>
            </a:extLst>
          </p:cNvPr>
          <p:cNvGrpSpPr/>
          <p:nvPr/>
        </p:nvGrpSpPr>
        <p:grpSpPr>
          <a:xfrm>
            <a:off x="0" y="5020349"/>
            <a:ext cx="12191996" cy="1837651"/>
            <a:chOff x="0" y="5020348"/>
            <a:chExt cx="12191996" cy="1837651"/>
          </a:xfrm>
        </p:grpSpPr>
        <p:sp>
          <p:nvSpPr>
            <p:cNvPr id="7" name="Freeform 27">
              <a:extLst>
                <a:ext uri="{FF2B5EF4-FFF2-40B4-BE49-F238E27FC236}">
                  <a16:creationId xmlns:a16="http://schemas.microsoft.com/office/drawing/2014/main" id="{84DD0200-08A6-7564-50E3-269F561AD7AF}"/>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8" name="Freeform 28">
              <a:extLst>
                <a:ext uri="{FF2B5EF4-FFF2-40B4-BE49-F238E27FC236}">
                  <a16:creationId xmlns:a16="http://schemas.microsoft.com/office/drawing/2014/main" id="{9319A861-34B7-B3D1-8C27-2F2676492960}"/>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9" name="Picture 29">
              <a:extLst>
                <a:ext uri="{FF2B5EF4-FFF2-40B4-BE49-F238E27FC236}">
                  <a16:creationId xmlns:a16="http://schemas.microsoft.com/office/drawing/2014/main" id="{0F4E1553-370E-E4F0-E48C-70227049BEDC}"/>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107429694"/>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23_Photo Slide">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571A4D02-ACDC-1EC7-B187-7605726A5D24}"/>
              </a:ext>
            </a:extLst>
          </p:cNvPr>
          <p:cNvSpPr txBox="1">
            <a:spLocks noGrp="1"/>
          </p:cNvSpPr>
          <p:nvPr>
            <p:ph type="body" idx="4294967295"/>
          </p:nvPr>
        </p:nvSpPr>
        <p:spPr>
          <a:xfrm>
            <a:off x="457200" y="1146255"/>
            <a:ext cx="2350172" cy="2971800"/>
          </a:xfrm>
        </p:spPr>
        <p:txBody>
          <a:bodyPr/>
          <a:lstStyle>
            <a:lvl1pPr marL="0" indent="0">
              <a:buNone/>
              <a:defRPr/>
            </a:lvl1pPr>
          </a:lstStyle>
          <a:p>
            <a:pPr lvl="0"/>
            <a:r>
              <a:rPr lang="en-US"/>
              <a:t>Click to edit Master text styles</a:t>
            </a:r>
          </a:p>
        </p:txBody>
      </p:sp>
      <p:cxnSp>
        <p:nvCxnSpPr>
          <p:cNvPr id="3" name="Straight Connector 5">
            <a:extLst>
              <a:ext uri="{FF2B5EF4-FFF2-40B4-BE49-F238E27FC236}">
                <a16:creationId xmlns:a16="http://schemas.microsoft.com/office/drawing/2014/main" id="{E21CD062-0F34-7169-E9CD-4671A4C16428}"/>
              </a:ext>
            </a:extLst>
          </p:cNvPr>
          <p:cNvCxnSpPr/>
          <p:nvPr/>
        </p:nvCxnSpPr>
        <p:spPr>
          <a:xfrm>
            <a:off x="457201" y="947985"/>
            <a:ext cx="2350163" cy="0"/>
          </a:xfrm>
          <a:prstGeom prst="straightConnector1">
            <a:avLst/>
          </a:prstGeom>
          <a:noFill/>
          <a:ln w="31747" cap="flat">
            <a:solidFill>
              <a:srgbClr val="F58366"/>
            </a:solidFill>
            <a:prstDash val="solid"/>
            <a:miter/>
          </a:ln>
        </p:spPr>
      </p:cxnSp>
      <p:grpSp>
        <p:nvGrpSpPr>
          <p:cNvPr id="4" name="Group 2">
            <a:extLst>
              <a:ext uri="{FF2B5EF4-FFF2-40B4-BE49-F238E27FC236}">
                <a16:creationId xmlns:a16="http://schemas.microsoft.com/office/drawing/2014/main" id="{18426C8A-88C8-DAF5-EF04-D10E0B5E843A}"/>
              </a:ext>
            </a:extLst>
          </p:cNvPr>
          <p:cNvGrpSpPr/>
          <p:nvPr/>
        </p:nvGrpSpPr>
        <p:grpSpPr>
          <a:xfrm>
            <a:off x="1" y="5379425"/>
            <a:ext cx="2807363" cy="753895"/>
            <a:chOff x="0" y="5379424"/>
            <a:chExt cx="2807363" cy="753895"/>
          </a:xfrm>
        </p:grpSpPr>
        <p:sp>
          <p:nvSpPr>
            <p:cNvPr id="5" name="Freeform 21">
              <a:extLst>
                <a:ext uri="{FF2B5EF4-FFF2-40B4-BE49-F238E27FC236}">
                  <a16:creationId xmlns:a16="http://schemas.microsoft.com/office/drawing/2014/main" id="{323EE88B-E6F4-E38F-D3FB-BE084FB24D30}"/>
                </a:ext>
              </a:extLst>
            </p:cNvPr>
            <p:cNvSpPr/>
            <p:nvPr/>
          </p:nvSpPr>
          <p:spPr>
            <a:xfrm>
              <a:off x="0" y="5532513"/>
              <a:ext cx="2807363" cy="600806"/>
            </a:xfrm>
            <a:custGeom>
              <a:avLst/>
              <a:gdLst>
                <a:gd name="f0" fmla="val 10800000"/>
                <a:gd name="f1" fmla="val 5400000"/>
                <a:gd name="f2" fmla="val 180"/>
                <a:gd name="f3" fmla="val w"/>
                <a:gd name="f4" fmla="val h"/>
                <a:gd name="f5" fmla="val 0"/>
                <a:gd name="f6" fmla="val 2807368"/>
                <a:gd name="f7" fmla="val 600807"/>
                <a:gd name="f8" fmla="val 429971"/>
                <a:gd name="f9" fmla="val 123998"/>
                <a:gd name="f10" fmla="val 1184765"/>
                <a:gd name="f11" fmla="val 325331"/>
                <a:gd name="f12" fmla="val 2014184"/>
                <a:gd name="f13" fmla="val 392492"/>
                <a:gd name="f14" fmla="val 2790212"/>
                <a:gd name="f15" fmla="val 235402"/>
                <a:gd name="f16" fmla="val 231522"/>
                <a:gd name="f17" fmla="val 566106"/>
                <a:gd name="f18" fmla="val 2593885"/>
                <a:gd name="f19" fmla="val 587498"/>
                <a:gd name="f20" fmla="val 1673646"/>
                <a:gd name="f21" fmla="val 651184"/>
                <a:gd name="f22" fmla="val 884869"/>
                <a:gd name="f23" fmla="val 479260"/>
                <a:gd name="f24" fmla="val 100844"/>
                <a:gd name="f25" fmla="val 222653"/>
                <a:gd name="f26" fmla="val 188389"/>
                <a:gd name="f27" fmla="+- 0 0 -90"/>
                <a:gd name="f28" fmla="*/ f3 1 2807368"/>
                <a:gd name="f29" fmla="*/ f4 1 600807"/>
                <a:gd name="f30" fmla="+- f7 0 f5"/>
                <a:gd name="f31" fmla="+- f6 0 f5"/>
                <a:gd name="f32" fmla="*/ f27 f0 1"/>
                <a:gd name="f33" fmla="*/ f31 1 2807368"/>
                <a:gd name="f34" fmla="*/ f30 1 600807"/>
                <a:gd name="f35" fmla="*/ 0 f31 1"/>
                <a:gd name="f36" fmla="*/ 0 f30 1"/>
                <a:gd name="f37" fmla="*/ 429971 f31 1"/>
                <a:gd name="f38" fmla="*/ 123998 f30 1"/>
                <a:gd name="f39" fmla="*/ 2790212 f31 1"/>
                <a:gd name="f40" fmla="*/ 235402 f30 1"/>
                <a:gd name="f41" fmla="*/ 2807368 f31 1"/>
                <a:gd name="f42" fmla="*/ 231522 f30 1"/>
                <a:gd name="f43" fmla="*/ 566106 f30 1"/>
                <a:gd name="f44" fmla="*/ 2593885 f31 1"/>
                <a:gd name="f45" fmla="*/ 587498 f30 1"/>
                <a:gd name="f46" fmla="*/ 100844 f31 1"/>
                <a:gd name="f47" fmla="*/ 222653 f30 1"/>
                <a:gd name="f48" fmla="*/ 188389 f30 1"/>
                <a:gd name="f49" fmla="*/ f32 1 f2"/>
                <a:gd name="f50" fmla="*/ f35 1 2807368"/>
                <a:gd name="f51" fmla="*/ f36 1 600807"/>
                <a:gd name="f52" fmla="*/ f37 1 2807368"/>
                <a:gd name="f53" fmla="*/ f38 1 600807"/>
                <a:gd name="f54" fmla="*/ f39 1 2807368"/>
                <a:gd name="f55" fmla="*/ f40 1 600807"/>
                <a:gd name="f56" fmla="*/ f41 1 2807368"/>
                <a:gd name="f57" fmla="*/ f42 1 600807"/>
                <a:gd name="f58" fmla="*/ f43 1 600807"/>
                <a:gd name="f59" fmla="*/ f44 1 2807368"/>
                <a:gd name="f60" fmla="*/ f45 1 600807"/>
                <a:gd name="f61" fmla="*/ f46 1 2807368"/>
                <a:gd name="f62" fmla="*/ f47 1 600807"/>
                <a:gd name="f63" fmla="*/ f48 1 600807"/>
                <a:gd name="f64" fmla="*/ f5 1 f33"/>
                <a:gd name="f65" fmla="*/ f6 1 f33"/>
                <a:gd name="f66" fmla="*/ f5 1 f34"/>
                <a:gd name="f67" fmla="*/ f7 1 f34"/>
                <a:gd name="f68" fmla="+- f49 0 f1"/>
                <a:gd name="f69" fmla="*/ f50 1 f33"/>
                <a:gd name="f70" fmla="*/ f51 1 f34"/>
                <a:gd name="f71" fmla="*/ f52 1 f33"/>
                <a:gd name="f72" fmla="*/ f53 1 f34"/>
                <a:gd name="f73" fmla="*/ f54 1 f33"/>
                <a:gd name="f74" fmla="*/ f55 1 f34"/>
                <a:gd name="f75" fmla="*/ f56 1 f33"/>
                <a:gd name="f76" fmla="*/ f57 1 f34"/>
                <a:gd name="f77" fmla="*/ f58 1 f34"/>
                <a:gd name="f78" fmla="*/ f59 1 f33"/>
                <a:gd name="f79" fmla="*/ f60 1 f34"/>
                <a:gd name="f80" fmla="*/ f61 1 f33"/>
                <a:gd name="f81" fmla="*/ f62 1 f34"/>
                <a:gd name="f82" fmla="*/ f63 1 f34"/>
                <a:gd name="f83" fmla="*/ f64 f28 1"/>
                <a:gd name="f84" fmla="*/ f65 f28 1"/>
                <a:gd name="f85" fmla="*/ f67 f29 1"/>
                <a:gd name="f86" fmla="*/ f66 f29 1"/>
                <a:gd name="f87" fmla="*/ f69 f28 1"/>
                <a:gd name="f88" fmla="*/ f70 f29 1"/>
                <a:gd name="f89" fmla="*/ f71 f28 1"/>
                <a:gd name="f90" fmla="*/ f72 f29 1"/>
                <a:gd name="f91" fmla="*/ f73 f28 1"/>
                <a:gd name="f92" fmla="*/ f74 f29 1"/>
                <a:gd name="f93" fmla="*/ f75 f28 1"/>
                <a:gd name="f94" fmla="*/ f76 f29 1"/>
                <a:gd name="f95" fmla="*/ f77 f29 1"/>
                <a:gd name="f96" fmla="*/ f78 f28 1"/>
                <a:gd name="f97" fmla="*/ f79 f29 1"/>
                <a:gd name="f98" fmla="*/ f80 f28 1"/>
                <a:gd name="f99" fmla="*/ f81 f29 1"/>
                <a:gd name="f100" fmla="*/ f82 f29 1"/>
              </a:gdLst>
              <a:ahLst/>
              <a:cxnLst>
                <a:cxn ang="3cd4">
                  <a:pos x="hc" y="t"/>
                </a:cxn>
                <a:cxn ang="0">
                  <a:pos x="r" y="vc"/>
                </a:cxn>
                <a:cxn ang="cd4">
                  <a:pos x="hc" y="b"/>
                </a:cxn>
                <a:cxn ang="cd2">
                  <a:pos x="l" y="vc"/>
                </a:cxn>
                <a:cxn ang="f68">
                  <a:pos x="f87" y="f88"/>
                </a:cxn>
                <a:cxn ang="f68">
                  <a:pos x="f89" y="f90"/>
                </a:cxn>
                <a:cxn ang="f68">
                  <a:pos x="f91" y="f92"/>
                </a:cxn>
                <a:cxn ang="f68">
                  <a:pos x="f93" y="f94"/>
                </a:cxn>
                <a:cxn ang="f68">
                  <a:pos x="f93" y="f95"/>
                </a:cxn>
                <a:cxn ang="f68">
                  <a:pos x="f96" y="f97"/>
                </a:cxn>
                <a:cxn ang="f68">
                  <a:pos x="f98" y="f99"/>
                </a:cxn>
                <a:cxn ang="f68">
                  <a:pos x="f87" y="f100"/>
                </a:cxn>
              </a:cxnLst>
              <a:rect l="f83" t="f86" r="f84" b="f85"/>
              <a:pathLst>
                <a:path w="2807368" h="600807">
                  <a:moveTo>
                    <a:pt x="f5" y="f5"/>
                  </a:moveTo>
                  <a:lnTo>
                    <a:pt x="f8" y="f9"/>
                  </a:lnTo>
                  <a:cubicBezTo>
                    <a:pt x="f10" y="f11"/>
                    <a:pt x="f12" y="f13"/>
                    <a:pt x="f14" y="f15"/>
                  </a:cubicBezTo>
                  <a:lnTo>
                    <a:pt x="f6" y="f16"/>
                  </a:lnTo>
                  <a:lnTo>
                    <a:pt x="f6" y="f17"/>
                  </a:lnTo>
                  <a:lnTo>
                    <a:pt x="f18" y="f19"/>
                  </a:lnTo>
                  <a:cubicBezTo>
                    <a:pt x="f20" y="f21"/>
                    <a:pt x="f22" y="f23"/>
                    <a:pt x="f24" y="f25"/>
                  </a:cubicBezTo>
                  <a:lnTo>
                    <a:pt x="f5" y="f26"/>
                  </a:ln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Freeform 19">
              <a:extLst>
                <a:ext uri="{FF2B5EF4-FFF2-40B4-BE49-F238E27FC236}">
                  <a16:creationId xmlns:a16="http://schemas.microsoft.com/office/drawing/2014/main" id="{45324996-8698-B717-17A3-20AF757C9145}"/>
                </a:ext>
              </a:extLst>
            </p:cNvPr>
            <p:cNvSpPr/>
            <p:nvPr/>
          </p:nvSpPr>
          <p:spPr>
            <a:xfrm>
              <a:off x="0" y="5379424"/>
              <a:ext cx="2807363" cy="649800"/>
            </a:xfrm>
            <a:custGeom>
              <a:avLst/>
              <a:gdLst>
                <a:gd name="f0" fmla="val 10800000"/>
                <a:gd name="f1" fmla="val 5400000"/>
                <a:gd name="f2" fmla="val 180"/>
                <a:gd name="f3" fmla="val w"/>
                <a:gd name="f4" fmla="val h"/>
                <a:gd name="f5" fmla="val 0"/>
                <a:gd name="f6" fmla="val 2807368"/>
                <a:gd name="f7" fmla="val 649803"/>
                <a:gd name="f8" fmla="val 282676"/>
                <a:gd name="f9" fmla="val 70799"/>
                <a:gd name="f10" fmla="val 435964"/>
                <a:gd name="f11" fmla="val 106085"/>
                <a:gd name="f12" fmla="val 588770"/>
                <a:gd name="f13" fmla="val 137629"/>
                <a:gd name="f14" fmla="val 740881"/>
                <a:gd name="f15" fmla="val 163828"/>
                <a:gd name="f16" fmla="val 1362800"/>
                <a:gd name="f17" fmla="val 270912"/>
                <a:gd name="f18" fmla="val 2067879"/>
                <a:gd name="f19" fmla="val 253759"/>
                <a:gd name="f20" fmla="val 2706471"/>
                <a:gd name="f21" fmla="val 96397"/>
                <a:gd name="f22" fmla="val 67250"/>
                <a:gd name="f23" fmla="val 605551"/>
                <a:gd name="f24" fmla="val 2602685"/>
                <a:gd name="f25" fmla="val 629466"/>
                <a:gd name="f26" fmla="val 1684237"/>
                <a:gd name="f27" fmla="val 708219"/>
                <a:gd name="f28" fmla="val 893252"/>
                <a:gd name="f29" fmla="val 549395"/>
                <a:gd name="f30" fmla="val 105614"/>
                <a:gd name="f31" fmla="val 305882"/>
                <a:gd name="f32" fmla="val 271926"/>
                <a:gd name="f33" fmla="+- 0 0 -90"/>
                <a:gd name="f34" fmla="*/ f3 1 2807368"/>
                <a:gd name="f35" fmla="*/ f4 1 649803"/>
                <a:gd name="f36" fmla="+- f7 0 f5"/>
                <a:gd name="f37" fmla="+- f6 0 f5"/>
                <a:gd name="f38" fmla="*/ f33 f0 1"/>
                <a:gd name="f39" fmla="*/ f37 1 2807368"/>
                <a:gd name="f40" fmla="*/ f36 1 649803"/>
                <a:gd name="f41" fmla="*/ 0 f37 1"/>
                <a:gd name="f42" fmla="*/ 0 f36 1"/>
                <a:gd name="f43" fmla="*/ 282676 f37 1"/>
                <a:gd name="f44" fmla="*/ 70799 f36 1"/>
                <a:gd name="f45" fmla="*/ 740881 f37 1"/>
                <a:gd name="f46" fmla="*/ 163828 f36 1"/>
                <a:gd name="f47" fmla="*/ 2706471 f37 1"/>
                <a:gd name="f48" fmla="*/ 96397 f36 1"/>
                <a:gd name="f49" fmla="*/ 2807368 f37 1"/>
                <a:gd name="f50" fmla="*/ 67250 f36 1"/>
                <a:gd name="f51" fmla="*/ 605551 f36 1"/>
                <a:gd name="f52" fmla="*/ 2602685 f37 1"/>
                <a:gd name="f53" fmla="*/ 629466 f36 1"/>
                <a:gd name="f54" fmla="*/ 105614 f37 1"/>
                <a:gd name="f55" fmla="*/ 305882 f36 1"/>
                <a:gd name="f56" fmla="*/ 271926 f36 1"/>
                <a:gd name="f57" fmla="*/ f38 1 f2"/>
                <a:gd name="f58" fmla="*/ f41 1 2807368"/>
                <a:gd name="f59" fmla="*/ f42 1 649803"/>
                <a:gd name="f60" fmla="*/ f43 1 2807368"/>
                <a:gd name="f61" fmla="*/ f44 1 649803"/>
                <a:gd name="f62" fmla="*/ f45 1 2807368"/>
                <a:gd name="f63" fmla="*/ f46 1 649803"/>
                <a:gd name="f64" fmla="*/ f47 1 2807368"/>
                <a:gd name="f65" fmla="*/ f48 1 649803"/>
                <a:gd name="f66" fmla="*/ f49 1 2807368"/>
                <a:gd name="f67" fmla="*/ f50 1 649803"/>
                <a:gd name="f68" fmla="*/ f51 1 649803"/>
                <a:gd name="f69" fmla="*/ f52 1 2807368"/>
                <a:gd name="f70" fmla="*/ f53 1 649803"/>
                <a:gd name="f71" fmla="*/ f54 1 2807368"/>
                <a:gd name="f72" fmla="*/ f55 1 649803"/>
                <a:gd name="f73" fmla="*/ f56 1 649803"/>
                <a:gd name="f74" fmla="*/ f5 1 f39"/>
                <a:gd name="f75" fmla="*/ f6 1 f39"/>
                <a:gd name="f76" fmla="*/ f5 1 f40"/>
                <a:gd name="f77" fmla="*/ f7 1 f40"/>
                <a:gd name="f78" fmla="+- f57 0 f1"/>
                <a:gd name="f79" fmla="*/ f58 1 f39"/>
                <a:gd name="f80" fmla="*/ f59 1 f40"/>
                <a:gd name="f81" fmla="*/ f60 1 f39"/>
                <a:gd name="f82" fmla="*/ f61 1 f40"/>
                <a:gd name="f83" fmla="*/ f62 1 f39"/>
                <a:gd name="f84" fmla="*/ f63 1 f40"/>
                <a:gd name="f85" fmla="*/ f64 1 f39"/>
                <a:gd name="f86" fmla="*/ f65 1 f40"/>
                <a:gd name="f87" fmla="*/ f66 1 f39"/>
                <a:gd name="f88" fmla="*/ f67 1 f40"/>
                <a:gd name="f89" fmla="*/ f68 1 f40"/>
                <a:gd name="f90" fmla="*/ f69 1 f39"/>
                <a:gd name="f91" fmla="*/ f70 1 f40"/>
                <a:gd name="f92" fmla="*/ f71 1 f39"/>
                <a:gd name="f93" fmla="*/ f72 1 f40"/>
                <a:gd name="f94" fmla="*/ f73 1 f40"/>
                <a:gd name="f95" fmla="*/ f74 f34 1"/>
                <a:gd name="f96" fmla="*/ f75 f34 1"/>
                <a:gd name="f97" fmla="*/ f77 f35 1"/>
                <a:gd name="f98" fmla="*/ f76 f35 1"/>
                <a:gd name="f99" fmla="*/ f79 f34 1"/>
                <a:gd name="f100" fmla="*/ f80 f35 1"/>
                <a:gd name="f101" fmla="*/ f81 f34 1"/>
                <a:gd name="f102" fmla="*/ f82 f35 1"/>
                <a:gd name="f103" fmla="*/ f83 f34 1"/>
                <a:gd name="f104" fmla="*/ f84 f35 1"/>
                <a:gd name="f105" fmla="*/ f85 f34 1"/>
                <a:gd name="f106" fmla="*/ f86 f35 1"/>
                <a:gd name="f107" fmla="*/ f87 f34 1"/>
                <a:gd name="f108" fmla="*/ f88 f35 1"/>
                <a:gd name="f109" fmla="*/ f89 f35 1"/>
                <a:gd name="f110" fmla="*/ f90 f34 1"/>
                <a:gd name="f111" fmla="*/ f91 f35 1"/>
                <a:gd name="f112" fmla="*/ f92 f34 1"/>
                <a:gd name="f113" fmla="*/ f93 f35 1"/>
                <a:gd name="f114" fmla="*/ f94 f35 1"/>
              </a:gdLst>
              <a:ahLst/>
              <a:cxnLst>
                <a:cxn ang="3cd4">
                  <a:pos x="hc" y="t"/>
                </a:cxn>
                <a:cxn ang="0">
                  <a:pos x="r" y="vc"/>
                </a:cxn>
                <a:cxn ang="cd4">
                  <a:pos x="hc" y="b"/>
                </a:cxn>
                <a:cxn ang="cd2">
                  <a:pos x="l" y="vc"/>
                </a:cxn>
                <a:cxn ang="f78">
                  <a:pos x="f99" y="f100"/>
                </a:cxn>
                <a:cxn ang="f78">
                  <a:pos x="f101" y="f102"/>
                </a:cxn>
                <a:cxn ang="f78">
                  <a:pos x="f103" y="f104"/>
                </a:cxn>
                <a:cxn ang="f78">
                  <a:pos x="f105" y="f106"/>
                </a:cxn>
                <a:cxn ang="f78">
                  <a:pos x="f107" y="f108"/>
                </a:cxn>
                <a:cxn ang="f78">
                  <a:pos x="f107" y="f109"/>
                </a:cxn>
                <a:cxn ang="f78">
                  <a:pos x="f110" y="f111"/>
                </a:cxn>
                <a:cxn ang="f78">
                  <a:pos x="f112" y="f113"/>
                </a:cxn>
                <a:cxn ang="f78">
                  <a:pos x="f99" y="f114"/>
                </a:cxn>
              </a:cxnLst>
              <a:rect l="f95" t="f98" r="f96" b="f97"/>
              <a:pathLst>
                <a:path w="2807368" h="649803">
                  <a:moveTo>
                    <a:pt x="f5" y="f5"/>
                  </a:moveTo>
                  <a:lnTo>
                    <a:pt x="f8" y="f9"/>
                  </a:lnTo>
                  <a:cubicBezTo>
                    <a:pt x="f10" y="f11"/>
                    <a:pt x="f12" y="f13"/>
                    <a:pt x="f14" y="f15"/>
                  </a:cubicBezTo>
                  <a:cubicBezTo>
                    <a:pt x="f16" y="f17"/>
                    <a:pt x="f18" y="f19"/>
                    <a:pt x="f20" y="f21"/>
                  </a:cubicBezTo>
                  <a:lnTo>
                    <a:pt x="f6" y="f22"/>
                  </a:lnTo>
                  <a:lnTo>
                    <a:pt x="f6" y="f23"/>
                  </a:lnTo>
                  <a:lnTo>
                    <a:pt x="f24" y="f25"/>
                  </a:lnTo>
                  <a:cubicBezTo>
                    <a:pt x="f26" y="f27"/>
                    <a:pt x="f28" y="f29"/>
                    <a:pt x="f30" y="f31"/>
                  </a:cubicBezTo>
                  <a:lnTo>
                    <a:pt x="f5" y="f32"/>
                  </a:ln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grpSp>
      <p:sp>
        <p:nvSpPr>
          <p:cNvPr id="7" name="Picture Placeholder 6">
            <a:extLst>
              <a:ext uri="{FF2B5EF4-FFF2-40B4-BE49-F238E27FC236}">
                <a16:creationId xmlns:a16="http://schemas.microsoft.com/office/drawing/2014/main" id="{1CF1C3AE-E644-58F5-FEA7-4BDFAE3F532E}"/>
              </a:ext>
            </a:extLst>
          </p:cNvPr>
          <p:cNvSpPr txBox="1">
            <a:spLocks noGrp="1"/>
          </p:cNvSpPr>
          <p:nvPr>
            <p:ph type="pic" idx="4294967295"/>
          </p:nvPr>
        </p:nvSpPr>
        <p:spPr>
          <a:xfrm>
            <a:off x="2807363" y="457200"/>
            <a:ext cx="8915400" cy="5943600"/>
          </a:xfrm>
        </p:spPr>
        <p:txBody>
          <a:bodyPr/>
          <a:lstStyle>
            <a:lvl1pPr>
              <a:defRPr/>
            </a:lvl1pPr>
          </a:lstStyle>
          <a:p>
            <a:pPr lvl="0"/>
            <a:endParaRPr lang="en-US"/>
          </a:p>
        </p:txBody>
      </p:sp>
      <p:pic>
        <p:nvPicPr>
          <p:cNvPr id="8" name="Picture 14">
            <a:extLst>
              <a:ext uri="{FF2B5EF4-FFF2-40B4-BE49-F238E27FC236}">
                <a16:creationId xmlns:a16="http://schemas.microsoft.com/office/drawing/2014/main" id="{C17CFEA7-32FF-5535-BC44-52C092CD20E1}"/>
              </a:ext>
            </a:extLst>
          </p:cNvPr>
          <p:cNvPicPr>
            <a:picLocks noChangeAspect="1"/>
          </p:cNvPicPr>
          <p:nvPr/>
        </p:nvPicPr>
        <p:blipFill>
          <a:blip r:embed="rId2"/>
          <a:srcRect/>
          <a:stretch>
            <a:fillRect/>
          </a:stretch>
        </p:blipFill>
        <p:spPr>
          <a:xfrm>
            <a:off x="513345" y="4385535"/>
            <a:ext cx="2025313" cy="911940"/>
          </a:xfrm>
          <a:prstGeom prst="rect">
            <a:avLst/>
          </a:prstGeom>
          <a:noFill/>
          <a:ln cap="flat">
            <a:noFill/>
          </a:ln>
        </p:spPr>
      </p:pic>
    </p:spTree>
    <p:extLst>
      <p:ext uri="{BB962C8B-B14F-4D97-AF65-F5344CB8AC3E}">
        <p14:creationId xmlns:p14="http://schemas.microsoft.com/office/powerpoint/2010/main" val="2142649370"/>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24_Cover">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C7DA559F-D7DC-A9C8-FF90-003A951919BE}"/>
              </a:ext>
            </a:extLst>
          </p:cNvPr>
          <p:cNvSpPr/>
          <p:nvPr/>
        </p:nvSpPr>
        <p:spPr>
          <a:xfrm>
            <a:off x="902366" y="1294416"/>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38DB04AF-2016-DCCD-1D0E-43050F93ECC8}"/>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r>
              <a:rPr lang="en-US"/>
              <a:t>Click to edit Master title style</a:t>
            </a:r>
          </a:p>
        </p:txBody>
      </p:sp>
      <p:sp>
        <p:nvSpPr>
          <p:cNvPr id="4" name="Subtitle 2">
            <a:extLst>
              <a:ext uri="{FF2B5EF4-FFF2-40B4-BE49-F238E27FC236}">
                <a16:creationId xmlns:a16="http://schemas.microsoft.com/office/drawing/2014/main" id="{B5681091-D168-AFD7-EBE3-487B2CA45DD1}"/>
              </a:ext>
            </a:extLst>
          </p:cNvPr>
          <p:cNvSpPr txBox="1">
            <a:spLocks noGrp="1"/>
          </p:cNvSpPr>
          <p:nvPr>
            <p:ph type="subTitle" idx="4294967295"/>
          </p:nvPr>
        </p:nvSpPr>
        <p:spPr>
          <a:xfrm>
            <a:off x="1413305" y="3766861"/>
            <a:ext cx="5194432" cy="986564"/>
          </a:xfrm>
        </p:spPr>
        <p:txBody>
          <a:bodyPr/>
          <a:lstStyle>
            <a:lvl1pPr marL="0" indent="0">
              <a:buNone/>
              <a:defRPr/>
            </a:lvl1pPr>
          </a:lstStyle>
          <a:p>
            <a:pPr lvl="0"/>
            <a:r>
              <a:rPr lang="en-US"/>
              <a:t>Click to edit Master subtitle style</a:t>
            </a:r>
          </a:p>
        </p:txBody>
      </p:sp>
      <p:sp>
        <p:nvSpPr>
          <p:cNvPr id="5" name="Picture Placeholder 21">
            <a:extLst>
              <a:ext uri="{FF2B5EF4-FFF2-40B4-BE49-F238E27FC236}">
                <a16:creationId xmlns:a16="http://schemas.microsoft.com/office/drawing/2014/main" id="{54427392-E723-08DA-5E05-9BFDA6A559D9}"/>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grpSp>
        <p:nvGrpSpPr>
          <p:cNvPr id="6" name="Group 26">
            <a:extLst>
              <a:ext uri="{FF2B5EF4-FFF2-40B4-BE49-F238E27FC236}">
                <a16:creationId xmlns:a16="http://schemas.microsoft.com/office/drawing/2014/main" id="{C4C917BA-55B7-D2E6-FFA6-4C5946BB3821}"/>
              </a:ext>
            </a:extLst>
          </p:cNvPr>
          <p:cNvGrpSpPr/>
          <p:nvPr/>
        </p:nvGrpSpPr>
        <p:grpSpPr>
          <a:xfrm>
            <a:off x="0" y="5020349"/>
            <a:ext cx="12191996" cy="1837651"/>
            <a:chOff x="0" y="5020348"/>
            <a:chExt cx="12191996" cy="1837651"/>
          </a:xfrm>
        </p:grpSpPr>
        <p:sp>
          <p:nvSpPr>
            <p:cNvPr id="7" name="Freeform 27">
              <a:extLst>
                <a:ext uri="{FF2B5EF4-FFF2-40B4-BE49-F238E27FC236}">
                  <a16:creationId xmlns:a16="http://schemas.microsoft.com/office/drawing/2014/main" id="{50DA818D-16A2-5437-721B-E7FF5BE81D0A}"/>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8" name="Freeform 28">
              <a:extLst>
                <a:ext uri="{FF2B5EF4-FFF2-40B4-BE49-F238E27FC236}">
                  <a16:creationId xmlns:a16="http://schemas.microsoft.com/office/drawing/2014/main" id="{9DB989A3-099D-BBD8-9D4B-F5496178D568}"/>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9" name="Picture 29">
              <a:extLst>
                <a:ext uri="{FF2B5EF4-FFF2-40B4-BE49-F238E27FC236}">
                  <a16:creationId xmlns:a16="http://schemas.microsoft.com/office/drawing/2014/main" id="{AB785DBA-B34E-790C-9F00-AAF92B3FD595}"/>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3418050519"/>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24_Photo Slide">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0562F24A-26BD-7F34-6E32-A7464DA1F7D3}"/>
              </a:ext>
            </a:extLst>
          </p:cNvPr>
          <p:cNvSpPr txBox="1">
            <a:spLocks noGrp="1"/>
          </p:cNvSpPr>
          <p:nvPr>
            <p:ph type="body" idx="4294967295"/>
          </p:nvPr>
        </p:nvSpPr>
        <p:spPr>
          <a:xfrm>
            <a:off x="457200" y="1146255"/>
            <a:ext cx="2350172" cy="2971800"/>
          </a:xfrm>
        </p:spPr>
        <p:txBody>
          <a:bodyPr/>
          <a:lstStyle>
            <a:lvl1pPr marL="0" indent="0">
              <a:buNone/>
              <a:defRPr/>
            </a:lvl1pPr>
          </a:lstStyle>
          <a:p>
            <a:pPr lvl="0"/>
            <a:r>
              <a:rPr lang="en-US"/>
              <a:t>Click to edit Master text styles</a:t>
            </a:r>
          </a:p>
        </p:txBody>
      </p:sp>
      <p:cxnSp>
        <p:nvCxnSpPr>
          <p:cNvPr id="3" name="Straight Connector 5">
            <a:extLst>
              <a:ext uri="{FF2B5EF4-FFF2-40B4-BE49-F238E27FC236}">
                <a16:creationId xmlns:a16="http://schemas.microsoft.com/office/drawing/2014/main" id="{AA897E94-2F21-B69B-246E-394D1AFA8053}"/>
              </a:ext>
            </a:extLst>
          </p:cNvPr>
          <p:cNvCxnSpPr/>
          <p:nvPr/>
        </p:nvCxnSpPr>
        <p:spPr>
          <a:xfrm>
            <a:off x="457201" y="947985"/>
            <a:ext cx="2350163" cy="0"/>
          </a:xfrm>
          <a:prstGeom prst="straightConnector1">
            <a:avLst/>
          </a:prstGeom>
          <a:noFill/>
          <a:ln w="31747" cap="flat">
            <a:solidFill>
              <a:srgbClr val="F58366"/>
            </a:solidFill>
            <a:prstDash val="solid"/>
            <a:miter/>
          </a:ln>
        </p:spPr>
      </p:cxnSp>
      <p:grpSp>
        <p:nvGrpSpPr>
          <p:cNvPr id="4" name="Group 2">
            <a:extLst>
              <a:ext uri="{FF2B5EF4-FFF2-40B4-BE49-F238E27FC236}">
                <a16:creationId xmlns:a16="http://schemas.microsoft.com/office/drawing/2014/main" id="{12EF3CB0-64DD-105A-DE0A-4CAC76AC6037}"/>
              </a:ext>
            </a:extLst>
          </p:cNvPr>
          <p:cNvGrpSpPr/>
          <p:nvPr/>
        </p:nvGrpSpPr>
        <p:grpSpPr>
          <a:xfrm>
            <a:off x="1" y="5379425"/>
            <a:ext cx="2807363" cy="753895"/>
            <a:chOff x="0" y="5379424"/>
            <a:chExt cx="2807363" cy="753895"/>
          </a:xfrm>
        </p:grpSpPr>
        <p:sp>
          <p:nvSpPr>
            <p:cNvPr id="5" name="Freeform 21">
              <a:extLst>
                <a:ext uri="{FF2B5EF4-FFF2-40B4-BE49-F238E27FC236}">
                  <a16:creationId xmlns:a16="http://schemas.microsoft.com/office/drawing/2014/main" id="{4E1B4058-6386-C8CF-47AA-28AFD39CE039}"/>
                </a:ext>
              </a:extLst>
            </p:cNvPr>
            <p:cNvSpPr/>
            <p:nvPr/>
          </p:nvSpPr>
          <p:spPr>
            <a:xfrm>
              <a:off x="0" y="5532513"/>
              <a:ext cx="2807363" cy="600806"/>
            </a:xfrm>
            <a:custGeom>
              <a:avLst/>
              <a:gdLst>
                <a:gd name="f0" fmla="val 10800000"/>
                <a:gd name="f1" fmla="val 5400000"/>
                <a:gd name="f2" fmla="val 180"/>
                <a:gd name="f3" fmla="val w"/>
                <a:gd name="f4" fmla="val h"/>
                <a:gd name="f5" fmla="val 0"/>
                <a:gd name="f6" fmla="val 2807368"/>
                <a:gd name="f7" fmla="val 600807"/>
                <a:gd name="f8" fmla="val 429971"/>
                <a:gd name="f9" fmla="val 123998"/>
                <a:gd name="f10" fmla="val 1184765"/>
                <a:gd name="f11" fmla="val 325331"/>
                <a:gd name="f12" fmla="val 2014184"/>
                <a:gd name="f13" fmla="val 392492"/>
                <a:gd name="f14" fmla="val 2790212"/>
                <a:gd name="f15" fmla="val 235402"/>
                <a:gd name="f16" fmla="val 231522"/>
                <a:gd name="f17" fmla="val 566106"/>
                <a:gd name="f18" fmla="val 2593885"/>
                <a:gd name="f19" fmla="val 587498"/>
                <a:gd name="f20" fmla="val 1673646"/>
                <a:gd name="f21" fmla="val 651184"/>
                <a:gd name="f22" fmla="val 884869"/>
                <a:gd name="f23" fmla="val 479260"/>
                <a:gd name="f24" fmla="val 100844"/>
                <a:gd name="f25" fmla="val 222653"/>
                <a:gd name="f26" fmla="val 188389"/>
                <a:gd name="f27" fmla="+- 0 0 -90"/>
                <a:gd name="f28" fmla="*/ f3 1 2807368"/>
                <a:gd name="f29" fmla="*/ f4 1 600807"/>
                <a:gd name="f30" fmla="+- f7 0 f5"/>
                <a:gd name="f31" fmla="+- f6 0 f5"/>
                <a:gd name="f32" fmla="*/ f27 f0 1"/>
                <a:gd name="f33" fmla="*/ f31 1 2807368"/>
                <a:gd name="f34" fmla="*/ f30 1 600807"/>
                <a:gd name="f35" fmla="*/ 0 f31 1"/>
                <a:gd name="f36" fmla="*/ 0 f30 1"/>
                <a:gd name="f37" fmla="*/ 429971 f31 1"/>
                <a:gd name="f38" fmla="*/ 123998 f30 1"/>
                <a:gd name="f39" fmla="*/ 2790212 f31 1"/>
                <a:gd name="f40" fmla="*/ 235402 f30 1"/>
                <a:gd name="f41" fmla="*/ 2807368 f31 1"/>
                <a:gd name="f42" fmla="*/ 231522 f30 1"/>
                <a:gd name="f43" fmla="*/ 566106 f30 1"/>
                <a:gd name="f44" fmla="*/ 2593885 f31 1"/>
                <a:gd name="f45" fmla="*/ 587498 f30 1"/>
                <a:gd name="f46" fmla="*/ 100844 f31 1"/>
                <a:gd name="f47" fmla="*/ 222653 f30 1"/>
                <a:gd name="f48" fmla="*/ 188389 f30 1"/>
                <a:gd name="f49" fmla="*/ f32 1 f2"/>
                <a:gd name="f50" fmla="*/ f35 1 2807368"/>
                <a:gd name="f51" fmla="*/ f36 1 600807"/>
                <a:gd name="f52" fmla="*/ f37 1 2807368"/>
                <a:gd name="f53" fmla="*/ f38 1 600807"/>
                <a:gd name="f54" fmla="*/ f39 1 2807368"/>
                <a:gd name="f55" fmla="*/ f40 1 600807"/>
                <a:gd name="f56" fmla="*/ f41 1 2807368"/>
                <a:gd name="f57" fmla="*/ f42 1 600807"/>
                <a:gd name="f58" fmla="*/ f43 1 600807"/>
                <a:gd name="f59" fmla="*/ f44 1 2807368"/>
                <a:gd name="f60" fmla="*/ f45 1 600807"/>
                <a:gd name="f61" fmla="*/ f46 1 2807368"/>
                <a:gd name="f62" fmla="*/ f47 1 600807"/>
                <a:gd name="f63" fmla="*/ f48 1 600807"/>
                <a:gd name="f64" fmla="*/ f5 1 f33"/>
                <a:gd name="f65" fmla="*/ f6 1 f33"/>
                <a:gd name="f66" fmla="*/ f5 1 f34"/>
                <a:gd name="f67" fmla="*/ f7 1 f34"/>
                <a:gd name="f68" fmla="+- f49 0 f1"/>
                <a:gd name="f69" fmla="*/ f50 1 f33"/>
                <a:gd name="f70" fmla="*/ f51 1 f34"/>
                <a:gd name="f71" fmla="*/ f52 1 f33"/>
                <a:gd name="f72" fmla="*/ f53 1 f34"/>
                <a:gd name="f73" fmla="*/ f54 1 f33"/>
                <a:gd name="f74" fmla="*/ f55 1 f34"/>
                <a:gd name="f75" fmla="*/ f56 1 f33"/>
                <a:gd name="f76" fmla="*/ f57 1 f34"/>
                <a:gd name="f77" fmla="*/ f58 1 f34"/>
                <a:gd name="f78" fmla="*/ f59 1 f33"/>
                <a:gd name="f79" fmla="*/ f60 1 f34"/>
                <a:gd name="f80" fmla="*/ f61 1 f33"/>
                <a:gd name="f81" fmla="*/ f62 1 f34"/>
                <a:gd name="f82" fmla="*/ f63 1 f34"/>
                <a:gd name="f83" fmla="*/ f64 f28 1"/>
                <a:gd name="f84" fmla="*/ f65 f28 1"/>
                <a:gd name="f85" fmla="*/ f67 f29 1"/>
                <a:gd name="f86" fmla="*/ f66 f29 1"/>
                <a:gd name="f87" fmla="*/ f69 f28 1"/>
                <a:gd name="f88" fmla="*/ f70 f29 1"/>
                <a:gd name="f89" fmla="*/ f71 f28 1"/>
                <a:gd name="f90" fmla="*/ f72 f29 1"/>
                <a:gd name="f91" fmla="*/ f73 f28 1"/>
                <a:gd name="f92" fmla="*/ f74 f29 1"/>
                <a:gd name="f93" fmla="*/ f75 f28 1"/>
                <a:gd name="f94" fmla="*/ f76 f29 1"/>
                <a:gd name="f95" fmla="*/ f77 f29 1"/>
                <a:gd name="f96" fmla="*/ f78 f28 1"/>
                <a:gd name="f97" fmla="*/ f79 f29 1"/>
                <a:gd name="f98" fmla="*/ f80 f28 1"/>
                <a:gd name="f99" fmla="*/ f81 f29 1"/>
                <a:gd name="f100" fmla="*/ f82 f29 1"/>
              </a:gdLst>
              <a:ahLst/>
              <a:cxnLst>
                <a:cxn ang="3cd4">
                  <a:pos x="hc" y="t"/>
                </a:cxn>
                <a:cxn ang="0">
                  <a:pos x="r" y="vc"/>
                </a:cxn>
                <a:cxn ang="cd4">
                  <a:pos x="hc" y="b"/>
                </a:cxn>
                <a:cxn ang="cd2">
                  <a:pos x="l" y="vc"/>
                </a:cxn>
                <a:cxn ang="f68">
                  <a:pos x="f87" y="f88"/>
                </a:cxn>
                <a:cxn ang="f68">
                  <a:pos x="f89" y="f90"/>
                </a:cxn>
                <a:cxn ang="f68">
                  <a:pos x="f91" y="f92"/>
                </a:cxn>
                <a:cxn ang="f68">
                  <a:pos x="f93" y="f94"/>
                </a:cxn>
                <a:cxn ang="f68">
                  <a:pos x="f93" y="f95"/>
                </a:cxn>
                <a:cxn ang="f68">
                  <a:pos x="f96" y="f97"/>
                </a:cxn>
                <a:cxn ang="f68">
                  <a:pos x="f98" y="f99"/>
                </a:cxn>
                <a:cxn ang="f68">
                  <a:pos x="f87" y="f100"/>
                </a:cxn>
              </a:cxnLst>
              <a:rect l="f83" t="f86" r="f84" b="f85"/>
              <a:pathLst>
                <a:path w="2807368" h="600807">
                  <a:moveTo>
                    <a:pt x="f5" y="f5"/>
                  </a:moveTo>
                  <a:lnTo>
                    <a:pt x="f8" y="f9"/>
                  </a:lnTo>
                  <a:cubicBezTo>
                    <a:pt x="f10" y="f11"/>
                    <a:pt x="f12" y="f13"/>
                    <a:pt x="f14" y="f15"/>
                  </a:cubicBezTo>
                  <a:lnTo>
                    <a:pt x="f6" y="f16"/>
                  </a:lnTo>
                  <a:lnTo>
                    <a:pt x="f6" y="f17"/>
                  </a:lnTo>
                  <a:lnTo>
                    <a:pt x="f18" y="f19"/>
                  </a:lnTo>
                  <a:cubicBezTo>
                    <a:pt x="f20" y="f21"/>
                    <a:pt x="f22" y="f23"/>
                    <a:pt x="f24" y="f25"/>
                  </a:cubicBezTo>
                  <a:lnTo>
                    <a:pt x="f5" y="f26"/>
                  </a:ln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Freeform 19">
              <a:extLst>
                <a:ext uri="{FF2B5EF4-FFF2-40B4-BE49-F238E27FC236}">
                  <a16:creationId xmlns:a16="http://schemas.microsoft.com/office/drawing/2014/main" id="{E82D481F-CCDA-858D-5172-2C9492556A31}"/>
                </a:ext>
              </a:extLst>
            </p:cNvPr>
            <p:cNvSpPr/>
            <p:nvPr/>
          </p:nvSpPr>
          <p:spPr>
            <a:xfrm>
              <a:off x="0" y="5379424"/>
              <a:ext cx="2807363" cy="649800"/>
            </a:xfrm>
            <a:custGeom>
              <a:avLst/>
              <a:gdLst>
                <a:gd name="f0" fmla="val 10800000"/>
                <a:gd name="f1" fmla="val 5400000"/>
                <a:gd name="f2" fmla="val 180"/>
                <a:gd name="f3" fmla="val w"/>
                <a:gd name="f4" fmla="val h"/>
                <a:gd name="f5" fmla="val 0"/>
                <a:gd name="f6" fmla="val 2807368"/>
                <a:gd name="f7" fmla="val 649803"/>
                <a:gd name="f8" fmla="val 282676"/>
                <a:gd name="f9" fmla="val 70799"/>
                <a:gd name="f10" fmla="val 435964"/>
                <a:gd name="f11" fmla="val 106085"/>
                <a:gd name="f12" fmla="val 588770"/>
                <a:gd name="f13" fmla="val 137629"/>
                <a:gd name="f14" fmla="val 740881"/>
                <a:gd name="f15" fmla="val 163828"/>
                <a:gd name="f16" fmla="val 1362800"/>
                <a:gd name="f17" fmla="val 270912"/>
                <a:gd name="f18" fmla="val 2067879"/>
                <a:gd name="f19" fmla="val 253759"/>
                <a:gd name="f20" fmla="val 2706471"/>
                <a:gd name="f21" fmla="val 96397"/>
                <a:gd name="f22" fmla="val 67250"/>
                <a:gd name="f23" fmla="val 605551"/>
                <a:gd name="f24" fmla="val 2602685"/>
                <a:gd name="f25" fmla="val 629466"/>
                <a:gd name="f26" fmla="val 1684237"/>
                <a:gd name="f27" fmla="val 708219"/>
                <a:gd name="f28" fmla="val 893252"/>
                <a:gd name="f29" fmla="val 549395"/>
                <a:gd name="f30" fmla="val 105614"/>
                <a:gd name="f31" fmla="val 305882"/>
                <a:gd name="f32" fmla="val 271926"/>
                <a:gd name="f33" fmla="+- 0 0 -90"/>
                <a:gd name="f34" fmla="*/ f3 1 2807368"/>
                <a:gd name="f35" fmla="*/ f4 1 649803"/>
                <a:gd name="f36" fmla="+- f7 0 f5"/>
                <a:gd name="f37" fmla="+- f6 0 f5"/>
                <a:gd name="f38" fmla="*/ f33 f0 1"/>
                <a:gd name="f39" fmla="*/ f37 1 2807368"/>
                <a:gd name="f40" fmla="*/ f36 1 649803"/>
                <a:gd name="f41" fmla="*/ 0 f37 1"/>
                <a:gd name="f42" fmla="*/ 0 f36 1"/>
                <a:gd name="f43" fmla="*/ 282676 f37 1"/>
                <a:gd name="f44" fmla="*/ 70799 f36 1"/>
                <a:gd name="f45" fmla="*/ 740881 f37 1"/>
                <a:gd name="f46" fmla="*/ 163828 f36 1"/>
                <a:gd name="f47" fmla="*/ 2706471 f37 1"/>
                <a:gd name="f48" fmla="*/ 96397 f36 1"/>
                <a:gd name="f49" fmla="*/ 2807368 f37 1"/>
                <a:gd name="f50" fmla="*/ 67250 f36 1"/>
                <a:gd name="f51" fmla="*/ 605551 f36 1"/>
                <a:gd name="f52" fmla="*/ 2602685 f37 1"/>
                <a:gd name="f53" fmla="*/ 629466 f36 1"/>
                <a:gd name="f54" fmla="*/ 105614 f37 1"/>
                <a:gd name="f55" fmla="*/ 305882 f36 1"/>
                <a:gd name="f56" fmla="*/ 271926 f36 1"/>
                <a:gd name="f57" fmla="*/ f38 1 f2"/>
                <a:gd name="f58" fmla="*/ f41 1 2807368"/>
                <a:gd name="f59" fmla="*/ f42 1 649803"/>
                <a:gd name="f60" fmla="*/ f43 1 2807368"/>
                <a:gd name="f61" fmla="*/ f44 1 649803"/>
                <a:gd name="f62" fmla="*/ f45 1 2807368"/>
                <a:gd name="f63" fmla="*/ f46 1 649803"/>
                <a:gd name="f64" fmla="*/ f47 1 2807368"/>
                <a:gd name="f65" fmla="*/ f48 1 649803"/>
                <a:gd name="f66" fmla="*/ f49 1 2807368"/>
                <a:gd name="f67" fmla="*/ f50 1 649803"/>
                <a:gd name="f68" fmla="*/ f51 1 649803"/>
                <a:gd name="f69" fmla="*/ f52 1 2807368"/>
                <a:gd name="f70" fmla="*/ f53 1 649803"/>
                <a:gd name="f71" fmla="*/ f54 1 2807368"/>
                <a:gd name="f72" fmla="*/ f55 1 649803"/>
                <a:gd name="f73" fmla="*/ f56 1 649803"/>
                <a:gd name="f74" fmla="*/ f5 1 f39"/>
                <a:gd name="f75" fmla="*/ f6 1 f39"/>
                <a:gd name="f76" fmla="*/ f5 1 f40"/>
                <a:gd name="f77" fmla="*/ f7 1 f40"/>
                <a:gd name="f78" fmla="+- f57 0 f1"/>
                <a:gd name="f79" fmla="*/ f58 1 f39"/>
                <a:gd name="f80" fmla="*/ f59 1 f40"/>
                <a:gd name="f81" fmla="*/ f60 1 f39"/>
                <a:gd name="f82" fmla="*/ f61 1 f40"/>
                <a:gd name="f83" fmla="*/ f62 1 f39"/>
                <a:gd name="f84" fmla="*/ f63 1 f40"/>
                <a:gd name="f85" fmla="*/ f64 1 f39"/>
                <a:gd name="f86" fmla="*/ f65 1 f40"/>
                <a:gd name="f87" fmla="*/ f66 1 f39"/>
                <a:gd name="f88" fmla="*/ f67 1 f40"/>
                <a:gd name="f89" fmla="*/ f68 1 f40"/>
                <a:gd name="f90" fmla="*/ f69 1 f39"/>
                <a:gd name="f91" fmla="*/ f70 1 f40"/>
                <a:gd name="f92" fmla="*/ f71 1 f39"/>
                <a:gd name="f93" fmla="*/ f72 1 f40"/>
                <a:gd name="f94" fmla="*/ f73 1 f40"/>
                <a:gd name="f95" fmla="*/ f74 f34 1"/>
                <a:gd name="f96" fmla="*/ f75 f34 1"/>
                <a:gd name="f97" fmla="*/ f77 f35 1"/>
                <a:gd name="f98" fmla="*/ f76 f35 1"/>
                <a:gd name="f99" fmla="*/ f79 f34 1"/>
                <a:gd name="f100" fmla="*/ f80 f35 1"/>
                <a:gd name="f101" fmla="*/ f81 f34 1"/>
                <a:gd name="f102" fmla="*/ f82 f35 1"/>
                <a:gd name="f103" fmla="*/ f83 f34 1"/>
                <a:gd name="f104" fmla="*/ f84 f35 1"/>
                <a:gd name="f105" fmla="*/ f85 f34 1"/>
                <a:gd name="f106" fmla="*/ f86 f35 1"/>
                <a:gd name="f107" fmla="*/ f87 f34 1"/>
                <a:gd name="f108" fmla="*/ f88 f35 1"/>
                <a:gd name="f109" fmla="*/ f89 f35 1"/>
                <a:gd name="f110" fmla="*/ f90 f34 1"/>
                <a:gd name="f111" fmla="*/ f91 f35 1"/>
                <a:gd name="f112" fmla="*/ f92 f34 1"/>
                <a:gd name="f113" fmla="*/ f93 f35 1"/>
                <a:gd name="f114" fmla="*/ f94 f35 1"/>
              </a:gdLst>
              <a:ahLst/>
              <a:cxnLst>
                <a:cxn ang="3cd4">
                  <a:pos x="hc" y="t"/>
                </a:cxn>
                <a:cxn ang="0">
                  <a:pos x="r" y="vc"/>
                </a:cxn>
                <a:cxn ang="cd4">
                  <a:pos x="hc" y="b"/>
                </a:cxn>
                <a:cxn ang="cd2">
                  <a:pos x="l" y="vc"/>
                </a:cxn>
                <a:cxn ang="f78">
                  <a:pos x="f99" y="f100"/>
                </a:cxn>
                <a:cxn ang="f78">
                  <a:pos x="f101" y="f102"/>
                </a:cxn>
                <a:cxn ang="f78">
                  <a:pos x="f103" y="f104"/>
                </a:cxn>
                <a:cxn ang="f78">
                  <a:pos x="f105" y="f106"/>
                </a:cxn>
                <a:cxn ang="f78">
                  <a:pos x="f107" y="f108"/>
                </a:cxn>
                <a:cxn ang="f78">
                  <a:pos x="f107" y="f109"/>
                </a:cxn>
                <a:cxn ang="f78">
                  <a:pos x="f110" y="f111"/>
                </a:cxn>
                <a:cxn ang="f78">
                  <a:pos x="f112" y="f113"/>
                </a:cxn>
                <a:cxn ang="f78">
                  <a:pos x="f99" y="f114"/>
                </a:cxn>
              </a:cxnLst>
              <a:rect l="f95" t="f98" r="f96" b="f97"/>
              <a:pathLst>
                <a:path w="2807368" h="649803">
                  <a:moveTo>
                    <a:pt x="f5" y="f5"/>
                  </a:moveTo>
                  <a:lnTo>
                    <a:pt x="f8" y="f9"/>
                  </a:lnTo>
                  <a:cubicBezTo>
                    <a:pt x="f10" y="f11"/>
                    <a:pt x="f12" y="f13"/>
                    <a:pt x="f14" y="f15"/>
                  </a:cubicBezTo>
                  <a:cubicBezTo>
                    <a:pt x="f16" y="f17"/>
                    <a:pt x="f18" y="f19"/>
                    <a:pt x="f20" y="f21"/>
                  </a:cubicBezTo>
                  <a:lnTo>
                    <a:pt x="f6" y="f22"/>
                  </a:lnTo>
                  <a:lnTo>
                    <a:pt x="f6" y="f23"/>
                  </a:lnTo>
                  <a:lnTo>
                    <a:pt x="f24" y="f25"/>
                  </a:lnTo>
                  <a:cubicBezTo>
                    <a:pt x="f26" y="f27"/>
                    <a:pt x="f28" y="f29"/>
                    <a:pt x="f30" y="f31"/>
                  </a:cubicBezTo>
                  <a:lnTo>
                    <a:pt x="f5" y="f32"/>
                  </a:ln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grpSp>
      <p:sp>
        <p:nvSpPr>
          <p:cNvPr id="7" name="Picture Placeholder 6">
            <a:extLst>
              <a:ext uri="{FF2B5EF4-FFF2-40B4-BE49-F238E27FC236}">
                <a16:creationId xmlns:a16="http://schemas.microsoft.com/office/drawing/2014/main" id="{DC0A10E4-D3C7-6138-DFA4-7C9A4643BB5B}"/>
              </a:ext>
            </a:extLst>
          </p:cNvPr>
          <p:cNvSpPr txBox="1">
            <a:spLocks noGrp="1"/>
          </p:cNvSpPr>
          <p:nvPr>
            <p:ph type="pic" idx="4294967295"/>
          </p:nvPr>
        </p:nvSpPr>
        <p:spPr>
          <a:xfrm>
            <a:off x="2807363" y="457200"/>
            <a:ext cx="8915400" cy="5943600"/>
          </a:xfrm>
        </p:spPr>
        <p:txBody>
          <a:bodyPr/>
          <a:lstStyle>
            <a:lvl1pPr>
              <a:defRPr/>
            </a:lvl1pPr>
          </a:lstStyle>
          <a:p>
            <a:pPr lvl="0"/>
            <a:endParaRPr lang="en-US"/>
          </a:p>
        </p:txBody>
      </p:sp>
      <p:pic>
        <p:nvPicPr>
          <p:cNvPr id="8" name="Picture 14">
            <a:extLst>
              <a:ext uri="{FF2B5EF4-FFF2-40B4-BE49-F238E27FC236}">
                <a16:creationId xmlns:a16="http://schemas.microsoft.com/office/drawing/2014/main" id="{D4D43A42-8B34-49F5-4235-12B502304290}"/>
              </a:ext>
            </a:extLst>
          </p:cNvPr>
          <p:cNvPicPr>
            <a:picLocks noChangeAspect="1"/>
          </p:cNvPicPr>
          <p:nvPr/>
        </p:nvPicPr>
        <p:blipFill>
          <a:blip r:embed="rId2"/>
          <a:srcRect/>
          <a:stretch>
            <a:fillRect/>
          </a:stretch>
        </p:blipFill>
        <p:spPr>
          <a:xfrm>
            <a:off x="513345" y="4385535"/>
            <a:ext cx="2025313" cy="911940"/>
          </a:xfrm>
          <a:prstGeom prst="rect">
            <a:avLst/>
          </a:prstGeom>
          <a:noFill/>
          <a:ln cap="flat">
            <a:noFill/>
          </a:ln>
        </p:spPr>
      </p:pic>
    </p:spTree>
    <p:extLst>
      <p:ext uri="{BB962C8B-B14F-4D97-AF65-F5344CB8AC3E}">
        <p14:creationId xmlns:p14="http://schemas.microsoft.com/office/powerpoint/2010/main" val="3854240910"/>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25_Cover">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0418FE30-EE2A-6846-F7FC-FA8E904FED0C}"/>
              </a:ext>
            </a:extLst>
          </p:cNvPr>
          <p:cNvSpPr/>
          <p:nvPr/>
        </p:nvSpPr>
        <p:spPr>
          <a:xfrm>
            <a:off x="902366" y="1294416"/>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62DA1F95-51F5-08D9-411D-B87C28901B11}"/>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r>
              <a:rPr lang="en-US"/>
              <a:t>Click to edit Master title style</a:t>
            </a:r>
          </a:p>
        </p:txBody>
      </p:sp>
      <p:sp>
        <p:nvSpPr>
          <p:cNvPr id="4" name="Subtitle 2">
            <a:extLst>
              <a:ext uri="{FF2B5EF4-FFF2-40B4-BE49-F238E27FC236}">
                <a16:creationId xmlns:a16="http://schemas.microsoft.com/office/drawing/2014/main" id="{22B53A64-E264-2C25-B12D-B34ADE335994}"/>
              </a:ext>
            </a:extLst>
          </p:cNvPr>
          <p:cNvSpPr txBox="1">
            <a:spLocks noGrp="1"/>
          </p:cNvSpPr>
          <p:nvPr>
            <p:ph type="subTitle" idx="4294967295"/>
          </p:nvPr>
        </p:nvSpPr>
        <p:spPr>
          <a:xfrm>
            <a:off x="1413305" y="3766861"/>
            <a:ext cx="5194432" cy="986564"/>
          </a:xfrm>
        </p:spPr>
        <p:txBody>
          <a:bodyPr/>
          <a:lstStyle>
            <a:lvl1pPr marL="0" indent="0">
              <a:buNone/>
              <a:defRPr/>
            </a:lvl1pPr>
          </a:lstStyle>
          <a:p>
            <a:pPr lvl="0"/>
            <a:r>
              <a:rPr lang="en-US"/>
              <a:t>Click to edit Master subtitle style</a:t>
            </a:r>
          </a:p>
        </p:txBody>
      </p:sp>
      <p:sp>
        <p:nvSpPr>
          <p:cNvPr id="5" name="Picture Placeholder 21">
            <a:extLst>
              <a:ext uri="{FF2B5EF4-FFF2-40B4-BE49-F238E27FC236}">
                <a16:creationId xmlns:a16="http://schemas.microsoft.com/office/drawing/2014/main" id="{31725B3B-6142-D226-007B-E32E51238F0C}"/>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grpSp>
        <p:nvGrpSpPr>
          <p:cNvPr id="6" name="Group 26">
            <a:extLst>
              <a:ext uri="{FF2B5EF4-FFF2-40B4-BE49-F238E27FC236}">
                <a16:creationId xmlns:a16="http://schemas.microsoft.com/office/drawing/2014/main" id="{8D86B9E1-852E-0FAB-CE67-A624DC9DAF6F}"/>
              </a:ext>
            </a:extLst>
          </p:cNvPr>
          <p:cNvGrpSpPr/>
          <p:nvPr/>
        </p:nvGrpSpPr>
        <p:grpSpPr>
          <a:xfrm>
            <a:off x="0" y="5020349"/>
            <a:ext cx="12191996" cy="1837651"/>
            <a:chOff x="0" y="5020348"/>
            <a:chExt cx="12191996" cy="1837651"/>
          </a:xfrm>
        </p:grpSpPr>
        <p:sp>
          <p:nvSpPr>
            <p:cNvPr id="7" name="Freeform 27">
              <a:extLst>
                <a:ext uri="{FF2B5EF4-FFF2-40B4-BE49-F238E27FC236}">
                  <a16:creationId xmlns:a16="http://schemas.microsoft.com/office/drawing/2014/main" id="{B8966FC2-1FC0-166A-3429-9460B8BA988C}"/>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8" name="Freeform 28">
              <a:extLst>
                <a:ext uri="{FF2B5EF4-FFF2-40B4-BE49-F238E27FC236}">
                  <a16:creationId xmlns:a16="http://schemas.microsoft.com/office/drawing/2014/main" id="{D681EF78-080D-5CE6-D91F-8938DDC139C4}"/>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9" name="Picture 29">
              <a:extLst>
                <a:ext uri="{FF2B5EF4-FFF2-40B4-BE49-F238E27FC236}">
                  <a16:creationId xmlns:a16="http://schemas.microsoft.com/office/drawing/2014/main" id="{81656C17-CEEB-7610-9ECF-374C930B6552}"/>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4262758809"/>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25_Photo Slide">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FD6F48D4-8DE5-505B-E772-D7922FDD0041}"/>
              </a:ext>
            </a:extLst>
          </p:cNvPr>
          <p:cNvSpPr txBox="1">
            <a:spLocks noGrp="1"/>
          </p:cNvSpPr>
          <p:nvPr>
            <p:ph type="body" idx="4294967295"/>
          </p:nvPr>
        </p:nvSpPr>
        <p:spPr>
          <a:xfrm>
            <a:off x="457200" y="1146255"/>
            <a:ext cx="2350172" cy="2971800"/>
          </a:xfrm>
        </p:spPr>
        <p:txBody>
          <a:bodyPr/>
          <a:lstStyle>
            <a:lvl1pPr marL="0" indent="0">
              <a:buNone/>
              <a:defRPr/>
            </a:lvl1pPr>
          </a:lstStyle>
          <a:p>
            <a:pPr lvl="0"/>
            <a:r>
              <a:rPr lang="en-US"/>
              <a:t>Click to edit Master text styles</a:t>
            </a:r>
          </a:p>
        </p:txBody>
      </p:sp>
      <p:cxnSp>
        <p:nvCxnSpPr>
          <p:cNvPr id="3" name="Straight Connector 5">
            <a:extLst>
              <a:ext uri="{FF2B5EF4-FFF2-40B4-BE49-F238E27FC236}">
                <a16:creationId xmlns:a16="http://schemas.microsoft.com/office/drawing/2014/main" id="{B34A1061-5364-1F2A-E1CA-31F5445F5647}"/>
              </a:ext>
            </a:extLst>
          </p:cNvPr>
          <p:cNvCxnSpPr/>
          <p:nvPr/>
        </p:nvCxnSpPr>
        <p:spPr>
          <a:xfrm>
            <a:off x="457201" y="947985"/>
            <a:ext cx="2350163" cy="0"/>
          </a:xfrm>
          <a:prstGeom prst="straightConnector1">
            <a:avLst/>
          </a:prstGeom>
          <a:noFill/>
          <a:ln w="31747" cap="flat">
            <a:solidFill>
              <a:srgbClr val="F58366"/>
            </a:solidFill>
            <a:prstDash val="solid"/>
            <a:miter/>
          </a:ln>
        </p:spPr>
      </p:cxnSp>
      <p:grpSp>
        <p:nvGrpSpPr>
          <p:cNvPr id="4" name="Group 2">
            <a:extLst>
              <a:ext uri="{FF2B5EF4-FFF2-40B4-BE49-F238E27FC236}">
                <a16:creationId xmlns:a16="http://schemas.microsoft.com/office/drawing/2014/main" id="{2C2DD119-AB24-9C7B-95C5-1037F10FD268}"/>
              </a:ext>
            </a:extLst>
          </p:cNvPr>
          <p:cNvGrpSpPr/>
          <p:nvPr/>
        </p:nvGrpSpPr>
        <p:grpSpPr>
          <a:xfrm>
            <a:off x="1" y="5379425"/>
            <a:ext cx="2807363" cy="753895"/>
            <a:chOff x="0" y="5379424"/>
            <a:chExt cx="2807363" cy="753895"/>
          </a:xfrm>
        </p:grpSpPr>
        <p:sp>
          <p:nvSpPr>
            <p:cNvPr id="5" name="Freeform 21">
              <a:extLst>
                <a:ext uri="{FF2B5EF4-FFF2-40B4-BE49-F238E27FC236}">
                  <a16:creationId xmlns:a16="http://schemas.microsoft.com/office/drawing/2014/main" id="{AAE0CDFD-B230-FF6F-F45A-1B34B2003CF3}"/>
                </a:ext>
              </a:extLst>
            </p:cNvPr>
            <p:cNvSpPr/>
            <p:nvPr/>
          </p:nvSpPr>
          <p:spPr>
            <a:xfrm>
              <a:off x="0" y="5532513"/>
              <a:ext cx="2807363" cy="600806"/>
            </a:xfrm>
            <a:custGeom>
              <a:avLst/>
              <a:gdLst>
                <a:gd name="f0" fmla="val 10800000"/>
                <a:gd name="f1" fmla="val 5400000"/>
                <a:gd name="f2" fmla="val 180"/>
                <a:gd name="f3" fmla="val w"/>
                <a:gd name="f4" fmla="val h"/>
                <a:gd name="f5" fmla="val 0"/>
                <a:gd name="f6" fmla="val 2807368"/>
                <a:gd name="f7" fmla="val 600807"/>
                <a:gd name="f8" fmla="val 429971"/>
                <a:gd name="f9" fmla="val 123998"/>
                <a:gd name="f10" fmla="val 1184765"/>
                <a:gd name="f11" fmla="val 325331"/>
                <a:gd name="f12" fmla="val 2014184"/>
                <a:gd name="f13" fmla="val 392492"/>
                <a:gd name="f14" fmla="val 2790212"/>
                <a:gd name="f15" fmla="val 235402"/>
                <a:gd name="f16" fmla="val 231522"/>
                <a:gd name="f17" fmla="val 566106"/>
                <a:gd name="f18" fmla="val 2593885"/>
                <a:gd name="f19" fmla="val 587498"/>
                <a:gd name="f20" fmla="val 1673646"/>
                <a:gd name="f21" fmla="val 651184"/>
                <a:gd name="f22" fmla="val 884869"/>
                <a:gd name="f23" fmla="val 479260"/>
                <a:gd name="f24" fmla="val 100844"/>
                <a:gd name="f25" fmla="val 222653"/>
                <a:gd name="f26" fmla="val 188389"/>
                <a:gd name="f27" fmla="+- 0 0 -90"/>
                <a:gd name="f28" fmla="*/ f3 1 2807368"/>
                <a:gd name="f29" fmla="*/ f4 1 600807"/>
                <a:gd name="f30" fmla="+- f7 0 f5"/>
                <a:gd name="f31" fmla="+- f6 0 f5"/>
                <a:gd name="f32" fmla="*/ f27 f0 1"/>
                <a:gd name="f33" fmla="*/ f31 1 2807368"/>
                <a:gd name="f34" fmla="*/ f30 1 600807"/>
                <a:gd name="f35" fmla="*/ 0 f31 1"/>
                <a:gd name="f36" fmla="*/ 0 f30 1"/>
                <a:gd name="f37" fmla="*/ 429971 f31 1"/>
                <a:gd name="f38" fmla="*/ 123998 f30 1"/>
                <a:gd name="f39" fmla="*/ 2790212 f31 1"/>
                <a:gd name="f40" fmla="*/ 235402 f30 1"/>
                <a:gd name="f41" fmla="*/ 2807368 f31 1"/>
                <a:gd name="f42" fmla="*/ 231522 f30 1"/>
                <a:gd name="f43" fmla="*/ 566106 f30 1"/>
                <a:gd name="f44" fmla="*/ 2593885 f31 1"/>
                <a:gd name="f45" fmla="*/ 587498 f30 1"/>
                <a:gd name="f46" fmla="*/ 100844 f31 1"/>
                <a:gd name="f47" fmla="*/ 222653 f30 1"/>
                <a:gd name="f48" fmla="*/ 188389 f30 1"/>
                <a:gd name="f49" fmla="*/ f32 1 f2"/>
                <a:gd name="f50" fmla="*/ f35 1 2807368"/>
                <a:gd name="f51" fmla="*/ f36 1 600807"/>
                <a:gd name="f52" fmla="*/ f37 1 2807368"/>
                <a:gd name="f53" fmla="*/ f38 1 600807"/>
                <a:gd name="f54" fmla="*/ f39 1 2807368"/>
                <a:gd name="f55" fmla="*/ f40 1 600807"/>
                <a:gd name="f56" fmla="*/ f41 1 2807368"/>
                <a:gd name="f57" fmla="*/ f42 1 600807"/>
                <a:gd name="f58" fmla="*/ f43 1 600807"/>
                <a:gd name="f59" fmla="*/ f44 1 2807368"/>
                <a:gd name="f60" fmla="*/ f45 1 600807"/>
                <a:gd name="f61" fmla="*/ f46 1 2807368"/>
                <a:gd name="f62" fmla="*/ f47 1 600807"/>
                <a:gd name="f63" fmla="*/ f48 1 600807"/>
                <a:gd name="f64" fmla="*/ f5 1 f33"/>
                <a:gd name="f65" fmla="*/ f6 1 f33"/>
                <a:gd name="f66" fmla="*/ f5 1 f34"/>
                <a:gd name="f67" fmla="*/ f7 1 f34"/>
                <a:gd name="f68" fmla="+- f49 0 f1"/>
                <a:gd name="f69" fmla="*/ f50 1 f33"/>
                <a:gd name="f70" fmla="*/ f51 1 f34"/>
                <a:gd name="f71" fmla="*/ f52 1 f33"/>
                <a:gd name="f72" fmla="*/ f53 1 f34"/>
                <a:gd name="f73" fmla="*/ f54 1 f33"/>
                <a:gd name="f74" fmla="*/ f55 1 f34"/>
                <a:gd name="f75" fmla="*/ f56 1 f33"/>
                <a:gd name="f76" fmla="*/ f57 1 f34"/>
                <a:gd name="f77" fmla="*/ f58 1 f34"/>
                <a:gd name="f78" fmla="*/ f59 1 f33"/>
                <a:gd name="f79" fmla="*/ f60 1 f34"/>
                <a:gd name="f80" fmla="*/ f61 1 f33"/>
                <a:gd name="f81" fmla="*/ f62 1 f34"/>
                <a:gd name="f82" fmla="*/ f63 1 f34"/>
                <a:gd name="f83" fmla="*/ f64 f28 1"/>
                <a:gd name="f84" fmla="*/ f65 f28 1"/>
                <a:gd name="f85" fmla="*/ f67 f29 1"/>
                <a:gd name="f86" fmla="*/ f66 f29 1"/>
                <a:gd name="f87" fmla="*/ f69 f28 1"/>
                <a:gd name="f88" fmla="*/ f70 f29 1"/>
                <a:gd name="f89" fmla="*/ f71 f28 1"/>
                <a:gd name="f90" fmla="*/ f72 f29 1"/>
                <a:gd name="f91" fmla="*/ f73 f28 1"/>
                <a:gd name="f92" fmla="*/ f74 f29 1"/>
                <a:gd name="f93" fmla="*/ f75 f28 1"/>
                <a:gd name="f94" fmla="*/ f76 f29 1"/>
                <a:gd name="f95" fmla="*/ f77 f29 1"/>
                <a:gd name="f96" fmla="*/ f78 f28 1"/>
                <a:gd name="f97" fmla="*/ f79 f29 1"/>
                <a:gd name="f98" fmla="*/ f80 f28 1"/>
                <a:gd name="f99" fmla="*/ f81 f29 1"/>
                <a:gd name="f100" fmla="*/ f82 f29 1"/>
              </a:gdLst>
              <a:ahLst/>
              <a:cxnLst>
                <a:cxn ang="3cd4">
                  <a:pos x="hc" y="t"/>
                </a:cxn>
                <a:cxn ang="0">
                  <a:pos x="r" y="vc"/>
                </a:cxn>
                <a:cxn ang="cd4">
                  <a:pos x="hc" y="b"/>
                </a:cxn>
                <a:cxn ang="cd2">
                  <a:pos x="l" y="vc"/>
                </a:cxn>
                <a:cxn ang="f68">
                  <a:pos x="f87" y="f88"/>
                </a:cxn>
                <a:cxn ang="f68">
                  <a:pos x="f89" y="f90"/>
                </a:cxn>
                <a:cxn ang="f68">
                  <a:pos x="f91" y="f92"/>
                </a:cxn>
                <a:cxn ang="f68">
                  <a:pos x="f93" y="f94"/>
                </a:cxn>
                <a:cxn ang="f68">
                  <a:pos x="f93" y="f95"/>
                </a:cxn>
                <a:cxn ang="f68">
                  <a:pos x="f96" y="f97"/>
                </a:cxn>
                <a:cxn ang="f68">
                  <a:pos x="f98" y="f99"/>
                </a:cxn>
                <a:cxn ang="f68">
                  <a:pos x="f87" y="f100"/>
                </a:cxn>
              </a:cxnLst>
              <a:rect l="f83" t="f86" r="f84" b="f85"/>
              <a:pathLst>
                <a:path w="2807368" h="600807">
                  <a:moveTo>
                    <a:pt x="f5" y="f5"/>
                  </a:moveTo>
                  <a:lnTo>
                    <a:pt x="f8" y="f9"/>
                  </a:lnTo>
                  <a:cubicBezTo>
                    <a:pt x="f10" y="f11"/>
                    <a:pt x="f12" y="f13"/>
                    <a:pt x="f14" y="f15"/>
                  </a:cubicBezTo>
                  <a:lnTo>
                    <a:pt x="f6" y="f16"/>
                  </a:lnTo>
                  <a:lnTo>
                    <a:pt x="f6" y="f17"/>
                  </a:lnTo>
                  <a:lnTo>
                    <a:pt x="f18" y="f19"/>
                  </a:lnTo>
                  <a:cubicBezTo>
                    <a:pt x="f20" y="f21"/>
                    <a:pt x="f22" y="f23"/>
                    <a:pt x="f24" y="f25"/>
                  </a:cubicBezTo>
                  <a:lnTo>
                    <a:pt x="f5" y="f26"/>
                  </a:ln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Freeform 19">
              <a:extLst>
                <a:ext uri="{FF2B5EF4-FFF2-40B4-BE49-F238E27FC236}">
                  <a16:creationId xmlns:a16="http://schemas.microsoft.com/office/drawing/2014/main" id="{81DE32AF-A731-D3F2-2FD7-ED84840EF242}"/>
                </a:ext>
              </a:extLst>
            </p:cNvPr>
            <p:cNvSpPr/>
            <p:nvPr/>
          </p:nvSpPr>
          <p:spPr>
            <a:xfrm>
              <a:off x="0" y="5379424"/>
              <a:ext cx="2807363" cy="649800"/>
            </a:xfrm>
            <a:custGeom>
              <a:avLst/>
              <a:gdLst>
                <a:gd name="f0" fmla="val 10800000"/>
                <a:gd name="f1" fmla="val 5400000"/>
                <a:gd name="f2" fmla="val 180"/>
                <a:gd name="f3" fmla="val w"/>
                <a:gd name="f4" fmla="val h"/>
                <a:gd name="f5" fmla="val 0"/>
                <a:gd name="f6" fmla="val 2807368"/>
                <a:gd name="f7" fmla="val 649803"/>
                <a:gd name="f8" fmla="val 282676"/>
                <a:gd name="f9" fmla="val 70799"/>
                <a:gd name="f10" fmla="val 435964"/>
                <a:gd name="f11" fmla="val 106085"/>
                <a:gd name="f12" fmla="val 588770"/>
                <a:gd name="f13" fmla="val 137629"/>
                <a:gd name="f14" fmla="val 740881"/>
                <a:gd name="f15" fmla="val 163828"/>
                <a:gd name="f16" fmla="val 1362800"/>
                <a:gd name="f17" fmla="val 270912"/>
                <a:gd name="f18" fmla="val 2067879"/>
                <a:gd name="f19" fmla="val 253759"/>
                <a:gd name="f20" fmla="val 2706471"/>
                <a:gd name="f21" fmla="val 96397"/>
                <a:gd name="f22" fmla="val 67250"/>
                <a:gd name="f23" fmla="val 605551"/>
                <a:gd name="f24" fmla="val 2602685"/>
                <a:gd name="f25" fmla="val 629466"/>
                <a:gd name="f26" fmla="val 1684237"/>
                <a:gd name="f27" fmla="val 708219"/>
                <a:gd name="f28" fmla="val 893252"/>
                <a:gd name="f29" fmla="val 549395"/>
                <a:gd name="f30" fmla="val 105614"/>
                <a:gd name="f31" fmla="val 305882"/>
                <a:gd name="f32" fmla="val 271926"/>
                <a:gd name="f33" fmla="+- 0 0 -90"/>
                <a:gd name="f34" fmla="*/ f3 1 2807368"/>
                <a:gd name="f35" fmla="*/ f4 1 649803"/>
                <a:gd name="f36" fmla="+- f7 0 f5"/>
                <a:gd name="f37" fmla="+- f6 0 f5"/>
                <a:gd name="f38" fmla="*/ f33 f0 1"/>
                <a:gd name="f39" fmla="*/ f37 1 2807368"/>
                <a:gd name="f40" fmla="*/ f36 1 649803"/>
                <a:gd name="f41" fmla="*/ 0 f37 1"/>
                <a:gd name="f42" fmla="*/ 0 f36 1"/>
                <a:gd name="f43" fmla="*/ 282676 f37 1"/>
                <a:gd name="f44" fmla="*/ 70799 f36 1"/>
                <a:gd name="f45" fmla="*/ 740881 f37 1"/>
                <a:gd name="f46" fmla="*/ 163828 f36 1"/>
                <a:gd name="f47" fmla="*/ 2706471 f37 1"/>
                <a:gd name="f48" fmla="*/ 96397 f36 1"/>
                <a:gd name="f49" fmla="*/ 2807368 f37 1"/>
                <a:gd name="f50" fmla="*/ 67250 f36 1"/>
                <a:gd name="f51" fmla="*/ 605551 f36 1"/>
                <a:gd name="f52" fmla="*/ 2602685 f37 1"/>
                <a:gd name="f53" fmla="*/ 629466 f36 1"/>
                <a:gd name="f54" fmla="*/ 105614 f37 1"/>
                <a:gd name="f55" fmla="*/ 305882 f36 1"/>
                <a:gd name="f56" fmla="*/ 271926 f36 1"/>
                <a:gd name="f57" fmla="*/ f38 1 f2"/>
                <a:gd name="f58" fmla="*/ f41 1 2807368"/>
                <a:gd name="f59" fmla="*/ f42 1 649803"/>
                <a:gd name="f60" fmla="*/ f43 1 2807368"/>
                <a:gd name="f61" fmla="*/ f44 1 649803"/>
                <a:gd name="f62" fmla="*/ f45 1 2807368"/>
                <a:gd name="f63" fmla="*/ f46 1 649803"/>
                <a:gd name="f64" fmla="*/ f47 1 2807368"/>
                <a:gd name="f65" fmla="*/ f48 1 649803"/>
                <a:gd name="f66" fmla="*/ f49 1 2807368"/>
                <a:gd name="f67" fmla="*/ f50 1 649803"/>
                <a:gd name="f68" fmla="*/ f51 1 649803"/>
                <a:gd name="f69" fmla="*/ f52 1 2807368"/>
                <a:gd name="f70" fmla="*/ f53 1 649803"/>
                <a:gd name="f71" fmla="*/ f54 1 2807368"/>
                <a:gd name="f72" fmla="*/ f55 1 649803"/>
                <a:gd name="f73" fmla="*/ f56 1 649803"/>
                <a:gd name="f74" fmla="*/ f5 1 f39"/>
                <a:gd name="f75" fmla="*/ f6 1 f39"/>
                <a:gd name="f76" fmla="*/ f5 1 f40"/>
                <a:gd name="f77" fmla="*/ f7 1 f40"/>
                <a:gd name="f78" fmla="+- f57 0 f1"/>
                <a:gd name="f79" fmla="*/ f58 1 f39"/>
                <a:gd name="f80" fmla="*/ f59 1 f40"/>
                <a:gd name="f81" fmla="*/ f60 1 f39"/>
                <a:gd name="f82" fmla="*/ f61 1 f40"/>
                <a:gd name="f83" fmla="*/ f62 1 f39"/>
                <a:gd name="f84" fmla="*/ f63 1 f40"/>
                <a:gd name="f85" fmla="*/ f64 1 f39"/>
                <a:gd name="f86" fmla="*/ f65 1 f40"/>
                <a:gd name="f87" fmla="*/ f66 1 f39"/>
                <a:gd name="f88" fmla="*/ f67 1 f40"/>
                <a:gd name="f89" fmla="*/ f68 1 f40"/>
                <a:gd name="f90" fmla="*/ f69 1 f39"/>
                <a:gd name="f91" fmla="*/ f70 1 f40"/>
                <a:gd name="f92" fmla="*/ f71 1 f39"/>
                <a:gd name="f93" fmla="*/ f72 1 f40"/>
                <a:gd name="f94" fmla="*/ f73 1 f40"/>
                <a:gd name="f95" fmla="*/ f74 f34 1"/>
                <a:gd name="f96" fmla="*/ f75 f34 1"/>
                <a:gd name="f97" fmla="*/ f77 f35 1"/>
                <a:gd name="f98" fmla="*/ f76 f35 1"/>
                <a:gd name="f99" fmla="*/ f79 f34 1"/>
                <a:gd name="f100" fmla="*/ f80 f35 1"/>
                <a:gd name="f101" fmla="*/ f81 f34 1"/>
                <a:gd name="f102" fmla="*/ f82 f35 1"/>
                <a:gd name="f103" fmla="*/ f83 f34 1"/>
                <a:gd name="f104" fmla="*/ f84 f35 1"/>
                <a:gd name="f105" fmla="*/ f85 f34 1"/>
                <a:gd name="f106" fmla="*/ f86 f35 1"/>
                <a:gd name="f107" fmla="*/ f87 f34 1"/>
                <a:gd name="f108" fmla="*/ f88 f35 1"/>
                <a:gd name="f109" fmla="*/ f89 f35 1"/>
                <a:gd name="f110" fmla="*/ f90 f34 1"/>
                <a:gd name="f111" fmla="*/ f91 f35 1"/>
                <a:gd name="f112" fmla="*/ f92 f34 1"/>
                <a:gd name="f113" fmla="*/ f93 f35 1"/>
                <a:gd name="f114" fmla="*/ f94 f35 1"/>
              </a:gdLst>
              <a:ahLst/>
              <a:cxnLst>
                <a:cxn ang="3cd4">
                  <a:pos x="hc" y="t"/>
                </a:cxn>
                <a:cxn ang="0">
                  <a:pos x="r" y="vc"/>
                </a:cxn>
                <a:cxn ang="cd4">
                  <a:pos x="hc" y="b"/>
                </a:cxn>
                <a:cxn ang="cd2">
                  <a:pos x="l" y="vc"/>
                </a:cxn>
                <a:cxn ang="f78">
                  <a:pos x="f99" y="f100"/>
                </a:cxn>
                <a:cxn ang="f78">
                  <a:pos x="f101" y="f102"/>
                </a:cxn>
                <a:cxn ang="f78">
                  <a:pos x="f103" y="f104"/>
                </a:cxn>
                <a:cxn ang="f78">
                  <a:pos x="f105" y="f106"/>
                </a:cxn>
                <a:cxn ang="f78">
                  <a:pos x="f107" y="f108"/>
                </a:cxn>
                <a:cxn ang="f78">
                  <a:pos x="f107" y="f109"/>
                </a:cxn>
                <a:cxn ang="f78">
                  <a:pos x="f110" y="f111"/>
                </a:cxn>
                <a:cxn ang="f78">
                  <a:pos x="f112" y="f113"/>
                </a:cxn>
                <a:cxn ang="f78">
                  <a:pos x="f99" y="f114"/>
                </a:cxn>
              </a:cxnLst>
              <a:rect l="f95" t="f98" r="f96" b="f97"/>
              <a:pathLst>
                <a:path w="2807368" h="649803">
                  <a:moveTo>
                    <a:pt x="f5" y="f5"/>
                  </a:moveTo>
                  <a:lnTo>
                    <a:pt x="f8" y="f9"/>
                  </a:lnTo>
                  <a:cubicBezTo>
                    <a:pt x="f10" y="f11"/>
                    <a:pt x="f12" y="f13"/>
                    <a:pt x="f14" y="f15"/>
                  </a:cubicBezTo>
                  <a:cubicBezTo>
                    <a:pt x="f16" y="f17"/>
                    <a:pt x="f18" y="f19"/>
                    <a:pt x="f20" y="f21"/>
                  </a:cubicBezTo>
                  <a:lnTo>
                    <a:pt x="f6" y="f22"/>
                  </a:lnTo>
                  <a:lnTo>
                    <a:pt x="f6" y="f23"/>
                  </a:lnTo>
                  <a:lnTo>
                    <a:pt x="f24" y="f25"/>
                  </a:lnTo>
                  <a:cubicBezTo>
                    <a:pt x="f26" y="f27"/>
                    <a:pt x="f28" y="f29"/>
                    <a:pt x="f30" y="f31"/>
                  </a:cubicBezTo>
                  <a:lnTo>
                    <a:pt x="f5" y="f32"/>
                  </a:ln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grpSp>
      <p:sp>
        <p:nvSpPr>
          <p:cNvPr id="7" name="Picture Placeholder 6">
            <a:extLst>
              <a:ext uri="{FF2B5EF4-FFF2-40B4-BE49-F238E27FC236}">
                <a16:creationId xmlns:a16="http://schemas.microsoft.com/office/drawing/2014/main" id="{277A5D4F-428A-9D1E-6D8C-0FA7D8C2D0BF}"/>
              </a:ext>
            </a:extLst>
          </p:cNvPr>
          <p:cNvSpPr txBox="1">
            <a:spLocks noGrp="1"/>
          </p:cNvSpPr>
          <p:nvPr>
            <p:ph type="pic" idx="4294967295"/>
          </p:nvPr>
        </p:nvSpPr>
        <p:spPr>
          <a:xfrm>
            <a:off x="2807363" y="457200"/>
            <a:ext cx="8915400" cy="5943600"/>
          </a:xfrm>
        </p:spPr>
        <p:txBody>
          <a:bodyPr/>
          <a:lstStyle>
            <a:lvl1pPr>
              <a:defRPr/>
            </a:lvl1pPr>
          </a:lstStyle>
          <a:p>
            <a:pPr lvl="0"/>
            <a:endParaRPr lang="en-US"/>
          </a:p>
        </p:txBody>
      </p:sp>
      <p:pic>
        <p:nvPicPr>
          <p:cNvPr id="8" name="Picture 14">
            <a:extLst>
              <a:ext uri="{FF2B5EF4-FFF2-40B4-BE49-F238E27FC236}">
                <a16:creationId xmlns:a16="http://schemas.microsoft.com/office/drawing/2014/main" id="{B70F1F63-750F-F9BE-16B5-8B6809CB8B4C}"/>
              </a:ext>
            </a:extLst>
          </p:cNvPr>
          <p:cNvPicPr>
            <a:picLocks noChangeAspect="1"/>
          </p:cNvPicPr>
          <p:nvPr/>
        </p:nvPicPr>
        <p:blipFill>
          <a:blip r:embed="rId2"/>
          <a:srcRect/>
          <a:stretch>
            <a:fillRect/>
          </a:stretch>
        </p:blipFill>
        <p:spPr>
          <a:xfrm>
            <a:off x="513345" y="4385535"/>
            <a:ext cx="2025313" cy="911940"/>
          </a:xfrm>
          <a:prstGeom prst="rect">
            <a:avLst/>
          </a:prstGeom>
          <a:noFill/>
          <a:ln cap="flat">
            <a:noFill/>
          </a:ln>
        </p:spPr>
      </p:pic>
    </p:spTree>
    <p:extLst>
      <p:ext uri="{BB962C8B-B14F-4D97-AF65-F5344CB8AC3E}">
        <p14:creationId xmlns:p14="http://schemas.microsoft.com/office/powerpoint/2010/main" val="135734056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Photo Slide">
  <p:cSld name="Photo Slide 3">
    <p:spTree>
      <p:nvGrpSpPr>
        <p:cNvPr id="1" name="Shape 9445"/>
        <p:cNvGrpSpPr/>
        <p:nvPr/>
      </p:nvGrpSpPr>
      <p:grpSpPr>
        <a:xfrm>
          <a:off x="0" y="0"/>
          <a:ext cx="0" cy="0"/>
          <a:chOff x="0" y="0"/>
          <a:chExt cx="0" cy="0"/>
        </a:xfrm>
      </p:grpSpPr>
      <p:sp>
        <p:nvSpPr>
          <p:cNvPr id="9446" name="Google Shape;9446;p135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447" name="Google Shape;9447;p135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448" name="Google Shape;9448;p1356"/>
          <p:cNvGrpSpPr/>
          <p:nvPr/>
        </p:nvGrpSpPr>
        <p:grpSpPr>
          <a:xfrm>
            <a:off x="0" y="5379426"/>
            <a:ext cx="2807368" cy="753891"/>
            <a:chOff x="0" y="5379426"/>
            <a:chExt cx="2807368" cy="753891"/>
          </a:xfrm>
        </p:grpSpPr>
        <p:sp>
          <p:nvSpPr>
            <p:cNvPr id="9449" name="Google Shape;9449;p135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450" name="Google Shape;9450;p135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451" name="Google Shape;9451;p1356"/>
          <p:cNvSpPr>
            <a:spLocks noGrp="1"/>
          </p:cNvSpPr>
          <p:nvPr>
            <p:ph type="pic" idx="2"/>
          </p:nvPr>
        </p:nvSpPr>
        <p:spPr>
          <a:xfrm>
            <a:off x="2807368" y="457202"/>
            <a:ext cx="8915400" cy="5943598"/>
          </a:xfrm>
          <a:prstGeom prst="rect">
            <a:avLst/>
          </a:prstGeom>
          <a:noFill/>
          <a:ln>
            <a:noFill/>
          </a:ln>
        </p:spPr>
      </p:sp>
      <p:pic>
        <p:nvPicPr>
          <p:cNvPr id="9452" name="Google Shape;9452;p135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26_Cover">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E20F66FC-24EE-0299-3BC9-C9E00E1196D5}"/>
              </a:ext>
            </a:extLst>
          </p:cNvPr>
          <p:cNvSpPr/>
          <p:nvPr/>
        </p:nvSpPr>
        <p:spPr>
          <a:xfrm>
            <a:off x="902366" y="1294416"/>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5C22C400-5D58-F9B3-F9A6-147DDD431656}"/>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r>
              <a:rPr lang="en-US"/>
              <a:t>Click to edit Master title style</a:t>
            </a:r>
          </a:p>
        </p:txBody>
      </p:sp>
      <p:sp>
        <p:nvSpPr>
          <p:cNvPr id="4" name="Subtitle 2">
            <a:extLst>
              <a:ext uri="{FF2B5EF4-FFF2-40B4-BE49-F238E27FC236}">
                <a16:creationId xmlns:a16="http://schemas.microsoft.com/office/drawing/2014/main" id="{D9FDB77B-FB11-E0B6-6A5D-5814C4E85BE9}"/>
              </a:ext>
            </a:extLst>
          </p:cNvPr>
          <p:cNvSpPr txBox="1">
            <a:spLocks noGrp="1"/>
          </p:cNvSpPr>
          <p:nvPr>
            <p:ph type="subTitle" idx="4294967295"/>
          </p:nvPr>
        </p:nvSpPr>
        <p:spPr>
          <a:xfrm>
            <a:off x="1413305" y="3766861"/>
            <a:ext cx="5194432" cy="986564"/>
          </a:xfrm>
        </p:spPr>
        <p:txBody>
          <a:bodyPr/>
          <a:lstStyle>
            <a:lvl1pPr marL="0" indent="0">
              <a:buNone/>
              <a:defRPr/>
            </a:lvl1pPr>
          </a:lstStyle>
          <a:p>
            <a:pPr lvl="0"/>
            <a:r>
              <a:rPr lang="en-US"/>
              <a:t>Click to edit Master subtitle style</a:t>
            </a:r>
          </a:p>
        </p:txBody>
      </p:sp>
      <p:sp>
        <p:nvSpPr>
          <p:cNvPr id="5" name="Picture Placeholder 21">
            <a:extLst>
              <a:ext uri="{FF2B5EF4-FFF2-40B4-BE49-F238E27FC236}">
                <a16:creationId xmlns:a16="http://schemas.microsoft.com/office/drawing/2014/main" id="{2869B5DF-D3F9-72BD-E3EE-63D401B5D2CE}"/>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grpSp>
        <p:nvGrpSpPr>
          <p:cNvPr id="6" name="Group 26">
            <a:extLst>
              <a:ext uri="{FF2B5EF4-FFF2-40B4-BE49-F238E27FC236}">
                <a16:creationId xmlns:a16="http://schemas.microsoft.com/office/drawing/2014/main" id="{D465161C-7E95-3E55-B48F-7388969E0EC0}"/>
              </a:ext>
            </a:extLst>
          </p:cNvPr>
          <p:cNvGrpSpPr/>
          <p:nvPr/>
        </p:nvGrpSpPr>
        <p:grpSpPr>
          <a:xfrm>
            <a:off x="0" y="5020349"/>
            <a:ext cx="12191996" cy="1837651"/>
            <a:chOff x="0" y="5020348"/>
            <a:chExt cx="12191996" cy="1837651"/>
          </a:xfrm>
        </p:grpSpPr>
        <p:sp>
          <p:nvSpPr>
            <p:cNvPr id="7" name="Freeform 27">
              <a:extLst>
                <a:ext uri="{FF2B5EF4-FFF2-40B4-BE49-F238E27FC236}">
                  <a16:creationId xmlns:a16="http://schemas.microsoft.com/office/drawing/2014/main" id="{B299B297-0758-B8F8-112F-D192A159D063}"/>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8" name="Freeform 28">
              <a:extLst>
                <a:ext uri="{FF2B5EF4-FFF2-40B4-BE49-F238E27FC236}">
                  <a16:creationId xmlns:a16="http://schemas.microsoft.com/office/drawing/2014/main" id="{4EB5D21B-0BC3-EBD2-90C2-FCBF0AAE4CCE}"/>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9" name="Picture 29">
              <a:extLst>
                <a:ext uri="{FF2B5EF4-FFF2-40B4-BE49-F238E27FC236}">
                  <a16:creationId xmlns:a16="http://schemas.microsoft.com/office/drawing/2014/main" id="{7D460AF6-6591-6834-9E06-A4A2574DADE5}"/>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276497681"/>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26_Photo Slide">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BE110DA8-4EB9-4FF9-5D12-9B74B4B96CA5}"/>
              </a:ext>
            </a:extLst>
          </p:cNvPr>
          <p:cNvSpPr txBox="1">
            <a:spLocks noGrp="1"/>
          </p:cNvSpPr>
          <p:nvPr>
            <p:ph type="body" idx="4294967295"/>
          </p:nvPr>
        </p:nvSpPr>
        <p:spPr>
          <a:xfrm>
            <a:off x="457200" y="1146255"/>
            <a:ext cx="2350172" cy="2971800"/>
          </a:xfrm>
        </p:spPr>
        <p:txBody>
          <a:bodyPr/>
          <a:lstStyle>
            <a:lvl1pPr marL="0" indent="0">
              <a:buNone/>
              <a:defRPr/>
            </a:lvl1pPr>
          </a:lstStyle>
          <a:p>
            <a:pPr lvl="0"/>
            <a:r>
              <a:rPr lang="en-US"/>
              <a:t>Click to edit Master text styles</a:t>
            </a:r>
          </a:p>
        </p:txBody>
      </p:sp>
      <p:cxnSp>
        <p:nvCxnSpPr>
          <p:cNvPr id="3" name="Straight Connector 5">
            <a:extLst>
              <a:ext uri="{FF2B5EF4-FFF2-40B4-BE49-F238E27FC236}">
                <a16:creationId xmlns:a16="http://schemas.microsoft.com/office/drawing/2014/main" id="{E9036FC6-751A-C7DB-4AA6-E125568623DB}"/>
              </a:ext>
            </a:extLst>
          </p:cNvPr>
          <p:cNvCxnSpPr/>
          <p:nvPr/>
        </p:nvCxnSpPr>
        <p:spPr>
          <a:xfrm>
            <a:off x="457201" y="947985"/>
            <a:ext cx="2350163" cy="0"/>
          </a:xfrm>
          <a:prstGeom prst="straightConnector1">
            <a:avLst/>
          </a:prstGeom>
          <a:noFill/>
          <a:ln w="31747" cap="flat">
            <a:solidFill>
              <a:srgbClr val="F58366"/>
            </a:solidFill>
            <a:prstDash val="solid"/>
            <a:miter/>
          </a:ln>
        </p:spPr>
      </p:cxnSp>
      <p:grpSp>
        <p:nvGrpSpPr>
          <p:cNvPr id="4" name="Group 2">
            <a:extLst>
              <a:ext uri="{FF2B5EF4-FFF2-40B4-BE49-F238E27FC236}">
                <a16:creationId xmlns:a16="http://schemas.microsoft.com/office/drawing/2014/main" id="{4229B85D-6B82-CEC6-6F54-5C1380A0872C}"/>
              </a:ext>
            </a:extLst>
          </p:cNvPr>
          <p:cNvGrpSpPr/>
          <p:nvPr/>
        </p:nvGrpSpPr>
        <p:grpSpPr>
          <a:xfrm>
            <a:off x="1" y="5379425"/>
            <a:ext cx="2807363" cy="753895"/>
            <a:chOff x="0" y="5379424"/>
            <a:chExt cx="2807363" cy="753895"/>
          </a:xfrm>
        </p:grpSpPr>
        <p:sp>
          <p:nvSpPr>
            <p:cNvPr id="5" name="Freeform 21">
              <a:extLst>
                <a:ext uri="{FF2B5EF4-FFF2-40B4-BE49-F238E27FC236}">
                  <a16:creationId xmlns:a16="http://schemas.microsoft.com/office/drawing/2014/main" id="{3B279DC9-7059-3080-EF3D-35FC79B21031}"/>
                </a:ext>
              </a:extLst>
            </p:cNvPr>
            <p:cNvSpPr/>
            <p:nvPr/>
          </p:nvSpPr>
          <p:spPr>
            <a:xfrm>
              <a:off x="0" y="5532513"/>
              <a:ext cx="2807363" cy="600806"/>
            </a:xfrm>
            <a:custGeom>
              <a:avLst/>
              <a:gdLst>
                <a:gd name="f0" fmla="val 10800000"/>
                <a:gd name="f1" fmla="val 5400000"/>
                <a:gd name="f2" fmla="val 180"/>
                <a:gd name="f3" fmla="val w"/>
                <a:gd name="f4" fmla="val h"/>
                <a:gd name="f5" fmla="val 0"/>
                <a:gd name="f6" fmla="val 2807368"/>
                <a:gd name="f7" fmla="val 600807"/>
                <a:gd name="f8" fmla="val 429971"/>
                <a:gd name="f9" fmla="val 123998"/>
                <a:gd name="f10" fmla="val 1184765"/>
                <a:gd name="f11" fmla="val 325331"/>
                <a:gd name="f12" fmla="val 2014184"/>
                <a:gd name="f13" fmla="val 392492"/>
                <a:gd name="f14" fmla="val 2790212"/>
                <a:gd name="f15" fmla="val 235402"/>
                <a:gd name="f16" fmla="val 231522"/>
                <a:gd name="f17" fmla="val 566106"/>
                <a:gd name="f18" fmla="val 2593885"/>
                <a:gd name="f19" fmla="val 587498"/>
                <a:gd name="f20" fmla="val 1673646"/>
                <a:gd name="f21" fmla="val 651184"/>
                <a:gd name="f22" fmla="val 884869"/>
                <a:gd name="f23" fmla="val 479260"/>
                <a:gd name="f24" fmla="val 100844"/>
                <a:gd name="f25" fmla="val 222653"/>
                <a:gd name="f26" fmla="val 188389"/>
                <a:gd name="f27" fmla="+- 0 0 -90"/>
                <a:gd name="f28" fmla="*/ f3 1 2807368"/>
                <a:gd name="f29" fmla="*/ f4 1 600807"/>
                <a:gd name="f30" fmla="+- f7 0 f5"/>
                <a:gd name="f31" fmla="+- f6 0 f5"/>
                <a:gd name="f32" fmla="*/ f27 f0 1"/>
                <a:gd name="f33" fmla="*/ f31 1 2807368"/>
                <a:gd name="f34" fmla="*/ f30 1 600807"/>
                <a:gd name="f35" fmla="*/ 0 f31 1"/>
                <a:gd name="f36" fmla="*/ 0 f30 1"/>
                <a:gd name="f37" fmla="*/ 429971 f31 1"/>
                <a:gd name="f38" fmla="*/ 123998 f30 1"/>
                <a:gd name="f39" fmla="*/ 2790212 f31 1"/>
                <a:gd name="f40" fmla="*/ 235402 f30 1"/>
                <a:gd name="f41" fmla="*/ 2807368 f31 1"/>
                <a:gd name="f42" fmla="*/ 231522 f30 1"/>
                <a:gd name="f43" fmla="*/ 566106 f30 1"/>
                <a:gd name="f44" fmla="*/ 2593885 f31 1"/>
                <a:gd name="f45" fmla="*/ 587498 f30 1"/>
                <a:gd name="f46" fmla="*/ 100844 f31 1"/>
                <a:gd name="f47" fmla="*/ 222653 f30 1"/>
                <a:gd name="f48" fmla="*/ 188389 f30 1"/>
                <a:gd name="f49" fmla="*/ f32 1 f2"/>
                <a:gd name="f50" fmla="*/ f35 1 2807368"/>
                <a:gd name="f51" fmla="*/ f36 1 600807"/>
                <a:gd name="f52" fmla="*/ f37 1 2807368"/>
                <a:gd name="f53" fmla="*/ f38 1 600807"/>
                <a:gd name="f54" fmla="*/ f39 1 2807368"/>
                <a:gd name="f55" fmla="*/ f40 1 600807"/>
                <a:gd name="f56" fmla="*/ f41 1 2807368"/>
                <a:gd name="f57" fmla="*/ f42 1 600807"/>
                <a:gd name="f58" fmla="*/ f43 1 600807"/>
                <a:gd name="f59" fmla="*/ f44 1 2807368"/>
                <a:gd name="f60" fmla="*/ f45 1 600807"/>
                <a:gd name="f61" fmla="*/ f46 1 2807368"/>
                <a:gd name="f62" fmla="*/ f47 1 600807"/>
                <a:gd name="f63" fmla="*/ f48 1 600807"/>
                <a:gd name="f64" fmla="*/ f5 1 f33"/>
                <a:gd name="f65" fmla="*/ f6 1 f33"/>
                <a:gd name="f66" fmla="*/ f5 1 f34"/>
                <a:gd name="f67" fmla="*/ f7 1 f34"/>
                <a:gd name="f68" fmla="+- f49 0 f1"/>
                <a:gd name="f69" fmla="*/ f50 1 f33"/>
                <a:gd name="f70" fmla="*/ f51 1 f34"/>
                <a:gd name="f71" fmla="*/ f52 1 f33"/>
                <a:gd name="f72" fmla="*/ f53 1 f34"/>
                <a:gd name="f73" fmla="*/ f54 1 f33"/>
                <a:gd name="f74" fmla="*/ f55 1 f34"/>
                <a:gd name="f75" fmla="*/ f56 1 f33"/>
                <a:gd name="f76" fmla="*/ f57 1 f34"/>
                <a:gd name="f77" fmla="*/ f58 1 f34"/>
                <a:gd name="f78" fmla="*/ f59 1 f33"/>
                <a:gd name="f79" fmla="*/ f60 1 f34"/>
                <a:gd name="f80" fmla="*/ f61 1 f33"/>
                <a:gd name="f81" fmla="*/ f62 1 f34"/>
                <a:gd name="f82" fmla="*/ f63 1 f34"/>
                <a:gd name="f83" fmla="*/ f64 f28 1"/>
                <a:gd name="f84" fmla="*/ f65 f28 1"/>
                <a:gd name="f85" fmla="*/ f67 f29 1"/>
                <a:gd name="f86" fmla="*/ f66 f29 1"/>
                <a:gd name="f87" fmla="*/ f69 f28 1"/>
                <a:gd name="f88" fmla="*/ f70 f29 1"/>
                <a:gd name="f89" fmla="*/ f71 f28 1"/>
                <a:gd name="f90" fmla="*/ f72 f29 1"/>
                <a:gd name="f91" fmla="*/ f73 f28 1"/>
                <a:gd name="f92" fmla="*/ f74 f29 1"/>
                <a:gd name="f93" fmla="*/ f75 f28 1"/>
                <a:gd name="f94" fmla="*/ f76 f29 1"/>
                <a:gd name="f95" fmla="*/ f77 f29 1"/>
                <a:gd name="f96" fmla="*/ f78 f28 1"/>
                <a:gd name="f97" fmla="*/ f79 f29 1"/>
                <a:gd name="f98" fmla="*/ f80 f28 1"/>
                <a:gd name="f99" fmla="*/ f81 f29 1"/>
                <a:gd name="f100" fmla="*/ f82 f29 1"/>
              </a:gdLst>
              <a:ahLst/>
              <a:cxnLst>
                <a:cxn ang="3cd4">
                  <a:pos x="hc" y="t"/>
                </a:cxn>
                <a:cxn ang="0">
                  <a:pos x="r" y="vc"/>
                </a:cxn>
                <a:cxn ang="cd4">
                  <a:pos x="hc" y="b"/>
                </a:cxn>
                <a:cxn ang="cd2">
                  <a:pos x="l" y="vc"/>
                </a:cxn>
                <a:cxn ang="f68">
                  <a:pos x="f87" y="f88"/>
                </a:cxn>
                <a:cxn ang="f68">
                  <a:pos x="f89" y="f90"/>
                </a:cxn>
                <a:cxn ang="f68">
                  <a:pos x="f91" y="f92"/>
                </a:cxn>
                <a:cxn ang="f68">
                  <a:pos x="f93" y="f94"/>
                </a:cxn>
                <a:cxn ang="f68">
                  <a:pos x="f93" y="f95"/>
                </a:cxn>
                <a:cxn ang="f68">
                  <a:pos x="f96" y="f97"/>
                </a:cxn>
                <a:cxn ang="f68">
                  <a:pos x="f98" y="f99"/>
                </a:cxn>
                <a:cxn ang="f68">
                  <a:pos x="f87" y="f100"/>
                </a:cxn>
              </a:cxnLst>
              <a:rect l="f83" t="f86" r="f84" b="f85"/>
              <a:pathLst>
                <a:path w="2807368" h="600807">
                  <a:moveTo>
                    <a:pt x="f5" y="f5"/>
                  </a:moveTo>
                  <a:lnTo>
                    <a:pt x="f8" y="f9"/>
                  </a:lnTo>
                  <a:cubicBezTo>
                    <a:pt x="f10" y="f11"/>
                    <a:pt x="f12" y="f13"/>
                    <a:pt x="f14" y="f15"/>
                  </a:cubicBezTo>
                  <a:lnTo>
                    <a:pt x="f6" y="f16"/>
                  </a:lnTo>
                  <a:lnTo>
                    <a:pt x="f6" y="f17"/>
                  </a:lnTo>
                  <a:lnTo>
                    <a:pt x="f18" y="f19"/>
                  </a:lnTo>
                  <a:cubicBezTo>
                    <a:pt x="f20" y="f21"/>
                    <a:pt x="f22" y="f23"/>
                    <a:pt x="f24" y="f25"/>
                  </a:cubicBezTo>
                  <a:lnTo>
                    <a:pt x="f5" y="f26"/>
                  </a:ln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Freeform 19">
              <a:extLst>
                <a:ext uri="{FF2B5EF4-FFF2-40B4-BE49-F238E27FC236}">
                  <a16:creationId xmlns:a16="http://schemas.microsoft.com/office/drawing/2014/main" id="{42CFF1E4-924F-39E9-5B81-BBFECCC628A2}"/>
                </a:ext>
              </a:extLst>
            </p:cNvPr>
            <p:cNvSpPr/>
            <p:nvPr/>
          </p:nvSpPr>
          <p:spPr>
            <a:xfrm>
              <a:off x="0" y="5379424"/>
              <a:ext cx="2807363" cy="649800"/>
            </a:xfrm>
            <a:custGeom>
              <a:avLst/>
              <a:gdLst>
                <a:gd name="f0" fmla="val 10800000"/>
                <a:gd name="f1" fmla="val 5400000"/>
                <a:gd name="f2" fmla="val 180"/>
                <a:gd name="f3" fmla="val w"/>
                <a:gd name="f4" fmla="val h"/>
                <a:gd name="f5" fmla="val 0"/>
                <a:gd name="f6" fmla="val 2807368"/>
                <a:gd name="f7" fmla="val 649803"/>
                <a:gd name="f8" fmla="val 282676"/>
                <a:gd name="f9" fmla="val 70799"/>
                <a:gd name="f10" fmla="val 435964"/>
                <a:gd name="f11" fmla="val 106085"/>
                <a:gd name="f12" fmla="val 588770"/>
                <a:gd name="f13" fmla="val 137629"/>
                <a:gd name="f14" fmla="val 740881"/>
                <a:gd name="f15" fmla="val 163828"/>
                <a:gd name="f16" fmla="val 1362800"/>
                <a:gd name="f17" fmla="val 270912"/>
                <a:gd name="f18" fmla="val 2067879"/>
                <a:gd name="f19" fmla="val 253759"/>
                <a:gd name="f20" fmla="val 2706471"/>
                <a:gd name="f21" fmla="val 96397"/>
                <a:gd name="f22" fmla="val 67250"/>
                <a:gd name="f23" fmla="val 605551"/>
                <a:gd name="f24" fmla="val 2602685"/>
                <a:gd name="f25" fmla="val 629466"/>
                <a:gd name="f26" fmla="val 1684237"/>
                <a:gd name="f27" fmla="val 708219"/>
                <a:gd name="f28" fmla="val 893252"/>
                <a:gd name="f29" fmla="val 549395"/>
                <a:gd name="f30" fmla="val 105614"/>
                <a:gd name="f31" fmla="val 305882"/>
                <a:gd name="f32" fmla="val 271926"/>
                <a:gd name="f33" fmla="+- 0 0 -90"/>
                <a:gd name="f34" fmla="*/ f3 1 2807368"/>
                <a:gd name="f35" fmla="*/ f4 1 649803"/>
                <a:gd name="f36" fmla="+- f7 0 f5"/>
                <a:gd name="f37" fmla="+- f6 0 f5"/>
                <a:gd name="f38" fmla="*/ f33 f0 1"/>
                <a:gd name="f39" fmla="*/ f37 1 2807368"/>
                <a:gd name="f40" fmla="*/ f36 1 649803"/>
                <a:gd name="f41" fmla="*/ 0 f37 1"/>
                <a:gd name="f42" fmla="*/ 0 f36 1"/>
                <a:gd name="f43" fmla="*/ 282676 f37 1"/>
                <a:gd name="f44" fmla="*/ 70799 f36 1"/>
                <a:gd name="f45" fmla="*/ 740881 f37 1"/>
                <a:gd name="f46" fmla="*/ 163828 f36 1"/>
                <a:gd name="f47" fmla="*/ 2706471 f37 1"/>
                <a:gd name="f48" fmla="*/ 96397 f36 1"/>
                <a:gd name="f49" fmla="*/ 2807368 f37 1"/>
                <a:gd name="f50" fmla="*/ 67250 f36 1"/>
                <a:gd name="f51" fmla="*/ 605551 f36 1"/>
                <a:gd name="f52" fmla="*/ 2602685 f37 1"/>
                <a:gd name="f53" fmla="*/ 629466 f36 1"/>
                <a:gd name="f54" fmla="*/ 105614 f37 1"/>
                <a:gd name="f55" fmla="*/ 305882 f36 1"/>
                <a:gd name="f56" fmla="*/ 271926 f36 1"/>
                <a:gd name="f57" fmla="*/ f38 1 f2"/>
                <a:gd name="f58" fmla="*/ f41 1 2807368"/>
                <a:gd name="f59" fmla="*/ f42 1 649803"/>
                <a:gd name="f60" fmla="*/ f43 1 2807368"/>
                <a:gd name="f61" fmla="*/ f44 1 649803"/>
                <a:gd name="f62" fmla="*/ f45 1 2807368"/>
                <a:gd name="f63" fmla="*/ f46 1 649803"/>
                <a:gd name="f64" fmla="*/ f47 1 2807368"/>
                <a:gd name="f65" fmla="*/ f48 1 649803"/>
                <a:gd name="f66" fmla="*/ f49 1 2807368"/>
                <a:gd name="f67" fmla="*/ f50 1 649803"/>
                <a:gd name="f68" fmla="*/ f51 1 649803"/>
                <a:gd name="f69" fmla="*/ f52 1 2807368"/>
                <a:gd name="f70" fmla="*/ f53 1 649803"/>
                <a:gd name="f71" fmla="*/ f54 1 2807368"/>
                <a:gd name="f72" fmla="*/ f55 1 649803"/>
                <a:gd name="f73" fmla="*/ f56 1 649803"/>
                <a:gd name="f74" fmla="*/ f5 1 f39"/>
                <a:gd name="f75" fmla="*/ f6 1 f39"/>
                <a:gd name="f76" fmla="*/ f5 1 f40"/>
                <a:gd name="f77" fmla="*/ f7 1 f40"/>
                <a:gd name="f78" fmla="+- f57 0 f1"/>
                <a:gd name="f79" fmla="*/ f58 1 f39"/>
                <a:gd name="f80" fmla="*/ f59 1 f40"/>
                <a:gd name="f81" fmla="*/ f60 1 f39"/>
                <a:gd name="f82" fmla="*/ f61 1 f40"/>
                <a:gd name="f83" fmla="*/ f62 1 f39"/>
                <a:gd name="f84" fmla="*/ f63 1 f40"/>
                <a:gd name="f85" fmla="*/ f64 1 f39"/>
                <a:gd name="f86" fmla="*/ f65 1 f40"/>
                <a:gd name="f87" fmla="*/ f66 1 f39"/>
                <a:gd name="f88" fmla="*/ f67 1 f40"/>
                <a:gd name="f89" fmla="*/ f68 1 f40"/>
                <a:gd name="f90" fmla="*/ f69 1 f39"/>
                <a:gd name="f91" fmla="*/ f70 1 f40"/>
                <a:gd name="f92" fmla="*/ f71 1 f39"/>
                <a:gd name="f93" fmla="*/ f72 1 f40"/>
                <a:gd name="f94" fmla="*/ f73 1 f40"/>
                <a:gd name="f95" fmla="*/ f74 f34 1"/>
                <a:gd name="f96" fmla="*/ f75 f34 1"/>
                <a:gd name="f97" fmla="*/ f77 f35 1"/>
                <a:gd name="f98" fmla="*/ f76 f35 1"/>
                <a:gd name="f99" fmla="*/ f79 f34 1"/>
                <a:gd name="f100" fmla="*/ f80 f35 1"/>
                <a:gd name="f101" fmla="*/ f81 f34 1"/>
                <a:gd name="f102" fmla="*/ f82 f35 1"/>
                <a:gd name="f103" fmla="*/ f83 f34 1"/>
                <a:gd name="f104" fmla="*/ f84 f35 1"/>
                <a:gd name="f105" fmla="*/ f85 f34 1"/>
                <a:gd name="f106" fmla="*/ f86 f35 1"/>
                <a:gd name="f107" fmla="*/ f87 f34 1"/>
                <a:gd name="f108" fmla="*/ f88 f35 1"/>
                <a:gd name="f109" fmla="*/ f89 f35 1"/>
                <a:gd name="f110" fmla="*/ f90 f34 1"/>
                <a:gd name="f111" fmla="*/ f91 f35 1"/>
                <a:gd name="f112" fmla="*/ f92 f34 1"/>
                <a:gd name="f113" fmla="*/ f93 f35 1"/>
                <a:gd name="f114" fmla="*/ f94 f35 1"/>
              </a:gdLst>
              <a:ahLst/>
              <a:cxnLst>
                <a:cxn ang="3cd4">
                  <a:pos x="hc" y="t"/>
                </a:cxn>
                <a:cxn ang="0">
                  <a:pos x="r" y="vc"/>
                </a:cxn>
                <a:cxn ang="cd4">
                  <a:pos x="hc" y="b"/>
                </a:cxn>
                <a:cxn ang="cd2">
                  <a:pos x="l" y="vc"/>
                </a:cxn>
                <a:cxn ang="f78">
                  <a:pos x="f99" y="f100"/>
                </a:cxn>
                <a:cxn ang="f78">
                  <a:pos x="f101" y="f102"/>
                </a:cxn>
                <a:cxn ang="f78">
                  <a:pos x="f103" y="f104"/>
                </a:cxn>
                <a:cxn ang="f78">
                  <a:pos x="f105" y="f106"/>
                </a:cxn>
                <a:cxn ang="f78">
                  <a:pos x="f107" y="f108"/>
                </a:cxn>
                <a:cxn ang="f78">
                  <a:pos x="f107" y="f109"/>
                </a:cxn>
                <a:cxn ang="f78">
                  <a:pos x="f110" y="f111"/>
                </a:cxn>
                <a:cxn ang="f78">
                  <a:pos x="f112" y="f113"/>
                </a:cxn>
                <a:cxn ang="f78">
                  <a:pos x="f99" y="f114"/>
                </a:cxn>
              </a:cxnLst>
              <a:rect l="f95" t="f98" r="f96" b="f97"/>
              <a:pathLst>
                <a:path w="2807368" h="649803">
                  <a:moveTo>
                    <a:pt x="f5" y="f5"/>
                  </a:moveTo>
                  <a:lnTo>
                    <a:pt x="f8" y="f9"/>
                  </a:lnTo>
                  <a:cubicBezTo>
                    <a:pt x="f10" y="f11"/>
                    <a:pt x="f12" y="f13"/>
                    <a:pt x="f14" y="f15"/>
                  </a:cubicBezTo>
                  <a:cubicBezTo>
                    <a:pt x="f16" y="f17"/>
                    <a:pt x="f18" y="f19"/>
                    <a:pt x="f20" y="f21"/>
                  </a:cubicBezTo>
                  <a:lnTo>
                    <a:pt x="f6" y="f22"/>
                  </a:lnTo>
                  <a:lnTo>
                    <a:pt x="f6" y="f23"/>
                  </a:lnTo>
                  <a:lnTo>
                    <a:pt x="f24" y="f25"/>
                  </a:lnTo>
                  <a:cubicBezTo>
                    <a:pt x="f26" y="f27"/>
                    <a:pt x="f28" y="f29"/>
                    <a:pt x="f30" y="f31"/>
                  </a:cubicBezTo>
                  <a:lnTo>
                    <a:pt x="f5" y="f32"/>
                  </a:ln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grpSp>
      <p:sp>
        <p:nvSpPr>
          <p:cNvPr id="7" name="Picture Placeholder 6">
            <a:extLst>
              <a:ext uri="{FF2B5EF4-FFF2-40B4-BE49-F238E27FC236}">
                <a16:creationId xmlns:a16="http://schemas.microsoft.com/office/drawing/2014/main" id="{1DB5B778-59E4-784A-68D9-23EF8A96AAD0}"/>
              </a:ext>
            </a:extLst>
          </p:cNvPr>
          <p:cNvSpPr txBox="1">
            <a:spLocks noGrp="1"/>
          </p:cNvSpPr>
          <p:nvPr>
            <p:ph type="pic" idx="4294967295"/>
          </p:nvPr>
        </p:nvSpPr>
        <p:spPr>
          <a:xfrm>
            <a:off x="2807363" y="457200"/>
            <a:ext cx="8915400" cy="5943600"/>
          </a:xfrm>
        </p:spPr>
        <p:txBody>
          <a:bodyPr/>
          <a:lstStyle>
            <a:lvl1pPr>
              <a:defRPr/>
            </a:lvl1pPr>
          </a:lstStyle>
          <a:p>
            <a:pPr lvl="0"/>
            <a:endParaRPr lang="en-US"/>
          </a:p>
        </p:txBody>
      </p:sp>
      <p:pic>
        <p:nvPicPr>
          <p:cNvPr id="8" name="Picture 14">
            <a:extLst>
              <a:ext uri="{FF2B5EF4-FFF2-40B4-BE49-F238E27FC236}">
                <a16:creationId xmlns:a16="http://schemas.microsoft.com/office/drawing/2014/main" id="{93CA32FE-F549-2B8E-9B9B-54F0901CD8E5}"/>
              </a:ext>
            </a:extLst>
          </p:cNvPr>
          <p:cNvPicPr>
            <a:picLocks noChangeAspect="1"/>
          </p:cNvPicPr>
          <p:nvPr/>
        </p:nvPicPr>
        <p:blipFill>
          <a:blip r:embed="rId2"/>
          <a:srcRect/>
          <a:stretch>
            <a:fillRect/>
          </a:stretch>
        </p:blipFill>
        <p:spPr>
          <a:xfrm>
            <a:off x="513345" y="4385535"/>
            <a:ext cx="2025313" cy="911940"/>
          </a:xfrm>
          <a:prstGeom prst="rect">
            <a:avLst/>
          </a:prstGeom>
          <a:noFill/>
          <a:ln cap="flat">
            <a:noFill/>
          </a:ln>
        </p:spPr>
      </p:pic>
    </p:spTree>
    <p:extLst>
      <p:ext uri="{BB962C8B-B14F-4D97-AF65-F5344CB8AC3E}">
        <p14:creationId xmlns:p14="http://schemas.microsoft.com/office/powerpoint/2010/main" val="4235578464"/>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10_Title Slide_Yale Blue">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A7B5ED1F-2739-3840-0474-64AEE1AF956F}"/>
              </a:ext>
            </a:extLst>
          </p:cNvPr>
          <p:cNvSpPr txBox="1">
            <a:spLocks noGrp="1"/>
          </p:cNvSpPr>
          <p:nvPr>
            <p:ph type="body" idx="4294967295"/>
          </p:nvPr>
        </p:nvSpPr>
        <p:spPr>
          <a:xfrm>
            <a:off x="2826557" y="5400857"/>
            <a:ext cx="8178613" cy="379656"/>
          </a:xfrm>
        </p:spPr>
        <p:txBody>
          <a:bodyPr wrap="square">
            <a:spAutoFit/>
          </a:bodyPr>
          <a:lstStyle>
            <a:lvl1pPr marL="0" indent="0" algn="r">
              <a:buNone/>
              <a:defRPr sz="1867">
                <a:solidFill>
                  <a:srgbClr val="616364"/>
                </a:solidFill>
                <a:latin typeface="Verdana"/>
                <a:ea typeface="Verdana"/>
                <a:cs typeface="Verdana"/>
              </a:defRPr>
            </a:lvl1pPr>
          </a:lstStyle>
          <a:p>
            <a:pPr lvl="0"/>
            <a:r>
              <a:rPr lang="en-US"/>
              <a:t>Date | Presenter Information (14 pt)</a:t>
            </a:r>
          </a:p>
        </p:txBody>
      </p:sp>
      <p:sp>
        <p:nvSpPr>
          <p:cNvPr id="3" name="Title 1">
            <a:extLst>
              <a:ext uri="{FF2B5EF4-FFF2-40B4-BE49-F238E27FC236}">
                <a16:creationId xmlns:a16="http://schemas.microsoft.com/office/drawing/2014/main" id="{EFB9F0EB-96CC-5BB9-7D54-90D3BEBECBB2}"/>
              </a:ext>
            </a:extLst>
          </p:cNvPr>
          <p:cNvSpPr txBox="1">
            <a:spLocks noGrp="1"/>
          </p:cNvSpPr>
          <p:nvPr>
            <p:ph type="title"/>
          </p:nvPr>
        </p:nvSpPr>
        <p:spPr>
          <a:xfrm>
            <a:off x="2826557" y="1807147"/>
            <a:ext cx="8178613" cy="1629460"/>
          </a:xfrm>
        </p:spPr>
        <p:txBody>
          <a:bodyPr anchor="b"/>
          <a:lstStyle>
            <a:lvl1pPr>
              <a:defRPr sz="5334">
                <a:solidFill>
                  <a:srgbClr val="00314C"/>
                </a:solidFill>
                <a:latin typeface="Verdana"/>
                <a:ea typeface="Verdana"/>
                <a:cs typeface="Verdana"/>
              </a:defRPr>
            </a:lvl1pPr>
          </a:lstStyle>
          <a:p>
            <a:pPr lvl="0"/>
            <a:r>
              <a:rPr lang="en-US"/>
              <a:t>Presentation Title (40pt)</a:t>
            </a:r>
          </a:p>
        </p:txBody>
      </p:sp>
      <p:sp>
        <p:nvSpPr>
          <p:cNvPr id="4" name="Date Placeholder 3">
            <a:extLst>
              <a:ext uri="{FF2B5EF4-FFF2-40B4-BE49-F238E27FC236}">
                <a16:creationId xmlns:a16="http://schemas.microsoft.com/office/drawing/2014/main" id="{9A23E976-C9D5-EAC5-8F8E-57148A28F52E}"/>
              </a:ext>
            </a:extLst>
          </p:cNvPr>
          <p:cNvSpPr txBox="1">
            <a:spLocks noGrp="1"/>
          </p:cNvSpPr>
          <p:nvPr>
            <p:ph type="dt" sz="quarter" idx="7"/>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914446"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defRPr>
            </a:lvl1pPr>
          </a:lstStyle>
          <a:p>
            <a:pPr lvl="0"/>
            <a:fld id="{50521CA4-24A9-4598-85D7-0284BC4EF7FF}" type="datetime1">
              <a:rPr lang="en-US"/>
              <a:pPr lvl="0"/>
              <a:t>5/20/2026</a:t>
            </a:fld>
            <a:endParaRPr lang="en-US"/>
          </a:p>
        </p:txBody>
      </p:sp>
      <p:sp>
        <p:nvSpPr>
          <p:cNvPr id="5" name="Footer Placeholder 4">
            <a:extLst>
              <a:ext uri="{FF2B5EF4-FFF2-40B4-BE49-F238E27FC236}">
                <a16:creationId xmlns:a16="http://schemas.microsoft.com/office/drawing/2014/main" id="{B8155C09-7BDC-4E39-276B-B609CE1C7BFB}"/>
              </a:ext>
            </a:extLst>
          </p:cNvPr>
          <p:cNvSpPr txBox="1">
            <a:spLocks noGrp="1"/>
          </p:cNvSpPr>
          <p:nvPr>
            <p:ph type="ftr" sz="quarter" idx="9"/>
          </p:nvPr>
        </p:nvSpPr>
        <p:spPr/>
        <p:txBody>
          <a:bodyPr anchorCtr="1"/>
          <a:lstStyle>
            <a:lvl1pPr algn="ctr">
              <a:defRPr/>
            </a:lvl1pPr>
          </a:lstStyle>
          <a:p>
            <a:pPr lvl="0"/>
            <a:endParaRPr lang="en-US"/>
          </a:p>
        </p:txBody>
      </p:sp>
      <p:sp>
        <p:nvSpPr>
          <p:cNvPr id="6" name="Slide Number Placeholder 5">
            <a:extLst>
              <a:ext uri="{FF2B5EF4-FFF2-40B4-BE49-F238E27FC236}">
                <a16:creationId xmlns:a16="http://schemas.microsoft.com/office/drawing/2014/main" id="{8CE063A3-8615-92EC-CABE-1AA341F484C1}"/>
              </a:ext>
            </a:extLst>
          </p:cNvPr>
          <p:cNvSpPr txBox="1">
            <a:spLocks noGrp="1"/>
          </p:cNvSpPr>
          <p:nvPr>
            <p:ph type="sldNum" sz="quarter" idx="8"/>
          </p:nvPr>
        </p:nvSpPr>
        <p:spPr/>
        <p:txBody>
          <a:bodyPr/>
          <a:lstStyle>
            <a:lvl1pPr>
              <a:defRPr/>
            </a:lvl1pPr>
          </a:lstStyle>
          <a:p>
            <a:pPr lvl="0"/>
            <a:fld id="{D6E8D341-EE6F-41FF-8F7D-F9BFB2572C27}" type="slidenum">
              <a:t>‹#›</a:t>
            </a:fld>
            <a:endParaRPr lang="en-US"/>
          </a:p>
        </p:txBody>
      </p:sp>
      <p:sp>
        <p:nvSpPr>
          <p:cNvPr id="7" name="Rectangle 12">
            <a:extLst>
              <a:ext uri="{FF2B5EF4-FFF2-40B4-BE49-F238E27FC236}">
                <a16:creationId xmlns:a16="http://schemas.microsoft.com/office/drawing/2014/main" id="{B850B2CB-C252-F4BB-C29E-65AD773F5C75}"/>
              </a:ext>
            </a:extLst>
          </p:cNvPr>
          <p:cNvSpPr/>
          <p:nvPr/>
        </p:nvSpPr>
        <p:spPr>
          <a:xfrm rot="10799991">
            <a:off x="-28" y="2000224"/>
            <a:ext cx="2785070" cy="2042851"/>
          </a:xfrm>
          <a:custGeom>
            <a:avLst/>
            <a:gdLst>
              <a:gd name="f0" fmla="val 10800000"/>
              <a:gd name="f1" fmla="val 5400000"/>
              <a:gd name="f2" fmla="val 180"/>
              <a:gd name="f3" fmla="val w"/>
              <a:gd name="f4" fmla="val h"/>
              <a:gd name="f5" fmla="val 0"/>
              <a:gd name="f6" fmla="val 10293751"/>
              <a:gd name="f7" fmla="val 1031873"/>
              <a:gd name="f8" fmla="val 3579068"/>
              <a:gd name="f9" fmla="val 1"/>
              <a:gd name="f10" fmla="val 1031872"/>
              <a:gd name="f11" fmla="+- 0 0 -90"/>
              <a:gd name="f12" fmla="*/ f3 1 10293751"/>
              <a:gd name="f13" fmla="*/ f4 1 1031873"/>
              <a:gd name="f14" fmla="+- f7 0 f5"/>
              <a:gd name="f15" fmla="+- f6 0 f5"/>
              <a:gd name="f16" fmla="*/ f11 f0 1"/>
              <a:gd name="f17" fmla="*/ f15 1 10293751"/>
              <a:gd name="f18" fmla="*/ f14 1 1031873"/>
              <a:gd name="f19" fmla="*/ 10293751 f15 1"/>
              <a:gd name="f20" fmla="*/ 0 f15 1"/>
              <a:gd name="f21" fmla="*/ 0 f14 1"/>
              <a:gd name="f22" fmla="*/ 1 f14 1"/>
              <a:gd name="f23" fmla="*/ 1031873 f14 1"/>
              <a:gd name="f24" fmla="*/ 1031872 f14 1"/>
              <a:gd name="f25" fmla="*/ 3579068 f15 1"/>
              <a:gd name="f26" fmla="*/ f16 1 f2"/>
              <a:gd name="f27" fmla="*/ f19 1 10293751"/>
              <a:gd name="f28" fmla="*/ f20 1 10293751"/>
              <a:gd name="f29" fmla="*/ f21 1 1031873"/>
              <a:gd name="f30" fmla="*/ f22 1 1031873"/>
              <a:gd name="f31" fmla="*/ f23 1 1031873"/>
              <a:gd name="f32" fmla="*/ f24 1 1031873"/>
              <a:gd name="f33" fmla="*/ f25 1 10293751"/>
              <a:gd name="f34" fmla="*/ f5 1 f17"/>
              <a:gd name="f35" fmla="*/ f6 1 f17"/>
              <a:gd name="f36" fmla="*/ f5 1 f18"/>
              <a:gd name="f37" fmla="*/ f7 1 f18"/>
              <a:gd name="f38" fmla="+- f26 0 f1"/>
              <a:gd name="f39" fmla="*/ f33 1 f17"/>
              <a:gd name="f40" fmla="*/ f29 1 f18"/>
              <a:gd name="f41" fmla="*/ f27 1 f17"/>
              <a:gd name="f42" fmla="*/ f30 1 f18"/>
              <a:gd name="f43" fmla="*/ f31 1 f18"/>
              <a:gd name="f44" fmla="*/ f28 1 f17"/>
              <a:gd name="f45" fmla="*/ f32 1 f18"/>
              <a:gd name="f46" fmla="*/ f34 f12 1"/>
              <a:gd name="f47" fmla="*/ f35 f12 1"/>
              <a:gd name="f48" fmla="*/ f37 f13 1"/>
              <a:gd name="f49" fmla="*/ f36 f13 1"/>
              <a:gd name="f50" fmla="*/ f39 f12 1"/>
              <a:gd name="f51" fmla="*/ f40 f13 1"/>
              <a:gd name="f52" fmla="*/ f41 f12 1"/>
              <a:gd name="f53" fmla="*/ f42 f13 1"/>
              <a:gd name="f54" fmla="*/ f43 f13 1"/>
              <a:gd name="f55" fmla="*/ f44 f12 1"/>
              <a:gd name="f56" fmla="*/ f45 f13 1"/>
            </a:gdLst>
            <a:ahLst/>
            <a:cxnLst>
              <a:cxn ang="3cd4">
                <a:pos x="hc" y="t"/>
              </a:cxn>
              <a:cxn ang="0">
                <a:pos x="r" y="vc"/>
              </a:cxn>
              <a:cxn ang="cd4">
                <a:pos x="hc" y="b"/>
              </a:cxn>
              <a:cxn ang="cd2">
                <a:pos x="l" y="vc"/>
              </a:cxn>
              <a:cxn ang="f38">
                <a:pos x="f50" y="f51"/>
              </a:cxn>
              <a:cxn ang="f38">
                <a:pos x="f52" y="f53"/>
              </a:cxn>
              <a:cxn ang="f38">
                <a:pos x="f52" y="f54"/>
              </a:cxn>
              <a:cxn ang="f38">
                <a:pos x="f55" y="f56"/>
              </a:cxn>
              <a:cxn ang="f38">
                <a:pos x="f50" y="f51"/>
              </a:cxn>
            </a:cxnLst>
            <a:rect l="f46" t="f49" r="f47" b="f48"/>
            <a:pathLst>
              <a:path w="10293751" h="1031873">
                <a:moveTo>
                  <a:pt x="f8" y="f5"/>
                </a:moveTo>
                <a:lnTo>
                  <a:pt x="f6" y="f9"/>
                </a:lnTo>
                <a:lnTo>
                  <a:pt x="f6" y="f7"/>
                </a:lnTo>
                <a:lnTo>
                  <a:pt x="f5" y="f10"/>
                </a:lnTo>
                <a:lnTo>
                  <a:pt x="f8" y="f5"/>
                </a:lnTo>
                <a:close/>
              </a:path>
            </a:pathLst>
          </a:cu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8" name="Rectangle 8">
            <a:extLst>
              <a:ext uri="{FF2B5EF4-FFF2-40B4-BE49-F238E27FC236}">
                <a16:creationId xmlns:a16="http://schemas.microsoft.com/office/drawing/2014/main" id="{98E6B44E-CFE7-9586-D42D-C54E11F7D7AD}"/>
              </a:ext>
            </a:extLst>
          </p:cNvPr>
          <p:cNvSpPr/>
          <p:nvPr/>
        </p:nvSpPr>
        <p:spPr>
          <a:xfrm>
            <a:off x="0" y="6115050"/>
            <a:ext cx="12191996" cy="742950"/>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9" name="Text Placeholder 11">
            <a:extLst>
              <a:ext uri="{FF2B5EF4-FFF2-40B4-BE49-F238E27FC236}">
                <a16:creationId xmlns:a16="http://schemas.microsoft.com/office/drawing/2014/main" id="{D3DEF2E9-DE41-496F-4B6C-B520F3C16B01}"/>
              </a:ext>
            </a:extLst>
          </p:cNvPr>
          <p:cNvSpPr txBox="1">
            <a:spLocks noGrp="1"/>
          </p:cNvSpPr>
          <p:nvPr>
            <p:ph type="body" idx="4294967295"/>
          </p:nvPr>
        </p:nvSpPr>
        <p:spPr>
          <a:xfrm>
            <a:off x="2826557" y="3447397"/>
            <a:ext cx="8178613" cy="713314"/>
          </a:xfrm>
        </p:spPr>
        <p:txBody>
          <a:bodyPr/>
          <a:lstStyle>
            <a:lvl1pPr marL="0" indent="0">
              <a:buNone/>
              <a:defRPr sz="3200">
                <a:solidFill>
                  <a:srgbClr val="00314C"/>
                </a:solidFill>
                <a:latin typeface="Verdana"/>
                <a:ea typeface="Verdana"/>
                <a:cs typeface="Verdana"/>
              </a:defRPr>
            </a:lvl1pPr>
          </a:lstStyle>
          <a:p>
            <a:pPr lvl="0"/>
            <a:r>
              <a:rPr lang="en-US"/>
              <a:t>Subtitle (24)</a:t>
            </a:r>
          </a:p>
        </p:txBody>
      </p:sp>
      <p:pic>
        <p:nvPicPr>
          <p:cNvPr id="10" name="Picture 12">
            <a:extLst>
              <a:ext uri="{FF2B5EF4-FFF2-40B4-BE49-F238E27FC236}">
                <a16:creationId xmlns:a16="http://schemas.microsoft.com/office/drawing/2014/main" id="{958D94B9-1A6B-F1F4-0557-B32EB64CFE2C}"/>
              </a:ext>
            </a:extLst>
          </p:cNvPr>
          <p:cNvPicPr>
            <a:picLocks noChangeAspect="1"/>
          </p:cNvPicPr>
          <p:nvPr/>
        </p:nvPicPr>
        <p:blipFill>
          <a:blip r:embed="rId2"/>
          <a:srcRect/>
          <a:stretch>
            <a:fillRect/>
          </a:stretch>
        </p:blipFill>
        <p:spPr>
          <a:xfrm>
            <a:off x="2829831" y="4178333"/>
            <a:ext cx="4395959" cy="1140165"/>
          </a:xfrm>
          <a:prstGeom prst="rect">
            <a:avLst/>
          </a:prstGeom>
          <a:noFill/>
          <a:ln cap="flat">
            <a:noFill/>
          </a:ln>
        </p:spPr>
      </p:pic>
    </p:spTree>
    <p:extLst>
      <p:ext uri="{BB962C8B-B14F-4D97-AF65-F5344CB8AC3E}">
        <p14:creationId xmlns:p14="http://schemas.microsoft.com/office/powerpoint/2010/main" val="3313657751"/>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11_Title Slide_Yale Blue">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4D710DB4-BD8D-135F-84D2-876C652A52A8}"/>
              </a:ext>
            </a:extLst>
          </p:cNvPr>
          <p:cNvSpPr txBox="1">
            <a:spLocks noGrp="1"/>
          </p:cNvSpPr>
          <p:nvPr>
            <p:ph type="body" idx="4294967295"/>
          </p:nvPr>
        </p:nvSpPr>
        <p:spPr>
          <a:xfrm>
            <a:off x="2826557" y="5400857"/>
            <a:ext cx="8178613" cy="379656"/>
          </a:xfrm>
        </p:spPr>
        <p:txBody>
          <a:bodyPr wrap="square">
            <a:spAutoFit/>
          </a:bodyPr>
          <a:lstStyle>
            <a:lvl1pPr marL="0" indent="0" algn="r">
              <a:buNone/>
              <a:defRPr sz="1867">
                <a:solidFill>
                  <a:srgbClr val="616364"/>
                </a:solidFill>
                <a:latin typeface="Verdana"/>
                <a:ea typeface="Verdana"/>
                <a:cs typeface="Verdana"/>
              </a:defRPr>
            </a:lvl1pPr>
          </a:lstStyle>
          <a:p>
            <a:pPr lvl="0"/>
            <a:r>
              <a:rPr lang="en-US"/>
              <a:t>Date | Presenter Information (14 pt)</a:t>
            </a:r>
          </a:p>
        </p:txBody>
      </p:sp>
      <p:sp>
        <p:nvSpPr>
          <p:cNvPr id="3" name="Title 1">
            <a:extLst>
              <a:ext uri="{FF2B5EF4-FFF2-40B4-BE49-F238E27FC236}">
                <a16:creationId xmlns:a16="http://schemas.microsoft.com/office/drawing/2014/main" id="{86B0E95B-806C-3C6B-EB15-8E6AF7BE8845}"/>
              </a:ext>
            </a:extLst>
          </p:cNvPr>
          <p:cNvSpPr txBox="1">
            <a:spLocks noGrp="1"/>
          </p:cNvSpPr>
          <p:nvPr>
            <p:ph type="title"/>
          </p:nvPr>
        </p:nvSpPr>
        <p:spPr>
          <a:xfrm>
            <a:off x="2826557" y="1807147"/>
            <a:ext cx="8178613" cy="1629460"/>
          </a:xfrm>
        </p:spPr>
        <p:txBody>
          <a:bodyPr anchor="b"/>
          <a:lstStyle>
            <a:lvl1pPr>
              <a:defRPr sz="5334">
                <a:solidFill>
                  <a:srgbClr val="00314C"/>
                </a:solidFill>
                <a:latin typeface="Verdana"/>
                <a:ea typeface="Verdana"/>
                <a:cs typeface="Verdana"/>
              </a:defRPr>
            </a:lvl1pPr>
          </a:lstStyle>
          <a:p>
            <a:pPr lvl="0"/>
            <a:r>
              <a:rPr lang="en-US"/>
              <a:t>Presentation Title (40pt)</a:t>
            </a:r>
          </a:p>
        </p:txBody>
      </p:sp>
      <p:sp>
        <p:nvSpPr>
          <p:cNvPr id="4" name="Date Placeholder 3">
            <a:extLst>
              <a:ext uri="{FF2B5EF4-FFF2-40B4-BE49-F238E27FC236}">
                <a16:creationId xmlns:a16="http://schemas.microsoft.com/office/drawing/2014/main" id="{9D505657-462B-064D-BF04-22BE63ECA687}"/>
              </a:ext>
            </a:extLst>
          </p:cNvPr>
          <p:cNvSpPr txBox="1">
            <a:spLocks noGrp="1"/>
          </p:cNvSpPr>
          <p:nvPr>
            <p:ph type="dt" sz="quarter" idx="7"/>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914446"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defRPr>
            </a:lvl1pPr>
          </a:lstStyle>
          <a:p>
            <a:pPr lvl="0"/>
            <a:fld id="{F3BB1E12-27A0-4793-B454-F08A5244456D}" type="datetime1">
              <a:rPr lang="en-US"/>
              <a:pPr lvl="0"/>
              <a:t>5/20/2026</a:t>
            </a:fld>
            <a:endParaRPr lang="en-US"/>
          </a:p>
        </p:txBody>
      </p:sp>
      <p:sp>
        <p:nvSpPr>
          <p:cNvPr id="5" name="Footer Placeholder 4">
            <a:extLst>
              <a:ext uri="{FF2B5EF4-FFF2-40B4-BE49-F238E27FC236}">
                <a16:creationId xmlns:a16="http://schemas.microsoft.com/office/drawing/2014/main" id="{8A61E248-62AF-2C3D-E1A4-2A6413FF5EB8}"/>
              </a:ext>
            </a:extLst>
          </p:cNvPr>
          <p:cNvSpPr txBox="1">
            <a:spLocks noGrp="1"/>
          </p:cNvSpPr>
          <p:nvPr>
            <p:ph type="ftr" sz="quarter" idx="9"/>
          </p:nvPr>
        </p:nvSpPr>
        <p:spPr/>
        <p:txBody>
          <a:bodyPr anchorCtr="1"/>
          <a:lstStyle>
            <a:lvl1pPr algn="ctr">
              <a:defRPr/>
            </a:lvl1pPr>
          </a:lstStyle>
          <a:p>
            <a:pPr lvl="0"/>
            <a:endParaRPr lang="en-US"/>
          </a:p>
        </p:txBody>
      </p:sp>
      <p:sp>
        <p:nvSpPr>
          <p:cNvPr id="6" name="Slide Number Placeholder 5">
            <a:extLst>
              <a:ext uri="{FF2B5EF4-FFF2-40B4-BE49-F238E27FC236}">
                <a16:creationId xmlns:a16="http://schemas.microsoft.com/office/drawing/2014/main" id="{704CF1B4-F91A-8BF2-B548-26964398D5AD}"/>
              </a:ext>
            </a:extLst>
          </p:cNvPr>
          <p:cNvSpPr txBox="1">
            <a:spLocks noGrp="1"/>
          </p:cNvSpPr>
          <p:nvPr>
            <p:ph type="sldNum" sz="quarter" idx="8"/>
          </p:nvPr>
        </p:nvSpPr>
        <p:spPr/>
        <p:txBody>
          <a:bodyPr/>
          <a:lstStyle>
            <a:lvl1pPr>
              <a:defRPr/>
            </a:lvl1pPr>
          </a:lstStyle>
          <a:p>
            <a:pPr lvl="0"/>
            <a:fld id="{8360F1D0-5EBA-485F-9B85-62FBA6DCBB2F}" type="slidenum">
              <a:t>‹#›</a:t>
            </a:fld>
            <a:endParaRPr lang="en-US"/>
          </a:p>
        </p:txBody>
      </p:sp>
      <p:sp>
        <p:nvSpPr>
          <p:cNvPr id="7" name="Rectangle 12">
            <a:extLst>
              <a:ext uri="{FF2B5EF4-FFF2-40B4-BE49-F238E27FC236}">
                <a16:creationId xmlns:a16="http://schemas.microsoft.com/office/drawing/2014/main" id="{F6DC1A33-6321-8E67-93B5-0C504447D590}"/>
              </a:ext>
            </a:extLst>
          </p:cNvPr>
          <p:cNvSpPr/>
          <p:nvPr/>
        </p:nvSpPr>
        <p:spPr>
          <a:xfrm rot="10799991">
            <a:off x="-28" y="2000224"/>
            <a:ext cx="2785070" cy="2042851"/>
          </a:xfrm>
          <a:custGeom>
            <a:avLst/>
            <a:gdLst>
              <a:gd name="f0" fmla="val 10800000"/>
              <a:gd name="f1" fmla="val 5400000"/>
              <a:gd name="f2" fmla="val 180"/>
              <a:gd name="f3" fmla="val w"/>
              <a:gd name="f4" fmla="val h"/>
              <a:gd name="f5" fmla="val 0"/>
              <a:gd name="f6" fmla="val 10293751"/>
              <a:gd name="f7" fmla="val 1031873"/>
              <a:gd name="f8" fmla="val 3579068"/>
              <a:gd name="f9" fmla="val 1"/>
              <a:gd name="f10" fmla="val 1031872"/>
              <a:gd name="f11" fmla="+- 0 0 -90"/>
              <a:gd name="f12" fmla="*/ f3 1 10293751"/>
              <a:gd name="f13" fmla="*/ f4 1 1031873"/>
              <a:gd name="f14" fmla="+- f7 0 f5"/>
              <a:gd name="f15" fmla="+- f6 0 f5"/>
              <a:gd name="f16" fmla="*/ f11 f0 1"/>
              <a:gd name="f17" fmla="*/ f15 1 10293751"/>
              <a:gd name="f18" fmla="*/ f14 1 1031873"/>
              <a:gd name="f19" fmla="*/ 10293751 f15 1"/>
              <a:gd name="f20" fmla="*/ 0 f15 1"/>
              <a:gd name="f21" fmla="*/ 0 f14 1"/>
              <a:gd name="f22" fmla="*/ 1 f14 1"/>
              <a:gd name="f23" fmla="*/ 1031873 f14 1"/>
              <a:gd name="f24" fmla="*/ 1031872 f14 1"/>
              <a:gd name="f25" fmla="*/ 3579068 f15 1"/>
              <a:gd name="f26" fmla="*/ f16 1 f2"/>
              <a:gd name="f27" fmla="*/ f19 1 10293751"/>
              <a:gd name="f28" fmla="*/ f20 1 10293751"/>
              <a:gd name="f29" fmla="*/ f21 1 1031873"/>
              <a:gd name="f30" fmla="*/ f22 1 1031873"/>
              <a:gd name="f31" fmla="*/ f23 1 1031873"/>
              <a:gd name="f32" fmla="*/ f24 1 1031873"/>
              <a:gd name="f33" fmla="*/ f25 1 10293751"/>
              <a:gd name="f34" fmla="*/ f5 1 f17"/>
              <a:gd name="f35" fmla="*/ f6 1 f17"/>
              <a:gd name="f36" fmla="*/ f5 1 f18"/>
              <a:gd name="f37" fmla="*/ f7 1 f18"/>
              <a:gd name="f38" fmla="+- f26 0 f1"/>
              <a:gd name="f39" fmla="*/ f33 1 f17"/>
              <a:gd name="f40" fmla="*/ f29 1 f18"/>
              <a:gd name="f41" fmla="*/ f27 1 f17"/>
              <a:gd name="f42" fmla="*/ f30 1 f18"/>
              <a:gd name="f43" fmla="*/ f31 1 f18"/>
              <a:gd name="f44" fmla="*/ f28 1 f17"/>
              <a:gd name="f45" fmla="*/ f32 1 f18"/>
              <a:gd name="f46" fmla="*/ f34 f12 1"/>
              <a:gd name="f47" fmla="*/ f35 f12 1"/>
              <a:gd name="f48" fmla="*/ f37 f13 1"/>
              <a:gd name="f49" fmla="*/ f36 f13 1"/>
              <a:gd name="f50" fmla="*/ f39 f12 1"/>
              <a:gd name="f51" fmla="*/ f40 f13 1"/>
              <a:gd name="f52" fmla="*/ f41 f12 1"/>
              <a:gd name="f53" fmla="*/ f42 f13 1"/>
              <a:gd name="f54" fmla="*/ f43 f13 1"/>
              <a:gd name="f55" fmla="*/ f44 f12 1"/>
              <a:gd name="f56" fmla="*/ f45 f13 1"/>
            </a:gdLst>
            <a:ahLst/>
            <a:cxnLst>
              <a:cxn ang="3cd4">
                <a:pos x="hc" y="t"/>
              </a:cxn>
              <a:cxn ang="0">
                <a:pos x="r" y="vc"/>
              </a:cxn>
              <a:cxn ang="cd4">
                <a:pos x="hc" y="b"/>
              </a:cxn>
              <a:cxn ang="cd2">
                <a:pos x="l" y="vc"/>
              </a:cxn>
              <a:cxn ang="f38">
                <a:pos x="f50" y="f51"/>
              </a:cxn>
              <a:cxn ang="f38">
                <a:pos x="f52" y="f53"/>
              </a:cxn>
              <a:cxn ang="f38">
                <a:pos x="f52" y="f54"/>
              </a:cxn>
              <a:cxn ang="f38">
                <a:pos x="f55" y="f56"/>
              </a:cxn>
              <a:cxn ang="f38">
                <a:pos x="f50" y="f51"/>
              </a:cxn>
            </a:cxnLst>
            <a:rect l="f46" t="f49" r="f47" b="f48"/>
            <a:pathLst>
              <a:path w="10293751" h="1031873">
                <a:moveTo>
                  <a:pt x="f8" y="f5"/>
                </a:moveTo>
                <a:lnTo>
                  <a:pt x="f6" y="f9"/>
                </a:lnTo>
                <a:lnTo>
                  <a:pt x="f6" y="f7"/>
                </a:lnTo>
                <a:lnTo>
                  <a:pt x="f5" y="f10"/>
                </a:lnTo>
                <a:lnTo>
                  <a:pt x="f8" y="f5"/>
                </a:lnTo>
                <a:close/>
              </a:path>
            </a:pathLst>
          </a:cu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8" name="Rectangle 8">
            <a:extLst>
              <a:ext uri="{FF2B5EF4-FFF2-40B4-BE49-F238E27FC236}">
                <a16:creationId xmlns:a16="http://schemas.microsoft.com/office/drawing/2014/main" id="{6C4C6036-EFCF-CA76-CDE5-F7D0EECF19E9}"/>
              </a:ext>
            </a:extLst>
          </p:cNvPr>
          <p:cNvSpPr/>
          <p:nvPr/>
        </p:nvSpPr>
        <p:spPr>
          <a:xfrm>
            <a:off x="0" y="6115050"/>
            <a:ext cx="12191996" cy="742950"/>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9" name="Text Placeholder 11">
            <a:extLst>
              <a:ext uri="{FF2B5EF4-FFF2-40B4-BE49-F238E27FC236}">
                <a16:creationId xmlns:a16="http://schemas.microsoft.com/office/drawing/2014/main" id="{46673777-D44C-B4E4-44A8-E04367230678}"/>
              </a:ext>
            </a:extLst>
          </p:cNvPr>
          <p:cNvSpPr txBox="1">
            <a:spLocks noGrp="1"/>
          </p:cNvSpPr>
          <p:nvPr>
            <p:ph type="body" idx="4294967295"/>
          </p:nvPr>
        </p:nvSpPr>
        <p:spPr>
          <a:xfrm>
            <a:off x="2826557" y="3447397"/>
            <a:ext cx="8178613" cy="713314"/>
          </a:xfrm>
        </p:spPr>
        <p:txBody>
          <a:bodyPr/>
          <a:lstStyle>
            <a:lvl1pPr marL="0" indent="0">
              <a:buNone/>
              <a:defRPr sz="3200">
                <a:solidFill>
                  <a:srgbClr val="00314C"/>
                </a:solidFill>
                <a:latin typeface="Verdana"/>
                <a:ea typeface="Verdana"/>
                <a:cs typeface="Verdana"/>
              </a:defRPr>
            </a:lvl1pPr>
          </a:lstStyle>
          <a:p>
            <a:pPr lvl="0"/>
            <a:r>
              <a:rPr lang="en-US"/>
              <a:t>Subtitle (24)</a:t>
            </a:r>
          </a:p>
        </p:txBody>
      </p:sp>
      <p:pic>
        <p:nvPicPr>
          <p:cNvPr id="10" name="Picture 12">
            <a:extLst>
              <a:ext uri="{FF2B5EF4-FFF2-40B4-BE49-F238E27FC236}">
                <a16:creationId xmlns:a16="http://schemas.microsoft.com/office/drawing/2014/main" id="{25DF9C5A-C5A4-CED1-AAEA-34CB615BA593}"/>
              </a:ext>
            </a:extLst>
          </p:cNvPr>
          <p:cNvPicPr>
            <a:picLocks noChangeAspect="1"/>
          </p:cNvPicPr>
          <p:nvPr/>
        </p:nvPicPr>
        <p:blipFill>
          <a:blip r:embed="rId2"/>
          <a:srcRect/>
          <a:stretch>
            <a:fillRect/>
          </a:stretch>
        </p:blipFill>
        <p:spPr>
          <a:xfrm>
            <a:off x="2829831" y="4178333"/>
            <a:ext cx="4395959" cy="1140165"/>
          </a:xfrm>
          <a:prstGeom prst="rect">
            <a:avLst/>
          </a:prstGeom>
          <a:noFill/>
          <a:ln cap="flat">
            <a:noFill/>
          </a:ln>
        </p:spPr>
      </p:pic>
    </p:spTree>
    <p:extLst>
      <p:ext uri="{BB962C8B-B14F-4D97-AF65-F5344CB8AC3E}">
        <p14:creationId xmlns:p14="http://schemas.microsoft.com/office/powerpoint/2010/main" val="3706617150"/>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6_Title and Bullets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9A28FD-C6FB-783A-8FC0-A089E0EC3A39}"/>
              </a:ext>
            </a:extLst>
          </p:cNvPr>
          <p:cNvSpPr txBox="1">
            <a:spLocks noGrp="1"/>
          </p:cNvSpPr>
          <p:nvPr>
            <p:ph type="title"/>
          </p:nvPr>
        </p:nvSpPr>
        <p:spPr>
          <a:xfrm>
            <a:off x="848992" y="783842"/>
            <a:ext cx="10177756"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sp>
        <p:nvSpPr>
          <p:cNvPr id="3" name="Rectangle 9">
            <a:extLst>
              <a:ext uri="{FF2B5EF4-FFF2-40B4-BE49-F238E27FC236}">
                <a16:creationId xmlns:a16="http://schemas.microsoft.com/office/drawing/2014/main" id="{721425A6-EE75-E3C4-0B9E-758E01B095CC}"/>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4" name="Rectangle 10">
            <a:extLst>
              <a:ext uri="{FF2B5EF4-FFF2-40B4-BE49-F238E27FC236}">
                <a16:creationId xmlns:a16="http://schemas.microsoft.com/office/drawing/2014/main" id="{11F68FED-76D8-DFFC-31AB-0E5424E168F2}"/>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5" name="Text Placeholder 4">
            <a:extLst>
              <a:ext uri="{FF2B5EF4-FFF2-40B4-BE49-F238E27FC236}">
                <a16:creationId xmlns:a16="http://schemas.microsoft.com/office/drawing/2014/main" id="{84B68365-CBEF-94C8-45E7-6A45B3593E3B}"/>
              </a:ext>
            </a:extLst>
          </p:cNvPr>
          <p:cNvSpPr txBox="1">
            <a:spLocks noGrp="1"/>
          </p:cNvSpPr>
          <p:nvPr>
            <p:ph type="body" idx="4294967295"/>
          </p:nvPr>
        </p:nvSpPr>
        <p:spPr>
          <a:xfrm>
            <a:off x="848783" y="1615023"/>
            <a:ext cx="10176933" cy="3812115"/>
          </a:xfrm>
        </p:spPr>
        <p:txBody>
          <a:bodyPr/>
          <a:lstStyle>
            <a:lvl1pPr marL="381012" indent="-381012">
              <a:defRPr sz="2133">
                <a:latin typeface="Verdana"/>
                <a:ea typeface="Verdana"/>
                <a:cs typeface="Verdana"/>
              </a:defRPr>
            </a:lvl1pPr>
            <a:lvl2pPr marL="381012" lvl="0" indent="-381012">
              <a:spcBef>
                <a:spcPts val="1000"/>
              </a:spcBef>
              <a:buClr>
                <a:srgbClr val="F5668F"/>
              </a:buClr>
              <a:defRPr sz="2133">
                <a:latin typeface="Verdana"/>
                <a:ea typeface="Verdana"/>
                <a:cs typeface="Verdana"/>
              </a:defRPr>
            </a:lvl2pPr>
          </a:lstStyle>
          <a:p>
            <a:pPr lvl="0"/>
            <a:r>
              <a:rPr lang="en-US"/>
              <a:t>Copy goes here</a:t>
            </a:r>
          </a:p>
          <a:p>
            <a:pPr lvl="0"/>
            <a:endParaRPr lang="en-US"/>
          </a:p>
        </p:txBody>
      </p:sp>
      <p:pic>
        <p:nvPicPr>
          <p:cNvPr id="6" name="Picture 6">
            <a:extLst>
              <a:ext uri="{FF2B5EF4-FFF2-40B4-BE49-F238E27FC236}">
                <a16:creationId xmlns:a16="http://schemas.microsoft.com/office/drawing/2014/main" id="{856C1C40-812D-1782-677D-25FAF72D4B45}"/>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Tree>
    <p:extLst>
      <p:ext uri="{BB962C8B-B14F-4D97-AF65-F5344CB8AC3E}">
        <p14:creationId xmlns:p14="http://schemas.microsoft.com/office/powerpoint/2010/main" val="1893513364"/>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3200868A-2150-D6FE-274A-5B9BF3309999}"/>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pic>
        <p:nvPicPr>
          <p:cNvPr id="3" name="Picture 10">
            <a:extLst>
              <a:ext uri="{FF2B5EF4-FFF2-40B4-BE49-F238E27FC236}">
                <a16:creationId xmlns:a16="http://schemas.microsoft.com/office/drawing/2014/main" id="{6158224D-E8D8-289A-3D7D-BFE51021E082}"/>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
        <p:nvSpPr>
          <p:cNvPr id="4" name="Rectangle 11">
            <a:extLst>
              <a:ext uri="{FF2B5EF4-FFF2-40B4-BE49-F238E27FC236}">
                <a16:creationId xmlns:a16="http://schemas.microsoft.com/office/drawing/2014/main" id="{629AA96C-DAAF-5E09-4E6F-D0E7AA8838F7}"/>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5" name="Title 1">
            <a:extLst>
              <a:ext uri="{FF2B5EF4-FFF2-40B4-BE49-F238E27FC236}">
                <a16:creationId xmlns:a16="http://schemas.microsoft.com/office/drawing/2014/main" id="{D6EB4A94-52B9-B10D-C9C6-42C53A55EBED}"/>
              </a:ext>
            </a:extLst>
          </p:cNvPr>
          <p:cNvSpPr txBox="1">
            <a:spLocks noGrp="1"/>
          </p:cNvSpPr>
          <p:nvPr>
            <p:ph type="title"/>
          </p:nvPr>
        </p:nvSpPr>
        <p:spPr>
          <a:xfrm>
            <a:off x="848992" y="806858"/>
            <a:ext cx="10156176"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sp>
        <p:nvSpPr>
          <p:cNvPr id="6" name="Text Placeholder 15">
            <a:extLst>
              <a:ext uri="{FF2B5EF4-FFF2-40B4-BE49-F238E27FC236}">
                <a16:creationId xmlns:a16="http://schemas.microsoft.com/office/drawing/2014/main" id="{9DE85D5B-3082-31A5-85D7-D6226C4ECB25}"/>
              </a:ext>
            </a:extLst>
          </p:cNvPr>
          <p:cNvSpPr txBox="1">
            <a:spLocks noGrp="1"/>
          </p:cNvSpPr>
          <p:nvPr>
            <p:ph type="body" idx="4294967295"/>
          </p:nvPr>
        </p:nvSpPr>
        <p:spPr>
          <a:xfrm>
            <a:off x="848992" y="1637855"/>
            <a:ext cx="10156176" cy="4117159"/>
          </a:xfrm>
        </p:spPr>
        <p:txBody>
          <a:bodyPr/>
          <a:lstStyle>
            <a:lvl1pPr marL="0" indent="0" defTabSz="914418">
              <a:lnSpc>
                <a:spcPct val="90000"/>
              </a:lnSpc>
              <a:spcAft>
                <a:spcPts val="0"/>
              </a:spcAft>
              <a:buNone/>
              <a:defRPr sz="2133">
                <a:latin typeface="Verdana"/>
                <a:ea typeface="Verdana"/>
                <a:cs typeface="Verdana"/>
              </a:defRPr>
            </a:lvl1pPr>
          </a:lstStyle>
          <a:p>
            <a:pPr lvl="0"/>
            <a:r>
              <a:rPr lang="en-US"/>
              <a:t>Copy goes here. </a:t>
            </a:r>
          </a:p>
        </p:txBody>
      </p:sp>
    </p:spTree>
    <p:extLst>
      <p:ext uri="{BB962C8B-B14F-4D97-AF65-F5344CB8AC3E}">
        <p14:creationId xmlns:p14="http://schemas.microsoft.com/office/powerpoint/2010/main" val="3099736175"/>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6_Two Section | Picture and Copy Layout">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C9482B12-35C4-BDC6-F846-A6CA4AFA29DB}"/>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3" name="Rectangle 11">
            <a:extLst>
              <a:ext uri="{FF2B5EF4-FFF2-40B4-BE49-F238E27FC236}">
                <a16:creationId xmlns:a16="http://schemas.microsoft.com/office/drawing/2014/main" id="{E923BEBF-1EE9-5977-0882-E83FCB4B6418}"/>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4" name="Content Placeholder 2">
            <a:extLst>
              <a:ext uri="{FF2B5EF4-FFF2-40B4-BE49-F238E27FC236}">
                <a16:creationId xmlns:a16="http://schemas.microsoft.com/office/drawing/2014/main" id="{E4B1D7BD-03F6-22A8-F39D-3933511F9CFB}"/>
              </a:ext>
            </a:extLst>
          </p:cNvPr>
          <p:cNvSpPr txBox="1">
            <a:spLocks noGrp="1"/>
          </p:cNvSpPr>
          <p:nvPr>
            <p:ph idx="4294967295"/>
          </p:nvPr>
        </p:nvSpPr>
        <p:spPr>
          <a:xfrm>
            <a:off x="1186836" y="1294452"/>
            <a:ext cx="3983336" cy="3788084"/>
          </a:xfrm>
        </p:spPr>
        <p:txBody>
          <a:bodyPr/>
          <a:lstStyle>
            <a:lvl1pPr marL="0" indent="0">
              <a:buNone/>
              <a:defRPr sz="1200" i="1">
                <a:solidFill>
                  <a:srgbClr val="003B5C"/>
                </a:solidFill>
                <a:latin typeface="Verdana"/>
                <a:ea typeface="Verdana"/>
                <a:cs typeface="Verdana"/>
              </a:defRPr>
            </a:lvl1pPr>
          </a:lstStyle>
          <a:p>
            <a:pPr lvl="0"/>
            <a:r>
              <a:rPr lang="en-US"/>
              <a:t>*Insert Image Here</a:t>
            </a:r>
          </a:p>
        </p:txBody>
      </p:sp>
      <p:sp>
        <p:nvSpPr>
          <p:cNvPr id="5" name="Content Placeholder 3">
            <a:extLst>
              <a:ext uri="{FF2B5EF4-FFF2-40B4-BE49-F238E27FC236}">
                <a16:creationId xmlns:a16="http://schemas.microsoft.com/office/drawing/2014/main" id="{EA45FD97-5498-C2D6-60B9-412C4AB8EFFF}"/>
              </a:ext>
            </a:extLst>
          </p:cNvPr>
          <p:cNvSpPr txBox="1">
            <a:spLocks noGrp="1"/>
          </p:cNvSpPr>
          <p:nvPr>
            <p:ph idx="4294967295"/>
          </p:nvPr>
        </p:nvSpPr>
        <p:spPr>
          <a:xfrm>
            <a:off x="5549394" y="1997122"/>
            <a:ext cx="5466557" cy="3085414"/>
          </a:xfrm>
        </p:spPr>
        <p:txBody>
          <a:bodyPr/>
          <a:lstStyle>
            <a:lvl1pPr marL="0" indent="0" defTabSz="914418">
              <a:lnSpc>
                <a:spcPct val="90000"/>
              </a:lnSpc>
              <a:spcAft>
                <a:spcPts val="0"/>
              </a:spcAft>
              <a:buNone/>
              <a:defRPr sz="2133">
                <a:latin typeface="Verdana"/>
                <a:ea typeface="Verdana"/>
                <a:cs typeface="Verdana"/>
              </a:defRPr>
            </a:lvl1pPr>
          </a:lstStyle>
          <a:p>
            <a:pPr lvl="0"/>
            <a:r>
              <a:rPr lang="en-US"/>
              <a:t>Copy goes here. </a:t>
            </a:r>
          </a:p>
        </p:txBody>
      </p:sp>
      <p:sp>
        <p:nvSpPr>
          <p:cNvPr id="6" name="Title 16">
            <a:extLst>
              <a:ext uri="{FF2B5EF4-FFF2-40B4-BE49-F238E27FC236}">
                <a16:creationId xmlns:a16="http://schemas.microsoft.com/office/drawing/2014/main" id="{48662D5E-9D94-7B29-2C7F-63D1625434B9}"/>
              </a:ext>
            </a:extLst>
          </p:cNvPr>
          <p:cNvSpPr txBox="1">
            <a:spLocks noGrp="1"/>
          </p:cNvSpPr>
          <p:nvPr>
            <p:ph type="title"/>
          </p:nvPr>
        </p:nvSpPr>
        <p:spPr>
          <a:xfrm>
            <a:off x="5549394" y="1154522"/>
            <a:ext cx="5466557"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pic>
        <p:nvPicPr>
          <p:cNvPr id="7" name="Picture 7">
            <a:extLst>
              <a:ext uri="{FF2B5EF4-FFF2-40B4-BE49-F238E27FC236}">
                <a16:creationId xmlns:a16="http://schemas.microsoft.com/office/drawing/2014/main" id="{063A191E-0DD1-8CF4-66AB-B1329453605A}"/>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Tree>
    <p:extLst>
      <p:ext uri="{BB962C8B-B14F-4D97-AF65-F5344CB8AC3E}">
        <p14:creationId xmlns:p14="http://schemas.microsoft.com/office/powerpoint/2010/main" val="971696693"/>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13_Title Slide_Yale Blue">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4A9FE94A-0343-90FE-8B70-79581904C9FB}"/>
              </a:ext>
            </a:extLst>
          </p:cNvPr>
          <p:cNvSpPr txBox="1">
            <a:spLocks noGrp="1"/>
          </p:cNvSpPr>
          <p:nvPr>
            <p:ph type="body" idx="4294967295"/>
          </p:nvPr>
        </p:nvSpPr>
        <p:spPr>
          <a:xfrm>
            <a:off x="2826557" y="5400857"/>
            <a:ext cx="8178613" cy="379656"/>
          </a:xfrm>
        </p:spPr>
        <p:txBody>
          <a:bodyPr wrap="square">
            <a:spAutoFit/>
          </a:bodyPr>
          <a:lstStyle>
            <a:lvl1pPr marL="0" indent="0" algn="r">
              <a:buNone/>
              <a:defRPr sz="1867">
                <a:solidFill>
                  <a:srgbClr val="616364"/>
                </a:solidFill>
                <a:latin typeface="Verdana"/>
                <a:ea typeface="Verdana"/>
                <a:cs typeface="Verdana"/>
              </a:defRPr>
            </a:lvl1pPr>
          </a:lstStyle>
          <a:p>
            <a:pPr lvl="0"/>
            <a:r>
              <a:rPr lang="en-US"/>
              <a:t>Date | Presenter Information (14 pt)</a:t>
            </a:r>
          </a:p>
        </p:txBody>
      </p:sp>
      <p:sp>
        <p:nvSpPr>
          <p:cNvPr id="3" name="Title 1">
            <a:extLst>
              <a:ext uri="{FF2B5EF4-FFF2-40B4-BE49-F238E27FC236}">
                <a16:creationId xmlns:a16="http://schemas.microsoft.com/office/drawing/2014/main" id="{9B764CE0-3B30-2807-C004-055959B6D7D4}"/>
              </a:ext>
            </a:extLst>
          </p:cNvPr>
          <p:cNvSpPr txBox="1">
            <a:spLocks noGrp="1"/>
          </p:cNvSpPr>
          <p:nvPr>
            <p:ph type="title"/>
          </p:nvPr>
        </p:nvSpPr>
        <p:spPr>
          <a:xfrm>
            <a:off x="2826557" y="1807147"/>
            <a:ext cx="8178613" cy="1629460"/>
          </a:xfrm>
        </p:spPr>
        <p:txBody>
          <a:bodyPr anchor="b"/>
          <a:lstStyle>
            <a:lvl1pPr>
              <a:defRPr sz="5334">
                <a:solidFill>
                  <a:srgbClr val="00314C"/>
                </a:solidFill>
                <a:latin typeface="Verdana"/>
                <a:ea typeface="Verdana"/>
                <a:cs typeface="Verdana"/>
              </a:defRPr>
            </a:lvl1pPr>
          </a:lstStyle>
          <a:p>
            <a:pPr lvl="0"/>
            <a:r>
              <a:rPr lang="en-US"/>
              <a:t>Presentation Title (40pt)</a:t>
            </a:r>
          </a:p>
        </p:txBody>
      </p:sp>
      <p:sp>
        <p:nvSpPr>
          <p:cNvPr id="4" name="Date Placeholder 3">
            <a:extLst>
              <a:ext uri="{FF2B5EF4-FFF2-40B4-BE49-F238E27FC236}">
                <a16:creationId xmlns:a16="http://schemas.microsoft.com/office/drawing/2014/main" id="{4EFD87BE-975A-AA62-082E-7E18335B8F03}"/>
              </a:ext>
            </a:extLst>
          </p:cNvPr>
          <p:cNvSpPr txBox="1">
            <a:spLocks noGrp="1"/>
          </p:cNvSpPr>
          <p:nvPr>
            <p:ph type="dt" sz="quarter" idx="7"/>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914446"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defRPr>
            </a:lvl1pPr>
          </a:lstStyle>
          <a:p>
            <a:pPr lvl="0"/>
            <a:fld id="{C0A7C3CA-AB69-40F7-8D5E-73D2F21A3160}" type="datetime1">
              <a:rPr lang="en-US"/>
              <a:pPr lvl="0"/>
              <a:t>5/20/2026</a:t>
            </a:fld>
            <a:endParaRPr lang="en-US"/>
          </a:p>
        </p:txBody>
      </p:sp>
      <p:sp>
        <p:nvSpPr>
          <p:cNvPr id="5" name="Footer Placeholder 4">
            <a:extLst>
              <a:ext uri="{FF2B5EF4-FFF2-40B4-BE49-F238E27FC236}">
                <a16:creationId xmlns:a16="http://schemas.microsoft.com/office/drawing/2014/main" id="{F17E5850-792A-A53E-848C-B8C31F1D7035}"/>
              </a:ext>
            </a:extLst>
          </p:cNvPr>
          <p:cNvSpPr txBox="1">
            <a:spLocks noGrp="1"/>
          </p:cNvSpPr>
          <p:nvPr>
            <p:ph type="ftr" sz="quarter" idx="9"/>
          </p:nvPr>
        </p:nvSpPr>
        <p:spPr/>
        <p:txBody>
          <a:bodyPr anchorCtr="1"/>
          <a:lstStyle>
            <a:lvl1pPr algn="ctr">
              <a:defRPr/>
            </a:lvl1pPr>
          </a:lstStyle>
          <a:p>
            <a:pPr lvl="0"/>
            <a:endParaRPr lang="en-US"/>
          </a:p>
        </p:txBody>
      </p:sp>
      <p:sp>
        <p:nvSpPr>
          <p:cNvPr id="6" name="Slide Number Placeholder 5">
            <a:extLst>
              <a:ext uri="{FF2B5EF4-FFF2-40B4-BE49-F238E27FC236}">
                <a16:creationId xmlns:a16="http://schemas.microsoft.com/office/drawing/2014/main" id="{A6827D28-351C-8D72-982F-388A4041BDD3}"/>
              </a:ext>
            </a:extLst>
          </p:cNvPr>
          <p:cNvSpPr txBox="1">
            <a:spLocks noGrp="1"/>
          </p:cNvSpPr>
          <p:nvPr>
            <p:ph type="sldNum" sz="quarter" idx="8"/>
          </p:nvPr>
        </p:nvSpPr>
        <p:spPr/>
        <p:txBody>
          <a:bodyPr/>
          <a:lstStyle>
            <a:lvl1pPr>
              <a:defRPr/>
            </a:lvl1pPr>
          </a:lstStyle>
          <a:p>
            <a:pPr lvl="0"/>
            <a:fld id="{A984B38D-B416-45F7-98C4-913FFE1B762F}" type="slidenum">
              <a:t>‹#›</a:t>
            </a:fld>
            <a:endParaRPr lang="en-US"/>
          </a:p>
        </p:txBody>
      </p:sp>
      <p:sp>
        <p:nvSpPr>
          <p:cNvPr id="7" name="Rectangle 12">
            <a:extLst>
              <a:ext uri="{FF2B5EF4-FFF2-40B4-BE49-F238E27FC236}">
                <a16:creationId xmlns:a16="http://schemas.microsoft.com/office/drawing/2014/main" id="{6064364F-97B4-5AE2-789F-41BD5DE8E8E4}"/>
              </a:ext>
            </a:extLst>
          </p:cNvPr>
          <p:cNvSpPr/>
          <p:nvPr/>
        </p:nvSpPr>
        <p:spPr>
          <a:xfrm rot="10799991">
            <a:off x="-28" y="2000224"/>
            <a:ext cx="2785070" cy="2042851"/>
          </a:xfrm>
          <a:custGeom>
            <a:avLst/>
            <a:gdLst>
              <a:gd name="f0" fmla="val 10800000"/>
              <a:gd name="f1" fmla="val 5400000"/>
              <a:gd name="f2" fmla="val 180"/>
              <a:gd name="f3" fmla="val w"/>
              <a:gd name="f4" fmla="val h"/>
              <a:gd name="f5" fmla="val 0"/>
              <a:gd name="f6" fmla="val 10293751"/>
              <a:gd name="f7" fmla="val 1031873"/>
              <a:gd name="f8" fmla="val 3579068"/>
              <a:gd name="f9" fmla="val 1"/>
              <a:gd name="f10" fmla="val 1031872"/>
              <a:gd name="f11" fmla="+- 0 0 -90"/>
              <a:gd name="f12" fmla="*/ f3 1 10293751"/>
              <a:gd name="f13" fmla="*/ f4 1 1031873"/>
              <a:gd name="f14" fmla="+- f7 0 f5"/>
              <a:gd name="f15" fmla="+- f6 0 f5"/>
              <a:gd name="f16" fmla="*/ f11 f0 1"/>
              <a:gd name="f17" fmla="*/ f15 1 10293751"/>
              <a:gd name="f18" fmla="*/ f14 1 1031873"/>
              <a:gd name="f19" fmla="*/ 10293751 f15 1"/>
              <a:gd name="f20" fmla="*/ 0 f15 1"/>
              <a:gd name="f21" fmla="*/ 0 f14 1"/>
              <a:gd name="f22" fmla="*/ 1 f14 1"/>
              <a:gd name="f23" fmla="*/ 1031873 f14 1"/>
              <a:gd name="f24" fmla="*/ 1031872 f14 1"/>
              <a:gd name="f25" fmla="*/ 3579068 f15 1"/>
              <a:gd name="f26" fmla="*/ f16 1 f2"/>
              <a:gd name="f27" fmla="*/ f19 1 10293751"/>
              <a:gd name="f28" fmla="*/ f20 1 10293751"/>
              <a:gd name="f29" fmla="*/ f21 1 1031873"/>
              <a:gd name="f30" fmla="*/ f22 1 1031873"/>
              <a:gd name="f31" fmla="*/ f23 1 1031873"/>
              <a:gd name="f32" fmla="*/ f24 1 1031873"/>
              <a:gd name="f33" fmla="*/ f25 1 10293751"/>
              <a:gd name="f34" fmla="*/ f5 1 f17"/>
              <a:gd name="f35" fmla="*/ f6 1 f17"/>
              <a:gd name="f36" fmla="*/ f5 1 f18"/>
              <a:gd name="f37" fmla="*/ f7 1 f18"/>
              <a:gd name="f38" fmla="+- f26 0 f1"/>
              <a:gd name="f39" fmla="*/ f33 1 f17"/>
              <a:gd name="f40" fmla="*/ f29 1 f18"/>
              <a:gd name="f41" fmla="*/ f27 1 f17"/>
              <a:gd name="f42" fmla="*/ f30 1 f18"/>
              <a:gd name="f43" fmla="*/ f31 1 f18"/>
              <a:gd name="f44" fmla="*/ f28 1 f17"/>
              <a:gd name="f45" fmla="*/ f32 1 f18"/>
              <a:gd name="f46" fmla="*/ f34 f12 1"/>
              <a:gd name="f47" fmla="*/ f35 f12 1"/>
              <a:gd name="f48" fmla="*/ f37 f13 1"/>
              <a:gd name="f49" fmla="*/ f36 f13 1"/>
              <a:gd name="f50" fmla="*/ f39 f12 1"/>
              <a:gd name="f51" fmla="*/ f40 f13 1"/>
              <a:gd name="f52" fmla="*/ f41 f12 1"/>
              <a:gd name="f53" fmla="*/ f42 f13 1"/>
              <a:gd name="f54" fmla="*/ f43 f13 1"/>
              <a:gd name="f55" fmla="*/ f44 f12 1"/>
              <a:gd name="f56" fmla="*/ f45 f13 1"/>
            </a:gdLst>
            <a:ahLst/>
            <a:cxnLst>
              <a:cxn ang="3cd4">
                <a:pos x="hc" y="t"/>
              </a:cxn>
              <a:cxn ang="0">
                <a:pos x="r" y="vc"/>
              </a:cxn>
              <a:cxn ang="cd4">
                <a:pos x="hc" y="b"/>
              </a:cxn>
              <a:cxn ang="cd2">
                <a:pos x="l" y="vc"/>
              </a:cxn>
              <a:cxn ang="f38">
                <a:pos x="f50" y="f51"/>
              </a:cxn>
              <a:cxn ang="f38">
                <a:pos x="f52" y="f53"/>
              </a:cxn>
              <a:cxn ang="f38">
                <a:pos x="f52" y="f54"/>
              </a:cxn>
              <a:cxn ang="f38">
                <a:pos x="f55" y="f56"/>
              </a:cxn>
              <a:cxn ang="f38">
                <a:pos x="f50" y="f51"/>
              </a:cxn>
            </a:cxnLst>
            <a:rect l="f46" t="f49" r="f47" b="f48"/>
            <a:pathLst>
              <a:path w="10293751" h="1031873">
                <a:moveTo>
                  <a:pt x="f8" y="f5"/>
                </a:moveTo>
                <a:lnTo>
                  <a:pt x="f6" y="f9"/>
                </a:lnTo>
                <a:lnTo>
                  <a:pt x="f6" y="f7"/>
                </a:lnTo>
                <a:lnTo>
                  <a:pt x="f5" y="f10"/>
                </a:lnTo>
                <a:lnTo>
                  <a:pt x="f8" y="f5"/>
                </a:lnTo>
                <a:close/>
              </a:path>
            </a:pathLst>
          </a:cu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8" name="Rectangle 8">
            <a:extLst>
              <a:ext uri="{FF2B5EF4-FFF2-40B4-BE49-F238E27FC236}">
                <a16:creationId xmlns:a16="http://schemas.microsoft.com/office/drawing/2014/main" id="{D1EA8F5E-1FD5-9F22-E85B-B7FEF763E7C3}"/>
              </a:ext>
            </a:extLst>
          </p:cNvPr>
          <p:cNvSpPr/>
          <p:nvPr/>
        </p:nvSpPr>
        <p:spPr>
          <a:xfrm>
            <a:off x="0" y="6115050"/>
            <a:ext cx="12191996" cy="742950"/>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9" name="Text Placeholder 11">
            <a:extLst>
              <a:ext uri="{FF2B5EF4-FFF2-40B4-BE49-F238E27FC236}">
                <a16:creationId xmlns:a16="http://schemas.microsoft.com/office/drawing/2014/main" id="{35DFD902-D071-6F7F-21AC-3316E0D49989}"/>
              </a:ext>
            </a:extLst>
          </p:cNvPr>
          <p:cNvSpPr txBox="1">
            <a:spLocks noGrp="1"/>
          </p:cNvSpPr>
          <p:nvPr>
            <p:ph type="body" idx="4294967295"/>
          </p:nvPr>
        </p:nvSpPr>
        <p:spPr>
          <a:xfrm>
            <a:off x="2826557" y="3447397"/>
            <a:ext cx="8178613" cy="713314"/>
          </a:xfrm>
        </p:spPr>
        <p:txBody>
          <a:bodyPr/>
          <a:lstStyle>
            <a:lvl1pPr marL="0" indent="0">
              <a:buNone/>
              <a:defRPr sz="3200">
                <a:solidFill>
                  <a:srgbClr val="00314C"/>
                </a:solidFill>
                <a:latin typeface="Verdana"/>
                <a:ea typeface="Verdana"/>
                <a:cs typeface="Verdana"/>
              </a:defRPr>
            </a:lvl1pPr>
          </a:lstStyle>
          <a:p>
            <a:pPr lvl="0"/>
            <a:r>
              <a:rPr lang="en-US"/>
              <a:t>Subtitle (24)</a:t>
            </a:r>
          </a:p>
        </p:txBody>
      </p:sp>
      <p:pic>
        <p:nvPicPr>
          <p:cNvPr id="10" name="Picture 12">
            <a:extLst>
              <a:ext uri="{FF2B5EF4-FFF2-40B4-BE49-F238E27FC236}">
                <a16:creationId xmlns:a16="http://schemas.microsoft.com/office/drawing/2014/main" id="{E02A42C6-A530-FE0B-EEC5-F5B94CEB164D}"/>
              </a:ext>
            </a:extLst>
          </p:cNvPr>
          <p:cNvPicPr>
            <a:picLocks noChangeAspect="1"/>
          </p:cNvPicPr>
          <p:nvPr/>
        </p:nvPicPr>
        <p:blipFill>
          <a:blip r:embed="rId2"/>
          <a:srcRect/>
          <a:stretch>
            <a:fillRect/>
          </a:stretch>
        </p:blipFill>
        <p:spPr>
          <a:xfrm>
            <a:off x="2829831" y="4178333"/>
            <a:ext cx="4395959" cy="1140165"/>
          </a:xfrm>
          <a:prstGeom prst="rect">
            <a:avLst/>
          </a:prstGeom>
          <a:noFill/>
          <a:ln cap="flat">
            <a:noFill/>
          </a:ln>
        </p:spPr>
      </p:pic>
    </p:spTree>
    <p:extLst>
      <p:ext uri="{BB962C8B-B14F-4D97-AF65-F5344CB8AC3E}">
        <p14:creationId xmlns:p14="http://schemas.microsoft.com/office/powerpoint/2010/main" val="1314708091"/>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9_Title and Bullets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99F172-DCEE-CC05-C62F-95ED21FF94D5}"/>
              </a:ext>
            </a:extLst>
          </p:cNvPr>
          <p:cNvSpPr txBox="1">
            <a:spLocks noGrp="1"/>
          </p:cNvSpPr>
          <p:nvPr>
            <p:ph type="title"/>
          </p:nvPr>
        </p:nvSpPr>
        <p:spPr>
          <a:xfrm>
            <a:off x="848992" y="783842"/>
            <a:ext cx="10177756"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sp>
        <p:nvSpPr>
          <p:cNvPr id="3" name="Rectangle 9">
            <a:extLst>
              <a:ext uri="{FF2B5EF4-FFF2-40B4-BE49-F238E27FC236}">
                <a16:creationId xmlns:a16="http://schemas.microsoft.com/office/drawing/2014/main" id="{A66FC3E5-DF43-E62C-E2A5-4E5094FEBB71}"/>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4" name="Rectangle 10">
            <a:extLst>
              <a:ext uri="{FF2B5EF4-FFF2-40B4-BE49-F238E27FC236}">
                <a16:creationId xmlns:a16="http://schemas.microsoft.com/office/drawing/2014/main" id="{18911FF2-1DAB-22BB-ED1F-C19A0AADB170}"/>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5" name="Text Placeholder 4">
            <a:extLst>
              <a:ext uri="{FF2B5EF4-FFF2-40B4-BE49-F238E27FC236}">
                <a16:creationId xmlns:a16="http://schemas.microsoft.com/office/drawing/2014/main" id="{38BA96EB-D4A6-9C6E-05F6-DB4E10E87276}"/>
              </a:ext>
            </a:extLst>
          </p:cNvPr>
          <p:cNvSpPr txBox="1">
            <a:spLocks noGrp="1"/>
          </p:cNvSpPr>
          <p:nvPr>
            <p:ph type="body" idx="4294967295"/>
          </p:nvPr>
        </p:nvSpPr>
        <p:spPr>
          <a:xfrm>
            <a:off x="848783" y="1615023"/>
            <a:ext cx="10176933" cy="3812115"/>
          </a:xfrm>
        </p:spPr>
        <p:txBody>
          <a:bodyPr/>
          <a:lstStyle>
            <a:lvl1pPr marL="381012" indent="-381012">
              <a:defRPr sz="2133">
                <a:latin typeface="Verdana"/>
                <a:ea typeface="Verdana"/>
                <a:cs typeface="Verdana"/>
              </a:defRPr>
            </a:lvl1pPr>
            <a:lvl2pPr marL="381012" lvl="0" indent="-381012">
              <a:spcBef>
                <a:spcPts val="1000"/>
              </a:spcBef>
              <a:buClr>
                <a:srgbClr val="F5668F"/>
              </a:buClr>
              <a:defRPr sz="2133">
                <a:latin typeface="Verdana"/>
                <a:ea typeface="Verdana"/>
                <a:cs typeface="Verdana"/>
              </a:defRPr>
            </a:lvl2pPr>
          </a:lstStyle>
          <a:p>
            <a:pPr lvl="0"/>
            <a:r>
              <a:rPr lang="en-US"/>
              <a:t>Copy goes here</a:t>
            </a:r>
          </a:p>
          <a:p>
            <a:pPr lvl="0"/>
            <a:endParaRPr lang="en-US"/>
          </a:p>
        </p:txBody>
      </p:sp>
      <p:pic>
        <p:nvPicPr>
          <p:cNvPr id="6" name="Picture 6">
            <a:extLst>
              <a:ext uri="{FF2B5EF4-FFF2-40B4-BE49-F238E27FC236}">
                <a16:creationId xmlns:a16="http://schemas.microsoft.com/office/drawing/2014/main" id="{84D996AE-A547-C5AC-4FB3-0D386091C3B6}"/>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Tree>
    <p:extLst>
      <p:ext uri="{BB962C8B-B14F-4D97-AF65-F5344CB8AC3E}">
        <p14:creationId xmlns:p14="http://schemas.microsoft.com/office/powerpoint/2010/main" val="324078071"/>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11_Title and Content">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0CD5DA5D-9F59-AD17-D47A-56F3E3F4787C}"/>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pic>
        <p:nvPicPr>
          <p:cNvPr id="3" name="Picture 10">
            <a:extLst>
              <a:ext uri="{FF2B5EF4-FFF2-40B4-BE49-F238E27FC236}">
                <a16:creationId xmlns:a16="http://schemas.microsoft.com/office/drawing/2014/main" id="{C4D9CB78-F019-679A-7527-7E62CED8560A}"/>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
        <p:nvSpPr>
          <p:cNvPr id="4" name="Rectangle 11">
            <a:extLst>
              <a:ext uri="{FF2B5EF4-FFF2-40B4-BE49-F238E27FC236}">
                <a16:creationId xmlns:a16="http://schemas.microsoft.com/office/drawing/2014/main" id="{B2E919B6-68DF-209E-DAB9-2D05095B168C}"/>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5" name="Title 1">
            <a:extLst>
              <a:ext uri="{FF2B5EF4-FFF2-40B4-BE49-F238E27FC236}">
                <a16:creationId xmlns:a16="http://schemas.microsoft.com/office/drawing/2014/main" id="{A01AB4DA-D2E6-5DCD-65D2-83E9C8D225D3}"/>
              </a:ext>
            </a:extLst>
          </p:cNvPr>
          <p:cNvSpPr txBox="1">
            <a:spLocks noGrp="1"/>
          </p:cNvSpPr>
          <p:nvPr>
            <p:ph type="title"/>
          </p:nvPr>
        </p:nvSpPr>
        <p:spPr>
          <a:xfrm>
            <a:off x="848992" y="806858"/>
            <a:ext cx="10156176"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sp>
        <p:nvSpPr>
          <p:cNvPr id="6" name="Text Placeholder 15">
            <a:extLst>
              <a:ext uri="{FF2B5EF4-FFF2-40B4-BE49-F238E27FC236}">
                <a16:creationId xmlns:a16="http://schemas.microsoft.com/office/drawing/2014/main" id="{FE4556FC-7F05-5D6E-7495-B5CC1A432D20}"/>
              </a:ext>
            </a:extLst>
          </p:cNvPr>
          <p:cNvSpPr txBox="1">
            <a:spLocks noGrp="1"/>
          </p:cNvSpPr>
          <p:nvPr>
            <p:ph type="body" idx="4294967295"/>
          </p:nvPr>
        </p:nvSpPr>
        <p:spPr>
          <a:xfrm>
            <a:off x="848992" y="1637855"/>
            <a:ext cx="10156176" cy="4117159"/>
          </a:xfrm>
        </p:spPr>
        <p:txBody>
          <a:bodyPr/>
          <a:lstStyle>
            <a:lvl1pPr marL="0" indent="0" defTabSz="914418">
              <a:lnSpc>
                <a:spcPct val="90000"/>
              </a:lnSpc>
              <a:spcAft>
                <a:spcPts val="0"/>
              </a:spcAft>
              <a:buNone/>
              <a:defRPr sz="2133">
                <a:latin typeface="Verdana"/>
                <a:ea typeface="Verdana"/>
                <a:cs typeface="Verdana"/>
              </a:defRPr>
            </a:lvl1pPr>
          </a:lstStyle>
          <a:p>
            <a:pPr lvl="0"/>
            <a:r>
              <a:rPr lang="en-US"/>
              <a:t>Copy goes here. </a:t>
            </a:r>
          </a:p>
        </p:txBody>
      </p:sp>
    </p:spTree>
    <p:extLst>
      <p:ext uri="{BB962C8B-B14F-4D97-AF65-F5344CB8AC3E}">
        <p14:creationId xmlns:p14="http://schemas.microsoft.com/office/powerpoint/2010/main" val="252807393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Quotation">
  <p:cSld name="Quotation 3 2">
    <p:spTree>
      <p:nvGrpSpPr>
        <p:cNvPr id="1" name="Shape 9453"/>
        <p:cNvGrpSpPr/>
        <p:nvPr/>
      </p:nvGrpSpPr>
      <p:grpSpPr>
        <a:xfrm>
          <a:off x="0" y="0"/>
          <a:ext cx="0" cy="0"/>
          <a:chOff x="0" y="0"/>
          <a:chExt cx="0" cy="0"/>
        </a:xfrm>
      </p:grpSpPr>
      <p:sp>
        <p:nvSpPr>
          <p:cNvPr id="9454" name="Google Shape;9454;p135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455" name="Google Shape;9455;p135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456" name="Google Shape;9456;p135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57" name="Google Shape;9457;p13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58" name="Google Shape;9458;p13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59" name="Google Shape;9459;p13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460" name="Google Shape;9460;p1357"/>
          <p:cNvGrpSpPr/>
          <p:nvPr/>
        </p:nvGrpSpPr>
        <p:grpSpPr>
          <a:xfrm>
            <a:off x="7191542" y="1"/>
            <a:ext cx="5000459" cy="1425992"/>
            <a:chOff x="7191542" y="1"/>
            <a:chExt cx="5000459" cy="1425992"/>
          </a:xfrm>
        </p:grpSpPr>
        <p:pic>
          <p:nvPicPr>
            <p:cNvPr id="9461" name="Google Shape;9461;p13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62" name="Google Shape;9462;p1357"/>
            <p:cNvGrpSpPr/>
            <p:nvPr/>
          </p:nvGrpSpPr>
          <p:grpSpPr>
            <a:xfrm>
              <a:off x="7191542" y="1"/>
              <a:ext cx="5000459" cy="1425992"/>
              <a:chOff x="7186272" y="0"/>
              <a:chExt cx="5005729" cy="1427495"/>
            </a:xfrm>
          </p:grpSpPr>
          <p:sp>
            <p:nvSpPr>
              <p:cNvPr id="9463" name="Google Shape;9463;p13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464" name="Google Shape;9464;p13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465" name="Google Shape;9465;p135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9_Two Section | Picture and Copy Layout">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A87F13AF-AF29-C48D-DEE9-BAAE9A1C8F47}"/>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3" name="Rectangle 11">
            <a:extLst>
              <a:ext uri="{FF2B5EF4-FFF2-40B4-BE49-F238E27FC236}">
                <a16:creationId xmlns:a16="http://schemas.microsoft.com/office/drawing/2014/main" id="{8911A02C-C44E-8C83-671B-FF3FBC8AF9E1}"/>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4" name="Content Placeholder 2">
            <a:extLst>
              <a:ext uri="{FF2B5EF4-FFF2-40B4-BE49-F238E27FC236}">
                <a16:creationId xmlns:a16="http://schemas.microsoft.com/office/drawing/2014/main" id="{BED57A19-AF14-0CE3-18EF-3621F65D612F}"/>
              </a:ext>
            </a:extLst>
          </p:cNvPr>
          <p:cNvSpPr txBox="1">
            <a:spLocks noGrp="1"/>
          </p:cNvSpPr>
          <p:nvPr>
            <p:ph idx="4294967295"/>
          </p:nvPr>
        </p:nvSpPr>
        <p:spPr>
          <a:xfrm>
            <a:off x="1186836" y="1294452"/>
            <a:ext cx="3983336" cy="3788084"/>
          </a:xfrm>
        </p:spPr>
        <p:txBody>
          <a:bodyPr/>
          <a:lstStyle>
            <a:lvl1pPr marL="0" indent="0">
              <a:buNone/>
              <a:defRPr sz="1200" i="1">
                <a:solidFill>
                  <a:srgbClr val="003B5C"/>
                </a:solidFill>
                <a:latin typeface="Verdana"/>
                <a:ea typeface="Verdana"/>
                <a:cs typeface="Verdana"/>
              </a:defRPr>
            </a:lvl1pPr>
          </a:lstStyle>
          <a:p>
            <a:pPr lvl="0"/>
            <a:r>
              <a:rPr lang="en-US"/>
              <a:t>*Insert Image Here</a:t>
            </a:r>
          </a:p>
        </p:txBody>
      </p:sp>
      <p:sp>
        <p:nvSpPr>
          <p:cNvPr id="5" name="Content Placeholder 3">
            <a:extLst>
              <a:ext uri="{FF2B5EF4-FFF2-40B4-BE49-F238E27FC236}">
                <a16:creationId xmlns:a16="http://schemas.microsoft.com/office/drawing/2014/main" id="{493B5FD9-01F0-C8C3-2BBE-DB9682A166EF}"/>
              </a:ext>
            </a:extLst>
          </p:cNvPr>
          <p:cNvSpPr txBox="1">
            <a:spLocks noGrp="1"/>
          </p:cNvSpPr>
          <p:nvPr>
            <p:ph idx="4294967295"/>
          </p:nvPr>
        </p:nvSpPr>
        <p:spPr>
          <a:xfrm>
            <a:off x="5549394" y="1997122"/>
            <a:ext cx="5466557" cy="3085414"/>
          </a:xfrm>
        </p:spPr>
        <p:txBody>
          <a:bodyPr/>
          <a:lstStyle>
            <a:lvl1pPr marL="0" indent="0" defTabSz="914418">
              <a:lnSpc>
                <a:spcPct val="90000"/>
              </a:lnSpc>
              <a:spcAft>
                <a:spcPts val="0"/>
              </a:spcAft>
              <a:buNone/>
              <a:defRPr sz="2133">
                <a:latin typeface="Verdana"/>
                <a:ea typeface="Verdana"/>
                <a:cs typeface="Verdana"/>
              </a:defRPr>
            </a:lvl1pPr>
          </a:lstStyle>
          <a:p>
            <a:pPr lvl="0"/>
            <a:r>
              <a:rPr lang="en-US"/>
              <a:t>Copy goes here. </a:t>
            </a:r>
          </a:p>
        </p:txBody>
      </p:sp>
      <p:sp>
        <p:nvSpPr>
          <p:cNvPr id="6" name="Title 16">
            <a:extLst>
              <a:ext uri="{FF2B5EF4-FFF2-40B4-BE49-F238E27FC236}">
                <a16:creationId xmlns:a16="http://schemas.microsoft.com/office/drawing/2014/main" id="{ADB7587F-C4BA-B07C-3D9F-A1EE95CF4EA4}"/>
              </a:ext>
            </a:extLst>
          </p:cNvPr>
          <p:cNvSpPr txBox="1">
            <a:spLocks noGrp="1"/>
          </p:cNvSpPr>
          <p:nvPr>
            <p:ph type="title"/>
          </p:nvPr>
        </p:nvSpPr>
        <p:spPr>
          <a:xfrm>
            <a:off x="5549394" y="1154522"/>
            <a:ext cx="5466557"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pic>
        <p:nvPicPr>
          <p:cNvPr id="7" name="Picture 7">
            <a:extLst>
              <a:ext uri="{FF2B5EF4-FFF2-40B4-BE49-F238E27FC236}">
                <a16:creationId xmlns:a16="http://schemas.microsoft.com/office/drawing/2014/main" id="{A0274B33-BF05-ABED-66EB-CFE53506E05B}"/>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Tree>
    <p:extLst>
      <p:ext uri="{BB962C8B-B14F-4D97-AF65-F5344CB8AC3E}">
        <p14:creationId xmlns:p14="http://schemas.microsoft.com/office/powerpoint/2010/main" val="3299855897"/>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14_Title Slide_Yale Blue">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F1A53B0D-D8F8-37B3-7E48-48C53D724AC3}"/>
              </a:ext>
            </a:extLst>
          </p:cNvPr>
          <p:cNvSpPr txBox="1">
            <a:spLocks noGrp="1"/>
          </p:cNvSpPr>
          <p:nvPr>
            <p:ph type="body" idx="4294967295"/>
          </p:nvPr>
        </p:nvSpPr>
        <p:spPr>
          <a:xfrm>
            <a:off x="2826557" y="5400857"/>
            <a:ext cx="8178613" cy="379656"/>
          </a:xfrm>
        </p:spPr>
        <p:txBody>
          <a:bodyPr wrap="square">
            <a:spAutoFit/>
          </a:bodyPr>
          <a:lstStyle>
            <a:lvl1pPr marL="0" indent="0" algn="r">
              <a:buNone/>
              <a:defRPr sz="1867">
                <a:solidFill>
                  <a:srgbClr val="616364"/>
                </a:solidFill>
                <a:latin typeface="Verdana"/>
                <a:ea typeface="Verdana"/>
                <a:cs typeface="Verdana"/>
              </a:defRPr>
            </a:lvl1pPr>
          </a:lstStyle>
          <a:p>
            <a:pPr lvl="0"/>
            <a:r>
              <a:rPr lang="en-US"/>
              <a:t>Date | Presenter Information (14 pt)</a:t>
            </a:r>
          </a:p>
        </p:txBody>
      </p:sp>
      <p:sp>
        <p:nvSpPr>
          <p:cNvPr id="3" name="Title 1">
            <a:extLst>
              <a:ext uri="{FF2B5EF4-FFF2-40B4-BE49-F238E27FC236}">
                <a16:creationId xmlns:a16="http://schemas.microsoft.com/office/drawing/2014/main" id="{8CC94C72-E1EA-6E94-47EC-99B2289522EC}"/>
              </a:ext>
            </a:extLst>
          </p:cNvPr>
          <p:cNvSpPr txBox="1">
            <a:spLocks noGrp="1"/>
          </p:cNvSpPr>
          <p:nvPr>
            <p:ph type="title"/>
          </p:nvPr>
        </p:nvSpPr>
        <p:spPr>
          <a:xfrm>
            <a:off x="2826557" y="1807147"/>
            <a:ext cx="8178613" cy="1629460"/>
          </a:xfrm>
        </p:spPr>
        <p:txBody>
          <a:bodyPr anchor="b"/>
          <a:lstStyle>
            <a:lvl1pPr>
              <a:defRPr sz="5334">
                <a:solidFill>
                  <a:srgbClr val="00314C"/>
                </a:solidFill>
                <a:latin typeface="Verdana"/>
                <a:ea typeface="Verdana"/>
                <a:cs typeface="Verdana"/>
              </a:defRPr>
            </a:lvl1pPr>
          </a:lstStyle>
          <a:p>
            <a:pPr lvl="0"/>
            <a:r>
              <a:rPr lang="en-US"/>
              <a:t>Presentation Title (40pt)</a:t>
            </a:r>
          </a:p>
        </p:txBody>
      </p:sp>
      <p:sp>
        <p:nvSpPr>
          <p:cNvPr id="4" name="Date Placeholder 3">
            <a:extLst>
              <a:ext uri="{FF2B5EF4-FFF2-40B4-BE49-F238E27FC236}">
                <a16:creationId xmlns:a16="http://schemas.microsoft.com/office/drawing/2014/main" id="{0639F9D5-02E9-C2ED-1293-2D054ED1AB58}"/>
              </a:ext>
            </a:extLst>
          </p:cNvPr>
          <p:cNvSpPr txBox="1">
            <a:spLocks noGrp="1"/>
          </p:cNvSpPr>
          <p:nvPr>
            <p:ph type="dt" sz="quarter" idx="7"/>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914446"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defRPr>
            </a:lvl1pPr>
          </a:lstStyle>
          <a:p>
            <a:pPr lvl="0"/>
            <a:fld id="{6FF17CF0-A0A8-4495-A8A9-4A9C5335E69D}" type="datetime1">
              <a:rPr lang="en-US"/>
              <a:pPr lvl="0"/>
              <a:t>5/20/2026</a:t>
            </a:fld>
            <a:endParaRPr lang="en-US"/>
          </a:p>
        </p:txBody>
      </p:sp>
      <p:sp>
        <p:nvSpPr>
          <p:cNvPr id="5" name="Footer Placeholder 4">
            <a:extLst>
              <a:ext uri="{FF2B5EF4-FFF2-40B4-BE49-F238E27FC236}">
                <a16:creationId xmlns:a16="http://schemas.microsoft.com/office/drawing/2014/main" id="{CEC384CB-8B32-74E8-A77E-64C442574C94}"/>
              </a:ext>
            </a:extLst>
          </p:cNvPr>
          <p:cNvSpPr txBox="1">
            <a:spLocks noGrp="1"/>
          </p:cNvSpPr>
          <p:nvPr>
            <p:ph type="ftr" sz="quarter" idx="9"/>
          </p:nvPr>
        </p:nvSpPr>
        <p:spPr/>
        <p:txBody>
          <a:bodyPr anchorCtr="1"/>
          <a:lstStyle>
            <a:lvl1pPr algn="ctr">
              <a:defRPr/>
            </a:lvl1pPr>
          </a:lstStyle>
          <a:p>
            <a:pPr lvl="0"/>
            <a:endParaRPr lang="en-US"/>
          </a:p>
        </p:txBody>
      </p:sp>
      <p:sp>
        <p:nvSpPr>
          <p:cNvPr id="6" name="Slide Number Placeholder 5">
            <a:extLst>
              <a:ext uri="{FF2B5EF4-FFF2-40B4-BE49-F238E27FC236}">
                <a16:creationId xmlns:a16="http://schemas.microsoft.com/office/drawing/2014/main" id="{4F99D0B0-23CF-BD39-CCA6-DA39DA41B274}"/>
              </a:ext>
            </a:extLst>
          </p:cNvPr>
          <p:cNvSpPr txBox="1">
            <a:spLocks noGrp="1"/>
          </p:cNvSpPr>
          <p:nvPr>
            <p:ph type="sldNum" sz="quarter" idx="8"/>
          </p:nvPr>
        </p:nvSpPr>
        <p:spPr/>
        <p:txBody>
          <a:bodyPr/>
          <a:lstStyle>
            <a:lvl1pPr>
              <a:defRPr/>
            </a:lvl1pPr>
          </a:lstStyle>
          <a:p>
            <a:pPr lvl="0"/>
            <a:fld id="{A7700294-CAAE-451B-ADA8-DAD75BCD5D8D}" type="slidenum">
              <a:t>‹#›</a:t>
            </a:fld>
            <a:endParaRPr lang="en-US"/>
          </a:p>
        </p:txBody>
      </p:sp>
      <p:sp>
        <p:nvSpPr>
          <p:cNvPr id="7" name="Rectangle 12">
            <a:extLst>
              <a:ext uri="{FF2B5EF4-FFF2-40B4-BE49-F238E27FC236}">
                <a16:creationId xmlns:a16="http://schemas.microsoft.com/office/drawing/2014/main" id="{530E4703-6D98-0E9A-1954-B2DF0D13199E}"/>
              </a:ext>
            </a:extLst>
          </p:cNvPr>
          <p:cNvSpPr/>
          <p:nvPr/>
        </p:nvSpPr>
        <p:spPr>
          <a:xfrm rot="10799991">
            <a:off x="-28" y="2000224"/>
            <a:ext cx="2785070" cy="2042851"/>
          </a:xfrm>
          <a:custGeom>
            <a:avLst/>
            <a:gdLst>
              <a:gd name="f0" fmla="val 10800000"/>
              <a:gd name="f1" fmla="val 5400000"/>
              <a:gd name="f2" fmla="val 180"/>
              <a:gd name="f3" fmla="val w"/>
              <a:gd name="f4" fmla="val h"/>
              <a:gd name="f5" fmla="val 0"/>
              <a:gd name="f6" fmla="val 10293751"/>
              <a:gd name="f7" fmla="val 1031873"/>
              <a:gd name="f8" fmla="val 3579068"/>
              <a:gd name="f9" fmla="val 1"/>
              <a:gd name="f10" fmla="val 1031872"/>
              <a:gd name="f11" fmla="+- 0 0 -90"/>
              <a:gd name="f12" fmla="*/ f3 1 10293751"/>
              <a:gd name="f13" fmla="*/ f4 1 1031873"/>
              <a:gd name="f14" fmla="+- f7 0 f5"/>
              <a:gd name="f15" fmla="+- f6 0 f5"/>
              <a:gd name="f16" fmla="*/ f11 f0 1"/>
              <a:gd name="f17" fmla="*/ f15 1 10293751"/>
              <a:gd name="f18" fmla="*/ f14 1 1031873"/>
              <a:gd name="f19" fmla="*/ 10293751 f15 1"/>
              <a:gd name="f20" fmla="*/ 0 f15 1"/>
              <a:gd name="f21" fmla="*/ 0 f14 1"/>
              <a:gd name="f22" fmla="*/ 1 f14 1"/>
              <a:gd name="f23" fmla="*/ 1031873 f14 1"/>
              <a:gd name="f24" fmla="*/ 1031872 f14 1"/>
              <a:gd name="f25" fmla="*/ 3579068 f15 1"/>
              <a:gd name="f26" fmla="*/ f16 1 f2"/>
              <a:gd name="f27" fmla="*/ f19 1 10293751"/>
              <a:gd name="f28" fmla="*/ f20 1 10293751"/>
              <a:gd name="f29" fmla="*/ f21 1 1031873"/>
              <a:gd name="f30" fmla="*/ f22 1 1031873"/>
              <a:gd name="f31" fmla="*/ f23 1 1031873"/>
              <a:gd name="f32" fmla="*/ f24 1 1031873"/>
              <a:gd name="f33" fmla="*/ f25 1 10293751"/>
              <a:gd name="f34" fmla="*/ f5 1 f17"/>
              <a:gd name="f35" fmla="*/ f6 1 f17"/>
              <a:gd name="f36" fmla="*/ f5 1 f18"/>
              <a:gd name="f37" fmla="*/ f7 1 f18"/>
              <a:gd name="f38" fmla="+- f26 0 f1"/>
              <a:gd name="f39" fmla="*/ f33 1 f17"/>
              <a:gd name="f40" fmla="*/ f29 1 f18"/>
              <a:gd name="f41" fmla="*/ f27 1 f17"/>
              <a:gd name="f42" fmla="*/ f30 1 f18"/>
              <a:gd name="f43" fmla="*/ f31 1 f18"/>
              <a:gd name="f44" fmla="*/ f28 1 f17"/>
              <a:gd name="f45" fmla="*/ f32 1 f18"/>
              <a:gd name="f46" fmla="*/ f34 f12 1"/>
              <a:gd name="f47" fmla="*/ f35 f12 1"/>
              <a:gd name="f48" fmla="*/ f37 f13 1"/>
              <a:gd name="f49" fmla="*/ f36 f13 1"/>
              <a:gd name="f50" fmla="*/ f39 f12 1"/>
              <a:gd name="f51" fmla="*/ f40 f13 1"/>
              <a:gd name="f52" fmla="*/ f41 f12 1"/>
              <a:gd name="f53" fmla="*/ f42 f13 1"/>
              <a:gd name="f54" fmla="*/ f43 f13 1"/>
              <a:gd name="f55" fmla="*/ f44 f12 1"/>
              <a:gd name="f56" fmla="*/ f45 f13 1"/>
            </a:gdLst>
            <a:ahLst/>
            <a:cxnLst>
              <a:cxn ang="3cd4">
                <a:pos x="hc" y="t"/>
              </a:cxn>
              <a:cxn ang="0">
                <a:pos x="r" y="vc"/>
              </a:cxn>
              <a:cxn ang="cd4">
                <a:pos x="hc" y="b"/>
              </a:cxn>
              <a:cxn ang="cd2">
                <a:pos x="l" y="vc"/>
              </a:cxn>
              <a:cxn ang="f38">
                <a:pos x="f50" y="f51"/>
              </a:cxn>
              <a:cxn ang="f38">
                <a:pos x="f52" y="f53"/>
              </a:cxn>
              <a:cxn ang="f38">
                <a:pos x="f52" y="f54"/>
              </a:cxn>
              <a:cxn ang="f38">
                <a:pos x="f55" y="f56"/>
              </a:cxn>
              <a:cxn ang="f38">
                <a:pos x="f50" y="f51"/>
              </a:cxn>
            </a:cxnLst>
            <a:rect l="f46" t="f49" r="f47" b="f48"/>
            <a:pathLst>
              <a:path w="10293751" h="1031873">
                <a:moveTo>
                  <a:pt x="f8" y="f5"/>
                </a:moveTo>
                <a:lnTo>
                  <a:pt x="f6" y="f9"/>
                </a:lnTo>
                <a:lnTo>
                  <a:pt x="f6" y="f7"/>
                </a:lnTo>
                <a:lnTo>
                  <a:pt x="f5" y="f10"/>
                </a:lnTo>
                <a:lnTo>
                  <a:pt x="f8" y="f5"/>
                </a:lnTo>
                <a:close/>
              </a:path>
            </a:pathLst>
          </a:cu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8" name="Rectangle 8">
            <a:extLst>
              <a:ext uri="{FF2B5EF4-FFF2-40B4-BE49-F238E27FC236}">
                <a16:creationId xmlns:a16="http://schemas.microsoft.com/office/drawing/2014/main" id="{3FCAB13F-CB18-6AB9-06FC-47D34404F335}"/>
              </a:ext>
            </a:extLst>
          </p:cNvPr>
          <p:cNvSpPr/>
          <p:nvPr/>
        </p:nvSpPr>
        <p:spPr>
          <a:xfrm>
            <a:off x="0" y="6115050"/>
            <a:ext cx="12191996" cy="742950"/>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9" name="Text Placeholder 11">
            <a:extLst>
              <a:ext uri="{FF2B5EF4-FFF2-40B4-BE49-F238E27FC236}">
                <a16:creationId xmlns:a16="http://schemas.microsoft.com/office/drawing/2014/main" id="{1BB78B88-1546-66DA-A563-1256B815EDA5}"/>
              </a:ext>
            </a:extLst>
          </p:cNvPr>
          <p:cNvSpPr txBox="1">
            <a:spLocks noGrp="1"/>
          </p:cNvSpPr>
          <p:nvPr>
            <p:ph type="body" idx="4294967295"/>
          </p:nvPr>
        </p:nvSpPr>
        <p:spPr>
          <a:xfrm>
            <a:off x="2826557" y="3447397"/>
            <a:ext cx="8178613" cy="713314"/>
          </a:xfrm>
        </p:spPr>
        <p:txBody>
          <a:bodyPr/>
          <a:lstStyle>
            <a:lvl1pPr marL="0" indent="0">
              <a:buNone/>
              <a:defRPr sz="3200">
                <a:solidFill>
                  <a:srgbClr val="00314C"/>
                </a:solidFill>
                <a:latin typeface="Verdana"/>
                <a:ea typeface="Verdana"/>
                <a:cs typeface="Verdana"/>
              </a:defRPr>
            </a:lvl1pPr>
          </a:lstStyle>
          <a:p>
            <a:pPr lvl="0"/>
            <a:r>
              <a:rPr lang="en-US"/>
              <a:t>Subtitle (24)</a:t>
            </a:r>
          </a:p>
        </p:txBody>
      </p:sp>
      <p:pic>
        <p:nvPicPr>
          <p:cNvPr id="10" name="Picture 12">
            <a:extLst>
              <a:ext uri="{FF2B5EF4-FFF2-40B4-BE49-F238E27FC236}">
                <a16:creationId xmlns:a16="http://schemas.microsoft.com/office/drawing/2014/main" id="{DCF4110C-6DC4-8AD1-0C98-51B20240A5DF}"/>
              </a:ext>
            </a:extLst>
          </p:cNvPr>
          <p:cNvPicPr>
            <a:picLocks noChangeAspect="1"/>
          </p:cNvPicPr>
          <p:nvPr/>
        </p:nvPicPr>
        <p:blipFill>
          <a:blip r:embed="rId2"/>
          <a:srcRect/>
          <a:stretch>
            <a:fillRect/>
          </a:stretch>
        </p:blipFill>
        <p:spPr>
          <a:xfrm>
            <a:off x="2829831" y="4178333"/>
            <a:ext cx="4395959" cy="1140165"/>
          </a:xfrm>
          <a:prstGeom prst="rect">
            <a:avLst/>
          </a:prstGeom>
          <a:noFill/>
          <a:ln cap="flat">
            <a:noFill/>
          </a:ln>
        </p:spPr>
      </p:pic>
    </p:spTree>
    <p:extLst>
      <p:ext uri="{BB962C8B-B14F-4D97-AF65-F5344CB8AC3E}">
        <p14:creationId xmlns:p14="http://schemas.microsoft.com/office/powerpoint/2010/main" val="1088658035"/>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15_Title Slide_Yale Blue">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7BCEC55F-3FCB-A9D1-134B-DEB64A803AC8}"/>
              </a:ext>
            </a:extLst>
          </p:cNvPr>
          <p:cNvSpPr txBox="1">
            <a:spLocks noGrp="1"/>
          </p:cNvSpPr>
          <p:nvPr>
            <p:ph type="body" idx="4294967295"/>
          </p:nvPr>
        </p:nvSpPr>
        <p:spPr>
          <a:xfrm>
            <a:off x="2826557" y="5400857"/>
            <a:ext cx="8178613" cy="379656"/>
          </a:xfrm>
        </p:spPr>
        <p:txBody>
          <a:bodyPr wrap="square">
            <a:spAutoFit/>
          </a:bodyPr>
          <a:lstStyle>
            <a:lvl1pPr marL="0" indent="0" algn="r">
              <a:buNone/>
              <a:defRPr sz="1867">
                <a:solidFill>
                  <a:srgbClr val="616364"/>
                </a:solidFill>
                <a:latin typeface="Verdana"/>
                <a:ea typeface="Verdana"/>
                <a:cs typeface="Verdana"/>
              </a:defRPr>
            </a:lvl1pPr>
          </a:lstStyle>
          <a:p>
            <a:pPr lvl="0"/>
            <a:r>
              <a:rPr lang="en-US"/>
              <a:t>Date | Presenter Information (14 pt)</a:t>
            </a:r>
          </a:p>
        </p:txBody>
      </p:sp>
      <p:sp>
        <p:nvSpPr>
          <p:cNvPr id="3" name="Title 1">
            <a:extLst>
              <a:ext uri="{FF2B5EF4-FFF2-40B4-BE49-F238E27FC236}">
                <a16:creationId xmlns:a16="http://schemas.microsoft.com/office/drawing/2014/main" id="{E85EEFB1-E92D-3D6E-47A5-788E33E9E286}"/>
              </a:ext>
            </a:extLst>
          </p:cNvPr>
          <p:cNvSpPr txBox="1">
            <a:spLocks noGrp="1"/>
          </p:cNvSpPr>
          <p:nvPr>
            <p:ph type="title"/>
          </p:nvPr>
        </p:nvSpPr>
        <p:spPr>
          <a:xfrm>
            <a:off x="2826557" y="1807147"/>
            <a:ext cx="8178613" cy="1629460"/>
          </a:xfrm>
        </p:spPr>
        <p:txBody>
          <a:bodyPr anchor="b"/>
          <a:lstStyle>
            <a:lvl1pPr>
              <a:defRPr sz="5334">
                <a:solidFill>
                  <a:srgbClr val="00314C"/>
                </a:solidFill>
                <a:latin typeface="Verdana"/>
                <a:ea typeface="Verdana"/>
                <a:cs typeface="Verdana"/>
              </a:defRPr>
            </a:lvl1pPr>
          </a:lstStyle>
          <a:p>
            <a:pPr lvl="0"/>
            <a:r>
              <a:rPr lang="en-US"/>
              <a:t>Presentation Title (40pt)</a:t>
            </a:r>
          </a:p>
        </p:txBody>
      </p:sp>
      <p:sp>
        <p:nvSpPr>
          <p:cNvPr id="4" name="Date Placeholder 3">
            <a:extLst>
              <a:ext uri="{FF2B5EF4-FFF2-40B4-BE49-F238E27FC236}">
                <a16:creationId xmlns:a16="http://schemas.microsoft.com/office/drawing/2014/main" id="{7F7E54BB-1103-7B2D-F8CF-A1CD9DF70BE1}"/>
              </a:ext>
            </a:extLst>
          </p:cNvPr>
          <p:cNvSpPr txBox="1">
            <a:spLocks noGrp="1"/>
          </p:cNvSpPr>
          <p:nvPr>
            <p:ph type="dt" sz="quarter" idx="7"/>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914446"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defRPr>
            </a:lvl1pPr>
          </a:lstStyle>
          <a:p>
            <a:pPr lvl="0"/>
            <a:fld id="{BD59460B-D242-406B-A4B5-E780E0EB7BF1}" type="datetime1">
              <a:rPr lang="en-US"/>
              <a:pPr lvl="0"/>
              <a:t>5/20/2026</a:t>
            </a:fld>
            <a:endParaRPr lang="en-US"/>
          </a:p>
        </p:txBody>
      </p:sp>
      <p:sp>
        <p:nvSpPr>
          <p:cNvPr id="5" name="Footer Placeholder 4">
            <a:extLst>
              <a:ext uri="{FF2B5EF4-FFF2-40B4-BE49-F238E27FC236}">
                <a16:creationId xmlns:a16="http://schemas.microsoft.com/office/drawing/2014/main" id="{D54E62ED-9251-8CD2-B71C-1BB08F2F723F}"/>
              </a:ext>
            </a:extLst>
          </p:cNvPr>
          <p:cNvSpPr txBox="1">
            <a:spLocks noGrp="1"/>
          </p:cNvSpPr>
          <p:nvPr>
            <p:ph type="ftr" sz="quarter" idx="9"/>
          </p:nvPr>
        </p:nvSpPr>
        <p:spPr/>
        <p:txBody>
          <a:bodyPr anchorCtr="1"/>
          <a:lstStyle>
            <a:lvl1pPr algn="ctr">
              <a:defRPr/>
            </a:lvl1pPr>
          </a:lstStyle>
          <a:p>
            <a:pPr lvl="0"/>
            <a:endParaRPr lang="en-US"/>
          </a:p>
        </p:txBody>
      </p:sp>
      <p:sp>
        <p:nvSpPr>
          <p:cNvPr id="6" name="Slide Number Placeholder 5">
            <a:extLst>
              <a:ext uri="{FF2B5EF4-FFF2-40B4-BE49-F238E27FC236}">
                <a16:creationId xmlns:a16="http://schemas.microsoft.com/office/drawing/2014/main" id="{74BDEBB0-B805-2B8A-39A8-E98798D51EA6}"/>
              </a:ext>
            </a:extLst>
          </p:cNvPr>
          <p:cNvSpPr txBox="1">
            <a:spLocks noGrp="1"/>
          </p:cNvSpPr>
          <p:nvPr>
            <p:ph type="sldNum" sz="quarter" idx="8"/>
          </p:nvPr>
        </p:nvSpPr>
        <p:spPr/>
        <p:txBody>
          <a:bodyPr/>
          <a:lstStyle>
            <a:lvl1pPr>
              <a:defRPr/>
            </a:lvl1pPr>
          </a:lstStyle>
          <a:p>
            <a:pPr lvl="0"/>
            <a:fld id="{2FC45393-DD47-4DB4-B738-510CB6593111}" type="slidenum">
              <a:t>‹#›</a:t>
            </a:fld>
            <a:endParaRPr lang="en-US"/>
          </a:p>
        </p:txBody>
      </p:sp>
      <p:sp>
        <p:nvSpPr>
          <p:cNvPr id="7" name="Rectangle 12">
            <a:extLst>
              <a:ext uri="{FF2B5EF4-FFF2-40B4-BE49-F238E27FC236}">
                <a16:creationId xmlns:a16="http://schemas.microsoft.com/office/drawing/2014/main" id="{391CA8A8-570C-B3C6-40CC-E819D31A686C}"/>
              </a:ext>
            </a:extLst>
          </p:cNvPr>
          <p:cNvSpPr/>
          <p:nvPr/>
        </p:nvSpPr>
        <p:spPr>
          <a:xfrm rot="10799991">
            <a:off x="-28" y="2000224"/>
            <a:ext cx="2785070" cy="2042851"/>
          </a:xfrm>
          <a:custGeom>
            <a:avLst/>
            <a:gdLst>
              <a:gd name="f0" fmla="val 10800000"/>
              <a:gd name="f1" fmla="val 5400000"/>
              <a:gd name="f2" fmla="val 180"/>
              <a:gd name="f3" fmla="val w"/>
              <a:gd name="f4" fmla="val h"/>
              <a:gd name="f5" fmla="val 0"/>
              <a:gd name="f6" fmla="val 10293751"/>
              <a:gd name="f7" fmla="val 1031873"/>
              <a:gd name="f8" fmla="val 3579068"/>
              <a:gd name="f9" fmla="val 1"/>
              <a:gd name="f10" fmla="val 1031872"/>
              <a:gd name="f11" fmla="+- 0 0 -90"/>
              <a:gd name="f12" fmla="*/ f3 1 10293751"/>
              <a:gd name="f13" fmla="*/ f4 1 1031873"/>
              <a:gd name="f14" fmla="+- f7 0 f5"/>
              <a:gd name="f15" fmla="+- f6 0 f5"/>
              <a:gd name="f16" fmla="*/ f11 f0 1"/>
              <a:gd name="f17" fmla="*/ f15 1 10293751"/>
              <a:gd name="f18" fmla="*/ f14 1 1031873"/>
              <a:gd name="f19" fmla="*/ 10293751 f15 1"/>
              <a:gd name="f20" fmla="*/ 0 f15 1"/>
              <a:gd name="f21" fmla="*/ 0 f14 1"/>
              <a:gd name="f22" fmla="*/ 1 f14 1"/>
              <a:gd name="f23" fmla="*/ 1031873 f14 1"/>
              <a:gd name="f24" fmla="*/ 1031872 f14 1"/>
              <a:gd name="f25" fmla="*/ 3579068 f15 1"/>
              <a:gd name="f26" fmla="*/ f16 1 f2"/>
              <a:gd name="f27" fmla="*/ f19 1 10293751"/>
              <a:gd name="f28" fmla="*/ f20 1 10293751"/>
              <a:gd name="f29" fmla="*/ f21 1 1031873"/>
              <a:gd name="f30" fmla="*/ f22 1 1031873"/>
              <a:gd name="f31" fmla="*/ f23 1 1031873"/>
              <a:gd name="f32" fmla="*/ f24 1 1031873"/>
              <a:gd name="f33" fmla="*/ f25 1 10293751"/>
              <a:gd name="f34" fmla="*/ f5 1 f17"/>
              <a:gd name="f35" fmla="*/ f6 1 f17"/>
              <a:gd name="f36" fmla="*/ f5 1 f18"/>
              <a:gd name="f37" fmla="*/ f7 1 f18"/>
              <a:gd name="f38" fmla="+- f26 0 f1"/>
              <a:gd name="f39" fmla="*/ f33 1 f17"/>
              <a:gd name="f40" fmla="*/ f29 1 f18"/>
              <a:gd name="f41" fmla="*/ f27 1 f17"/>
              <a:gd name="f42" fmla="*/ f30 1 f18"/>
              <a:gd name="f43" fmla="*/ f31 1 f18"/>
              <a:gd name="f44" fmla="*/ f28 1 f17"/>
              <a:gd name="f45" fmla="*/ f32 1 f18"/>
              <a:gd name="f46" fmla="*/ f34 f12 1"/>
              <a:gd name="f47" fmla="*/ f35 f12 1"/>
              <a:gd name="f48" fmla="*/ f37 f13 1"/>
              <a:gd name="f49" fmla="*/ f36 f13 1"/>
              <a:gd name="f50" fmla="*/ f39 f12 1"/>
              <a:gd name="f51" fmla="*/ f40 f13 1"/>
              <a:gd name="f52" fmla="*/ f41 f12 1"/>
              <a:gd name="f53" fmla="*/ f42 f13 1"/>
              <a:gd name="f54" fmla="*/ f43 f13 1"/>
              <a:gd name="f55" fmla="*/ f44 f12 1"/>
              <a:gd name="f56" fmla="*/ f45 f13 1"/>
            </a:gdLst>
            <a:ahLst/>
            <a:cxnLst>
              <a:cxn ang="3cd4">
                <a:pos x="hc" y="t"/>
              </a:cxn>
              <a:cxn ang="0">
                <a:pos x="r" y="vc"/>
              </a:cxn>
              <a:cxn ang="cd4">
                <a:pos x="hc" y="b"/>
              </a:cxn>
              <a:cxn ang="cd2">
                <a:pos x="l" y="vc"/>
              </a:cxn>
              <a:cxn ang="f38">
                <a:pos x="f50" y="f51"/>
              </a:cxn>
              <a:cxn ang="f38">
                <a:pos x="f52" y="f53"/>
              </a:cxn>
              <a:cxn ang="f38">
                <a:pos x="f52" y="f54"/>
              </a:cxn>
              <a:cxn ang="f38">
                <a:pos x="f55" y="f56"/>
              </a:cxn>
              <a:cxn ang="f38">
                <a:pos x="f50" y="f51"/>
              </a:cxn>
            </a:cxnLst>
            <a:rect l="f46" t="f49" r="f47" b="f48"/>
            <a:pathLst>
              <a:path w="10293751" h="1031873">
                <a:moveTo>
                  <a:pt x="f8" y="f5"/>
                </a:moveTo>
                <a:lnTo>
                  <a:pt x="f6" y="f9"/>
                </a:lnTo>
                <a:lnTo>
                  <a:pt x="f6" y="f7"/>
                </a:lnTo>
                <a:lnTo>
                  <a:pt x="f5" y="f10"/>
                </a:lnTo>
                <a:lnTo>
                  <a:pt x="f8" y="f5"/>
                </a:lnTo>
                <a:close/>
              </a:path>
            </a:pathLst>
          </a:cu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8" name="Rectangle 8">
            <a:extLst>
              <a:ext uri="{FF2B5EF4-FFF2-40B4-BE49-F238E27FC236}">
                <a16:creationId xmlns:a16="http://schemas.microsoft.com/office/drawing/2014/main" id="{5471AFF7-9FAE-DA04-4FF2-2FAD5F33E1B1}"/>
              </a:ext>
            </a:extLst>
          </p:cNvPr>
          <p:cNvSpPr/>
          <p:nvPr/>
        </p:nvSpPr>
        <p:spPr>
          <a:xfrm>
            <a:off x="0" y="6115050"/>
            <a:ext cx="12191996" cy="742950"/>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9" name="Text Placeholder 11">
            <a:extLst>
              <a:ext uri="{FF2B5EF4-FFF2-40B4-BE49-F238E27FC236}">
                <a16:creationId xmlns:a16="http://schemas.microsoft.com/office/drawing/2014/main" id="{2EFF555F-4DA3-4616-2DED-2E7D20B5745C}"/>
              </a:ext>
            </a:extLst>
          </p:cNvPr>
          <p:cNvSpPr txBox="1">
            <a:spLocks noGrp="1"/>
          </p:cNvSpPr>
          <p:nvPr>
            <p:ph type="body" idx="4294967295"/>
          </p:nvPr>
        </p:nvSpPr>
        <p:spPr>
          <a:xfrm>
            <a:off x="2826557" y="3447397"/>
            <a:ext cx="8178613" cy="713314"/>
          </a:xfrm>
        </p:spPr>
        <p:txBody>
          <a:bodyPr/>
          <a:lstStyle>
            <a:lvl1pPr marL="0" indent="0">
              <a:buNone/>
              <a:defRPr sz="3200">
                <a:solidFill>
                  <a:srgbClr val="00314C"/>
                </a:solidFill>
                <a:latin typeface="Verdana"/>
                <a:ea typeface="Verdana"/>
                <a:cs typeface="Verdana"/>
              </a:defRPr>
            </a:lvl1pPr>
          </a:lstStyle>
          <a:p>
            <a:pPr lvl="0"/>
            <a:r>
              <a:rPr lang="en-US"/>
              <a:t>Subtitle (24)</a:t>
            </a:r>
          </a:p>
        </p:txBody>
      </p:sp>
      <p:pic>
        <p:nvPicPr>
          <p:cNvPr id="10" name="Picture 12">
            <a:extLst>
              <a:ext uri="{FF2B5EF4-FFF2-40B4-BE49-F238E27FC236}">
                <a16:creationId xmlns:a16="http://schemas.microsoft.com/office/drawing/2014/main" id="{EB3A3E96-AB08-693C-74E2-B23BB7FC875B}"/>
              </a:ext>
            </a:extLst>
          </p:cNvPr>
          <p:cNvPicPr>
            <a:picLocks noChangeAspect="1"/>
          </p:cNvPicPr>
          <p:nvPr/>
        </p:nvPicPr>
        <p:blipFill>
          <a:blip r:embed="rId2"/>
          <a:srcRect/>
          <a:stretch>
            <a:fillRect/>
          </a:stretch>
        </p:blipFill>
        <p:spPr>
          <a:xfrm>
            <a:off x="2829831" y="4178333"/>
            <a:ext cx="4395959" cy="1140165"/>
          </a:xfrm>
          <a:prstGeom prst="rect">
            <a:avLst/>
          </a:prstGeom>
          <a:noFill/>
          <a:ln cap="flat">
            <a:noFill/>
          </a:ln>
        </p:spPr>
      </p:pic>
    </p:spTree>
    <p:extLst>
      <p:ext uri="{BB962C8B-B14F-4D97-AF65-F5344CB8AC3E}">
        <p14:creationId xmlns:p14="http://schemas.microsoft.com/office/powerpoint/2010/main" val="3917758508"/>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16_Title Slide_Yale Blue">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72B14D1B-A262-A29E-E650-08C853237886}"/>
              </a:ext>
            </a:extLst>
          </p:cNvPr>
          <p:cNvSpPr txBox="1">
            <a:spLocks noGrp="1"/>
          </p:cNvSpPr>
          <p:nvPr>
            <p:ph type="body" idx="4294967295"/>
          </p:nvPr>
        </p:nvSpPr>
        <p:spPr>
          <a:xfrm>
            <a:off x="2826557" y="5400857"/>
            <a:ext cx="8178613" cy="379656"/>
          </a:xfrm>
        </p:spPr>
        <p:txBody>
          <a:bodyPr wrap="square">
            <a:spAutoFit/>
          </a:bodyPr>
          <a:lstStyle>
            <a:lvl1pPr marL="0" indent="0" algn="r">
              <a:buNone/>
              <a:defRPr sz="1867">
                <a:solidFill>
                  <a:srgbClr val="616364"/>
                </a:solidFill>
                <a:latin typeface="Verdana"/>
                <a:ea typeface="Verdana"/>
                <a:cs typeface="Verdana"/>
              </a:defRPr>
            </a:lvl1pPr>
          </a:lstStyle>
          <a:p>
            <a:pPr lvl="0"/>
            <a:r>
              <a:rPr lang="en-US"/>
              <a:t>Date | Presenter Information (14 pt)</a:t>
            </a:r>
          </a:p>
        </p:txBody>
      </p:sp>
      <p:sp>
        <p:nvSpPr>
          <p:cNvPr id="3" name="Title 1">
            <a:extLst>
              <a:ext uri="{FF2B5EF4-FFF2-40B4-BE49-F238E27FC236}">
                <a16:creationId xmlns:a16="http://schemas.microsoft.com/office/drawing/2014/main" id="{4F88E617-873A-6464-EE50-7FBF021B3509}"/>
              </a:ext>
            </a:extLst>
          </p:cNvPr>
          <p:cNvSpPr txBox="1">
            <a:spLocks noGrp="1"/>
          </p:cNvSpPr>
          <p:nvPr>
            <p:ph type="title"/>
          </p:nvPr>
        </p:nvSpPr>
        <p:spPr>
          <a:xfrm>
            <a:off x="2826557" y="1807147"/>
            <a:ext cx="8178613" cy="1629460"/>
          </a:xfrm>
        </p:spPr>
        <p:txBody>
          <a:bodyPr anchor="b"/>
          <a:lstStyle>
            <a:lvl1pPr>
              <a:defRPr sz="5334">
                <a:solidFill>
                  <a:srgbClr val="00314C"/>
                </a:solidFill>
                <a:latin typeface="Verdana"/>
                <a:ea typeface="Verdana"/>
                <a:cs typeface="Verdana"/>
              </a:defRPr>
            </a:lvl1pPr>
          </a:lstStyle>
          <a:p>
            <a:pPr lvl="0"/>
            <a:r>
              <a:rPr lang="en-US"/>
              <a:t>Presentation Title (40pt)</a:t>
            </a:r>
          </a:p>
        </p:txBody>
      </p:sp>
      <p:sp>
        <p:nvSpPr>
          <p:cNvPr id="4" name="Date Placeholder 3">
            <a:extLst>
              <a:ext uri="{FF2B5EF4-FFF2-40B4-BE49-F238E27FC236}">
                <a16:creationId xmlns:a16="http://schemas.microsoft.com/office/drawing/2014/main" id="{A09AB15F-5B2D-BB91-C4B7-9E6B23F5517C}"/>
              </a:ext>
            </a:extLst>
          </p:cNvPr>
          <p:cNvSpPr txBox="1">
            <a:spLocks noGrp="1"/>
          </p:cNvSpPr>
          <p:nvPr>
            <p:ph type="dt" sz="quarter" idx="7"/>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914446"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defRPr>
            </a:lvl1pPr>
          </a:lstStyle>
          <a:p>
            <a:pPr lvl="0"/>
            <a:fld id="{411D90ED-95BA-4BD2-BA74-AC05AB69A055}" type="datetime1">
              <a:rPr lang="en-US"/>
              <a:pPr lvl="0"/>
              <a:t>5/20/2026</a:t>
            </a:fld>
            <a:endParaRPr lang="en-US"/>
          </a:p>
        </p:txBody>
      </p:sp>
      <p:sp>
        <p:nvSpPr>
          <p:cNvPr id="5" name="Footer Placeholder 4">
            <a:extLst>
              <a:ext uri="{FF2B5EF4-FFF2-40B4-BE49-F238E27FC236}">
                <a16:creationId xmlns:a16="http://schemas.microsoft.com/office/drawing/2014/main" id="{62C9D3FD-3257-9432-462D-FE929C4FD588}"/>
              </a:ext>
            </a:extLst>
          </p:cNvPr>
          <p:cNvSpPr txBox="1">
            <a:spLocks noGrp="1"/>
          </p:cNvSpPr>
          <p:nvPr>
            <p:ph type="ftr" sz="quarter" idx="9"/>
          </p:nvPr>
        </p:nvSpPr>
        <p:spPr/>
        <p:txBody>
          <a:bodyPr anchorCtr="1"/>
          <a:lstStyle>
            <a:lvl1pPr algn="ctr">
              <a:defRPr/>
            </a:lvl1pPr>
          </a:lstStyle>
          <a:p>
            <a:pPr lvl="0"/>
            <a:endParaRPr lang="en-US"/>
          </a:p>
        </p:txBody>
      </p:sp>
      <p:sp>
        <p:nvSpPr>
          <p:cNvPr id="6" name="Slide Number Placeholder 5">
            <a:extLst>
              <a:ext uri="{FF2B5EF4-FFF2-40B4-BE49-F238E27FC236}">
                <a16:creationId xmlns:a16="http://schemas.microsoft.com/office/drawing/2014/main" id="{8C4F8698-4937-1D87-9F31-11202CA97987}"/>
              </a:ext>
            </a:extLst>
          </p:cNvPr>
          <p:cNvSpPr txBox="1">
            <a:spLocks noGrp="1"/>
          </p:cNvSpPr>
          <p:nvPr>
            <p:ph type="sldNum" sz="quarter" idx="8"/>
          </p:nvPr>
        </p:nvSpPr>
        <p:spPr/>
        <p:txBody>
          <a:bodyPr/>
          <a:lstStyle>
            <a:lvl1pPr>
              <a:defRPr/>
            </a:lvl1pPr>
          </a:lstStyle>
          <a:p>
            <a:pPr lvl="0"/>
            <a:fld id="{559B6E64-36D6-4C26-A77E-4D2808D1B1A2}" type="slidenum">
              <a:t>‹#›</a:t>
            </a:fld>
            <a:endParaRPr lang="en-US"/>
          </a:p>
        </p:txBody>
      </p:sp>
      <p:sp>
        <p:nvSpPr>
          <p:cNvPr id="7" name="Rectangle 12">
            <a:extLst>
              <a:ext uri="{FF2B5EF4-FFF2-40B4-BE49-F238E27FC236}">
                <a16:creationId xmlns:a16="http://schemas.microsoft.com/office/drawing/2014/main" id="{CCEE5738-2C4B-833C-7FE1-824DB7D23886}"/>
              </a:ext>
            </a:extLst>
          </p:cNvPr>
          <p:cNvSpPr/>
          <p:nvPr/>
        </p:nvSpPr>
        <p:spPr>
          <a:xfrm rot="10799991">
            <a:off x="-28" y="2000224"/>
            <a:ext cx="2785070" cy="2042851"/>
          </a:xfrm>
          <a:custGeom>
            <a:avLst/>
            <a:gdLst>
              <a:gd name="f0" fmla="val 10800000"/>
              <a:gd name="f1" fmla="val 5400000"/>
              <a:gd name="f2" fmla="val 180"/>
              <a:gd name="f3" fmla="val w"/>
              <a:gd name="f4" fmla="val h"/>
              <a:gd name="f5" fmla="val 0"/>
              <a:gd name="f6" fmla="val 10293751"/>
              <a:gd name="f7" fmla="val 1031873"/>
              <a:gd name="f8" fmla="val 3579068"/>
              <a:gd name="f9" fmla="val 1"/>
              <a:gd name="f10" fmla="val 1031872"/>
              <a:gd name="f11" fmla="+- 0 0 -90"/>
              <a:gd name="f12" fmla="*/ f3 1 10293751"/>
              <a:gd name="f13" fmla="*/ f4 1 1031873"/>
              <a:gd name="f14" fmla="+- f7 0 f5"/>
              <a:gd name="f15" fmla="+- f6 0 f5"/>
              <a:gd name="f16" fmla="*/ f11 f0 1"/>
              <a:gd name="f17" fmla="*/ f15 1 10293751"/>
              <a:gd name="f18" fmla="*/ f14 1 1031873"/>
              <a:gd name="f19" fmla="*/ 10293751 f15 1"/>
              <a:gd name="f20" fmla="*/ 0 f15 1"/>
              <a:gd name="f21" fmla="*/ 0 f14 1"/>
              <a:gd name="f22" fmla="*/ 1 f14 1"/>
              <a:gd name="f23" fmla="*/ 1031873 f14 1"/>
              <a:gd name="f24" fmla="*/ 1031872 f14 1"/>
              <a:gd name="f25" fmla="*/ 3579068 f15 1"/>
              <a:gd name="f26" fmla="*/ f16 1 f2"/>
              <a:gd name="f27" fmla="*/ f19 1 10293751"/>
              <a:gd name="f28" fmla="*/ f20 1 10293751"/>
              <a:gd name="f29" fmla="*/ f21 1 1031873"/>
              <a:gd name="f30" fmla="*/ f22 1 1031873"/>
              <a:gd name="f31" fmla="*/ f23 1 1031873"/>
              <a:gd name="f32" fmla="*/ f24 1 1031873"/>
              <a:gd name="f33" fmla="*/ f25 1 10293751"/>
              <a:gd name="f34" fmla="*/ f5 1 f17"/>
              <a:gd name="f35" fmla="*/ f6 1 f17"/>
              <a:gd name="f36" fmla="*/ f5 1 f18"/>
              <a:gd name="f37" fmla="*/ f7 1 f18"/>
              <a:gd name="f38" fmla="+- f26 0 f1"/>
              <a:gd name="f39" fmla="*/ f33 1 f17"/>
              <a:gd name="f40" fmla="*/ f29 1 f18"/>
              <a:gd name="f41" fmla="*/ f27 1 f17"/>
              <a:gd name="f42" fmla="*/ f30 1 f18"/>
              <a:gd name="f43" fmla="*/ f31 1 f18"/>
              <a:gd name="f44" fmla="*/ f28 1 f17"/>
              <a:gd name="f45" fmla="*/ f32 1 f18"/>
              <a:gd name="f46" fmla="*/ f34 f12 1"/>
              <a:gd name="f47" fmla="*/ f35 f12 1"/>
              <a:gd name="f48" fmla="*/ f37 f13 1"/>
              <a:gd name="f49" fmla="*/ f36 f13 1"/>
              <a:gd name="f50" fmla="*/ f39 f12 1"/>
              <a:gd name="f51" fmla="*/ f40 f13 1"/>
              <a:gd name="f52" fmla="*/ f41 f12 1"/>
              <a:gd name="f53" fmla="*/ f42 f13 1"/>
              <a:gd name="f54" fmla="*/ f43 f13 1"/>
              <a:gd name="f55" fmla="*/ f44 f12 1"/>
              <a:gd name="f56" fmla="*/ f45 f13 1"/>
            </a:gdLst>
            <a:ahLst/>
            <a:cxnLst>
              <a:cxn ang="3cd4">
                <a:pos x="hc" y="t"/>
              </a:cxn>
              <a:cxn ang="0">
                <a:pos x="r" y="vc"/>
              </a:cxn>
              <a:cxn ang="cd4">
                <a:pos x="hc" y="b"/>
              </a:cxn>
              <a:cxn ang="cd2">
                <a:pos x="l" y="vc"/>
              </a:cxn>
              <a:cxn ang="f38">
                <a:pos x="f50" y="f51"/>
              </a:cxn>
              <a:cxn ang="f38">
                <a:pos x="f52" y="f53"/>
              </a:cxn>
              <a:cxn ang="f38">
                <a:pos x="f52" y="f54"/>
              </a:cxn>
              <a:cxn ang="f38">
                <a:pos x="f55" y="f56"/>
              </a:cxn>
              <a:cxn ang="f38">
                <a:pos x="f50" y="f51"/>
              </a:cxn>
            </a:cxnLst>
            <a:rect l="f46" t="f49" r="f47" b="f48"/>
            <a:pathLst>
              <a:path w="10293751" h="1031873">
                <a:moveTo>
                  <a:pt x="f8" y="f5"/>
                </a:moveTo>
                <a:lnTo>
                  <a:pt x="f6" y="f9"/>
                </a:lnTo>
                <a:lnTo>
                  <a:pt x="f6" y="f7"/>
                </a:lnTo>
                <a:lnTo>
                  <a:pt x="f5" y="f10"/>
                </a:lnTo>
                <a:lnTo>
                  <a:pt x="f8" y="f5"/>
                </a:lnTo>
                <a:close/>
              </a:path>
            </a:pathLst>
          </a:cu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8" name="Rectangle 8">
            <a:extLst>
              <a:ext uri="{FF2B5EF4-FFF2-40B4-BE49-F238E27FC236}">
                <a16:creationId xmlns:a16="http://schemas.microsoft.com/office/drawing/2014/main" id="{EAE3CE02-7AF6-3F96-A9C8-65CC5132ED5D}"/>
              </a:ext>
            </a:extLst>
          </p:cNvPr>
          <p:cNvSpPr/>
          <p:nvPr/>
        </p:nvSpPr>
        <p:spPr>
          <a:xfrm>
            <a:off x="0" y="6115050"/>
            <a:ext cx="12191996" cy="742950"/>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9" name="Text Placeholder 11">
            <a:extLst>
              <a:ext uri="{FF2B5EF4-FFF2-40B4-BE49-F238E27FC236}">
                <a16:creationId xmlns:a16="http://schemas.microsoft.com/office/drawing/2014/main" id="{9F615296-5A3B-DBB4-518A-4C7E2F64A89B}"/>
              </a:ext>
            </a:extLst>
          </p:cNvPr>
          <p:cNvSpPr txBox="1">
            <a:spLocks noGrp="1"/>
          </p:cNvSpPr>
          <p:nvPr>
            <p:ph type="body" idx="4294967295"/>
          </p:nvPr>
        </p:nvSpPr>
        <p:spPr>
          <a:xfrm>
            <a:off x="2826557" y="3447397"/>
            <a:ext cx="8178613" cy="713314"/>
          </a:xfrm>
        </p:spPr>
        <p:txBody>
          <a:bodyPr/>
          <a:lstStyle>
            <a:lvl1pPr marL="0" indent="0">
              <a:buNone/>
              <a:defRPr sz="3200">
                <a:solidFill>
                  <a:srgbClr val="00314C"/>
                </a:solidFill>
                <a:latin typeface="Verdana"/>
                <a:ea typeface="Verdana"/>
                <a:cs typeface="Verdana"/>
              </a:defRPr>
            </a:lvl1pPr>
          </a:lstStyle>
          <a:p>
            <a:pPr lvl="0"/>
            <a:r>
              <a:rPr lang="en-US"/>
              <a:t>Subtitle (24)</a:t>
            </a:r>
          </a:p>
        </p:txBody>
      </p:sp>
      <p:pic>
        <p:nvPicPr>
          <p:cNvPr id="10" name="Picture 12">
            <a:extLst>
              <a:ext uri="{FF2B5EF4-FFF2-40B4-BE49-F238E27FC236}">
                <a16:creationId xmlns:a16="http://schemas.microsoft.com/office/drawing/2014/main" id="{23971C81-D96A-4095-D4E6-E28E7B8A659A}"/>
              </a:ext>
            </a:extLst>
          </p:cNvPr>
          <p:cNvPicPr>
            <a:picLocks noChangeAspect="1"/>
          </p:cNvPicPr>
          <p:nvPr/>
        </p:nvPicPr>
        <p:blipFill>
          <a:blip r:embed="rId2"/>
          <a:srcRect/>
          <a:stretch>
            <a:fillRect/>
          </a:stretch>
        </p:blipFill>
        <p:spPr>
          <a:xfrm>
            <a:off x="2829831" y="4178333"/>
            <a:ext cx="4395959" cy="1140165"/>
          </a:xfrm>
          <a:prstGeom prst="rect">
            <a:avLst/>
          </a:prstGeom>
          <a:noFill/>
          <a:ln cap="flat">
            <a:noFill/>
          </a:ln>
        </p:spPr>
      </p:pic>
    </p:spTree>
    <p:extLst>
      <p:ext uri="{BB962C8B-B14F-4D97-AF65-F5344CB8AC3E}">
        <p14:creationId xmlns:p14="http://schemas.microsoft.com/office/powerpoint/2010/main" val="3232169078"/>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10_Title and Bullets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8DD095-0F65-1442-2EAA-9C8C4A7DB7D9}"/>
              </a:ext>
            </a:extLst>
          </p:cNvPr>
          <p:cNvSpPr txBox="1">
            <a:spLocks noGrp="1"/>
          </p:cNvSpPr>
          <p:nvPr>
            <p:ph type="title"/>
          </p:nvPr>
        </p:nvSpPr>
        <p:spPr>
          <a:xfrm>
            <a:off x="848992" y="783842"/>
            <a:ext cx="10177756"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sp>
        <p:nvSpPr>
          <p:cNvPr id="3" name="Rectangle 9">
            <a:extLst>
              <a:ext uri="{FF2B5EF4-FFF2-40B4-BE49-F238E27FC236}">
                <a16:creationId xmlns:a16="http://schemas.microsoft.com/office/drawing/2014/main" id="{FF37CE7C-A316-C184-3462-84FDFBA94773}"/>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4" name="Rectangle 10">
            <a:extLst>
              <a:ext uri="{FF2B5EF4-FFF2-40B4-BE49-F238E27FC236}">
                <a16:creationId xmlns:a16="http://schemas.microsoft.com/office/drawing/2014/main" id="{A7DC23C5-89E6-82DD-ADED-1ADEDBAD1939}"/>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5" name="Text Placeholder 4">
            <a:extLst>
              <a:ext uri="{FF2B5EF4-FFF2-40B4-BE49-F238E27FC236}">
                <a16:creationId xmlns:a16="http://schemas.microsoft.com/office/drawing/2014/main" id="{2BD87EF4-30D2-E2AF-0043-6DAF5704FC5B}"/>
              </a:ext>
            </a:extLst>
          </p:cNvPr>
          <p:cNvSpPr txBox="1">
            <a:spLocks noGrp="1"/>
          </p:cNvSpPr>
          <p:nvPr>
            <p:ph type="body" idx="4294967295"/>
          </p:nvPr>
        </p:nvSpPr>
        <p:spPr>
          <a:xfrm>
            <a:off x="848783" y="1615023"/>
            <a:ext cx="10176933" cy="3812115"/>
          </a:xfrm>
        </p:spPr>
        <p:txBody>
          <a:bodyPr/>
          <a:lstStyle>
            <a:lvl1pPr marL="381012" indent="-381012">
              <a:defRPr sz="2133">
                <a:latin typeface="Verdana"/>
                <a:ea typeface="Verdana"/>
                <a:cs typeface="Verdana"/>
              </a:defRPr>
            </a:lvl1pPr>
            <a:lvl2pPr marL="381012" lvl="0" indent="-381012">
              <a:spcBef>
                <a:spcPts val="1000"/>
              </a:spcBef>
              <a:buClr>
                <a:srgbClr val="F5668F"/>
              </a:buClr>
              <a:defRPr sz="2133">
                <a:latin typeface="Verdana"/>
                <a:ea typeface="Verdana"/>
                <a:cs typeface="Verdana"/>
              </a:defRPr>
            </a:lvl2pPr>
          </a:lstStyle>
          <a:p>
            <a:pPr lvl="0"/>
            <a:r>
              <a:rPr lang="en-US"/>
              <a:t>Copy goes here</a:t>
            </a:r>
          </a:p>
          <a:p>
            <a:pPr lvl="0"/>
            <a:endParaRPr lang="en-US"/>
          </a:p>
        </p:txBody>
      </p:sp>
      <p:pic>
        <p:nvPicPr>
          <p:cNvPr id="6" name="Picture 6">
            <a:extLst>
              <a:ext uri="{FF2B5EF4-FFF2-40B4-BE49-F238E27FC236}">
                <a16:creationId xmlns:a16="http://schemas.microsoft.com/office/drawing/2014/main" id="{950B9A0D-0B3E-97B1-9D45-3033FEF55FF9}"/>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Tree>
    <p:extLst>
      <p:ext uri="{BB962C8B-B14F-4D97-AF65-F5344CB8AC3E}">
        <p14:creationId xmlns:p14="http://schemas.microsoft.com/office/powerpoint/2010/main" val="1394812026"/>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12_Title and Content">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788886AD-6524-A13E-25BC-5191F428893D}"/>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pic>
        <p:nvPicPr>
          <p:cNvPr id="3" name="Picture 10">
            <a:extLst>
              <a:ext uri="{FF2B5EF4-FFF2-40B4-BE49-F238E27FC236}">
                <a16:creationId xmlns:a16="http://schemas.microsoft.com/office/drawing/2014/main" id="{8D5A4EB1-347D-0B35-C908-DC2AF0CCAA62}"/>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
        <p:nvSpPr>
          <p:cNvPr id="4" name="Rectangle 11">
            <a:extLst>
              <a:ext uri="{FF2B5EF4-FFF2-40B4-BE49-F238E27FC236}">
                <a16:creationId xmlns:a16="http://schemas.microsoft.com/office/drawing/2014/main" id="{F3AA4625-ECDB-6E6E-A0F4-316F21797930}"/>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5" name="Title 1">
            <a:extLst>
              <a:ext uri="{FF2B5EF4-FFF2-40B4-BE49-F238E27FC236}">
                <a16:creationId xmlns:a16="http://schemas.microsoft.com/office/drawing/2014/main" id="{DF3D13BD-C1D4-157A-8BBB-AE51AFE7D09C}"/>
              </a:ext>
            </a:extLst>
          </p:cNvPr>
          <p:cNvSpPr txBox="1">
            <a:spLocks noGrp="1"/>
          </p:cNvSpPr>
          <p:nvPr>
            <p:ph type="title"/>
          </p:nvPr>
        </p:nvSpPr>
        <p:spPr>
          <a:xfrm>
            <a:off x="848992" y="806858"/>
            <a:ext cx="10156176"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sp>
        <p:nvSpPr>
          <p:cNvPr id="6" name="Text Placeholder 15">
            <a:extLst>
              <a:ext uri="{FF2B5EF4-FFF2-40B4-BE49-F238E27FC236}">
                <a16:creationId xmlns:a16="http://schemas.microsoft.com/office/drawing/2014/main" id="{71726414-9D22-CCF4-F89A-610CC443751C}"/>
              </a:ext>
            </a:extLst>
          </p:cNvPr>
          <p:cNvSpPr txBox="1">
            <a:spLocks noGrp="1"/>
          </p:cNvSpPr>
          <p:nvPr>
            <p:ph type="body" idx="4294967295"/>
          </p:nvPr>
        </p:nvSpPr>
        <p:spPr>
          <a:xfrm>
            <a:off x="848992" y="1637855"/>
            <a:ext cx="10156176" cy="4117159"/>
          </a:xfrm>
        </p:spPr>
        <p:txBody>
          <a:bodyPr/>
          <a:lstStyle>
            <a:lvl1pPr marL="0" indent="0" defTabSz="914418">
              <a:lnSpc>
                <a:spcPct val="90000"/>
              </a:lnSpc>
              <a:spcAft>
                <a:spcPts val="0"/>
              </a:spcAft>
              <a:buNone/>
              <a:defRPr sz="2133">
                <a:latin typeface="Verdana"/>
                <a:ea typeface="Verdana"/>
                <a:cs typeface="Verdana"/>
              </a:defRPr>
            </a:lvl1pPr>
          </a:lstStyle>
          <a:p>
            <a:pPr lvl="0"/>
            <a:r>
              <a:rPr lang="en-US"/>
              <a:t>Copy goes here. </a:t>
            </a:r>
          </a:p>
        </p:txBody>
      </p:sp>
    </p:spTree>
    <p:extLst>
      <p:ext uri="{BB962C8B-B14F-4D97-AF65-F5344CB8AC3E}">
        <p14:creationId xmlns:p14="http://schemas.microsoft.com/office/powerpoint/2010/main" val="3156668636"/>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10_Two Section | Picture and Copy Layout">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BAE2A19D-51B4-0F0A-02D1-4BAFDF15CA1F}"/>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3" name="Rectangle 11">
            <a:extLst>
              <a:ext uri="{FF2B5EF4-FFF2-40B4-BE49-F238E27FC236}">
                <a16:creationId xmlns:a16="http://schemas.microsoft.com/office/drawing/2014/main" id="{7BB0826F-50DC-780C-A1FF-AE18AAB6031B}"/>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4" name="Content Placeholder 2">
            <a:extLst>
              <a:ext uri="{FF2B5EF4-FFF2-40B4-BE49-F238E27FC236}">
                <a16:creationId xmlns:a16="http://schemas.microsoft.com/office/drawing/2014/main" id="{D2E89FCA-059C-CEE0-AF68-DFBC66AEFFF4}"/>
              </a:ext>
            </a:extLst>
          </p:cNvPr>
          <p:cNvSpPr txBox="1">
            <a:spLocks noGrp="1"/>
          </p:cNvSpPr>
          <p:nvPr>
            <p:ph idx="4294967295"/>
          </p:nvPr>
        </p:nvSpPr>
        <p:spPr>
          <a:xfrm>
            <a:off x="1186836" y="1294452"/>
            <a:ext cx="3983336" cy="3788084"/>
          </a:xfrm>
        </p:spPr>
        <p:txBody>
          <a:bodyPr/>
          <a:lstStyle>
            <a:lvl1pPr marL="0" indent="0">
              <a:buNone/>
              <a:defRPr sz="1200" i="1">
                <a:solidFill>
                  <a:srgbClr val="003B5C"/>
                </a:solidFill>
                <a:latin typeface="Verdana"/>
                <a:ea typeface="Verdana"/>
                <a:cs typeface="Verdana"/>
              </a:defRPr>
            </a:lvl1pPr>
          </a:lstStyle>
          <a:p>
            <a:pPr lvl="0"/>
            <a:r>
              <a:rPr lang="en-US"/>
              <a:t>*Insert Image Here</a:t>
            </a:r>
          </a:p>
        </p:txBody>
      </p:sp>
      <p:sp>
        <p:nvSpPr>
          <p:cNvPr id="5" name="Content Placeholder 3">
            <a:extLst>
              <a:ext uri="{FF2B5EF4-FFF2-40B4-BE49-F238E27FC236}">
                <a16:creationId xmlns:a16="http://schemas.microsoft.com/office/drawing/2014/main" id="{4CACC5D5-1DD7-82EE-1A86-D7149BE75DB1}"/>
              </a:ext>
            </a:extLst>
          </p:cNvPr>
          <p:cNvSpPr txBox="1">
            <a:spLocks noGrp="1"/>
          </p:cNvSpPr>
          <p:nvPr>
            <p:ph idx="4294967295"/>
          </p:nvPr>
        </p:nvSpPr>
        <p:spPr>
          <a:xfrm>
            <a:off x="5549394" y="1997122"/>
            <a:ext cx="5466557" cy="3085414"/>
          </a:xfrm>
        </p:spPr>
        <p:txBody>
          <a:bodyPr/>
          <a:lstStyle>
            <a:lvl1pPr marL="0" indent="0" defTabSz="914418">
              <a:lnSpc>
                <a:spcPct val="90000"/>
              </a:lnSpc>
              <a:spcAft>
                <a:spcPts val="0"/>
              </a:spcAft>
              <a:buNone/>
              <a:defRPr sz="2133">
                <a:latin typeface="Verdana"/>
                <a:ea typeface="Verdana"/>
                <a:cs typeface="Verdana"/>
              </a:defRPr>
            </a:lvl1pPr>
          </a:lstStyle>
          <a:p>
            <a:pPr lvl="0"/>
            <a:r>
              <a:rPr lang="en-US"/>
              <a:t>Copy goes here. </a:t>
            </a:r>
          </a:p>
        </p:txBody>
      </p:sp>
      <p:sp>
        <p:nvSpPr>
          <p:cNvPr id="6" name="Title 16">
            <a:extLst>
              <a:ext uri="{FF2B5EF4-FFF2-40B4-BE49-F238E27FC236}">
                <a16:creationId xmlns:a16="http://schemas.microsoft.com/office/drawing/2014/main" id="{70932088-85CC-279A-84F9-E100CED7DE5F}"/>
              </a:ext>
            </a:extLst>
          </p:cNvPr>
          <p:cNvSpPr txBox="1">
            <a:spLocks noGrp="1"/>
          </p:cNvSpPr>
          <p:nvPr>
            <p:ph type="title"/>
          </p:nvPr>
        </p:nvSpPr>
        <p:spPr>
          <a:xfrm>
            <a:off x="5549394" y="1154522"/>
            <a:ext cx="5466557"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pic>
        <p:nvPicPr>
          <p:cNvPr id="7" name="Picture 7">
            <a:extLst>
              <a:ext uri="{FF2B5EF4-FFF2-40B4-BE49-F238E27FC236}">
                <a16:creationId xmlns:a16="http://schemas.microsoft.com/office/drawing/2014/main" id="{7FE5D0C4-58DE-EB9A-C3DA-EBF9D5E75430}"/>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Tree>
    <p:extLst>
      <p:ext uri="{BB962C8B-B14F-4D97-AF65-F5344CB8AC3E}">
        <p14:creationId xmlns:p14="http://schemas.microsoft.com/office/powerpoint/2010/main" val="2223007599"/>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17_Title Slide_Yale Blue">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8202B79D-4C34-6DAC-0C8B-6A41D29A2C30}"/>
              </a:ext>
            </a:extLst>
          </p:cNvPr>
          <p:cNvSpPr txBox="1">
            <a:spLocks noGrp="1"/>
          </p:cNvSpPr>
          <p:nvPr>
            <p:ph type="body" idx="4294967295"/>
          </p:nvPr>
        </p:nvSpPr>
        <p:spPr>
          <a:xfrm>
            <a:off x="2826557" y="5400857"/>
            <a:ext cx="8178613" cy="379656"/>
          </a:xfrm>
        </p:spPr>
        <p:txBody>
          <a:bodyPr wrap="square">
            <a:spAutoFit/>
          </a:bodyPr>
          <a:lstStyle>
            <a:lvl1pPr marL="0" indent="0" algn="r">
              <a:buNone/>
              <a:defRPr sz="1867">
                <a:solidFill>
                  <a:srgbClr val="616364"/>
                </a:solidFill>
                <a:latin typeface="Verdana"/>
                <a:ea typeface="Verdana"/>
                <a:cs typeface="Verdana"/>
              </a:defRPr>
            </a:lvl1pPr>
          </a:lstStyle>
          <a:p>
            <a:pPr lvl="0"/>
            <a:r>
              <a:rPr lang="en-US"/>
              <a:t>Date | Presenter Information (14 pt)</a:t>
            </a:r>
          </a:p>
        </p:txBody>
      </p:sp>
      <p:sp>
        <p:nvSpPr>
          <p:cNvPr id="3" name="Title 1">
            <a:extLst>
              <a:ext uri="{FF2B5EF4-FFF2-40B4-BE49-F238E27FC236}">
                <a16:creationId xmlns:a16="http://schemas.microsoft.com/office/drawing/2014/main" id="{5811FAAD-EE0C-B083-C20A-3ABFB31C8157}"/>
              </a:ext>
            </a:extLst>
          </p:cNvPr>
          <p:cNvSpPr txBox="1">
            <a:spLocks noGrp="1"/>
          </p:cNvSpPr>
          <p:nvPr>
            <p:ph type="title"/>
          </p:nvPr>
        </p:nvSpPr>
        <p:spPr>
          <a:xfrm>
            <a:off x="2826557" y="1807147"/>
            <a:ext cx="8178613" cy="1629460"/>
          </a:xfrm>
        </p:spPr>
        <p:txBody>
          <a:bodyPr anchor="b"/>
          <a:lstStyle>
            <a:lvl1pPr>
              <a:defRPr sz="5334">
                <a:solidFill>
                  <a:srgbClr val="00314C"/>
                </a:solidFill>
                <a:latin typeface="Verdana"/>
                <a:ea typeface="Verdana"/>
                <a:cs typeface="Verdana"/>
              </a:defRPr>
            </a:lvl1pPr>
          </a:lstStyle>
          <a:p>
            <a:pPr lvl="0"/>
            <a:r>
              <a:rPr lang="en-US"/>
              <a:t>Presentation Title (40pt)</a:t>
            </a:r>
          </a:p>
        </p:txBody>
      </p:sp>
      <p:sp>
        <p:nvSpPr>
          <p:cNvPr id="4" name="Date Placeholder 3">
            <a:extLst>
              <a:ext uri="{FF2B5EF4-FFF2-40B4-BE49-F238E27FC236}">
                <a16:creationId xmlns:a16="http://schemas.microsoft.com/office/drawing/2014/main" id="{11FB10C6-C841-8297-0A31-0067DD2FD477}"/>
              </a:ext>
            </a:extLst>
          </p:cNvPr>
          <p:cNvSpPr txBox="1">
            <a:spLocks noGrp="1"/>
          </p:cNvSpPr>
          <p:nvPr>
            <p:ph type="dt" sz="quarter" idx="7"/>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914446"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defRPr>
            </a:lvl1pPr>
          </a:lstStyle>
          <a:p>
            <a:pPr lvl="0"/>
            <a:fld id="{CB21CBE5-64C3-4F96-AEA5-751DB2731806}" type="datetime1">
              <a:rPr lang="en-US"/>
              <a:pPr lvl="0"/>
              <a:t>5/20/2026</a:t>
            </a:fld>
            <a:endParaRPr lang="en-US"/>
          </a:p>
        </p:txBody>
      </p:sp>
      <p:sp>
        <p:nvSpPr>
          <p:cNvPr id="5" name="Footer Placeholder 4">
            <a:extLst>
              <a:ext uri="{FF2B5EF4-FFF2-40B4-BE49-F238E27FC236}">
                <a16:creationId xmlns:a16="http://schemas.microsoft.com/office/drawing/2014/main" id="{618F3A2E-BC70-ACF1-FD8F-9C447DA805CB}"/>
              </a:ext>
            </a:extLst>
          </p:cNvPr>
          <p:cNvSpPr txBox="1">
            <a:spLocks noGrp="1"/>
          </p:cNvSpPr>
          <p:nvPr>
            <p:ph type="ftr" sz="quarter" idx="9"/>
          </p:nvPr>
        </p:nvSpPr>
        <p:spPr/>
        <p:txBody>
          <a:bodyPr anchorCtr="1"/>
          <a:lstStyle>
            <a:lvl1pPr algn="ctr">
              <a:defRPr/>
            </a:lvl1pPr>
          </a:lstStyle>
          <a:p>
            <a:pPr lvl="0"/>
            <a:endParaRPr lang="en-US"/>
          </a:p>
        </p:txBody>
      </p:sp>
      <p:sp>
        <p:nvSpPr>
          <p:cNvPr id="6" name="Slide Number Placeholder 5">
            <a:extLst>
              <a:ext uri="{FF2B5EF4-FFF2-40B4-BE49-F238E27FC236}">
                <a16:creationId xmlns:a16="http://schemas.microsoft.com/office/drawing/2014/main" id="{D817F411-92B9-2918-2DB0-E259381AD525}"/>
              </a:ext>
            </a:extLst>
          </p:cNvPr>
          <p:cNvSpPr txBox="1">
            <a:spLocks noGrp="1"/>
          </p:cNvSpPr>
          <p:nvPr>
            <p:ph type="sldNum" sz="quarter" idx="8"/>
          </p:nvPr>
        </p:nvSpPr>
        <p:spPr/>
        <p:txBody>
          <a:bodyPr/>
          <a:lstStyle>
            <a:lvl1pPr>
              <a:defRPr/>
            </a:lvl1pPr>
          </a:lstStyle>
          <a:p>
            <a:pPr lvl="0"/>
            <a:fld id="{2CD9BDCE-87FC-4A7F-9FF0-00FD940F70BB}" type="slidenum">
              <a:t>‹#›</a:t>
            </a:fld>
            <a:endParaRPr lang="en-US"/>
          </a:p>
        </p:txBody>
      </p:sp>
      <p:sp>
        <p:nvSpPr>
          <p:cNvPr id="7" name="Rectangle 12">
            <a:extLst>
              <a:ext uri="{FF2B5EF4-FFF2-40B4-BE49-F238E27FC236}">
                <a16:creationId xmlns:a16="http://schemas.microsoft.com/office/drawing/2014/main" id="{3E961523-D4E0-5E88-4F87-38653E770933}"/>
              </a:ext>
            </a:extLst>
          </p:cNvPr>
          <p:cNvSpPr/>
          <p:nvPr/>
        </p:nvSpPr>
        <p:spPr>
          <a:xfrm rot="10799991">
            <a:off x="-28" y="2000224"/>
            <a:ext cx="2785070" cy="2042851"/>
          </a:xfrm>
          <a:custGeom>
            <a:avLst/>
            <a:gdLst>
              <a:gd name="f0" fmla="val 10800000"/>
              <a:gd name="f1" fmla="val 5400000"/>
              <a:gd name="f2" fmla="val 180"/>
              <a:gd name="f3" fmla="val w"/>
              <a:gd name="f4" fmla="val h"/>
              <a:gd name="f5" fmla="val 0"/>
              <a:gd name="f6" fmla="val 10293751"/>
              <a:gd name="f7" fmla="val 1031873"/>
              <a:gd name="f8" fmla="val 3579068"/>
              <a:gd name="f9" fmla="val 1"/>
              <a:gd name="f10" fmla="val 1031872"/>
              <a:gd name="f11" fmla="+- 0 0 -90"/>
              <a:gd name="f12" fmla="*/ f3 1 10293751"/>
              <a:gd name="f13" fmla="*/ f4 1 1031873"/>
              <a:gd name="f14" fmla="+- f7 0 f5"/>
              <a:gd name="f15" fmla="+- f6 0 f5"/>
              <a:gd name="f16" fmla="*/ f11 f0 1"/>
              <a:gd name="f17" fmla="*/ f15 1 10293751"/>
              <a:gd name="f18" fmla="*/ f14 1 1031873"/>
              <a:gd name="f19" fmla="*/ 10293751 f15 1"/>
              <a:gd name="f20" fmla="*/ 0 f15 1"/>
              <a:gd name="f21" fmla="*/ 0 f14 1"/>
              <a:gd name="f22" fmla="*/ 1 f14 1"/>
              <a:gd name="f23" fmla="*/ 1031873 f14 1"/>
              <a:gd name="f24" fmla="*/ 1031872 f14 1"/>
              <a:gd name="f25" fmla="*/ 3579068 f15 1"/>
              <a:gd name="f26" fmla="*/ f16 1 f2"/>
              <a:gd name="f27" fmla="*/ f19 1 10293751"/>
              <a:gd name="f28" fmla="*/ f20 1 10293751"/>
              <a:gd name="f29" fmla="*/ f21 1 1031873"/>
              <a:gd name="f30" fmla="*/ f22 1 1031873"/>
              <a:gd name="f31" fmla="*/ f23 1 1031873"/>
              <a:gd name="f32" fmla="*/ f24 1 1031873"/>
              <a:gd name="f33" fmla="*/ f25 1 10293751"/>
              <a:gd name="f34" fmla="*/ f5 1 f17"/>
              <a:gd name="f35" fmla="*/ f6 1 f17"/>
              <a:gd name="f36" fmla="*/ f5 1 f18"/>
              <a:gd name="f37" fmla="*/ f7 1 f18"/>
              <a:gd name="f38" fmla="+- f26 0 f1"/>
              <a:gd name="f39" fmla="*/ f33 1 f17"/>
              <a:gd name="f40" fmla="*/ f29 1 f18"/>
              <a:gd name="f41" fmla="*/ f27 1 f17"/>
              <a:gd name="f42" fmla="*/ f30 1 f18"/>
              <a:gd name="f43" fmla="*/ f31 1 f18"/>
              <a:gd name="f44" fmla="*/ f28 1 f17"/>
              <a:gd name="f45" fmla="*/ f32 1 f18"/>
              <a:gd name="f46" fmla="*/ f34 f12 1"/>
              <a:gd name="f47" fmla="*/ f35 f12 1"/>
              <a:gd name="f48" fmla="*/ f37 f13 1"/>
              <a:gd name="f49" fmla="*/ f36 f13 1"/>
              <a:gd name="f50" fmla="*/ f39 f12 1"/>
              <a:gd name="f51" fmla="*/ f40 f13 1"/>
              <a:gd name="f52" fmla="*/ f41 f12 1"/>
              <a:gd name="f53" fmla="*/ f42 f13 1"/>
              <a:gd name="f54" fmla="*/ f43 f13 1"/>
              <a:gd name="f55" fmla="*/ f44 f12 1"/>
              <a:gd name="f56" fmla="*/ f45 f13 1"/>
            </a:gdLst>
            <a:ahLst/>
            <a:cxnLst>
              <a:cxn ang="3cd4">
                <a:pos x="hc" y="t"/>
              </a:cxn>
              <a:cxn ang="0">
                <a:pos x="r" y="vc"/>
              </a:cxn>
              <a:cxn ang="cd4">
                <a:pos x="hc" y="b"/>
              </a:cxn>
              <a:cxn ang="cd2">
                <a:pos x="l" y="vc"/>
              </a:cxn>
              <a:cxn ang="f38">
                <a:pos x="f50" y="f51"/>
              </a:cxn>
              <a:cxn ang="f38">
                <a:pos x="f52" y="f53"/>
              </a:cxn>
              <a:cxn ang="f38">
                <a:pos x="f52" y="f54"/>
              </a:cxn>
              <a:cxn ang="f38">
                <a:pos x="f55" y="f56"/>
              </a:cxn>
              <a:cxn ang="f38">
                <a:pos x="f50" y="f51"/>
              </a:cxn>
            </a:cxnLst>
            <a:rect l="f46" t="f49" r="f47" b="f48"/>
            <a:pathLst>
              <a:path w="10293751" h="1031873">
                <a:moveTo>
                  <a:pt x="f8" y="f5"/>
                </a:moveTo>
                <a:lnTo>
                  <a:pt x="f6" y="f9"/>
                </a:lnTo>
                <a:lnTo>
                  <a:pt x="f6" y="f7"/>
                </a:lnTo>
                <a:lnTo>
                  <a:pt x="f5" y="f10"/>
                </a:lnTo>
                <a:lnTo>
                  <a:pt x="f8" y="f5"/>
                </a:lnTo>
                <a:close/>
              </a:path>
            </a:pathLst>
          </a:cu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8" name="Rectangle 8">
            <a:extLst>
              <a:ext uri="{FF2B5EF4-FFF2-40B4-BE49-F238E27FC236}">
                <a16:creationId xmlns:a16="http://schemas.microsoft.com/office/drawing/2014/main" id="{F6646705-2D0E-F043-1A6D-0112B18BD752}"/>
              </a:ext>
            </a:extLst>
          </p:cNvPr>
          <p:cNvSpPr/>
          <p:nvPr/>
        </p:nvSpPr>
        <p:spPr>
          <a:xfrm>
            <a:off x="0" y="6115050"/>
            <a:ext cx="12191996" cy="742950"/>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9" name="Text Placeholder 11">
            <a:extLst>
              <a:ext uri="{FF2B5EF4-FFF2-40B4-BE49-F238E27FC236}">
                <a16:creationId xmlns:a16="http://schemas.microsoft.com/office/drawing/2014/main" id="{D6226E04-07AF-957E-6A80-39F053192494}"/>
              </a:ext>
            </a:extLst>
          </p:cNvPr>
          <p:cNvSpPr txBox="1">
            <a:spLocks noGrp="1"/>
          </p:cNvSpPr>
          <p:nvPr>
            <p:ph type="body" idx="4294967295"/>
          </p:nvPr>
        </p:nvSpPr>
        <p:spPr>
          <a:xfrm>
            <a:off x="2826557" y="3447397"/>
            <a:ext cx="8178613" cy="713314"/>
          </a:xfrm>
        </p:spPr>
        <p:txBody>
          <a:bodyPr/>
          <a:lstStyle>
            <a:lvl1pPr marL="0" indent="0">
              <a:buNone/>
              <a:defRPr sz="3200">
                <a:solidFill>
                  <a:srgbClr val="00314C"/>
                </a:solidFill>
                <a:latin typeface="Verdana"/>
                <a:ea typeface="Verdana"/>
                <a:cs typeface="Verdana"/>
              </a:defRPr>
            </a:lvl1pPr>
          </a:lstStyle>
          <a:p>
            <a:pPr lvl="0"/>
            <a:r>
              <a:rPr lang="en-US"/>
              <a:t>Subtitle (24)</a:t>
            </a:r>
          </a:p>
        </p:txBody>
      </p:sp>
      <p:pic>
        <p:nvPicPr>
          <p:cNvPr id="10" name="Picture 12">
            <a:extLst>
              <a:ext uri="{FF2B5EF4-FFF2-40B4-BE49-F238E27FC236}">
                <a16:creationId xmlns:a16="http://schemas.microsoft.com/office/drawing/2014/main" id="{954E8F27-FEB1-74B8-CD51-E582FB2D12C6}"/>
              </a:ext>
            </a:extLst>
          </p:cNvPr>
          <p:cNvPicPr>
            <a:picLocks noChangeAspect="1"/>
          </p:cNvPicPr>
          <p:nvPr/>
        </p:nvPicPr>
        <p:blipFill>
          <a:blip r:embed="rId2"/>
          <a:srcRect/>
          <a:stretch>
            <a:fillRect/>
          </a:stretch>
        </p:blipFill>
        <p:spPr>
          <a:xfrm>
            <a:off x="2829831" y="4178333"/>
            <a:ext cx="4395959" cy="1140165"/>
          </a:xfrm>
          <a:prstGeom prst="rect">
            <a:avLst/>
          </a:prstGeom>
          <a:noFill/>
          <a:ln cap="flat">
            <a:noFill/>
          </a:ln>
        </p:spPr>
      </p:pic>
    </p:spTree>
    <p:extLst>
      <p:ext uri="{BB962C8B-B14F-4D97-AF65-F5344CB8AC3E}">
        <p14:creationId xmlns:p14="http://schemas.microsoft.com/office/powerpoint/2010/main" val="2397079247"/>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p:cSld name="11_Title and Bullets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5357CB-05F9-63C8-F96B-853D266284D3}"/>
              </a:ext>
            </a:extLst>
          </p:cNvPr>
          <p:cNvSpPr txBox="1">
            <a:spLocks noGrp="1"/>
          </p:cNvSpPr>
          <p:nvPr>
            <p:ph type="title"/>
          </p:nvPr>
        </p:nvSpPr>
        <p:spPr>
          <a:xfrm>
            <a:off x="848992" y="783842"/>
            <a:ext cx="10177756"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sp>
        <p:nvSpPr>
          <p:cNvPr id="3" name="Rectangle 9">
            <a:extLst>
              <a:ext uri="{FF2B5EF4-FFF2-40B4-BE49-F238E27FC236}">
                <a16:creationId xmlns:a16="http://schemas.microsoft.com/office/drawing/2014/main" id="{CD2998CF-0D56-1846-0016-1023B74C46AC}"/>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4" name="Rectangle 10">
            <a:extLst>
              <a:ext uri="{FF2B5EF4-FFF2-40B4-BE49-F238E27FC236}">
                <a16:creationId xmlns:a16="http://schemas.microsoft.com/office/drawing/2014/main" id="{AEB2534A-8673-2425-FFEF-426858F3EB13}"/>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5" name="Text Placeholder 4">
            <a:extLst>
              <a:ext uri="{FF2B5EF4-FFF2-40B4-BE49-F238E27FC236}">
                <a16:creationId xmlns:a16="http://schemas.microsoft.com/office/drawing/2014/main" id="{070CD3D2-4008-A525-703B-88DAA9196F70}"/>
              </a:ext>
            </a:extLst>
          </p:cNvPr>
          <p:cNvSpPr txBox="1">
            <a:spLocks noGrp="1"/>
          </p:cNvSpPr>
          <p:nvPr>
            <p:ph type="body" idx="4294967295"/>
          </p:nvPr>
        </p:nvSpPr>
        <p:spPr>
          <a:xfrm>
            <a:off x="848783" y="1615023"/>
            <a:ext cx="10176933" cy="3812115"/>
          </a:xfrm>
        </p:spPr>
        <p:txBody>
          <a:bodyPr/>
          <a:lstStyle>
            <a:lvl1pPr marL="381012" indent="-381012">
              <a:defRPr sz="2133">
                <a:latin typeface="Verdana"/>
                <a:ea typeface="Verdana"/>
                <a:cs typeface="Verdana"/>
              </a:defRPr>
            </a:lvl1pPr>
            <a:lvl2pPr marL="381012" lvl="0" indent="-381012">
              <a:spcBef>
                <a:spcPts val="1000"/>
              </a:spcBef>
              <a:buClr>
                <a:srgbClr val="F5668F"/>
              </a:buClr>
              <a:defRPr sz="2133">
                <a:latin typeface="Verdana"/>
                <a:ea typeface="Verdana"/>
                <a:cs typeface="Verdana"/>
              </a:defRPr>
            </a:lvl2pPr>
          </a:lstStyle>
          <a:p>
            <a:pPr lvl="0"/>
            <a:r>
              <a:rPr lang="en-US"/>
              <a:t>Copy goes here</a:t>
            </a:r>
          </a:p>
          <a:p>
            <a:pPr lvl="0"/>
            <a:endParaRPr lang="en-US"/>
          </a:p>
        </p:txBody>
      </p:sp>
      <p:pic>
        <p:nvPicPr>
          <p:cNvPr id="6" name="Picture 6">
            <a:extLst>
              <a:ext uri="{FF2B5EF4-FFF2-40B4-BE49-F238E27FC236}">
                <a16:creationId xmlns:a16="http://schemas.microsoft.com/office/drawing/2014/main" id="{53488EC5-17F8-448A-878E-796AC236C1AE}"/>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Tree>
    <p:extLst>
      <p:ext uri="{BB962C8B-B14F-4D97-AF65-F5344CB8AC3E}">
        <p14:creationId xmlns:p14="http://schemas.microsoft.com/office/powerpoint/2010/main" val="2457032083"/>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p:cSld name="13_Title and Content">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E6B81775-3C04-BE74-B5EB-C661B7CC8D6C}"/>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pic>
        <p:nvPicPr>
          <p:cNvPr id="3" name="Picture 10">
            <a:extLst>
              <a:ext uri="{FF2B5EF4-FFF2-40B4-BE49-F238E27FC236}">
                <a16:creationId xmlns:a16="http://schemas.microsoft.com/office/drawing/2014/main" id="{0DED603D-AAB5-8819-D0EF-58749A6C67DC}"/>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
        <p:nvSpPr>
          <p:cNvPr id="4" name="Rectangle 11">
            <a:extLst>
              <a:ext uri="{FF2B5EF4-FFF2-40B4-BE49-F238E27FC236}">
                <a16:creationId xmlns:a16="http://schemas.microsoft.com/office/drawing/2014/main" id="{909C0EDB-6BF2-816E-99B8-875EAA60A545}"/>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5" name="Title 1">
            <a:extLst>
              <a:ext uri="{FF2B5EF4-FFF2-40B4-BE49-F238E27FC236}">
                <a16:creationId xmlns:a16="http://schemas.microsoft.com/office/drawing/2014/main" id="{ADCEB529-732A-B4B5-F62E-83FA07FD6AE7}"/>
              </a:ext>
            </a:extLst>
          </p:cNvPr>
          <p:cNvSpPr txBox="1">
            <a:spLocks noGrp="1"/>
          </p:cNvSpPr>
          <p:nvPr>
            <p:ph type="title"/>
          </p:nvPr>
        </p:nvSpPr>
        <p:spPr>
          <a:xfrm>
            <a:off x="848992" y="806858"/>
            <a:ext cx="10156176"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sp>
        <p:nvSpPr>
          <p:cNvPr id="6" name="Text Placeholder 15">
            <a:extLst>
              <a:ext uri="{FF2B5EF4-FFF2-40B4-BE49-F238E27FC236}">
                <a16:creationId xmlns:a16="http://schemas.microsoft.com/office/drawing/2014/main" id="{09DBA70E-5117-E2EA-6A61-03E4A5219B94}"/>
              </a:ext>
            </a:extLst>
          </p:cNvPr>
          <p:cNvSpPr txBox="1">
            <a:spLocks noGrp="1"/>
          </p:cNvSpPr>
          <p:nvPr>
            <p:ph type="body" idx="4294967295"/>
          </p:nvPr>
        </p:nvSpPr>
        <p:spPr>
          <a:xfrm>
            <a:off x="848992" y="1637855"/>
            <a:ext cx="10156176" cy="4117159"/>
          </a:xfrm>
        </p:spPr>
        <p:txBody>
          <a:bodyPr/>
          <a:lstStyle>
            <a:lvl1pPr marL="0" indent="0" defTabSz="914418">
              <a:lnSpc>
                <a:spcPct val="90000"/>
              </a:lnSpc>
              <a:spcAft>
                <a:spcPts val="0"/>
              </a:spcAft>
              <a:buNone/>
              <a:defRPr sz="2133">
                <a:latin typeface="Verdana"/>
                <a:ea typeface="Verdana"/>
                <a:cs typeface="Verdana"/>
              </a:defRPr>
            </a:lvl1pPr>
          </a:lstStyle>
          <a:p>
            <a:pPr lvl="0"/>
            <a:r>
              <a:rPr lang="en-US"/>
              <a:t>Copy goes here. </a:t>
            </a:r>
          </a:p>
        </p:txBody>
      </p:sp>
    </p:spTree>
    <p:extLst>
      <p:ext uri="{BB962C8B-B14F-4D97-AF65-F5344CB8AC3E}">
        <p14:creationId xmlns:p14="http://schemas.microsoft.com/office/powerpoint/2010/main" val="367654078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Quotation">
  <p:cSld name="Quotation 3 3">
    <p:spTree>
      <p:nvGrpSpPr>
        <p:cNvPr id="1" name="Shape 9466"/>
        <p:cNvGrpSpPr/>
        <p:nvPr/>
      </p:nvGrpSpPr>
      <p:grpSpPr>
        <a:xfrm>
          <a:off x="0" y="0"/>
          <a:ext cx="0" cy="0"/>
          <a:chOff x="0" y="0"/>
          <a:chExt cx="0" cy="0"/>
        </a:xfrm>
      </p:grpSpPr>
      <p:sp>
        <p:nvSpPr>
          <p:cNvPr id="9467" name="Google Shape;9467;p135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468" name="Google Shape;9468;p135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469" name="Google Shape;9469;p135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70" name="Google Shape;9470;p13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71" name="Google Shape;9471;p13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72" name="Google Shape;9472;p13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473" name="Google Shape;9473;p1358"/>
          <p:cNvGrpSpPr/>
          <p:nvPr/>
        </p:nvGrpSpPr>
        <p:grpSpPr>
          <a:xfrm>
            <a:off x="7191542" y="1"/>
            <a:ext cx="5000459" cy="1425992"/>
            <a:chOff x="7191542" y="1"/>
            <a:chExt cx="5000459" cy="1425992"/>
          </a:xfrm>
        </p:grpSpPr>
        <p:pic>
          <p:nvPicPr>
            <p:cNvPr id="9474" name="Google Shape;9474;p13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75" name="Google Shape;9475;p1358"/>
            <p:cNvGrpSpPr/>
            <p:nvPr/>
          </p:nvGrpSpPr>
          <p:grpSpPr>
            <a:xfrm>
              <a:off x="7191542" y="1"/>
              <a:ext cx="5000459" cy="1425992"/>
              <a:chOff x="7186272" y="0"/>
              <a:chExt cx="5005729" cy="1427495"/>
            </a:xfrm>
          </p:grpSpPr>
          <p:sp>
            <p:nvSpPr>
              <p:cNvPr id="9476" name="Google Shape;9476;p13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477" name="Google Shape;9477;p13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478" name="Google Shape;9478;p135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p:cSld name="11_Two Section | Picture and Copy Layout">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FE366421-00C4-1EF3-D9DE-5802F5417382}"/>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3" name="Rectangle 11">
            <a:extLst>
              <a:ext uri="{FF2B5EF4-FFF2-40B4-BE49-F238E27FC236}">
                <a16:creationId xmlns:a16="http://schemas.microsoft.com/office/drawing/2014/main" id="{4A0D2EF2-A7AC-B627-7C6E-F5EF07EA1293}"/>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4" name="Content Placeholder 2">
            <a:extLst>
              <a:ext uri="{FF2B5EF4-FFF2-40B4-BE49-F238E27FC236}">
                <a16:creationId xmlns:a16="http://schemas.microsoft.com/office/drawing/2014/main" id="{5D8C7A2F-C8D9-80DF-83A8-A794D3B62B35}"/>
              </a:ext>
            </a:extLst>
          </p:cNvPr>
          <p:cNvSpPr txBox="1">
            <a:spLocks noGrp="1"/>
          </p:cNvSpPr>
          <p:nvPr>
            <p:ph idx="4294967295"/>
          </p:nvPr>
        </p:nvSpPr>
        <p:spPr>
          <a:xfrm>
            <a:off x="1186836" y="1294452"/>
            <a:ext cx="3983336" cy="3788084"/>
          </a:xfrm>
        </p:spPr>
        <p:txBody>
          <a:bodyPr/>
          <a:lstStyle>
            <a:lvl1pPr marL="0" indent="0">
              <a:buNone/>
              <a:defRPr sz="1200" i="1">
                <a:solidFill>
                  <a:srgbClr val="003B5C"/>
                </a:solidFill>
                <a:latin typeface="Verdana"/>
                <a:ea typeface="Verdana"/>
                <a:cs typeface="Verdana"/>
              </a:defRPr>
            </a:lvl1pPr>
          </a:lstStyle>
          <a:p>
            <a:pPr lvl="0"/>
            <a:r>
              <a:rPr lang="en-US"/>
              <a:t>*Insert Image Here</a:t>
            </a:r>
          </a:p>
        </p:txBody>
      </p:sp>
      <p:sp>
        <p:nvSpPr>
          <p:cNvPr id="5" name="Content Placeholder 3">
            <a:extLst>
              <a:ext uri="{FF2B5EF4-FFF2-40B4-BE49-F238E27FC236}">
                <a16:creationId xmlns:a16="http://schemas.microsoft.com/office/drawing/2014/main" id="{1AD7A57A-556F-E369-E98F-64597A866E18}"/>
              </a:ext>
            </a:extLst>
          </p:cNvPr>
          <p:cNvSpPr txBox="1">
            <a:spLocks noGrp="1"/>
          </p:cNvSpPr>
          <p:nvPr>
            <p:ph idx="4294967295"/>
          </p:nvPr>
        </p:nvSpPr>
        <p:spPr>
          <a:xfrm>
            <a:off x="5549394" y="1997122"/>
            <a:ext cx="5466557" cy="3085414"/>
          </a:xfrm>
        </p:spPr>
        <p:txBody>
          <a:bodyPr/>
          <a:lstStyle>
            <a:lvl1pPr marL="0" indent="0" defTabSz="914418">
              <a:lnSpc>
                <a:spcPct val="90000"/>
              </a:lnSpc>
              <a:spcAft>
                <a:spcPts val="0"/>
              </a:spcAft>
              <a:buNone/>
              <a:defRPr sz="2133">
                <a:latin typeface="Verdana"/>
                <a:ea typeface="Verdana"/>
                <a:cs typeface="Verdana"/>
              </a:defRPr>
            </a:lvl1pPr>
          </a:lstStyle>
          <a:p>
            <a:pPr lvl="0"/>
            <a:r>
              <a:rPr lang="en-US"/>
              <a:t>Copy goes here. </a:t>
            </a:r>
          </a:p>
        </p:txBody>
      </p:sp>
      <p:sp>
        <p:nvSpPr>
          <p:cNvPr id="6" name="Title 16">
            <a:extLst>
              <a:ext uri="{FF2B5EF4-FFF2-40B4-BE49-F238E27FC236}">
                <a16:creationId xmlns:a16="http://schemas.microsoft.com/office/drawing/2014/main" id="{C53346D0-1D49-F272-3A69-AC2A73EDE170}"/>
              </a:ext>
            </a:extLst>
          </p:cNvPr>
          <p:cNvSpPr txBox="1">
            <a:spLocks noGrp="1"/>
          </p:cNvSpPr>
          <p:nvPr>
            <p:ph type="title"/>
          </p:nvPr>
        </p:nvSpPr>
        <p:spPr>
          <a:xfrm>
            <a:off x="5549394" y="1154522"/>
            <a:ext cx="5466557"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pic>
        <p:nvPicPr>
          <p:cNvPr id="7" name="Picture 7">
            <a:extLst>
              <a:ext uri="{FF2B5EF4-FFF2-40B4-BE49-F238E27FC236}">
                <a16:creationId xmlns:a16="http://schemas.microsoft.com/office/drawing/2014/main" id="{0065711F-49C1-43C5-B4B3-3F4542484151}"/>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Tree>
    <p:extLst>
      <p:ext uri="{BB962C8B-B14F-4D97-AF65-F5344CB8AC3E}">
        <p14:creationId xmlns:p14="http://schemas.microsoft.com/office/powerpoint/2010/main" val="543851473"/>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p:cSld name="12_Title and Bullets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959690-5AD7-5085-46F0-A0AB9E88DFA5}"/>
              </a:ext>
            </a:extLst>
          </p:cNvPr>
          <p:cNvSpPr txBox="1">
            <a:spLocks noGrp="1"/>
          </p:cNvSpPr>
          <p:nvPr>
            <p:ph type="title"/>
          </p:nvPr>
        </p:nvSpPr>
        <p:spPr>
          <a:xfrm>
            <a:off x="848992" y="783842"/>
            <a:ext cx="10177756"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sp>
        <p:nvSpPr>
          <p:cNvPr id="3" name="Rectangle 9">
            <a:extLst>
              <a:ext uri="{FF2B5EF4-FFF2-40B4-BE49-F238E27FC236}">
                <a16:creationId xmlns:a16="http://schemas.microsoft.com/office/drawing/2014/main" id="{30191160-B934-CABB-8758-26157CFA725C}"/>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4" name="Rectangle 10">
            <a:extLst>
              <a:ext uri="{FF2B5EF4-FFF2-40B4-BE49-F238E27FC236}">
                <a16:creationId xmlns:a16="http://schemas.microsoft.com/office/drawing/2014/main" id="{09E99765-3666-ED59-176D-231F11BF1945}"/>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5" name="Text Placeholder 4">
            <a:extLst>
              <a:ext uri="{FF2B5EF4-FFF2-40B4-BE49-F238E27FC236}">
                <a16:creationId xmlns:a16="http://schemas.microsoft.com/office/drawing/2014/main" id="{1661697F-87B0-768C-CD3F-AE4CC0D26A5A}"/>
              </a:ext>
            </a:extLst>
          </p:cNvPr>
          <p:cNvSpPr txBox="1">
            <a:spLocks noGrp="1"/>
          </p:cNvSpPr>
          <p:nvPr>
            <p:ph type="body" idx="4294967295"/>
          </p:nvPr>
        </p:nvSpPr>
        <p:spPr>
          <a:xfrm>
            <a:off x="848783" y="1615023"/>
            <a:ext cx="10176933" cy="3812115"/>
          </a:xfrm>
        </p:spPr>
        <p:txBody>
          <a:bodyPr/>
          <a:lstStyle>
            <a:lvl1pPr marL="381012" indent="-381012">
              <a:defRPr sz="2133">
                <a:latin typeface="Verdana"/>
                <a:ea typeface="Verdana"/>
                <a:cs typeface="Verdana"/>
              </a:defRPr>
            </a:lvl1pPr>
            <a:lvl2pPr marL="381012" lvl="0" indent="-381012">
              <a:spcBef>
                <a:spcPts val="1000"/>
              </a:spcBef>
              <a:buClr>
                <a:srgbClr val="F5668F"/>
              </a:buClr>
              <a:defRPr sz="2133">
                <a:latin typeface="Verdana"/>
                <a:ea typeface="Verdana"/>
                <a:cs typeface="Verdana"/>
              </a:defRPr>
            </a:lvl2pPr>
          </a:lstStyle>
          <a:p>
            <a:pPr lvl="0"/>
            <a:r>
              <a:rPr lang="en-US"/>
              <a:t>Copy goes here</a:t>
            </a:r>
          </a:p>
          <a:p>
            <a:pPr lvl="0"/>
            <a:endParaRPr lang="en-US"/>
          </a:p>
        </p:txBody>
      </p:sp>
      <p:pic>
        <p:nvPicPr>
          <p:cNvPr id="6" name="Picture 6">
            <a:extLst>
              <a:ext uri="{FF2B5EF4-FFF2-40B4-BE49-F238E27FC236}">
                <a16:creationId xmlns:a16="http://schemas.microsoft.com/office/drawing/2014/main" id="{CA1A7BAD-A718-0890-2204-4F259C7239C9}"/>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Tree>
    <p:extLst>
      <p:ext uri="{BB962C8B-B14F-4D97-AF65-F5344CB8AC3E}">
        <p14:creationId xmlns:p14="http://schemas.microsoft.com/office/powerpoint/2010/main" val="346961793"/>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p:cSld name="14_Title and Content">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C3AB2E9C-43D4-7CCF-9611-13C979ACC0AD}"/>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pic>
        <p:nvPicPr>
          <p:cNvPr id="3" name="Picture 10">
            <a:extLst>
              <a:ext uri="{FF2B5EF4-FFF2-40B4-BE49-F238E27FC236}">
                <a16:creationId xmlns:a16="http://schemas.microsoft.com/office/drawing/2014/main" id="{828FCB98-38F4-3D58-A72F-9D4EC12720D3}"/>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
        <p:nvSpPr>
          <p:cNvPr id="4" name="Rectangle 11">
            <a:extLst>
              <a:ext uri="{FF2B5EF4-FFF2-40B4-BE49-F238E27FC236}">
                <a16:creationId xmlns:a16="http://schemas.microsoft.com/office/drawing/2014/main" id="{F7713124-72DB-95E9-E515-848E5F4E4BFA}"/>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5" name="Title 1">
            <a:extLst>
              <a:ext uri="{FF2B5EF4-FFF2-40B4-BE49-F238E27FC236}">
                <a16:creationId xmlns:a16="http://schemas.microsoft.com/office/drawing/2014/main" id="{2F8921C0-1ACA-1DC2-B08F-AD416636F465}"/>
              </a:ext>
            </a:extLst>
          </p:cNvPr>
          <p:cNvSpPr txBox="1">
            <a:spLocks noGrp="1"/>
          </p:cNvSpPr>
          <p:nvPr>
            <p:ph type="title"/>
          </p:nvPr>
        </p:nvSpPr>
        <p:spPr>
          <a:xfrm>
            <a:off x="848992" y="806858"/>
            <a:ext cx="10156176"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sp>
        <p:nvSpPr>
          <p:cNvPr id="6" name="Text Placeholder 15">
            <a:extLst>
              <a:ext uri="{FF2B5EF4-FFF2-40B4-BE49-F238E27FC236}">
                <a16:creationId xmlns:a16="http://schemas.microsoft.com/office/drawing/2014/main" id="{B3C21F61-FB89-345D-FE21-7FDC5884BD64}"/>
              </a:ext>
            </a:extLst>
          </p:cNvPr>
          <p:cNvSpPr txBox="1">
            <a:spLocks noGrp="1"/>
          </p:cNvSpPr>
          <p:nvPr>
            <p:ph type="body" idx="4294967295"/>
          </p:nvPr>
        </p:nvSpPr>
        <p:spPr>
          <a:xfrm>
            <a:off x="848992" y="1637855"/>
            <a:ext cx="10156176" cy="4117159"/>
          </a:xfrm>
        </p:spPr>
        <p:txBody>
          <a:bodyPr/>
          <a:lstStyle>
            <a:lvl1pPr marL="0" indent="0" defTabSz="914418">
              <a:lnSpc>
                <a:spcPct val="90000"/>
              </a:lnSpc>
              <a:spcAft>
                <a:spcPts val="0"/>
              </a:spcAft>
              <a:buNone/>
              <a:defRPr sz="2133">
                <a:latin typeface="Verdana"/>
                <a:ea typeface="Verdana"/>
                <a:cs typeface="Verdana"/>
              </a:defRPr>
            </a:lvl1pPr>
          </a:lstStyle>
          <a:p>
            <a:pPr lvl="0"/>
            <a:r>
              <a:rPr lang="en-US"/>
              <a:t>Copy goes here. </a:t>
            </a:r>
          </a:p>
        </p:txBody>
      </p:sp>
    </p:spTree>
    <p:extLst>
      <p:ext uri="{BB962C8B-B14F-4D97-AF65-F5344CB8AC3E}">
        <p14:creationId xmlns:p14="http://schemas.microsoft.com/office/powerpoint/2010/main" val="2306340599"/>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p:cSld name="12_Two Section | Picture and Copy Layout">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06F322F5-2150-B3CB-E4D6-8A21708D5B37}"/>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3" name="Rectangle 11">
            <a:extLst>
              <a:ext uri="{FF2B5EF4-FFF2-40B4-BE49-F238E27FC236}">
                <a16:creationId xmlns:a16="http://schemas.microsoft.com/office/drawing/2014/main" id="{5B69FF8F-D89A-26FE-2146-2D26E541FACA}"/>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4" name="Content Placeholder 2">
            <a:extLst>
              <a:ext uri="{FF2B5EF4-FFF2-40B4-BE49-F238E27FC236}">
                <a16:creationId xmlns:a16="http://schemas.microsoft.com/office/drawing/2014/main" id="{FFE23BB0-81A7-90BD-97EF-6472F435C20C}"/>
              </a:ext>
            </a:extLst>
          </p:cNvPr>
          <p:cNvSpPr txBox="1">
            <a:spLocks noGrp="1"/>
          </p:cNvSpPr>
          <p:nvPr>
            <p:ph idx="4294967295"/>
          </p:nvPr>
        </p:nvSpPr>
        <p:spPr>
          <a:xfrm>
            <a:off x="1186836" y="1294452"/>
            <a:ext cx="3983336" cy="3788084"/>
          </a:xfrm>
        </p:spPr>
        <p:txBody>
          <a:bodyPr/>
          <a:lstStyle>
            <a:lvl1pPr marL="0" indent="0">
              <a:buNone/>
              <a:defRPr sz="1200" i="1">
                <a:solidFill>
                  <a:srgbClr val="003B5C"/>
                </a:solidFill>
                <a:latin typeface="Verdana"/>
                <a:ea typeface="Verdana"/>
                <a:cs typeface="Verdana"/>
              </a:defRPr>
            </a:lvl1pPr>
          </a:lstStyle>
          <a:p>
            <a:pPr lvl="0"/>
            <a:r>
              <a:rPr lang="en-US"/>
              <a:t>*Insert Image Here</a:t>
            </a:r>
          </a:p>
        </p:txBody>
      </p:sp>
      <p:sp>
        <p:nvSpPr>
          <p:cNvPr id="5" name="Content Placeholder 3">
            <a:extLst>
              <a:ext uri="{FF2B5EF4-FFF2-40B4-BE49-F238E27FC236}">
                <a16:creationId xmlns:a16="http://schemas.microsoft.com/office/drawing/2014/main" id="{1A783BB3-334F-0FD1-25EF-6586067DDB3A}"/>
              </a:ext>
            </a:extLst>
          </p:cNvPr>
          <p:cNvSpPr txBox="1">
            <a:spLocks noGrp="1"/>
          </p:cNvSpPr>
          <p:nvPr>
            <p:ph idx="4294967295"/>
          </p:nvPr>
        </p:nvSpPr>
        <p:spPr>
          <a:xfrm>
            <a:off x="5549394" y="1997122"/>
            <a:ext cx="5466557" cy="3085414"/>
          </a:xfrm>
        </p:spPr>
        <p:txBody>
          <a:bodyPr/>
          <a:lstStyle>
            <a:lvl1pPr marL="0" indent="0" defTabSz="914418">
              <a:lnSpc>
                <a:spcPct val="90000"/>
              </a:lnSpc>
              <a:spcAft>
                <a:spcPts val="0"/>
              </a:spcAft>
              <a:buNone/>
              <a:defRPr sz="2133">
                <a:latin typeface="Verdana"/>
                <a:ea typeface="Verdana"/>
                <a:cs typeface="Verdana"/>
              </a:defRPr>
            </a:lvl1pPr>
          </a:lstStyle>
          <a:p>
            <a:pPr lvl="0"/>
            <a:r>
              <a:rPr lang="en-US"/>
              <a:t>Copy goes here. </a:t>
            </a:r>
          </a:p>
        </p:txBody>
      </p:sp>
      <p:sp>
        <p:nvSpPr>
          <p:cNvPr id="6" name="Title 16">
            <a:extLst>
              <a:ext uri="{FF2B5EF4-FFF2-40B4-BE49-F238E27FC236}">
                <a16:creationId xmlns:a16="http://schemas.microsoft.com/office/drawing/2014/main" id="{66062C09-4062-4DAD-25B2-B7ED29CB8FE7}"/>
              </a:ext>
            </a:extLst>
          </p:cNvPr>
          <p:cNvSpPr txBox="1">
            <a:spLocks noGrp="1"/>
          </p:cNvSpPr>
          <p:nvPr>
            <p:ph type="title"/>
          </p:nvPr>
        </p:nvSpPr>
        <p:spPr>
          <a:xfrm>
            <a:off x="5549394" y="1154522"/>
            <a:ext cx="5466557"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pic>
        <p:nvPicPr>
          <p:cNvPr id="7" name="Picture 7">
            <a:extLst>
              <a:ext uri="{FF2B5EF4-FFF2-40B4-BE49-F238E27FC236}">
                <a16:creationId xmlns:a16="http://schemas.microsoft.com/office/drawing/2014/main" id="{420FDBE7-B587-1BEA-BAEE-E44C8EDD6E64}"/>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Tree>
    <p:extLst>
      <p:ext uri="{BB962C8B-B14F-4D97-AF65-F5344CB8AC3E}">
        <p14:creationId xmlns:p14="http://schemas.microsoft.com/office/powerpoint/2010/main" val="3763005443"/>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p:cSld name="18_Title Slide_Yale Blue">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DB57A1CA-3EC6-237E-C69F-596BB26F492F}"/>
              </a:ext>
            </a:extLst>
          </p:cNvPr>
          <p:cNvSpPr txBox="1">
            <a:spLocks noGrp="1"/>
          </p:cNvSpPr>
          <p:nvPr>
            <p:ph type="body" idx="4294967295"/>
          </p:nvPr>
        </p:nvSpPr>
        <p:spPr>
          <a:xfrm>
            <a:off x="2826557" y="5400857"/>
            <a:ext cx="8178613" cy="379656"/>
          </a:xfrm>
        </p:spPr>
        <p:txBody>
          <a:bodyPr wrap="square">
            <a:spAutoFit/>
          </a:bodyPr>
          <a:lstStyle>
            <a:lvl1pPr marL="0" indent="0" algn="r">
              <a:buNone/>
              <a:defRPr sz="1867">
                <a:solidFill>
                  <a:srgbClr val="616364"/>
                </a:solidFill>
                <a:latin typeface="Verdana"/>
                <a:ea typeface="Verdana"/>
                <a:cs typeface="Verdana"/>
              </a:defRPr>
            </a:lvl1pPr>
          </a:lstStyle>
          <a:p>
            <a:pPr lvl="0"/>
            <a:r>
              <a:rPr lang="en-US"/>
              <a:t>Date | Presenter Information (14 pt)</a:t>
            </a:r>
          </a:p>
        </p:txBody>
      </p:sp>
      <p:sp>
        <p:nvSpPr>
          <p:cNvPr id="3" name="Title 1">
            <a:extLst>
              <a:ext uri="{FF2B5EF4-FFF2-40B4-BE49-F238E27FC236}">
                <a16:creationId xmlns:a16="http://schemas.microsoft.com/office/drawing/2014/main" id="{325F5FC1-5560-7D4B-D328-E09FC460C25A}"/>
              </a:ext>
            </a:extLst>
          </p:cNvPr>
          <p:cNvSpPr txBox="1">
            <a:spLocks noGrp="1"/>
          </p:cNvSpPr>
          <p:nvPr>
            <p:ph type="title"/>
          </p:nvPr>
        </p:nvSpPr>
        <p:spPr>
          <a:xfrm>
            <a:off x="2826557" y="1807147"/>
            <a:ext cx="8178613" cy="1629460"/>
          </a:xfrm>
        </p:spPr>
        <p:txBody>
          <a:bodyPr anchor="b"/>
          <a:lstStyle>
            <a:lvl1pPr>
              <a:defRPr sz="5334">
                <a:solidFill>
                  <a:srgbClr val="00314C"/>
                </a:solidFill>
                <a:latin typeface="Verdana"/>
                <a:ea typeface="Verdana"/>
                <a:cs typeface="Verdana"/>
              </a:defRPr>
            </a:lvl1pPr>
          </a:lstStyle>
          <a:p>
            <a:pPr lvl="0"/>
            <a:r>
              <a:rPr lang="en-US"/>
              <a:t>Presentation Title (40pt)</a:t>
            </a:r>
          </a:p>
        </p:txBody>
      </p:sp>
      <p:sp>
        <p:nvSpPr>
          <p:cNvPr id="4" name="Date Placeholder 3">
            <a:extLst>
              <a:ext uri="{FF2B5EF4-FFF2-40B4-BE49-F238E27FC236}">
                <a16:creationId xmlns:a16="http://schemas.microsoft.com/office/drawing/2014/main" id="{6FF3CE01-7462-4B7D-9E9B-2CCF1258E690}"/>
              </a:ext>
            </a:extLst>
          </p:cNvPr>
          <p:cNvSpPr txBox="1">
            <a:spLocks noGrp="1"/>
          </p:cNvSpPr>
          <p:nvPr>
            <p:ph type="dt" sz="quarter" idx="7"/>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914446"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defRPr>
            </a:lvl1pPr>
          </a:lstStyle>
          <a:p>
            <a:pPr lvl="0"/>
            <a:fld id="{94E5E6CF-3F13-4672-93B8-451CB81D4FFA}" type="datetime1">
              <a:rPr lang="en-US"/>
              <a:pPr lvl="0"/>
              <a:t>5/20/2026</a:t>
            </a:fld>
            <a:endParaRPr lang="en-US"/>
          </a:p>
        </p:txBody>
      </p:sp>
      <p:sp>
        <p:nvSpPr>
          <p:cNvPr id="5" name="Footer Placeholder 4">
            <a:extLst>
              <a:ext uri="{FF2B5EF4-FFF2-40B4-BE49-F238E27FC236}">
                <a16:creationId xmlns:a16="http://schemas.microsoft.com/office/drawing/2014/main" id="{DFFCCC66-E374-432F-3797-383641D671A8}"/>
              </a:ext>
            </a:extLst>
          </p:cNvPr>
          <p:cNvSpPr txBox="1">
            <a:spLocks noGrp="1"/>
          </p:cNvSpPr>
          <p:nvPr>
            <p:ph type="ftr" sz="quarter" idx="9"/>
          </p:nvPr>
        </p:nvSpPr>
        <p:spPr/>
        <p:txBody>
          <a:bodyPr anchorCtr="1"/>
          <a:lstStyle>
            <a:lvl1pPr algn="ctr">
              <a:defRPr/>
            </a:lvl1pPr>
          </a:lstStyle>
          <a:p>
            <a:pPr lvl="0"/>
            <a:endParaRPr lang="en-US"/>
          </a:p>
        </p:txBody>
      </p:sp>
      <p:sp>
        <p:nvSpPr>
          <p:cNvPr id="6" name="Slide Number Placeholder 5">
            <a:extLst>
              <a:ext uri="{FF2B5EF4-FFF2-40B4-BE49-F238E27FC236}">
                <a16:creationId xmlns:a16="http://schemas.microsoft.com/office/drawing/2014/main" id="{D6511782-00A9-E596-D6EA-AFE7E066EEB3}"/>
              </a:ext>
            </a:extLst>
          </p:cNvPr>
          <p:cNvSpPr txBox="1">
            <a:spLocks noGrp="1"/>
          </p:cNvSpPr>
          <p:nvPr>
            <p:ph type="sldNum" sz="quarter" idx="8"/>
          </p:nvPr>
        </p:nvSpPr>
        <p:spPr/>
        <p:txBody>
          <a:bodyPr/>
          <a:lstStyle>
            <a:lvl1pPr>
              <a:defRPr/>
            </a:lvl1pPr>
          </a:lstStyle>
          <a:p>
            <a:pPr lvl="0"/>
            <a:fld id="{AF611EF0-2046-4596-BB8F-9A87C229A9DB}" type="slidenum">
              <a:t>‹#›</a:t>
            </a:fld>
            <a:endParaRPr lang="en-US"/>
          </a:p>
        </p:txBody>
      </p:sp>
      <p:sp>
        <p:nvSpPr>
          <p:cNvPr id="7" name="Rectangle 12">
            <a:extLst>
              <a:ext uri="{FF2B5EF4-FFF2-40B4-BE49-F238E27FC236}">
                <a16:creationId xmlns:a16="http://schemas.microsoft.com/office/drawing/2014/main" id="{2CF761FC-9843-B352-C2F8-00643EB9D754}"/>
              </a:ext>
            </a:extLst>
          </p:cNvPr>
          <p:cNvSpPr/>
          <p:nvPr/>
        </p:nvSpPr>
        <p:spPr>
          <a:xfrm rot="10799991">
            <a:off x="-28" y="2000224"/>
            <a:ext cx="2785070" cy="2042851"/>
          </a:xfrm>
          <a:custGeom>
            <a:avLst/>
            <a:gdLst>
              <a:gd name="f0" fmla="val 10800000"/>
              <a:gd name="f1" fmla="val 5400000"/>
              <a:gd name="f2" fmla="val 180"/>
              <a:gd name="f3" fmla="val w"/>
              <a:gd name="f4" fmla="val h"/>
              <a:gd name="f5" fmla="val 0"/>
              <a:gd name="f6" fmla="val 10293751"/>
              <a:gd name="f7" fmla="val 1031873"/>
              <a:gd name="f8" fmla="val 3579068"/>
              <a:gd name="f9" fmla="val 1"/>
              <a:gd name="f10" fmla="val 1031872"/>
              <a:gd name="f11" fmla="+- 0 0 -90"/>
              <a:gd name="f12" fmla="*/ f3 1 10293751"/>
              <a:gd name="f13" fmla="*/ f4 1 1031873"/>
              <a:gd name="f14" fmla="+- f7 0 f5"/>
              <a:gd name="f15" fmla="+- f6 0 f5"/>
              <a:gd name="f16" fmla="*/ f11 f0 1"/>
              <a:gd name="f17" fmla="*/ f15 1 10293751"/>
              <a:gd name="f18" fmla="*/ f14 1 1031873"/>
              <a:gd name="f19" fmla="*/ 10293751 f15 1"/>
              <a:gd name="f20" fmla="*/ 0 f15 1"/>
              <a:gd name="f21" fmla="*/ 0 f14 1"/>
              <a:gd name="f22" fmla="*/ 1 f14 1"/>
              <a:gd name="f23" fmla="*/ 1031873 f14 1"/>
              <a:gd name="f24" fmla="*/ 1031872 f14 1"/>
              <a:gd name="f25" fmla="*/ 3579068 f15 1"/>
              <a:gd name="f26" fmla="*/ f16 1 f2"/>
              <a:gd name="f27" fmla="*/ f19 1 10293751"/>
              <a:gd name="f28" fmla="*/ f20 1 10293751"/>
              <a:gd name="f29" fmla="*/ f21 1 1031873"/>
              <a:gd name="f30" fmla="*/ f22 1 1031873"/>
              <a:gd name="f31" fmla="*/ f23 1 1031873"/>
              <a:gd name="f32" fmla="*/ f24 1 1031873"/>
              <a:gd name="f33" fmla="*/ f25 1 10293751"/>
              <a:gd name="f34" fmla="*/ f5 1 f17"/>
              <a:gd name="f35" fmla="*/ f6 1 f17"/>
              <a:gd name="f36" fmla="*/ f5 1 f18"/>
              <a:gd name="f37" fmla="*/ f7 1 f18"/>
              <a:gd name="f38" fmla="+- f26 0 f1"/>
              <a:gd name="f39" fmla="*/ f33 1 f17"/>
              <a:gd name="f40" fmla="*/ f29 1 f18"/>
              <a:gd name="f41" fmla="*/ f27 1 f17"/>
              <a:gd name="f42" fmla="*/ f30 1 f18"/>
              <a:gd name="f43" fmla="*/ f31 1 f18"/>
              <a:gd name="f44" fmla="*/ f28 1 f17"/>
              <a:gd name="f45" fmla="*/ f32 1 f18"/>
              <a:gd name="f46" fmla="*/ f34 f12 1"/>
              <a:gd name="f47" fmla="*/ f35 f12 1"/>
              <a:gd name="f48" fmla="*/ f37 f13 1"/>
              <a:gd name="f49" fmla="*/ f36 f13 1"/>
              <a:gd name="f50" fmla="*/ f39 f12 1"/>
              <a:gd name="f51" fmla="*/ f40 f13 1"/>
              <a:gd name="f52" fmla="*/ f41 f12 1"/>
              <a:gd name="f53" fmla="*/ f42 f13 1"/>
              <a:gd name="f54" fmla="*/ f43 f13 1"/>
              <a:gd name="f55" fmla="*/ f44 f12 1"/>
              <a:gd name="f56" fmla="*/ f45 f13 1"/>
            </a:gdLst>
            <a:ahLst/>
            <a:cxnLst>
              <a:cxn ang="3cd4">
                <a:pos x="hc" y="t"/>
              </a:cxn>
              <a:cxn ang="0">
                <a:pos x="r" y="vc"/>
              </a:cxn>
              <a:cxn ang="cd4">
                <a:pos x="hc" y="b"/>
              </a:cxn>
              <a:cxn ang="cd2">
                <a:pos x="l" y="vc"/>
              </a:cxn>
              <a:cxn ang="f38">
                <a:pos x="f50" y="f51"/>
              </a:cxn>
              <a:cxn ang="f38">
                <a:pos x="f52" y="f53"/>
              </a:cxn>
              <a:cxn ang="f38">
                <a:pos x="f52" y="f54"/>
              </a:cxn>
              <a:cxn ang="f38">
                <a:pos x="f55" y="f56"/>
              </a:cxn>
              <a:cxn ang="f38">
                <a:pos x="f50" y="f51"/>
              </a:cxn>
            </a:cxnLst>
            <a:rect l="f46" t="f49" r="f47" b="f48"/>
            <a:pathLst>
              <a:path w="10293751" h="1031873">
                <a:moveTo>
                  <a:pt x="f8" y="f5"/>
                </a:moveTo>
                <a:lnTo>
                  <a:pt x="f6" y="f9"/>
                </a:lnTo>
                <a:lnTo>
                  <a:pt x="f6" y="f7"/>
                </a:lnTo>
                <a:lnTo>
                  <a:pt x="f5" y="f10"/>
                </a:lnTo>
                <a:lnTo>
                  <a:pt x="f8" y="f5"/>
                </a:lnTo>
                <a:close/>
              </a:path>
            </a:pathLst>
          </a:cu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8" name="Rectangle 8">
            <a:extLst>
              <a:ext uri="{FF2B5EF4-FFF2-40B4-BE49-F238E27FC236}">
                <a16:creationId xmlns:a16="http://schemas.microsoft.com/office/drawing/2014/main" id="{89FB4F9D-186A-3BE8-C547-D99BF91CC4C8}"/>
              </a:ext>
            </a:extLst>
          </p:cNvPr>
          <p:cNvSpPr/>
          <p:nvPr/>
        </p:nvSpPr>
        <p:spPr>
          <a:xfrm>
            <a:off x="0" y="6115050"/>
            <a:ext cx="12191996" cy="742950"/>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9" name="Text Placeholder 11">
            <a:extLst>
              <a:ext uri="{FF2B5EF4-FFF2-40B4-BE49-F238E27FC236}">
                <a16:creationId xmlns:a16="http://schemas.microsoft.com/office/drawing/2014/main" id="{6792E68A-809F-9AE8-E334-AB5E402F1D71}"/>
              </a:ext>
            </a:extLst>
          </p:cNvPr>
          <p:cNvSpPr txBox="1">
            <a:spLocks noGrp="1"/>
          </p:cNvSpPr>
          <p:nvPr>
            <p:ph type="body" idx="4294967295"/>
          </p:nvPr>
        </p:nvSpPr>
        <p:spPr>
          <a:xfrm>
            <a:off x="2826557" y="3447397"/>
            <a:ext cx="8178613" cy="713314"/>
          </a:xfrm>
        </p:spPr>
        <p:txBody>
          <a:bodyPr/>
          <a:lstStyle>
            <a:lvl1pPr marL="0" indent="0">
              <a:buNone/>
              <a:defRPr sz="3200">
                <a:solidFill>
                  <a:srgbClr val="00314C"/>
                </a:solidFill>
                <a:latin typeface="Verdana"/>
                <a:ea typeface="Verdana"/>
                <a:cs typeface="Verdana"/>
              </a:defRPr>
            </a:lvl1pPr>
          </a:lstStyle>
          <a:p>
            <a:pPr lvl="0"/>
            <a:r>
              <a:rPr lang="en-US"/>
              <a:t>Subtitle (24)</a:t>
            </a:r>
          </a:p>
        </p:txBody>
      </p:sp>
      <p:pic>
        <p:nvPicPr>
          <p:cNvPr id="10" name="Picture 12">
            <a:extLst>
              <a:ext uri="{FF2B5EF4-FFF2-40B4-BE49-F238E27FC236}">
                <a16:creationId xmlns:a16="http://schemas.microsoft.com/office/drawing/2014/main" id="{0828F99C-96D9-035A-4459-3C6C0775AB35}"/>
              </a:ext>
            </a:extLst>
          </p:cNvPr>
          <p:cNvPicPr>
            <a:picLocks noChangeAspect="1"/>
          </p:cNvPicPr>
          <p:nvPr/>
        </p:nvPicPr>
        <p:blipFill>
          <a:blip r:embed="rId2"/>
          <a:srcRect/>
          <a:stretch>
            <a:fillRect/>
          </a:stretch>
        </p:blipFill>
        <p:spPr>
          <a:xfrm>
            <a:off x="2829831" y="4178333"/>
            <a:ext cx="4395959" cy="1140165"/>
          </a:xfrm>
          <a:prstGeom prst="rect">
            <a:avLst/>
          </a:prstGeom>
          <a:noFill/>
          <a:ln cap="flat">
            <a:noFill/>
          </a:ln>
        </p:spPr>
      </p:pic>
    </p:spTree>
    <p:extLst>
      <p:ext uri="{BB962C8B-B14F-4D97-AF65-F5344CB8AC3E}">
        <p14:creationId xmlns:p14="http://schemas.microsoft.com/office/powerpoint/2010/main" val="94540505"/>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p:cSld name="13_Title and Bullets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B9DA56-3413-D2F4-1CFB-858CADE7623D}"/>
              </a:ext>
            </a:extLst>
          </p:cNvPr>
          <p:cNvSpPr txBox="1">
            <a:spLocks noGrp="1"/>
          </p:cNvSpPr>
          <p:nvPr>
            <p:ph type="title"/>
          </p:nvPr>
        </p:nvSpPr>
        <p:spPr>
          <a:xfrm>
            <a:off x="848992" y="783842"/>
            <a:ext cx="10177756"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sp>
        <p:nvSpPr>
          <p:cNvPr id="3" name="Rectangle 9">
            <a:extLst>
              <a:ext uri="{FF2B5EF4-FFF2-40B4-BE49-F238E27FC236}">
                <a16:creationId xmlns:a16="http://schemas.microsoft.com/office/drawing/2014/main" id="{9B59D9AB-1454-1B9E-55F7-49C650FA6FDB}"/>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4" name="Rectangle 10">
            <a:extLst>
              <a:ext uri="{FF2B5EF4-FFF2-40B4-BE49-F238E27FC236}">
                <a16:creationId xmlns:a16="http://schemas.microsoft.com/office/drawing/2014/main" id="{DDAA5C17-1762-171C-B88C-01BCD2A0B086}"/>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5" name="Text Placeholder 4">
            <a:extLst>
              <a:ext uri="{FF2B5EF4-FFF2-40B4-BE49-F238E27FC236}">
                <a16:creationId xmlns:a16="http://schemas.microsoft.com/office/drawing/2014/main" id="{B17673AA-C621-76C5-375B-8F5F33E10DB0}"/>
              </a:ext>
            </a:extLst>
          </p:cNvPr>
          <p:cNvSpPr txBox="1">
            <a:spLocks noGrp="1"/>
          </p:cNvSpPr>
          <p:nvPr>
            <p:ph type="body" idx="4294967295"/>
          </p:nvPr>
        </p:nvSpPr>
        <p:spPr>
          <a:xfrm>
            <a:off x="848783" y="1615023"/>
            <a:ext cx="10176933" cy="3812115"/>
          </a:xfrm>
        </p:spPr>
        <p:txBody>
          <a:bodyPr/>
          <a:lstStyle>
            <a:lvl1pPr marL="381012" indent="-381012">
              <a:defRPr sz="2133">
                <a:latin typeface="Verdana"/>
                <a:ea typeface="Verdana"/>
                <a:cs typeface="Verdana"/>
              </a:defRPr>
            </a:lvl1pPr>
            <a:lvl2pPr marL="381012" lvl="0" indent="-381012">
              <a:spcBef>
                <a:spcPts val="1000"/>
              </a:spcBef>
              <a:buClr>
                <a:srgbClr val="F5668F"/>
              </a:buClr>
              <a:defRPr sz="2133">
                <a:latin typeface="Verdana"/>
                <a:ea typeface="Verdana"/>
                <a:cs typeface="Verdana"/>
              </a:defRPr>
            </a:lvl2pPr>
          </a:lstStyle>
          <a:p>
            <a:pPr lvl="0"/>
            <a:r>
              <a:rPr lang="en-US"/>
              <a:t>Copy goes here</a:t>
            </a:r>
          </a:p>
          <a:p>
            <a:pPr lvl="0"/>
            <a:endParaRPr lang="en-US"/>
          </a:p>
        </p:txBody>
      </p:sp>
      <p:pic>
        <p:nvPicPr>
          <p:cNvPr id="6" name="Picture 6">
            <a:extLst>
              <a:ext uri="{FF2B5EF4-FFF2-40B4-BE49-F238E27FC236}">
                <a16:creationId xmlns:a16="http://schemas.microsoft.com/office/drawing/2014/main" id="{2474858A-C75E-D2F3-C553-6DFBB1B6FEA2}"/>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Tree>
    <p:extLst>
      <p:ext uri="{BB962C8B-B14F-4D97-AF65-F5344CB8AC3E}">
        <p14:creationId xmlns:p14="http://schemas.microsoft.com/office/powerpoint/2010/main" val="3801646340"/>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p:cSld name="17_Title and Content">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207F5A19-FE55-3F1E-7C0B-51B3B771ECD2}"/>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pic>
        <p:nvPicPr>
          <p:cNvPr id="3" name="Picture 10">
            <a:extLst>
              <a:ext uri="{FF2B5EF4-FFF2-40B4-BE49-F238E27FC236}">
                <a16:creationId xmlns:a16="http://schemas.microsoft.com/office/drawing/2014/main" id="{EEB48386-63EB-E6FE-52AC-DA23E13FA5D6}"/>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
        <p:nvSpPr>
          <p:cNvPr id="4" name="Rectangle 11">
            <a:extLst>
              <a:ext uri="{FF2B5EF4-FFF2-40B4-BE49-F238E27FC236}">
                <a16:creationId xmlns:a16="http://schemas.microsoft.com/office/drawing/2014/main" id="{3B95B180-B202-1D0F-B1A6-296F11AFCD3A}"/>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5" name="Title 1">
            <a:extLst>
              <a:ext uri="{FF2B5EF4-FFF2-40B4-BE49-F238E27FC236}">
                <a16:creationId xmlns:a16="http://schemas.microsoft.com/office/drawing/2014/main" id="{79BA0978-76E9-6413-00F5-577A4A23DAB8}"/>
              </a:ext>
            </a:extLst>
          </p:cNvPr>
          <p:cNvSpPr txBox="1">
            <a:spLocks noGrp="1"/>
          </p:cNvSpPr>
          <p:nvPr>
            <p:ph type="title"/>
          </p:nvPr>
        </p:nvSpPr>
        <p:spPr>
          <a:xfrm>
            <a:off x="848992" y="806858"/>
            <a:ext cx="10156176"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sp>
        <p:nvSpPr>
          <p:cNvPr id="6" name="Text Placeholder 15">
            <a:extLst>
              <a:ext uri="{FF2B5EF4-FFF2-40B4-BE49-F238E27FC236}">
                <a16:creationId xmlns:a16="http://schemas.microsoft.com/office/drawing/2014/main" id="{23619050-E465-2CF3-7A4C-9202C85EE596}"/>
              </a:ext>
            </a:extLst>
          </p:cNvPr>
          <p:cNvSpPr txBox="1">
            <a:spLocks noGrp="1"/>
          </p:cNvSpPr>
          <p:nvPr>
            <p:ph type="body" idx="4294967295"/>
          </p:nvPr>
        </p:nvSpPr>
        <p:spPr>
          <a:xfrm>
            <a:off x="848992" y="1637855"/>
            <a:ext cx="10156176" cy="4117159"/>
          </a:xfrm>
        </p:spPr>
        <p:txBody>
          <a:bodyPr/>
          <a:lstStyle>
            <a:lvl1pPr marL="0" indent="0" defTabSz="914418">
              <a:lnSpc>
                <a:spcPct val="90000"/>
              </a:lnSpc>
              <a:spcAft>
                <a:spcPts val="0"/>
              </a:spcAft>
              <a:buNone/>
              <a:defRPr sz="2133">
                <a:latin typeface="Verdana"/>
                <a:ea typeface="Verdana"/>
                <a:cs typeface="Verdana"/>
              </a:defRPr>
            </a:lvl1pPr>
          </a:lstStyle>
          <a:p>
            <a:pPr lvl="0"/>
            <a:r>
              <a:rPr lang="en-US"/>
              <a:t>Copy goes here. </a:t>
            </a:r>
          </a:p>
        </p:txBody>
      </p:sp>
    </p:spTree>
    <p:extLst>
      <p:ext uri="{BB962C8B-B14F-4D97-AF65-F5344CB8AC3E}">
        <p14:creationId xmlns:p14="http://schemas.microsoft.com/office/powerpoint/2010/main" val="1387664161"/>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p:cSld name="13_Two Section | Picture and Copy Layout">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B74BE614-1464-A4C9-8799-7CE30446E845}"/>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3" name="Rectangle 11">
            <a:extLst>
              <a:ext uri="{FF2B5EF4-FFF2-40B4-BE49-F238E27FC236}">
                <a16:creationId xmlns:a16="http://schemas.microsoft.com/office/drawing/2014/main" id="{E16D7A91-D556-C65A-5215-8A6B504FA378}"/>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4" name="Content Placeholder 2">
            <a:extLst>
              <a:ext uri="{FF2B5EF4-FFF2-40B4-BE49-F238E27FC236}">
                <a16:creationId xmlns:a16="http://schemas.microsoft.com/office/drawing/2014/main" id="{8D443215-73EC-3E62-7DA2-54879E008119}"/>
              </a:ext>
            </a:extLst>
          </p:cNvPr>
          <p:cNvSpPr txBox="1">
            <a:spLocks noGrp="1"/>
          </p:cNvSpPr>
          <p:nvPr>
            <p:ph idx="4294967295"/>
          </p:nvPr>
        </p:nvSpPr>
        <p:spPr>
          <a:xfrm>
            <a:off x="1186836" y="1294452"/>
            <a:ext cx="3983336" cy="3788084"/>
          </a:xfrm>
        </p:spPr>
        <p:txBody>
          <a:bodyPr/>
          <a:lstStyle>
            <a:lvl1pPr marL="0" indent="0">
              <a:buNone/>
              <a:defRPr sz="1200" i="1">
                <a:solidFill>
                  <a:srgbClr val="003B5C"/>
                </a:solidFill>
                <a:latin typeface="Verdana"/>
                <a:ea typeface="Verdana"/>
                <a:cs typeface="Verdana"/>
              </a:defRPr>
            </a:lvl1pPr>
          </a:lstStyle>
          <a:p>
            <a:pPr lvl="0"/>
            <a:r>
              <a:rPr lang="en-US"/>
              <a:t>*Insert Image Here</a:t>
            </a:r>
          </a:p>
        </p:txBody>
      </p:sp>
      <p:sp>
        <p:nvSpPr>
          <p:cNvPr id="5" name="Content Placeholder 3">
            <a:extLst>
              <a:ext uri="{FF2B5EF4-FFF2-40B4-BE49-F238E27FC236}">
                <a16:creationId xmlns:a16="http://schemas.microsoft.com/office/drawing/2014/main" id="{2A294F45-49E2-4718-34EA-265F7DC88FB8}"/>
              </a:ext>
            </a:extLst>
          </p:cNvPr>
          <p:cNvSpPr txBox="1">
            <a:spLocks noGrp="1"/>
          </p:cNvSpPr>
          <p:nvPr>
            <p:ph idx="4294967295"/>
          </p:nvPr>
        </p:nvSpPr>
        <p:spPr>
          <a:xfrm>
            <a:off x="5549394" y="1997122"/>
            <a:ext cx="5466557" cy="3085414"/>
          </a:xfrm>
        </p:spPr>
        <p:txBody>
          <a:bodyPr/>
          <a:lstStyle>
            <a:lvl1pPr marL="0" indent="0" defTabSz="914418">
              <a:lnSpc>
                <a:spcPct val="90000"/>
              </a:lnSpc>
              <a:spcAft>
                <a:spcPts val="0"/>
              </a:spcAft>
              <a:buNone/>
              <a:defRPr sz="2133">
                <a:latin typeface="Verdana"/>
                <a:ea typeface="Verdana"/>
                <a:cs typeface="Verdana"/>
              </a:defRPr>
            </a:lvl1pPr>
          </a:lstStyle>
          <a:p>
            <a:pPr lvl="0"/>
            <a:r>
              <a:rPr lang="en-US"/>
              <a:t>Copy goes here. </a:t>
            </a:r>
          </a:p>
        </p:txBody>
      </p:sp>
      <p:sp>
        <p:nvSpPr>
          <p:cNvPr id="6" name="Title 16">
            <a:extLst>
              <a:ext uri="{FF2B5EF4-FFF2-40B4-BE49-F238E27FC236}">
                <a16:creationId xmlns:a16="http://schemas.microsoft.com/office/drawing/2014/main" id="{2B80DCF5-3142-942D-7664-77230EE73AEE}"/>
              </a:ext>
            </a:extLst>
          </p:cNvPr>
          <p:cNvSpPr txBox="1">
            <a:spLocks noGrp="1"/>
          </p:cNvSpPr>
          <p:nvPr>
            <p:ph type="title"/>
          </p:nvPr>
        </p:nvSpPr>
        <p:spPr>
          <a:xfrm>
            <a:off x="5549394" y="1154522"/>
            <a:ext cx="5466557"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pic>
        <p:nvPicPr>
          <p:cNvPr id="7" name="Picture 7">
            <a:extLst>
              <a:ext uri="{FF2B5EF4-FFF2-40B4-BE49-F238E27FC236}">
                <a16:creationId xmlns:a16="http://schemas.microsoft.com/office/drawing/2014/main" id="{FDB636AC-8299-CAEE-EBE5-5B34035B0D6F}"/>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Tree>
    <p:extLst>
      <p:ext uri="{BB962C8B-B14F-4D97-AF65-F5344CB8AC3E}">
        <p14:creationId xmlns:p14="http://schemas.microsoft.com/office/powerpoint/2010/main" val="2536150069"/>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p:cSld name="14_Title and Bullets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A0789A-69F8-51ED-5AFE-0BC0693CEE19}"/>
              </a:ext>
            </a:extLst>
          </p:cNvPr>
          <p:cNvSpPr txBox="1">
            <a:spLocks noGrp="1"/>
          </p:cNvSpPr>
          <p:nvPr>
            <p:ph type="title"/>
          </p:nvPr>
        </p:nvSpPr>
        <p:spPr>
          <a:xfrm>
            <a:off x="848992" y="783842"/>
            <a:ext cx="10177756"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sp>
        <p:nvSpPr>
          <p:cNvPr id="3" name="Rectangle 9">
            <a:extLst>
              <a:ext uri="{FF2B5EF4-FFF2-40B4-BE49-F238E27FC236}">
                <a16:creationId xmlns:a16="http://schemas.microsoft.com/office/drawing/2014/main" id="{07860378-E03D-B945-45A2-ABFD6EA70086}"/>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4" name="Rectangle 10">
            <a:extLst>
              <a:ext uri="{FF2B5EF4-FFF2-40B4-BE49-F238E27FC236}">
                <a16:creationId xmlns:a16="http://schemas.microsoft.com/office/drawing/2014/main" id="{C9AD2CA8-9A38-C2BB-6DBE-AF305B81609E}"/>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5" name="Text Placeholder 4">
            <a:extLst>
              <a:ext uri="{FF2B5EF4-FFF2-40B4-BE49-F238E27FC236}">
                <a16:creationId xmlns:a16="http://schemas.microsoft.com/office/drawing/2014/main" id="{4C1EEDA6-6177-B8C1-7A4D-17FDF9361914}"/>
              </a:ext>
            </a:extLst>
          </p:cNvPr>
          <p:cNvSpPr txBox="1">
            <a:spLocks noGrp="1"/>
          </p:cNvSpPr>
          <p:nvPr>
            <p:ph type="body" idx="4294967295"/>
          </p:nvPr>
        </p:nvSpPr>
        <p:spPr>
          <a:xfrm>
            <a:off x="848783" y="1615023"/>
            <a:ext cx="10176933" cy="3812115"/>
          </a:xfrm>
        </p:spPr>
        <p:txBody>
          <a:bodyPr/>
          <a:lstStyle>
            <a:lvl1pPr marL="381012" indent="-381012">
              <a:defRPr sz="2133">
                <a:latin typeface="Verdana"/>
                <a:ea typeface="Verdana"/>
                <a:cs typeface="Verdana"/>
              </a:defRPr>
            </a:lvl1pPr>
            <a:lvl2pPr marL="381012" lvl="0" indent="-381012">
              <a:spcBef>
                <a:spcPts val="1000"/>
              </a:spcBef>
              <a:buClr>
                <a:srgbClr val="F5668F"/>
              </a:buClr>
              <a:defRPr sz="2133">
                <a:latin typeface="Verdana"/>
                <a:ea typeface="Verdana"/>
                <a:cs typeface="Verdana"/>
              </a:defRPr>
            </a:lvl2pPr>
          </a:lstStyle>
          <a:p>
            <a:pPr lvl="0"/>
            <a:r>
              <a:rPr lang="en-US"/>
              <a:t>Copy goes here</a:t>
            </a:r>
          </a:p>
          <a:p>
            <a:pPr lvl="0"/>
            <a:endParaRPr lang="en-US"/>
          </a:p>
        </p:txBody>
      </p:sp>
      <p:pic>
        <p:nvPicPr>
          <p:cNvPr id="6" name="Picture 6">
            <a:extLst>
              <a:ext uri="{FF2B5EF4-FFF2-40B4-BE49-F238E27FC236}">
                <a16:creationId xmlns:a16="http://schemas.microsoft.com/office/drawing/2014/main" id="{8250F744-C7A3-8EF0-C436-DEC1A836F76F}"/>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Tree>
    <p:extLst>
      <p:ext uri="{BB962C8B-B14F-4D97-AF65-F5344CB8AC3E}">
        <p14:creationId xmlns:p14="http://schemas.microsoft.com/office/powerpoint/2010/main" val="1393637045"/>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p:cSld name="25_Title and Content">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A768AEE6-799A-F1C8-05DA-70991CF5EEEA}"/>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pic>
        <p:nvPicPr>
          <p:cNvPr id="3" name="Picture 10">
            <a:extLst>
              <a:ext uri="{FF2B5EF4-FFF2-40B4-BE49-F238E27FC236}">
                <a16:creationId xmlns:a16="http://schemas.microsoft.com/office/drawing/2014/main" id="{0D74A3C5-8902-97B1-AD23-88A8077157BC}"/>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
        <p:nvSpPr>
          <p:cNvPr id="4" name="Rectangle 11">
            <a:extLst>
              <a:ext uri="{FF2B5EF4-FFF2-40B4-BE49-F238E27FC236}">
                <a16:creationId xmlns:a16="http://schemas.microsoft.com/office/drawing/2014/main" id="{9EFCB1F0-5D66-042B-50A6-CBCBB4728A47}"/>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5" name="Title 1">
            <a:extLst>
              <a:ext uri="{FF2B5EF4-FFF2-40B4-BE49-F238E27FC236}">
                <a16:creationId xmlns:a16="http://schemas.microsoft.com/office/drawing/2014/main" id="{A36D8458-CD77-0B6E-0DCE-8274615E5E5F}"/>
              </a:ext>
            </a:extLst>
          </p:cNvPr>
          <p:cNvSpPr txBox="1">
            <a:spLocks noGrp="1"/>
          </p:cNvSpPr>
          <p:nvPr>
            <p:ph type="title"/>
          </p:nvPr>
        </p:nvSpPr>
        <p:spPr>
          <a:xfrm>
            <a:off x="848992" y="806858"/>
            <a:ext cx="10156176"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sp>
        <p:nvSpPr>
          <p:cNvPr id="6" name="Text Placeholder 15">
            <a:extLst>
              <a:ext uri="{FF2B5EF4-FFF2-40B4-BE49-F238E27FC236}">
                <a16:creationId xmlns:a16="http://schemas.microsoft.com/office/drawing/2014/main" id="{D0ACE7E8-B5B0-AE0A-90CE-75093ECD2321}"/>
              </a:ext>
            </a:extLst>
          </p:cNvPr>
          <p:cNvSpPr txBox="1">
            <a:spLocks noGrp="1"/>
          </p:cNvSpPr>
          <p:nvPr>
            <p:ph type="body" idx="4294967295"/>
          </p:nvPr>
        </p:nvSpPr>
        <p:spPr>
          <a:xfrm>
            <a:off x="848992" y="1637855"/>
            <a:ext cx="10156176" cy="4117159"/>
          </a:xfrm>
        </p:spPr>
        <p:txBody>
          <a:bodyPr/>
          <a:lstStyle>
            <a:lvl1pPr marL="0" indent="0" defTabSz="914418">
              <a:lnSpc>
                <a:spcPct val="90000"/>
              </a:lnSpc>
              <a:spcAft>
                <a:spcPts val="0"/>
              </a:spcAft>
              <a:buNone/>
              <a:defRPr sz="2133">
                <a:latin typeface="Verdana"/>
                <a:ea typeface="Verdana"/>
                <a:cs typeface="Verdana"/>
              </a:defRPr>
            </a:lvl1pPr>
          </a:lstStyle>
          <a:p>
            <a:pPr lvl="0"/>
            <a:r>
              <a:rPr lang="en-US"/>
              <a:t>Copy goes here. </a:t>
            </a:r>
          </a:p>
        </p:txBody>
      </p:sp>
    </p:spTree>
    <p:extLst>
      <p:ext uri="{BB962C8B-B14F-4D97-AF65-F5344CB8AC3E}">
        <p14:creationId xmlns:p14="http://schemas.microsoft.com/office/powerpoint/2010/main" val="9559459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Two Content">
  <p:cSld name="Two Content 3">
    <p:spTree>
      <p:nvGrpSpPr>
        <p:cNvPr id="1" name="Shape 9479"/>
        <p:cNvGrpSpPr/>
        <p:nvPr/>
      </p:nvGrpSpPr>
      <p:grpSpPr>
        <a:xfrm>
          <a:off x="0" y="0"/>
          <a:ext cx="0" cy="0"/>
          <a:chOff x="0" y="0"/>
          <a:chExt cx="0" cy="0"/>
        </a:xfrm>
      </p:grpSpPr>
      <p:sp>
        <p:nvSpPr>
          <p:cNvPr id="9480" name="Google Shape;9480;p13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481" name="Google Shape;9481;p135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482" name="Google Shape;9482;p1359"/>
          <p:cNvGrpSpPr/>
          <p:nvPr/>
        </p:nvGrpSpPr>
        <p:grpSpPr>
          <a:xfrm>
            <a:off x="7191542" y="1"/>
            <a:ext cx="5000459" cy="1425992"/>
            <a:chOff x="7191542" y="1"/>
            <a:chExt cx="5000459" cy="1425992"/>
          </a:xfrm>
        </p:grpSpPr>
        <p:pic>
          <p:nvPicPr>
            <p:cNvPr id="9483" name="Google Shape;9483;p13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84" name="Google Shape;9484;p1359"/>
            <p:cNvGrpSpPr/>
            <p:nvPr/>
          </p:nvGrpSpPr>
          <p:grpSpPr>
            <a:xfrm>
              <a:off x="7191542" y="1"/>
              <a:ext cx="5000459" cy="1425992"/>
              <a:chOff x="7186272" y="0"/>
              <a:chExt cx="5005729" cy="1427495"/>
            </a:xfrm>
          </p:grpSpPr>
          <p:sp>
            <p:nvSpPr>
              <p:cNvPr id="9485" name="Google Shape;9485;p13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486" name="Google Shape;9486;p13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487" name="Google Shape;9487;p135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88" name="Google Shape;9488;p135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89" name="Google Shape;9489;p13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90" name="Google Shape;9490;p13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p:cSld name="14_Two Section | Picture and Copy Layout">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AF80300B-FDE6-8C2D-8A33-5E87A917A62F}"/>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3" name="Rectangle 11">
            <a:extLst>
              <a:ext uri="{FF2B5EF4-FFF2-40B4-BE49-F238E27FC236}">
                <a16:creationId xmlns:a16="http://schemas.microsoft.com/office/drawing/2014/main" id="{8D1B5B78-5FE1-89B5-9047-476802B7DD46}"/>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4" name="Content Placeholder 2">
            <a:extLst>
              <a:ext uri="{FF2B5EF4-FFF2-40B4-BE49-F238E27FC236}">
                <a16:creationId xmlns:a16="http://schemas.microsoft.com/office/drawing/2014/main" id="{C8FE15A4-DA6E-407D-EDAF-390466E6FB12}"/>
              </a:ext>
            </a:extLst>
          </p:cNvPr>
          <p:cNvSpPr txBox="1">
            <a:spLocks noGrp="1"/>
          </p:cNvSpPr>
          <p:nvPr>
            <p:ph idx="4294967295"/>
          </p:nvPr>
        </p:nvSpPr>
        <p:spPr>
          <a:xfrm>
            <a:off x="1186836" y="1294452"/>
            <a:ext cx="3983336" cy="3788084"/>
          </a:xfrm>
        </p:spPr>
        <p:txBody>
          <a:bodyPr/>
          <a:lstStyle>
            <a:lvl1pPr marL="0" indent="0">
              <a:buNone/>
              <a:defRPr sz="1200" i="1">
                <a:solidFill>
                  <a:srgbClr val="003B5C"/>
                </a:solidFill>
                <a:latin typeface="Verdana"/>
                <a:ea typeface="Verdana"/>
                <a:cs typeface="Verdana"/>
              </a:defRPr>
            </a:lvl1pPr>
          </a:lstStyle>
          <a:p>
            <a:pPr lvl="0"/>
            <a:r>
              <a:rPr lang="en-US"/>
              <a:t>*Insert Image Here</a:t>
            </a:r>
          </a:p>
        </p:txBody>
      </p:sp>
      <p:sp>
        <p:nvSpPr>
          <p:cNvPr id="5" name="Content Placeholder 3">
            <a:extLst>
              <a:ext uri="{FF2B5EF4-FFF2-40B4-BE49-F238E27FC236}">
                <a16:creationId xmlns:a16="http://schemas.microsoft.com/office/drawing/2014/main" id="{26AF0EDE-6E3D-B170-BDAB-413EF27CBFE8}"/>
              </a:ext>
            </a:extLst>
          </p:cNvPr>
          <p:cNvSpPr txBox="1">
            <a:spLocks noGrp="1"/>
          </p:cNvSpPr>
          <p:nvPr>
            <p:ph idx="4294967295"/>
          </p:nvPr>
        </p:nvSpPr>
        <p:spPr>
          <a:xfrm>
            <a:off x="5549394" y="1997122"/>
            <a:ext cx="5466557" cy="3085414"/>
          </a:xfrm>
        </p:spPr>
        <p:txBody>
          <a:bodyPr/>
          <a:lstStyle>
            <a:lvl1pPr marL="0" indent="0" defTabSz="914418">
              <a:lnSpc>
                <a:spcPct val="90000"/>
              </a:lnSpc>
              <a:spcAft>
                <a:spcPts val="0"/>
              </a:spcAft>
              <a:buNone/>
              <a:defRPr sz="2133">
                <a:latin typeface="Verdana"/>
                <a:ea typeface="Verdana"/>
                <a:cs typeface="Verdana"/>
              </a:defRPr>
            </a:lvl1pPr>
          </a:lstStyle>
          <a:p>
            <a:pPr lvl="0"/>
            <a:r>
              <a:rPr lang="en-US"/>
              <a:t>Copy goes here. </a:t>
            </a:r>
          </a:p>
        </p:txBody>
      </p:sp>
      <p:sp>
        <p:nvSpPr>
          <p:cNvPr id="6" name="Title 16">
            <a:extLst>
              <a:ext uri="{FF2B5EF4-FFF2-40B4-BE49-F238E27FC236}">
                <a16:creationId xmlns:a16="http://schemas.microsoft.com/office/drawing/2014/main" id="{F93C884A-2299-5906-DB48-43D39BC0FF66}"/>
              </a:ext>
            </a:extLst>
          </p:cNvPr>
          <p:cNvSpPr txBox="1">
            <a:spLocks noGrp="1"/>
          </p:cNvSpPr>
          <p:nvPr>
            <p:ph type="title"/>
          </p:nvPr>
        </p:nvSpPr>
        <p:spPr>
          <a:xfrm>
            <a:off x="5549394" y="1154522"/>
            <a:ext cx="5466557"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pic>
        <p:nvPicPr>
          <p:cNvPr id="7" name="Picture 7">
            <a:extLst>
              <a:ext uri="{FF2B5EF4-FFF2-40B4-BE49-F238E27FC236}">
                <a16:creationId xmlns:a16="http://schemas.microsoft.com/office/drawing/2014/main" id="{662BA201-BD96-C863-03D5-0B62724C8678}"/>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Tree>
    <p:extLst>
      <p:ext uri="{BB962C8B-B14F-4D97-AF65-F5344CB8AC3E}">
        <p14:creationId xmlns:p14="http://schemas.microsoft.com/office/powerpoint/2010/main" val="2639657247"/>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p:cSld name="15_Title and Bullets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2F63E6-75B4-A30D-E9EE-EFB5DB141417}"/>
              </a:ext>
            </a:extLst>
          </p:cNvPr>
          <p:cNvSpPr txBox="1">
            <a:spLocks noGrp="1"/>
          </p:cNvSpPr>
          <p:nvPr>
            <p:ph type="title"/>
          </p:nvPr>
        </p:nvSpPr>
        <p:spPr>
          <a:xfrm>
            <a:off x="848992" y="783842"/>
            <a:ext cx="10177756"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sp>
        <p:nvSpPr>
          <p:cNvPr id="3" name="Rectangle 9">
            <a:extLst>
              <a:ext uri="{FF2B5EF4-FFF2-40B4-BE49-F238E27FC236}">
                <a16:creationId xmlns:a16="http://schemas.microsoft.com/office/drawing/2014/main" id="{99B8B5A7-F067-8CF4-8CAD-B99D3D3D0191}"/>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4" name="Rectangle 10">
            <a:extLst>
              <a:ext uri="{FF2B5EF4-FFF2-40B4-BE49-F238E27FC236}">
                <a16:creationId xmlns:a16="http://schemas.microsoft.com/office/drawing/2014/main" id="{F2EF7F9D-1C54-08B1-B81B-3FCDEF816F97}"/>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5" name="Text Placeholder 4">
            <a:extLst>
              <a:ext uri="{FF2B5EF4-FFF2-40B4-BE49-F238E27FC236}">
                <a16:creationId xmlns:a16="http://schemas.microsoft.com/office/drawing/2014/main" id="{040D037D-7AED-72A9-339B-6CFC50F5ED3E}"/>
              </a:ext>
            </a:extLst>
          </p:cNvPr>
          <p:cNvSpPr txBox="1">
            <a:spLocks noGrp="1"/>
          </p:cNvSpPr>
          <p:nvPr>
            <p:ph type="body" idx="4294967295"/>
          </p:nvPr>
        </p:nvSpPr>
        <p:spPr>
          <a:xfrm>
            <a:off x="848783" y="1615023"/>
            <a:ext cx="10176933" cy="3812115"/>
          </a:xfrm>
        </p:spPr>
        <p:txBody>
          <a:bodyPr/>
          <a:lstStyle>
            <a:lvl1pPr marL="381012" indent="-381012">
              <a:defRPr sz="2133">
                <a:latin typeface="Verdana"/>
                <a:ea typeface="Verdana"/>
                <a:cs typeface="Verdana"/>
              </a:defRPr>
            </a:lvl1pPr>
            <a:lvl2pPr marL="381012" lvl="0" indent="-381012">
              <a:spcBef>
                <a:spcPts val="1000"/>
              </a:spcBef>
              <a:buClr>
                <a:srgbClr val="F5668F"/>
              </a:buClr>
              <a:defRPr sz="2133">
                <a:latin typeface="Verdana"/>
                <a:ea typeface="Verdana"/>
                <a:cs typeface="Verdana"/>
              </a:defRPr>
            </a:lvl2pPr>
          </a:lstStyle>
          <a:p>
            <a:pPr lvl="0"/>
            <a:r>
              <a:rPr lang="en-US"/>
              <a:t>Copy goes here</a:t>
            </a:r>
          </a:p>
          <a:p>
            <a:pPr lvl="0"/>
            <a:endParaRPr lang="en-US"/>
          </a:p>
        </p:txBody>
      </p:sp>
      <p:pic>
        <p:nvPicPr>
          <p:cNvPr id="6" name="Picture 6">
            <a:extLst>
              <a:ext uri="{FF2B5EF4-FFF2-40B4-BE49-F238E27FC236}">
                <a16:creationId xmlns:a16="http://schemas.microsoft.com/office/drawing/2014/main" id="{359999D8-06A3-888F-F7B1-FA5DC6D30D23}"/>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Tree>
    <p:extLst>
      <p:ext uri="{BB962C8B-B14F-4D97-AF65-F5344CB8AC3E}">
        <p14:creationId xmlns:p14="http://schemas.microsoft.com/office/powerpoint/2010/main" val="2482898003"/>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p:cSld name="29_Title and Content">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C1A4A4D9-2FC9-1E9B-CA45-89B711550988}"/>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pic>
        <p:nvPicPr>
          <p:cNvPr id="3" name="Picture 10">
            <a:extLst>
              <a:ext uri="{FF2B5EF4-FFF2-40B4-BE49-F238E27FC236}">
                <a16:creationId xmlns:a16="http://schemas.microsoft.com/office/drawing/2014/main" id="{82CA97C5-7BD4-AD95-4628-E45C84B3DF8C}"/>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
        <p:nvSpPr>
          <p:cNvPr id="4" name="Rectangle 11">
            <a:extLst>
              <a:ext uri="{FF2B5EF4-FFF2-40B4-BE49-F238E27FC236}">
                <a16:creationId xmlns:a16="http://schemas.microsoft.com/office/drawing/2014/main" id="{B650E566-A7D9-1E1C-E922-F86738238AAC}"/>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5" name="Title 1">
            <a:extLst>
              <a:ext uri="{FF2B5EF4-FFF2-40B4-BE49-F238E27FC236}">
                <a16:creationId xmlns:a16="http://schemas.microsoft.com/office/drawing/2014/main" id="{99B8BB92-EB72-CD67-69A2-3168BBBA2502}"/>
              </a:ext>
            </a:extLst>
          </p:cNvPr>
          <p:cNvSpPr txBox="1">
            <a:spLocks noGrp="1"/>
          </p:cNvSpPr>
          <p:nvPr>
            <p:ph type="title"/>
          </p:nvPr>
        </p:nvSpPr>
        <p:spPr>
          <a:xfrm>
            <a:off x="848992" y="806858"/>
            <a:ext cx="10156176"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sp>
        <p:nvSpPr>
          <p:cNvPr id="6" name="Text Placeholder 15">
            <a:extLst>
              <a:ext uri="{FF2B5EF4-FFF2-40B4-BE49-F238E27FC236}">
                <a16:creationId xmlns:a16="http://schemas.microsoft.com/office/drawing/2014/main" id="{FA388F98-6FDC-F027-4F6F-D7FE32041D73}"/>
              </a:ext>
            </a:extLst>
          </p:cNvPr>
          <p:cNvSpPr txBox="1">
            <a:spLocks noGrp="1"/>
          </p:cNvSpPr>
          <p:nvPr>
            <p:ph type="body" idx="4294967295"/>
          </p:nvPr>
        </p:nvSpPr>
        <p:spPr>
          <a:xfrm>
            <a:off x="848992" y="1637855"/>
            <a:ext cx="10156176" cy="4117159"/>
          </a:xfrm>
        </p:spPr>
        <p:txBody>
          <a:bodyPr/>
          <a:lstStyle>
            <a:lvl1pPr marL="0" indent="0" defTabSz="914418">
              <a:lnSpc>
                <a:spcPct val="90000"/>
              </a:lnSpc>
              <a:spcAft>
                <a:spcPts val="0"/>
              </a:spcAft>
              <a:buNone/>
              <a:defRPr sz="2133">
                <a:latin typeface="Verdana"/>
                <a:ea typeface="Verdana"/>
                <a:cs typeface="Verdana"/>
              </a:defRPr>
            </a:lvl1pPr>
          </a:lstStyle>
          <a:p>
            <a:pPr lvl="0"/>
            <a:r>
              <a:rPr lang="en-US"/>
              <a:t>Copy goes here. </a:t>
            </a:r>
          </a:p>
        </p:txBody>
      </p:sp>
    </p:spTree>
    <p:extLst>
      <p:ext uri="{BB962C8B-B14F-4D97-AF65-F5344CB8AC3E}">
        <p14:creationId xmlns:p14="http://schemas.microsoft.com/office/powerpoint/2010/main" val="2764739306"/>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p:cSld name="15_Two Section | Picture and Copy Layout">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9F025D3E-3FC6-2D5E-3110-57A042FB015E}"/>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3" name="Rectangle 11">
            <a:extLst>
              <a:ext uri="{FF2B5EF4-FFF2-40B4-BE49-F238E27FC236}">
                <a16:creationId xmlns:a16="http://schemas.microsoft.com/office/drawing/2014/main" id="{61A37B32-3525-7B47-F9D7-5F334EFAFC91}"/>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4" name="Content Placeholder 2">
            <a:extLst>
              <a:ext uri="{FF2B5EF4-FFF2-40B4-BE49-F238E27FC236}">
                <a16:creationId xmlns:a16="http://schemas.microsoft.com/office/drawing/2014/main" id="{B124B5F5-D93B-0799-FF07-ACC877EDA099}"/>
              </a:ext>
            </a:extLst>
          </p:cNvPr>
          <p:cNvSpPr txBox="1">
            <a:spLocks noGrp="1"/>
          </p:cNvSpPr>
          <p:nvPr>
            <p:ph idx="4294967295"/>
          </p:nvPr>
        </p:nvSpPr>
        <p:spPr>
          <a:xfrm>
            <a:off x="1186836" y="1294452"/>
            <a:ext cx="3983336" cy="3788084"/>
          </a:xfrm>
        </p:spPr>
        <p:txBody>
          <a:bodyPr/>
          <a:lstStyle>
            <a:lvl1pPr marL="0" indent="0">
              <a:buNone/>
              <a:defRPr sz="1200" i="1">
                <a:solidFill>
                  <a:srgbClr val="003B5C"/>
                </a:solidFill>
                <a:latin typeface="Verdana"/>
                <a:ea typeface="Verdana"/>
                <a:cs typeface="Verdana"/>
              </a:defRPr>
            </a:lvl1pPr>
          </a:lstStyle>
          <a:p>
            <a:pPr lvl="0"/>
            <a:r>
              <a:rPr lang="en-US"/>
              <a:t>*Insert Image Here</a:t>
            </a:r>
          </a:p>
        </p:txBody>
      </p:sp>
      <p:sp>
        <p:nvSpPr>
          <p:cNvPr id="5" name="Content Placeholder 3">
            <a:extLst>
              <a:ext uri="{FF2B5EF4-FFF2-40B4-BE49-F238E27FC236}">
                <a16:creationId xmlns:a16="http://schemas.microsoft.com/office/drawing/2014/main" id="{F58048EE-60F9-81CD-929C-8D429ECD7972}"/>
              </a:ext>
            </a:extLst>
          </p:cNvPr>
          <p:cNvSpPr txBox="1">
            <a:spLocks noGrp="1"/>
          </p:cNvSpPr>
          <p:nvPr>
            <p:ph idx="4294967295"/>
          </p:nvPr>
        </p:nvSpPr>
        <p:spPr>
          <a:xfrm>
            <a:off x="5549394" y="1997122"/>
            <a:ext cx="5466557" cy="3085414"/>
          </a:xfrm>
        </p:spPr>
        <p:txBody>
          <a:bodyPr/>
          <a:lstStyle>
            <a:lvl1pPr marL="0" indent="0" defTabSz="914418">
              <a:lnSpc>
                <a:spcPct val="90000"/>
              </a:lnSpc>
              <a:spcAft>
                <a:spcPts val="0"/>
              </a:spcAft>
              <a:buNone/>
              <a:defRPr sz="2133">
                <a:latin typeface="Verdana"/>
                <a:ea typeface="Verdana"/>
                <a:cs typeface="Verdana"/>
              </a:defRPr>
            </a:lvl1pPr>
          </a:lstStyle>
          <a:p>
            <a:pPr lvl="0"/>
            <a:r>
              <a:rPr lang="en-US"/>
              <a:t>Copy goes here. </a:t>
            </a:r>
          </a:p>
        </p:txBody>
      </p:sp>
      <p:sp>
        <p:nvSpPr>
          <p:cNvPr id="6" name="Title 16">
            <a:extLst>
              <a:ext uri="{FF2B5EF4-FFF2-40B4-BE49-F238E27FC236}">
                <a16:creationId xmlns:a16="http://schemas.microsoft.com/office/drawing/2014/main" id="{F263760C-0F88-4694-49F1-199325A21F88}"/>
              </a:ext>
            </a:extLst>
          </p:cNvPr>
          <p:cNvSpPr txBox="1">
            <a:spLocks noGrp="1"/>
          </p:cNvSpPr>
          <p:nvPr>
            <p:ph type="title"/>
          </p:nvPr>
        </p:nvSpPr>
        <p:spPr>
          <a:xfrm>
            <a:off x="5549394" y="1154522"/>
            <a:ext cx="5466557"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pic>
        <p:nvPicPr>
          <p:cNvPr id="7" name="Picture 7">
            <a:extLst>
              <a:ext uri="{FF2B5EF4-FFF2-40B4-BE49-F238E27FC236}">
                <a16:creationId xmlns:a16="http://schemas.microsoft.com/office/drawing/2014/main" id="{0C7AF3F8-9106-F23C-708D-580EF6588129}"/>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Tree>
    <p:extLst>
      <p:ext uri="{BB962C8B-B14F-4D97-AF65-F5344CB8AC3E}">
        <p14:creationId xmlns:p14="http://schemas.microsoft.com/office/powerpoint/2010/main" val="2882122779"/>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p:cSld name="27_Cover">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822C85AD-F211-982B-04FF-E02585A22FFB}"/>
              </a:ext>
            </a:extLst>
          </p:cNvPr>
          <p:cNvSpPr/>
          <p:nvPr/>
        </p:nvSpPr>
        <p:spPr>
          <a:xfrm>
            <a:off x="902366" y="1294416"/>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A45A7FC5-4C1E-EF36-6196-A5600DC86891}"/>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r>
              <a:rPr lang="en-US"/>
              <a:t>Click to edit Master title style</a:t>
            </a:r>
          </a:p>
        </p:txBody>
      </p:sp>
      <p:sp>
        <p:nvSpPr>
          <p:cNvPr id="4" name="Subtitle 2">
            <a:extLst>
              <a:ext uri="{FF2B5EF4-FFF2-40B4-BE49-F238E27FC236}">
                <a16:creationId xmlns:a16="http://schemas.microsoft.com/office/drawing/2014/main" id="{54E40EB6-E3BC-2409-BB87-A60310A6F151}"/>
              </a:ext>
            </a:extLst>
          </p:cNvPr>
          <p:cNvSpPr txBox="1">
            <a:spLocks noGrp="1"/>
          </p:cNvSpPr>
          <p:nvPr>
            <p:ph type="subTitle" idx="4294967295"/>
          </p:nvPr>
        </p:nvSpPr>
        <p:spPr>
          <a:xfrm>
            <a:off x="1413305" y="3766861"/>
            <a:ext cx="5194432" cy="986564"/>
          </a:xfrm>
        </p:spPr>
        <p:txBody>
          <a:bodyPr/>
          <a:lstStyle>
            <a:lvl1pPr marL="0" indent="0">
              <a:buNone/>
              <a:defRPr/>
            </a:lvl1pPr>
          </a:lstStyle>
          <a:p>
            <a:pPr lvl="0"/>
            <a:r>
              <a:rPr lang="en-US"/>
              <a:t>Click to edit Master subtitle style</a:t>
            </a:r>
          </a:p>
        </p:txBody>
      </p:sp>
      <p:sp>
        <p:nvSpPr>
          <p:cNvPr id="5" name="Picture Placeholder 21">
            <a:extLst>
              <a:ext uri="{FF2B5EF4-FFF2-40B4-BE49-F238E27FC236}">
                <a16:creationId xmlns:a16="http://schemas.microsoft.com/office/drawing/2014/main" id="{7BAE57CB-211F-FC95-0C26-2EF9E93F23DA}"/>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grpSp>
        <p:nvGrpSpPr>
          <p:cNvPr id="6" name="Group 26">
            <a:extLst>
              <a:ext uri="{FF2B5EF4-FFF2-40B4-BE49-F238E27FC236}">
                <a16:creationId xmlns:a16="http://schemas.microsoft.com/office/drawing/2014/main" id="{6211E2F0-78B9-B7FA-4D6C-794CA197C73F}"/>
              </a:ext>
            </a:extLst>
          </p:cNvPr>
          <p:cNvGrpSpPr/>
          <p:nvPr/>
        </p:nvGrpSpPr>
        <p:grpSpPr>
          <a:xfrm>
            <a:off x="0" y="5020349"/>
            <a:ext cx="12191996" cy="1837651"/>
            <a:chOff x="0" y="5020348"/>
            <a:chExt cx="12191996" cy="1837651"/>
          </a:xfrm>
        </p:grpSpPr>
        <p:sp>
          <p:nvSpPr>
            <p:cNvPr id="7" name="Freeform 27">
              <a:extLst>
                <a:ext uri="{FF2B5EF4-FFF2-40B4-BE49-F238E27FC236}">
                  <a16:creationId xmlns:a16="http://schemas.microsoft.com/office/drawing/2014/main" id="{18073AB7-21AF-6345-726C-00E58078DD47}"/>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8" name="Freeform 28">
              <a:extLst>
                <a:ext uri="{FF2B5EF4-FFF2-40B4-BE49-F238E27FC236}">
                  <a16:creationId xmlns:a16="http://schemas.microsoft.com/office/drawing/2014/main" id="{49BAD784-AE62-AE8E-D011-B9ADAE8ADD34}"/>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9" name="Picture 29">
              <a:extLst>
                <a:ext uri="{FF2B5EF4-FFF2-40B4-BE49-F238E27FC236}">
                  <a16:creationId xmlns:a16="http://schemas.microsoft.com/office/drawing/2014/main" id="{328307A6-4221-54D5-5C66-4CA57295BF1A}"/>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3745744517"/>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p:cSld name="27_Photo Slide">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5620E53C-E2B5-8CE9-B723-5DDD338CE1FD}"/>
              </a:ext>
            </a:extLst>
          </p:cNvPr>
          <p:cNvSpPr txBox="1">
            <a:spLocks noGrp="1"/>
          </p:cNvSpPr>
          <p:nvPr>
            <p:ph type="body" idx="4294967295"/>
          </p:nvPr>
        </p:nvSpPr>
        <p:spPr>
          <a:xfrm>
            <a:off x="457200" y="1146255"/>
            <a:ext cx="2350172" cy="2971800"/>
          </a:xfrm>
        </p:spPr>
        <p:txBody>
          <a:bodyPr/>
          <a:lstStyle>
            <a:lvl1pPr marL="0" indent="0">
              <a:buNone/>
              <a:defRPr/>
            </a:lvl1pPr>
          </a:lstStyle>
          <a:p>
            <a:pPr lvl="0"/>
            <a:r>
              <a:rPr lang="en-US"/>
              <a:t>Click to edit Master text styles</a:t>
            </a:r>
          </a:p>
        </p:txBody>
      </p:sp>
      <p:cxnSp>
        <p:nvCxnSpPr>
          <p:cNvPr id="3" name="Straight Connector 5">
            <a:extLst>
              <a:ext uri="{FF2B5EF4-FFF2-40B4-BE49-F238E27FC236}">
                <a16:creationId xmlns:a16="http://schemas.microsoft.com/office/drawing/2014/main" id="{61F3267A-DB3C-C667-4AA8-332C0A3BC891}"/>
              </a:ext>
            </a:extLst>
          </p:cNvPr>
          <p:cNvCxnSpPr/>
          <p:nvPr/>
        </p:nvCxnSpPr>
        <p:spPr>
          <a:xfrm>
            <a:off x="457201" y="947985"/>
            <a:ext cx="2350163" cy="0"/>
          </a:xfrm>
          <a:prstGeom prst="straightConnector1">
            <a:avLst/>
          </a:prstGeom>
          <a:noFill/>
          <a:ln w="31747" cap="flat">
            <a:solidFill>
              <a:srgbClr val="F58366"/>
            </a:solidFill>
            <a:prstDash val="solid"/>
            <a:miter/>
          </a:ln>
        </p:spPr>
      </p:cxnSp>
      <p:grpSp>
        <p:nvGrpSpPr>
          <p:cNvPr id="4" name="Group 2">
            <a:extLst>
              <a:ext uri="{FF2B5EF4-FFF2-40B4-BE49-F238E27FC236}">
                <a16:creationId xmlns:a16="http://schemas.microsoft.com/office/drawing/2014/main" id="{DAAB028F-7338-43B6-68D5-80A227CA7F37}"/>
              </a:ext>
            </a:extLst>
          </p:cNvPr>
          <p:cNvGrpSpPr/>
          <p:nvPr/>
        </p:nvGrpSpPr>
        <p:grpSpPr>
          <a:xfrm>
            <a:off x="1" y="5379425"/>
            <a:ext cx="2807363" cy="753895"/>
            <a:chOff x="0" y="5379424"/>
            <a:chExt cx="2807363" cy="753895"/>
          </a:xfrm>
        </p:grpSpPr>
        <p:sp>
          <p:nvSpPr>
            <p:cNvPr id="5" name="Freeform 21">
              <a:extLst>
                <a:ext uri="{FF2B5EF4-FFF2-40B4-BE49-F238E27FC236}">
                  <a16:creationId xmlns:a16="http://schemas.microsoft.com/office/drawing/2014/main" id="{472CCAD5-DF8C-B156-D166-CEC3669C7953}"/>
                </a:ext>
              </a:extLst>
            </p:cNvPr>
            <p:cNvSpPr/>
            <p:nvPr/>
          </p:nvSpPr>
          <p:spPr>
            <a:xfrm>
              <a:off x="0" y="5532513"/>
              <a:ext cx="2807363" cy="600806"/>
            </a:xfrm>
            <a:custGeom>
              <a:avLst/>
              <a:gdLst>
                <a:gd name="f0" fmla="val 10800000"/>
                <a:gd name="f1" fmla="val 5400000"/>
                <a:gd name="f2" fmla="val 180"/>
                <a:gd name="f3" fmla="val w"/>
                <a:gd name="f4" fmla="val h"/>
                <a:gd name="f5" fmla="val 0"/>
                <a:gd name="f6" fmla="val 2807368"/>
                <a:gd name="f7" fmla="val 600807"/>
                <a:gd name="f8" fmla="val 429971"/>
                <a:gd name="f9" fmla="val 123998"/>
                <a:gd name="f10" fmla="val 1184765"/>
                <a:gd name="f11" fmla="val 325331"/>
                <a:gd name="f12" fmla="val 2014184"/>
                <a:gd name="f13" fmla="val 392492"/>
                <a:gd name="f14" fmla="val 2790212"/>
                <a:gd name="f15" fmla="val 235402"/>
                <a:gd name="f16" fmla="val 231522"/>
                <a:gd name="f17" fmla="val 566106"/>
                <a:gd name="f18" fmla="val 2593885"/>
                <a:gd name="f19" fmla="val 587498"/>
                <a:gd name="f20" fmla="val 1673646"/>
                <a:gd name="f21" fmla="val 651184"/>
                <a:gd name="f22" fmla="val 884869"/>
                <a:gd name="f23" fmla="val 479260"/>
                <a:gd name="f24" fmla="val 100844"/>
                <a:gd name="f25" fmla="val 222653"/>
                <a:gd name="f26" fmla="val 188389"/>
                <a:gd name="f27" fmla="+- 0 0 -90"/>
                <a:gd name="f28" fmla="*/ f3 1 2807368"/>
                <a:gd name="f29" fmla="*/ f4 1 600807"/>
                <a:gd name="f30" fmla="+- f7 0 f5"/>
                <a:gd name="f31" fmla="+- f6 0 f5"/>
                <a:gd name="f32" fmla="*/ f27 f0 1"/>
                <a:gd name="f33" fmla="*/ f31 1 2807368"/>
                <a:gd name="f34" fmla="*/ f30 1 600807"/>
                <a:gd name="f35" fmla="*/ 0 f31 1"/>
                <a:gd name="f36" fmla="*/ 0 f30 1"/>
                <a:gd name="f37" fmla="*/ 429971 f31 1"/>
                <a:gd name="f38" fmla="*/ 123998 f30 1"/>
                <a:gd name="f39" fmla="*/ 2790212 f31 1"/>
                <a:gd name="f40" fmla="*/ 235402 f30 1"/>
                <a:gd name="f41" fmla="*/ 2807368 f31 1"/>
                <a:gd name="f42" fmla="*/ 231522 f30 1"/>
                <a:gd name="f43" fmla="*/ 566106 f30 1"/>
                <a:gd name="f44" fmla="*/ 2593885 f31 1"/>
                <a:gd name="f45" fmla="*/ 587498 f30 1"/>
                <a:gd name="f46" fmla="*/ 100844 f31 1"/>
                <a:gd name="f47" fmla="*/ 222653 f30 1"/>
                <a:gd name="f48" fmla="*/ 188389 f30 1"/>
                <a:gd name="f49" fmla="*/ f32 1 f2"/>
                <a:gd name="f50" fmla="*/ f35 1 2807368"/>
                <a:gd name="f51" fmla="*/ f36 1 600807"/>
                <a:gd name="f52" fmla="*/ f37 1 2807368"/>
                <a:gd name="f53" fmla="*/ f38 1 600807"/>
                <a:gd name="f54" fmla="*/ f39 1 2807368"/>
                <a:gd name="f55" fmla="*/ f40 1 600807"/>
                <a:gd name="f56" fmla="*/ f41 1 2807368"/>
                <a:gd name="f57" fmla="*/ f42 1 600807"/>
                <a:gd name="f58" fmla="*/ f43 1 600807"/>
                <a:gd name="f59" fmla="*/ f44 1 2807368"/>
                <a:gd name="f60" fmla="*/ f45 1 600807"/>
                <a:gd name="f61" fmla="*/ f46 1 2807368"/>
                <a:gd name="f62" fmla="*/ f47 1 600807"/>
                <a:gd name="f63" fmla="*/ f48 1 600807"/>
                <a:gd name="f64" fmla="*/ f5 1 f33"/>
                <a:gd name="f65" fmla="*/ f6 1 f33"/>
                <a:gd name="f66" fmla="*/ f5 1 f34"/>
                <a:gd name="f67" fmla="*/ f7 1 f34"/>
                <a:gd name="f68" fmla="+- f49 0 f1"/>
                <a:gd name="f69" fmla="*/ f50 1 f33"/>
                <a:gd name="f70" fmla="*/ f51 1 f34"/>
                <a:gd name="f71" fmla="*/ f52 1 f33"/>
                <a:gd name="f72" fmla="*/ f53 1 f34"/>
                <a:gd name="f73" fmla="*/ f54 1 f33"/>
                <a:gd name="f74" fmla="*/ f55 1 f34"/>
                <a:gd name="f75" fmla="*/ f56 1 f33"/>
                <a:gd name="f76" fmla="*/ f57 1 f34"/>
                <a:gd name="f77" fmla="*/ f58 1 f34"/>
                <a:gd name="f78" fmla="*/ f59 1 f33"/>
                <a:gd name="f79" fmla="*/ f60 1 f34"/>
                <a:gd name="f80" fmla="*/ f61 1 f33"/>
                <a:gd name="f81" fmla="*/ f62 1 f34"/>
                <a:gd name="f82" fmla="*/ f63 1 f34"/>
                <a:gd name="f83" fmla="*/ f64 f28 1"/>
                <a:gd name="f84" fmla="*/ f65 f28 1"/>
                <a:gd name="f85" fmla="*/ f67 f29 1"/>
                <a:gd name="f86" fmla="*/ f66 f29 1"/>
                <a:gd name="f87" fmla="*/ f69 f28 1"/>
                <a:gd name="f88" fmla="*/ f70 f29 1"/>
                <a:gd name="f89" fmla="*/ f71 f28 1"/>
                <a:gd name="f90" fmla="*/ f72 f29 1"/>
                <a:gd name="f91" fmla="*/ f73 f28 1"/>
                <a:gd name="f92" fmla="*/ f74 f29 1"/>
                <a:gd name="f93" fmla="*/ f75 f28 1"/>
                <a:gd name="f94" fmla="*/ f76 f29 1"/>
                <a:gd name="f95" fmla="*/ f77 f29 1"/>
                <a:gd name="f96" fmla="*/ f78 f28 1"/>
                <a:gd name="f97" fmla="*/ f79 f29 1"/>
                <a:gd name="f98" fmla="*/ f80 f28 1"/>
                <a:gd name="f99" fmla="*/ f81 f29 1"/>
                <a:gd name="f100" fmla="*/ f82 f29 1"/>
              </a:gdLst>
              <a:ahLst/>
              <a:cxnLst>
                <a:cxn ang="3cd4">
                  <a:pos x="hc" y="t"/>
                </a:cxn>
                <a:cxn ang="0">
                  <a:pos x="r" y="vc"/>
                </a:cxn>
                <a:cxn ang="cd4">
                  <a:pos x="hc" y="b"/>
                </a:cxn>
                <a:cxn ang="cd2">
                  <a:pos x="l" y="vc"/>
                </a:cxn>
                <a:cxn ang="f68">
                  <a:pos x="f87" y="f88"/>
                </a:cxn>
                <a:cxn ang="f68">
                  <a:pos x="f89" y="f90"/>
                </a:cxn>
                <a:cxn ang="f68">
                  <a:pos x="f91" y="f92"/>
                </a:cxn>
                <a:cxn ang="f68">
                  <a:pos x="f93" y="f94"/>
                </a:cxn>
                <a:cxn ang="f68">
                  <a:pos x="f93" y="f95"/>
                </a:cxn>
                <a:cxn ang="f68">
                  <a:pos x="f96" y="f97"/>
                </a:cxn>
                <a:cxn ang="f68">
                  <a:pos x="f98" y="f99"/>
                </a:cxn>
                <a:cxn ang="f68">
                  <a:pos x="f87" y="f100"/>
                </a:cxn>
              </a:cxnLst>
              <a:rect l="f83" t="f86" r="f84" b="f85"/>
              <a:pathLst>
                <a:path w="2807368" h="600807">
                  <a:moveTo>
                    <a:pt x="f5" y="f5"/>
                  </a:moveTo>
                  <a:lnTo>
                    <a:pt x="f8" y="f9"/>
                  </a:lnTo>
                  <a:cubicBezTo>
                    <a:pt x="f10" y="f11"/>
                    <a:pt x="f12" y="f13"/>
                    <a:pt x="f14" y="f15"/>
                  </a:cubicBezTo>
                  <a:lnTo>
                    <a:pt x="f6" y="f16"/>
                  </a:lnTo>
                  <a:lnTo>
                    <a:pt x="f6" y="f17"/>
                  </a:lnTo>
                  <a:lnTo>
                    <a:pt x="f18" y="f19"/>
                  </a:lnTo>
                  <a:cubicBezTo>
                    <a:pt x="f20" y="f21"/>
                    <a:pt x="f22" y="f23"/>
                    <a:pt x="f24" y="f25"/>
                  </a:cubicBezTo>
                  <a:lnTo>
                    <a:pt x="f5" y="f26"/>
                  </a:ln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Freeform 19">
              <a:extLst>
                <a:ext uri="{FF2B5EF4-FFF2-40B4-BE49-F238E27FC236}">
                  <a16:creationId xmlns:a16="http://schemas.microsoft.com/office/drawing/2014/main" id="{14C8DA53-DFA4-F685-D74C-F9C90F8F795F}"/>
                </a:ext>
              </a:extLst>
            </p:cNvPr>
            <p:cNvSpPr/>
            <p:nvPr/>
          </p:nvSpPr>
          <p:spPr>
            <a:xfrm>
              <a:off x="0" y="5379424"/>
              <a:ext cx="2807363" cy="649800"/>
            </a:xfrm>
            <a:custGeom>
              <a:avLst/>
              <a:gdLst>
                <a:gd name="f0" fmla="val 10800000"/>
                <a:gd name="f1" fmla="val 5400000"/>
                <a:gd name="f2" fmla="val 180"/>
                <a:gd name="f3" fmla="val w"/>
                <a:gd name="f4" fmla="val h"/>
                <a:gd name="f5" fmla="val 0"/>
                <a:gd name="f6" fmla="val 2807368"/>
                <a:gd name="f7" fmla="val 649803"/>
                <a:gd name="f8" fmla="val 282676"/>
                <a:gd name="f9" fmla="val 70799"/>
                <a:gd name="f10" fmla="val 435964"/>
                <a:gd name="f11" fmla="val 106085"/>
                <a:gd name="f12" fmla="val 588770"/>
                <a:gd name="f13" fmla="val 137629"/>
                <a:gd name="f14" fmla="val 740881"/>
                <a:gd name="f15" fmla="val 163828"/>
                <a:gd name="f16" fmla="val 1362800"/>
                <a:gd name="f17" fmla="val 270912"/>
                <a:gd name="f18" fmla="val 2067879"/>
                <a:gd name="f19" fmla="val 253759"/>
                <a:gd name="f20" fmla="val 2706471"/>
                <a:gd name="f21" fmla="val 96397"/>
                <a:gd name="f22" fmla="val 67250"/>
                <a:gd name="f23" fmla="val 605551"/>
                <a:gd name="f24" fmla="val 2602685"/>
                <a:gd name="f25" fmla="val 629466"/>
                <a:gd name="f26" fmla="val 1684237"/>
                <a:gd name="f27" fmla="val 708219"/>
                <a:gd name="f28" fmla="val 893252"/>
                <a:gd name="f29" fmla="val 549395"/>
                <a:gd name="f30" fmla="val 105614"/>
                <a:gd name="f31" fmla="val 305882"/>
                <a:gd name="f32" fmla="val 271926"/>
                <a:gd name="f33" fmla="+- 0 0 -90"/>
                <a:gd name="f34" fmla="*/ f3 1 2807368"/>
                <a:gd name="f35" fmla="*/ f4 1 649803"/>
                <a:gd name="f36" fmla="+- f7 0 f5"/>
                <a:gd name="f37" fmla="+- f6 0 f5"/>
                <a:gd name="f38" fmla="*/ f33 f0 1"/>
                <a:gd name="f39" fmla="*/ f37 1 2807368"/>
                <a:gd name="f40" fmla="*/ f36 1 649803"/>
                <a:gd name="f41" fmla="*/ 0 f37 1"/>
                <a:gd name="f42" fmla="*/ 0 f36 1"/>
                <a:gd name="f43" fmla="*/ 282676 f37 1"/>
                <a:gd name="f44" fmla="*/ 70799 f36 1"/>
                <a:gd name="f45" fmla="*/ 740881 f37 1"/>
                <a:gd name="f46" fmla="*/ 163828 f36 1"/>
                <a:gd name="f47" fmla="*/ 2706471 f37 1"/>
                <a:gd name="f48" fmla="*/ 96397 f36 1"/>
                <a:gd name="f49" fmla="*/ 2807368 f37 1"/>
                <a:gd name="f50" fmla="*/ 67250 f36 1"/>
                <a:gd name="f51" fmla="*/ 605551 f36 1"/>
                <a:gd name="f52" fmla="*/ 2602685 f37 1"/>
                <a:gd name="f53" fmla="*/ 629466 f36 1"/>
                <a:gd name="f54" fmla="*/ 105614 f37 1"/>
                <a:gd name="f55" fmla="*/ 305882 f36 1"/>
                <a:gd name="f56" fmla="*/ 271926 f36 1"/>
                <a:gd name="f57" fmla="*/ f38 1 f2"/>
                <a:gd name="f58" fmla="*/ f41 1 2807368"/>
                <a:gd name="f59" fmla="*/ f42 1 649803"/>
                <a:gd name="f60" fmla="*/ f43 1 2807368"/>
                <a:gd name="f61" fmla="*/ f44 1 649803"/>
                <a:gd name="f62" fmla="*/ f45 1 2807368"/>
                <a:gd name="f63" fmla="*/ f46 1 649803"/>
                <a:gd name="f64" fmla="*/ f47 1 2807368"/>
                <a:gd name="f65" fmla="*/ f48 1 649803"/>
                <a:gd name="f66" fmla="*/ f49 1 2807368"/>
                <a:gd name="f67" fmla="*/ f50 1 649803"/>
                <a:gd name="f68" fmla="*/ f51 1 649803"/>
                <a:gd name="f69" fmla="*/ f52 1 2807368"/>
                <a:gd name="f70" fmla="*/ f53 1 649803"/>
                <a:gd name="f71" fmla="*/ f54 1 2807368"/>
                <a:gd name="f72" fmla="*/ f55 1 649803"/>
                <a:gd name="f73" fmla="*/ f56 1 649803"/>
                <a:gd name="f74" fmla="*/ f5 1 f39"/>
                <a:gd name="f75" fmla="*/ f6 1 f39"/>
                <a:gd name="f76" fmla="*/ f5 1 f40"/>
                <a:gd name="f77" fmla="*/ f7 1 f40"/>
                <a:gd name="f78" fmla="+- f57 0 f1"/>
                <a:gd name="f79" fmla="*/ f58 1 f39"/>
                <a:gd name="f80" fmla="*/ f59 1 f40"/>
                <a:gd name="f81" fmla="*/ f60 1 f39"/>
                <a:gd name="f82" fmla="*/ f61 1 f40"/>
                <a:gd name="f83" fmla="*/ f62 1 f39"/>
                <a:gd name="f84" fmla="*/ f63 1 f40"/>
                <a:gd name="f85" fmla="*/ f64 1 f39"/>
                <a:gd name="f86" fmla="*/ f65 1 f40"/>
                <a:gd name="f87" fmla="*/ f66 1 f39"/>
                <a:gd name="f88" fmla="*/ f67 1 f40"/>
                <a:gd name="f89" fmla="*/ f68 1 f40"/>
                <a:gd name="f90" fmla="*/ f69 1 f39"/>
                <a:gd name="f91" fmla="*/ f70 1 f40"/>
                <a:gd name="f92" fmla="*/ f71 1 f39"/>
                <a:gd name="f93" fmla="*/ f72 1 f40"/>
                <a:gd name="f94" fmla="*/ f73 1 f40"/>
                <a:gd name="f95" fmla="*/ f74 f34 1"/>
                <a:gd name="f96" fmla="*/ f75 f34 1"/>
                <a:gd name="f97" fmla="*/ f77 f35 1"/>
                <a:gd name="f98" fmla="*/ f76 f35 1"/>
                <a:gd name="f99" fmla="*/ f79 f34 1"/>
                <a:gd name="f100" fmla="*/ f80 f35 1"/>
                <a:gd name="f101" fmla="*/ f81 f34 1"/>
                <a:gd name="f102" fmla="*/ f82 f35 1"/>
                <a:gd name="f103" fmla="*/ f83 f34 1"/>
                <a:gd name="f104" fmla="*/ f84 f35 1"/>
                <a:gd name="f105" fmla="*/ f85 f34 1"/>
                <a:gd name="f106" fmla="*/ f86 f35 1"/>
                <a:gd name="f107" fmla="*/ f87 f34 1"/>
                <a:gd name="f108" fmla="*/ f88 f35 1"/>
                <a:gd name="f109" fmla="*/ f89 f35 1"/>
                <a:gd name="f110" fmla="*/ f90 f34 1"/>
                <a:gd name="f111" fmla="*/ f91 f35 1"/>
                <a:gd name="f112" fmla="*/ f92 f34 1"/>
                <a:gd name="f113" fmla="*/ f93 f35 1"/>
                <a:gd name="f114" fmla="*/ f94 f35 1"/>
              </a:gdLst>
              <a:ahLst/>
              <a:cxnLst>
                <a:cxn ang="3cd4">
                  <a:pos x="hc" y="t"/>
                </a:cxn>
                <a:cxn ang="0">
                  <a:pos x="r" y="vc"/>
                </a:cxn>
                <a:cxn ang="cd4">
                  <a:pos x="hc" y="b"/>
                </a:cxn>
                <a:cxn ang="cd2">
                  <a:pos x="l" y="vc"/>
                </a:cxn>
                <a:cxn ang="f78">
                  <a:pos x="f99" y="f100"/>
                </a:cxn>
                <a:cxn ang="f78">
                  <a:pos x="f101" y="f102"/>
                </a:cxn>
                <a:cxn ang="f78">
                  <a:pos x="f103" y="f104"/>
                </a:cxn>
                <a:cxn ang="f78">
                  <a:pos x="f105" y="f106"/>
                </a:cxn>
                <a:cxn ang="f78">
                  <a:pos x="f107" y="f108"/>
                </a:cxn>
                <a:cxn ang="f78">
                  <a:pos x="f107" y="f109"/>
                </a:cxn>
                <a:cxn ang="f78">
                  <a:pos x="f110" y="f111"/>
                </a:cxn>
                <a:cxn ang="f78">
                  <a:pos x="f112" y="f113"/>
                </a:cxn>
                <a:cxn ang="f78">
                  <a:pos x="f99" y="f114"/>
                </a:cxn>
              </a:cxnLst>
              <a:rect l="f95" t="f98" r="f96" b="f97"/>
              <a:pathLst>
                <a:path w="2807368" h="649803">
                  <a:moveTo>
                    <a:pt x="f5" y="f5"/>
                  </a:moveTo>
                  <a:lnTo>
                    <a:pt x="f8" y="f9"/>
                  </a:lnTo>
                  <a:cubicBezTo>
                    <a:pt x="f10" y="f11"/>
                    <a:pt x="f12" y="f13"/>
                    <a:pt x="f14" y="f15"/>
                  </a:cubicBezTo>
                  <a:cubicBezTo>
                    <a:pt x="f16" y="f17"/>
                    <a:pt x="f18" y="f19"/>
                    <a:pt x="f20" y="f21"/>
                  </a:cubicBezTo>
                  <a:lnTo>
                    <a:pt x="f6" y="f22"/>
                  </a:lnTo>
                  <a:lnTo>
                    <a:pt x="f6" y="f23"/>
                  </a:lnTo>
                  <a:lnTo>
                    <a:pt x="f24" y="f25"/>
                  </a:lnTo>
                  <a:cubicBezTo>
                    <a:pt x="f26" y="f27"/>
                    <a:pt x="f28" y="f29"/>
                    <a:pt x="f30" y="f31"/>
                  </a:cubicBezTo>
                  <a:lnTo>
                    <a:pt x="f5" y="f32"/>
                  </a:ln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grpSp>
      <p:sp>
        <p:nvSpPr>
          <p:cNvPr id="7" name="Picture Placeholder 6">
            <a:extLst>
              <a:ext uri="{FF2B5EF4-FFF2-40B4-BE49-F238E27FC236}">
                <a16:creationId xmlns:a16="http://schemas.microsoft.com/office/drawing/2014/main" id="{46C84E79-E5FA-A4A4-E0ED-D41EBCE415F8}"/>
              </a:ext>
            </a:extLst>
          </p:cNvPr>
          <p:cNvSpPr txBox="1">
            <a:spLocks noGrp="1"/>
          </p:cNvSpPr>
          <p:nvPr>
            <p:ph type="pic" idx="4294967295"/>
          </p:nvPr>
        </p:nvSpPr>
        <p:spPr>
          <a:xfrm>
            <a:off x="2807363" y="457200"/>
            <a:ext cx="8915400" cy="5943600"/>
          </a:xfrm>
        </p:spPr>
        <p:txBody>
          <a:bodyPr/>
          <a:lstStyle>
            <a:lvl1pPr>
              <a:defRPr/>
            </a:lvl1pPr>
          </a:lstStyle>
          <a:p>
            <a:pPr lvl="0"/>
            <a:endParaRPr lang="en-US"/>
          </a:p>
        </p:txBody>
      </p:sp>
      <p:pic>
        <p:nvPicPr>
          <p:cNvPr id="8" name="Picture 14">
            <a:extLst>
              <a:ext uri="{FF2B5EF4-FFF2-40B4-BE49-F238E27FC236}">
                <a16:creationId xmlns:a16="http://schemas.microsoft.com/office/drawing/2014/main" id="{344E92C9-93CC-8DE8-2551-C98C7E964119}"/>
              </a:ext>
            </a:extLst>
          </p:cNvPr>
          <p:cNvPicPr>
            <a:picLocks noChangeAspect="1"/>
          </p:cNvPicPr>
          <p:nvPr/>
        </p:nvPicPr>
        <p:blipFill>
          <a:blip r:embed="rId2"/>
          <a:srcRect/>
          <a:stretch>
            <a:fillRect/>
          </a:stretch>
        </p:blipFill>
        <p:spPr>
          <a:xfrm>
            <a:off x="513345" y="4385535"/>
            <a:ext cx="2025313" cy="911940"/>
          </a:xfrm>
          <a:prstGeom prst="rect">
            <a:avLst/>
          </a:prstGeom>
          <a:noFill/>
          <a:ln cap="flat">
            <a:noFill/>
          </a:ln>
        </p:spPr>
      </p:pic>
    </p:spTree>
    <p:extLst>
      <p:ext uri="{BB962C8B-B14F-4D97-AF65-F5344CB8AC3E}">
        <p14:creationId xmlns:p14="http://schemas.microsoft.com/office/powerpoint/2010/main" val="2627856070"/>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graphicFrame>
        <p:nvGraphicFramePr>
          <p:cNvPr id="2" name="Object 7" hidden="1">
            <a:extLst>
              <a:ext uri="{FF2B5EF4-FFF2-40B4-BE49-F238E27FC236}">
                <a16:creationId xmlns:a16="http://schemas.microsoft.com/office/drawing/2014/main" id="{610F317B-1E7C-E15C-2902-22BF6BC1AA5B}"/>
              </a:ext>
            </a:extLst>
          </p:cNvPr>
          <p:cNvGraphicFramePr/>
          <p:nvPr/>
        </p:nvGraphicFramePr>
        <p:xfrm>
          <a:off x="2121" y="2121"/>
          <a:ext cx="2112" cy="2112"/>
        </p:xfrm>
        <a:graphic>
          <a:graphicData uri="http://schemas.openxmlformats.org/presentationml/2006/ole">
            <mc:AlternateContent xmlns:mc="http://schemas.openxmlformats.org/markup-compatibility/2006">
              <mc:Choice xmlns:v="urn:schemas-microsoft-com:vml" Requires="v">
                <p:oleObj r:id="rId2" imgW="12700" imgH="12700" progId="">
                  <p:embed/>
                </p:oleObj>
              </mc:Choice>
              <mc:Fallback>
                <p:oleObj r:id="rId2" imgW="12700" imgH="12700" progId="">
                  <p:embed/>
                  <p:pic>
                    <p:nvPicPr>
                      <p:cNvPr id="2" name="Object 7" hidden="1">
                        <a:extLst>
                          <a:ext uri="{FF2B5EF4-FFF2-40B4-BE49-F238E27FC236}">
                            <a16:creationId xmlns:a16="http://schemas.microsoft.com/office/drawing/2014/main" id="{610F317B-1E7C-E15C-2902-22BF6BC1AA5B}"/>
                          </a:ext>
                        </a:extLst>
                      </p:cNvPr>
                      <p:cNvPicPr/>
                      <p:nvPr/>
                    </p:nvPicPr>
                    <p:blipFill>
                      <a:blip r:embed="rId3"/>
                      <a:stretch>
                        <a:fillRect/>
                      </a:stretch>
                    </p:blipFill>
                    <p:spPr>
                      <a:xfrm>
                        <a:off x="2121" y="2121"/>
                        <a:ext cx="2112" cy="2112"/>
                      </a:xfrm>
                      <a:prstGeom prst="rect">
                        <a:avLst/>
                      </a:prstGeom>
                    </p:spPr>
                  </p:pic>
                </p:oleObj>
              </mc:Fallback>
            </mc:AlternateContent>
          </a:graphicData>
        </a:graphic>
      </p:graphicFrame>
      <p:sp>
        <p:nvSpPr>
          <p:cNvPr id="3" name="Rectangle 6">
            <a:extLst>
              <a:ext uri="{FF2B5EF4-FFF2-40B4-BE49-F238E27FC236}">
                <a16:creationId xmlns:a16="http://schemas.microsoft.com/office/drawing/2014/main" id="{507DC67E-F38E-2947-A335-80FE84D89157}"/>
              </a:ext>
            </a:extLst>
          </p:cNvPr>
          <p:cNvSpPr/>
          <p:nvPr/>
        </p:nvSpPr>
        <p:spPr>
          <a:xfrm>
            <a:off x="-21168" y="6629400"/>
            <a:ext cx="12213165" cy="228600"/>
          </a:xfrm>
          <a:prstGeom prst="rect">
            <a:avLst/>
          </a:prstGeom>
          <a:solidFill>
            <a:srgbClr val="767676"/>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pic>
        <p:nvPicPr>
          <p:cNvPr id="4" name="Picture 13">
            <a:extLst>
              <a:ext uri="{FF2B5EF4-FFF2-40B4-BE49-F238E27FC236}">
                <a16:creationId xmlns:a16="http://schemas.microsoft.com/office/drawing/2014/main" id="{69FD5E9D-3F81-D98F-AFF3-80CEDBCFC61D}"/>
              </a:ext>
            </a:extLst>
          </p:cNvPr>
          <p:cNvPicPr>
            <a:picLocks noChangeAspect="1"/>
          </p:cNvPicPr>
          <p:nvPr/>
        </p:nvPicPr>
        <p:blipFill>
          <a:blip r:embed="rId4"/>
          <a:srcRect/>
          <a:stretch>
            <a:fillRect/>
          </a:stretch>
        </p:blipFill>
        <p:spPr>
          <a:xfrm>
            <a:off x="7945972" y="408517"/>
            <a:ext cx="3706282" cy="1813986"/>
          </a:xfrm>
          <a:prstGeom prst="rect">
            <a:avLst/>
          </a:prstGeom>
          <a:noFill/>
          <a:ln cap="flat">
            <a:noFill/>
          </a:ln>
        </p:spPr>
      </p:pic>
      <p:grpSp>
        <p:nvGrpSpPr>
          <p:cNvPr id="5" name="Group 11">
            <a:extLst>
              <a:ext uri="{FF2B5EF4-FFF2-40B4-BE49-F238E27FC236}">
                <a16:creationId xmlns:a16="http://schemas.microsoft.com/office/drawing/2014/main" id="{DF2FD208-6C6F-65E5-637B-766D1F11E471}"/>
              </a:ext>
            </a:extLst>
          </p:cNvPr>
          <p:cNvGrpSpPr/>
          <p:nvPr/>
        </p:nvGrpSpPr>
        <p:grpSpPr>
          <a:xfrm>
            <a:off x="1" y="0"/>
            <a:ext cx="1862669" cy="6629400"/>
            <a:chOff x="0" y="0"/>
            <a:chExt cx="1862669" cy="6629400"/>
          </a:xfrm>
        </p:grpSpPr>
        <p:sp>
          <p:nvSpPr>
            <p:cNvPr id="6" name="Rectangle 9">
              <a:extLst>
                <a:ext uri="{FF2B5EF4-FFF2-40B4-BE49-F238E27FC236}">
                  <a16:creationId xmlns:a16="http://schemas.microsoft.com/office/drawing/2014/main" id="{5A21A1BD-2516-AB4B-2BB0-328FFBECF12E}"/>
                </a:ext>
              </a:extLst>
            </p:cNvPr>
            <p:cNvSpPr/>
            <p:nvPr/>
          </p:nvSpPr>
          <p:spPr>
            <a:xfrm>
              <a:off x="0" y="0"/>
              <a:ext cx="1782229" cy="6629400"/>
            </a:xfrm>
            <a:prstGeom prst="rect">
              <a:avLst/>
            </a:prstGeom>
            <a:solidFill>
              <a:srgbClr val="800000"/>
            </a:solidFill>
            <a:ln cap="flat">
              <a:noFill/>
              <a:prstDash val="solid"/>
            </a:ln>
          </p:spPr>
          <p:txBody>
            <a:bodyPr vert="horz" wrap="square" lIns="91440" tIns="45720" rIns="91440" bIns="45720" anchor="t"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pic>
          <p:nvPicPr>
            <p:cNvPr id="7" name="Picture 7">
              <a:extLst>
                <a:ext uri="{FF2B5EF4-FFF2-40B4-BE49-F238E27FC236}">
                  <a16:creationId xmlns:a16="http://schemas.microsoft.com/office/drawing/2014/main" id="{C5A816EB-503C-BA88-B0EC-C5131AD278B1}"/>
                </a:ext>
              </a:extLst>
            </p:cNvPr>
            <p:cNvPicPr>
              <a:picLocks noChangeAspect="1"/>
            </p:cNvPicPr>
            <p:nvPr/>
          </p:nvPicPr>
          <p:blipFill>
            <a:blip r:embed="rId5"/>
            <a:srcRect l="7219" t="16937" r="72250" b="20589"/>
            <a:stretch>
              <a:fillRect/>
            </a:stretch>
          </p:blipFill>
          <p:spPr>
            <a:xfrm>
              <a:off x="0" y="0"/>
              <a:ext cx="1862669" cy="6629400"/>
            </a:xfrm>
            <a:prstGeom prst="rect">
              <a:avLst/>
            </a:prstGeom>
            <a:solidFill>
              <a:srgbClr val="79818A"/>
            </a:solidFill>
            <a:ln cap="flat">
              <a:noFill/>
            </a:ln>
          </p:spPr>
        </p:pic>
      </p:grpSp>
      <p:sp>
        <p:nvSpPr>
          <p:cNvPr id="8" name="Subtitle 2">
            <a:extLst>
              <a:ext uri="{FF2B5EF4-FFF2-40B4-BE49-F238E27FC236}">
                <a16:creationId xmlns:a16="http://schemas.microsoft.com/office/drawing/2014/main" id="{2395DB8E-12A1-62A3-8D13-E507E609EF6B}"/>
              </a:ext>
            </a:extLst>
          </p:cNvPr>
          <p:cNvSpPr txBox="1">
            <a:spLocks noGrp="1"/>
          </p:cNvSpPr>
          <p:nvPr>
            <p:ph type="subTitle" idx="4294967295"/>
          </p:nvPr>
        </p:nvSpPr>
        <p:spPr>
          <a:xfrm>
            <a:off x="3147492" y="4195760"/>
            <a:ext cx="5488512" cy="365760"/>
          </a:xfrm>
        </p:spPr>
        <p:txBody>
          <a:bodyPr/>
          <a:lstStyle>
            <a:lvl1pPr>
              <a:defRPr sz="1867"/>
            </a:lvl1pPr>
          </a:lstStyle>
          <a:p>
            <a:pPr lvl="0"/>
            <a:r>
              <a:rPr lang="en-US"/>
              <a:t>Click to edit Master subtitle style</a:t>
            </a:r>
          </a:p>
        </p:txBody>
      </p:sp>
      <p:sp>
        <p:nvSpPr>
          <p:cNvPr id="9" name="Title 1">
            <a:extLst>
              <a:ext uri="{FF2B5EF4-FFF2-40B4-BE49-F238E27FC236}">
                <a16:creationId xmlns:a16="http://schemas.microsoft.com/office/drawing/2014/main" id="{20C93713-0FF1-A2F6-83B4-EB502A3F55F9}"/>
              </a:ext>
            </a:extLst>
          </p:cNvPr>
          <p:cNvSpPr txBox="1">
            <a:spLocks noGrp="1"/>
          </p:cNvSpPr>
          <p:nvPr>
            <p:ph type="title"/>
          </p:nvPr>
        </p:nvSpPr>
        <p:spPr>
          <a:xfrm>
            <a:off x="1621872" y="1806425"/>
            <a:ext cx="10189826" cy="2278209"/>
          </a:xfrm>
        </p:spPr>
        <p:txBody>
          <a:bodyPr anchor="b"/>
          <a:lstStyle>
            <a:lvl1pPr>
              <a:defRPr sz="5334">
                <a:solidFill>
                  <a:srgbClr val="79818A"/>
                </a:solidFill>
              </a:defRPr>
            </a:lvl1pPr>
          </a:lstStyle>
          <a:p>
            <a:pPr lvl="0"/>
            <a:r>
              <a:rPr lang="en-US"/>
              <a:t>Click to edit Master title style</a:t>
            </a:r>
          </a:p>
        </p:txBody>
      </p:sp>
      <p:sp>
        <p:nvSpPr>
          <p:cNvPr id="10" name="Text Placeholder 3">
            <a:extLst>
              <a:ext uri="{FF2B5EF4-FFF2-40B4-BE49-F238E27FC236}">
                <a16:creationId xmlns:a16="http://schemas.microsoft.com/office/drawing/2014/main" id="{3E5B03AF-B111-7C6A-A43F-3DFB612C6B5F}"/>
              </a:ext>
            </a:extLst>
          </p:cNvPr>
          <p:cNvSpPr txBox="1">
            <a:spLocks noGrp="1"/>
          </p:cNvSpPr>
          <p:nvPr>
            <p:ph type="body" idx="4294967295"/>
          </p:nvPr>
        </p:nvSpPr>
        <p:spPr>
          <a:xfrm>
            <a:off x="3147483" y="4600575"/>
            <a:ext cx="5486400" cy="365760"/>
          </a:xfrm>
        </p:spPr>
        <p:txBody>
          <a:bodyPr/>
          <a:lstStyle>
            <a:lvl1pPr>
              <a:defRPr sz="1867"/>
            </a:lvl1pPr>
          </a:lstStyle>
          <a:p>
            <a:pPr lvl="0"/>
            <a:r>
              <a:rPr lang="en-US"/>
              <a:t>Edit Master text styles</a:t>
            </a:r>
          </a:p>
        </p:txBody>
      </p:sp>
      <p:sp>
        <p:nvSpPr>
          <p:cNvPr id="11" name="Text Placeholder 4">
            <a:extLst>
              <a:ext uri="{FF2B5EF4-FFF2-40B4-BE49-F238E27FC236}">
                <a16:creationId xmlns:a16="http://schemas.microsoft.com/office/drawing/2014/main" id="{11319B84-413D-AB8B-8EDA-00DC2A149D85}"/>
              </a:ext>
            </a:extLst>
          </p:cNvPr>
          <p:cNvSpPr txBox="1">
            <a:spLocks noGrp="1"/>
          </p:cNvSpPr>
          <p:nvPr>
            <p:ph type="body" idx="4294967295"/>
          </p:nvPr>
        </p:nvSpPr>
        <p:spPr>
          <a:xfrm>
            <a:off x="3147483" y="5005389"/>
            <a:ext cx="5486400" cy="365760"/>
          </a:xfr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616615077"/>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p:cSld name="1_Table of Content">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3CC43B1A-80D6-50C4-A844-E8E77CAFB984}"/>
              </a:ext>
            </a:extLst>
          </p:cNvPr>
          <p:cNvGraphicFramePr/>
          <p:nvPr/>
        </p:nvGraphicFramePr>
        <p:xfrm>
          <a:off x="2121" y="2121"/>
          <a:ext cx="2112" cy="2112"/>
        </p:xfrm>
        <a:graphic>
          <a:graphicData uri="http://schemas.openxmlformats.org/presentationml/2006/ole">
            <mc:AlternateContent xmlns:mc="http://schemas.openxmlformats.org/markup-compatibility/2006">
              <mc:Choice xmlns:v="urn:schemas-microsoft-com:vml" Requires="v">
                <p:oleObj r:id="rId2" imgW="12700" imgH="12700" progId="">
                  <p:embed/>
                </p:oleObj>
              </mc:Choice>
              <mc:Fallback>
                <p:oleObj r:id="rId2" imgW="12700" imgH="12700" progId="">
                  <p:embed/>
                  <p:pic>
                    <p:nvPicPr>
                      <p:cNvPr id="2" name="Object 2" hidden="1">
                        <a:extLst>
                          <a:ext uri="{FF2B5EF4-FFF2-40B4-BE49-F238E27FC236}">
                            <a16:creationId xmlns:a16="http://schemas.microsoft.com/office/drawing/2014/main" id="{3CC43B1A-80D6-50C4-A844-E8E77CAFB984}"/>
                          </a:ext>
                        </a:extLst>
                      </p:cNvPr>
                      <p:cNvPicPr/>
                      <p:nvPr/>
                    </p:nvPicPr>
                    <p:blipFill>
                      <a:blip r:embed="rId3"/>
                      <a:stretch>
                        <a:fillRect/>
                      </a:stretch>
                    </p:blipFill>
                    <p:spPr>
                      <a:xfrm>
                        <a:off x="2121" y="2121"/>
                        <a:ext cx="2112" cy="2112"/>
                      </a:xfrm>
                      <a:prstGeom prst="rect">
                        <a:avLst/>
                      </a:prstGeom>
                    </p:spPr>
                  </p:pic>
                </p:oleObj>
              </mc:Fallback>
            </mc:AlternateContent>
          </a:graphicData>
        </a:graphic>
      </p:graphicFrame>
      <p:sp>
        <p:nvSpPr>
          <p:cNvPr id="3" name="Rectangle 7">
            <a:extLst>
              <a:ext uri="{FF2B5EF4-FFF2-40B4-BE49-F238E27FC236}">
                <a16:creationId xmlns:a16="http://schemas.microsoft.com/office/drawing/2014/main" id="{F37B920C-45F2-9CB5-776E-DE6420999BF3}"/>
              </a:ext>
            </a:extLst>
          </p:cNvPr>
          <p:cNvSpPr/>
          <p:nvPr/>
        </p:nvSpPr>
        <p:spPr>
          <a:xfrm>
            <a:off x="-10579" y="6620933"/>
            <a:ext cx="12213165" cy="237067"/>
          </a:xfrm>
          <a:prstGeom prst="rect">
            <a:avLst/>
          </a:prstGeom>
          <a:solidFill>
            <a:srgbClr val="767676"/>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graphicFrame>
        <p:nvGraphicFramePr>
          <p:cNvPr id="4" name="Object 7" hidden="1">
            <a:extLst>
              <a:ext uri="{FF2B5EF4-FFF2-40B4-BE49-F238E27FC236}">
                <a16:creationId xmlns:a16="http://schemas.microsoft.com/office/drawing/2014/main" id="{C54595DC-C1B2-970F-E387-DF8D868E3D98}"/>
              </a:ext>
            </a:extLst>
          </p:cNvPr>
          <p:cNvGraphicFramePr/>
          <p:nvPr/>
        </p:nvGraphicFramePr>
        <p:xfrm>
          <a:off x="2121" y="2121"/>
          <a:ext cx="2112" cy="2112"/>
        </p:xfrm>
        <a:graphic>
          <a:graphicData uri="http://schemas.openxmlformats.org/presentationml/2006/ole">
            <mc:AlternateContent xmlns:mc="http://schemas.openxmlformats.org/markup-compatibility/2006">
              <mc:Choice xmlns:v="urn:schemas-microsoft-com:vml" Requires="v">
                <p:oleObj r:id="rId4" imgW="12700" imgH="12700" progId="">
                  <p:embed/>
                </p:oleObj>
              </mc:Choice>
              <mc:Fallback>
                <p:oleObj r:id="rId4" imgW="12700" imgH="12700" progId="">
                  <p:embed/>
                  <p:pic>
                    <p:nvPicPr>
                      <p:cNvPr id="4" name="Object 7" hidden="1">
                        <a:extLst>
                          <a:ext uri="{FF2B5EF4-FFF2-40B4-BE49-F238E27FC236}">
                            <a16:creationId xmlns:a16="http://schemas.microsoft.com/office/drawing/2014/main" id="{C54595DC-C1B2-970F-E387-DF8D868E3D98}"/>
                          </a:ext>
                        </a:extLst>
                      </p:cNvPr>
                      <p:cNvPicPr/>
                      <p:nvPr/>
                    </p:nvPicPr>
                    <p:blipFill>
                      <a:blip r:embed="rId3"/>
                      <a:stretch>
                        <a:fillRect/>
                      </a:stretch>
                    </p:blipFill>
                    <p:spPr>
                      <a:xfrm>
                        <a:off x="2121" y="2121"/>
                        <a:ext cx="2112" cy="2112"/>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84F634A2-8660-3863-E368-1DABAD95292C}"/>
              </a:ext>
            </a:extLst>
          </p:cNvPr>
          <p:cNvSpPr txBox="1">
            <a:spLocks noGrp="1"/>
          </p:cNvSpPr>
          <p:nvPr>
            <p:ph type="title"/>
          </p:nvPr>
        </p:nvSpPr>
        <p:spPr>
          <a:xfrm>
            <a:off x="218112" y="224842"/>
            <a:ext cx="11715722" cy="569323"/>
          </a:xfrm>
        </p:spPr>
        <p:txBody>
          <a:bodyPr/>
          <a:lstStyle>
            <a:lvl1pPr>
              <a:defRPr sz="2933">
                <a:solidFill>
                  <a:srgbClr val="79818A"/>
                </a:solidFill>
              </a:defRPr>
            </a:lvl1pPr>
          </a:lstStyle>
          <a:p>
            <a:pPr lvl="0"/>
            <a:r>
              <a:rPr lang="en-US"/>
              <a:t>Click to edit Master title style</a:t>
            </a:r>
          </a:p>
        </p:txBody>
      </p:sp>
      <p:sp>
        <p:nvSpPr>
          <p:cNvPr id="6" name="Content Placeholder 2">
            <a:extLst>
              <a:ext uri="{FF2B5EF4-FFF2-40B4-BE49-F238E27FC236}">
                <a16:creationId xmlns:a16="http://schemas.microsoft.com/office/drawing/2014/main" id="{504F4A64-CCF8-6AE1-D6D2-AFC9D7C29B18}"/>
              </a:ext>
            </a:extLst>
          </p:cNvPr>
          <p:cNvSpPr txBox="1">
            <a:spLocks noGrp="1"/>
          </p:cNvSpPr>
          <p:nvPr>
            <p:ph idx="4294967295"/>
          </p:nvPr>
        </p:nvSpPr>
        <p:spPr>
          <a:xfrm>
            <a:off x="218112" y="917198"/>
            <a:ext cx="11715722" cy="4958672"/>
          </a:xfrm>
        </p:spPr>
        <p:txBody>
          <a:bodyPr/>
          <a:lstStyle>
            <a:lvl1pPr marL="381012" indent="-381012">
              <a:buFont typeface="Wingdings" pitchFamily="2"/>
              <a:buChar char="§"/>
              <a:defRPr sz="1867" b="1"/>
            </a:lvl1pPr>
            <a:lvl2pPr marL="609614" indent="-296344">
              <a:buChar char="̶"/>
              <a:defRPr sz="1867"/>
            </a:lvl2pPr>
            <a:lvl3pPr marL="922885" indent="-313271">
              <a:defRPr sz="1867"/>
            </a:lvl3pPr>
            <a:lvl4pPr marL="1219230" indent="-296344">
              <a:buFont typeface="Wingdings" pitchFamily="2"/>
              <a:buChar char="ü"/>
              <a:defRPr sz="1867"/>
            </a:lvl4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9C5685A5-EF47-50D2-21DC-F379650C914E}"/>
              </a:ext>
            </a:extLst>
          </p:cNvPr>
          <p:cNvSpPr txBox="1">
            <a:spLocks noGrp="1"/>
          </p:cNvSpPr>
          <p:nvPr>
            <p:ph type="body" idx="4294967295"/>
          </p:nvPr>
        </p:nvSpPr>
        <p:spPr>
          <a:xfrm>
            <a:off x="3858933" y="5969002"/>
            <a:ext cx="8074901" cy="649818"/>
          </a:xfrm>
        </p:spPr>
        <p:txBody>
          <a:bodyPr anchor="b"/>
          <a:lstStyle>
            <a:lvl1pPr>
              <a:defRPr sz="1333"/>
            </a:lvl1pPr>
          </a:lstStyle>
          <a:p>
            <a:pPr lvl="0"/>
            <a:r>
              <a:rPr lang="en-US"/>
              <a:t>Edit Master text styles</a:t>
            </a:r>
          </a:p>
        </p:txBody>
      </p:sp>
      <p:sp>
        <p:nvSpPr>
          <p:cNvPr id="8" name="Slide Number Placeholder 3">
            <a:extLst>
              <a:ext uri="{FF2B5EF4-FFF2-40B4-BE49-F238E27FC236}">
                <a16:creationId xmlns:a16="http://schemas.microsoft.com/office/drawing/2014/main" id="{88533B31-A815-746C-6F43-F60943471F6B}"/>
              </a:ext>
            </a:extLst>
          </p:cNvPr>
          <p:cNvSpPr txBox="1">
            <a:spLocks noGrp="1"/>
          </p:cNvSpPr>
          <p:nvPr>
            <p:ph type="sldNum" sz="quarter" idx="8"/>
          </p:nvPr>
        </p:nvSpPr>
        <p:spPr/>
        <p:txBody>
          <a:bodyPr/>
          <a:lstStyle>
            <a:lvl1pPr>
              <a:defRPr sz="1467">
                <a:solidFill>
                  <a:srgbClr val="FFFFFF"/>
                </a:solidFill>
              </a:defRPr>
            </a:lvl1pPr>
          </a:lstStyle>
          <a:p>
            <a:pPr lvl="0"/>
            <a:fld id="{337E2ED8-74B0-443F-8370-D3D14E9DC903}" type="slidenum">
              <a:t>‹#›</a:t>
            </a:fld>
            <a:endParaRPr lang="en-US"/>
          </a:p>
        </p:txBody>
      </p:sp>
      <p:pic>
        <p:nvPicPr>
          <p:cNvPr id="9" name="Picture 3" descr="M:\Marketing Communication and Referral Access\Luis\newbrand\UCM_logo\master\horizontal\UCM_Logo_Master_Brand_Horizontal_Tagline_rgb.jpg">
            <a:extLst>
              <a:ext uri="{FF2B5EF4-FFF2-40B4-BE49-F238E27FC236}">
                <a16:creationId xmlns:a16="http://schemas.microsoft.com/office/drawing/2014/main" id="{BE709F45-D8BC-9ED0-6FD2-BCE2458D15F2}"/>
              </a:ext>
            </a:extLst>
          </p:cNvPr>
          <p:cNvPicPr>
            <a:picLocks noChangeAspect="1"/>
          </p:cNvPicPr>
          <p:nvPr/>
        </p:nvPicPr>
        <p:blipFill>
          <a:blip r:embed="rId5"/>
          <a:srcRect/>
          <a:stretch>
            <a:fillRect/>
          </a:stretch>
        </p:blipFill>
        <p:spPr>
          <a:xfrm>
            <a:off x="101598" y="5969002"/>
            <a:ext cx="3704344" cy="651930"/>
          </a:xfrm>
          <a:prstGeom prst="rect">
            <a:avLst/>
          </a:prstGeom>
          <a:noFill/>
          <a:ln cap="flat">
            <a:noFill/>
          </a:ln>
        </p:spPr>
      </p:pic>
    </p:spTree>
    <p:extLst>
      <p:ext uri="{BB962C8B-B14F-4D97-AF65-F5344CB8AC3E}">
        <p14:creationId xmlns:p14="http://schemas.microsoft.com/office/powerpoint/2010/main" val="2550350342"/>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p:cSld name="31_Title and Content">
    <p:spTree>
      <p:nvGrpSpPr>
        <p:cNvPr id="1" name=""/>
        <p:cNvGrpSpPr/>
        <p:nvPr/>
      </p:nvGrpSpPr>
      <p:grpSpPr>
        <a:xfrm>
          <a:off x="0" y="0"/>
          <a:ext cx="0" cy="0"/>
          <a:chOff x="0" y="0"/>
          <a:chExt cx="0" cy="0"/>
        </a:xfrm>
      </p:grpSpPr>
      <p:grpSp>
        <p:nvGrpSpPr>
          <p:cNvPr id="2" name="Google Shape;58;p6">
            <a:extLst>
              <a:ext uri="{FF2B5EF4-FFF2-40B4-BE49-F238E27FC236}">
                <a16:creationId xmlns:a16="http://schemas.microsoft.com/office/drawing/2014/main" id="{19E732B0-BAF0-30ED-F2D9-EAC267DB87E3}"/>
              </a:ext>
            </a:extLst>
          </p:cNvPr>
          <p:cNvGrpSpPr/>
          <p:nvPr/>
        </p:nvGrpSpPr>
        <p:grpSpPr>
          <a:xfrm>
            <a:off x="7191545" y="0"/>
            <a:ext cx="5000460" cy="1425988"/>
            <a:chOff x="7191545" y="0"/>
            <a:chExt cx="5000460" cy="1425988"/>
          </a:xfrm>
        </p:grpSpPr>
        <p:pic>
          <p:nvPicPr>
            <p:cNvPr id="3" name="Google Shape;59;p6">
              <a:extLst>
                <a:ext uri="{FF2B5EF4-FFF2-40B4-BE49-F238E27FC236}">
                  <a16:creationId xmlns:a16="http://schemas.microsoft.com/office/drawing/2014/main" id="{BD703FBE-6A3E-B60D-09BB-9C2574C13C3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60;p6">
              <a:extLst>
                <a:ext uri="{FF2B5EF4-FFF2-40B4-BE49-F238E27FC236}">
                  <a16:creationId xmlns:a16="http://schemas.microsoft.com/office/drawing/2014/main" id="{DB03403F-ED04-62CC-8D35-8FE95F4D3BB6}"/>
                </a:ext>
              </a:extLst>
            </p:cNvPr>
            <p:cNvGrpSpPr/>
            <p:nvPr/>
          </p:nvGrpSpPr>
          <p:grpSpPr>
            <a:xfrm>
              <a:off x="7191545" y="0"/>
              <a:ext cx="5000460" cy="1425988"/>
              <a:chOff x="7191545" y="0"/>
              <a:chExt cx="5000460" cy="1425988"/>
            </a:xfrm>
          </p:grpSpPr>
          <p:sp>
            <p:nvSpPr>
              <p:cNvPr id="5" name="Google Shape;61;p6">
                <a:extLst>
                  <a:ext uri="{FF2B5EF4-FFF2-40B4-BE49-F238E27FC236}">
                    <a16:creationId xmlns:a16="http://schemas.microsoft.com/office/drawing/2014/main" id="{FCEF9EF5-3742-7362-DA37-9DD2FEBB79A0}"/>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62;p6">
                <a:extLst>
                  <a:ext uri="{FF2B5EF4-FFF2-40B4-BE49-F238E27FC236}">
                    <a16:creationId xmlns:a16="http://schemas.microsoft.com/office/drawing/2014/main" id="{B5534239-EF91-D70D-0BF9-F3C32C3B9A7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63;p6">
            <a:extLst>
              <a:ext uri="{FF2B5EF4-FFF2-40B4-BE49-F238E27FC236}">
                <a16:creationId xmlns:a16="http://schemas.microsoft.com/office/drawing/2014/main" id="{F1E6A3C3-67F9-3ACD-02F3-AF8E42EDD378}"/>
              </a:ext>
            </a:extLst>
          </p:cNvPr>
          <p:cNvSpPr txBox="1">
            <a:spLocks noGrp="1"/>
          </p:cNvSpPr>
          <p:nvPr>
            <p:ph type="title"/>
          </p:nvPr>
        </p:nvSpPr>
        <p:spPr/>
        <p:txBody>
          <a:bodyPr lIns="91421" tIns="45701" rIns="91421" bIns="45701"/>
          <a:lstStyle>
            <a:lvl1pPr>
              <a:defRPr/>
            </a:lvl1pPr>
          </a:lstStyle>
          <a:p>
            <a:pPr lvl="0"/>
            <a:endParaRPr lang="en-US"/>
          </a:p>
        </p:txBody>
      </p:sp>
      <p:sp>
        <p:nvSpPr>
          <p:cNvPr id="8" name="Google Shape;64;p6">
            <a:extLst>
              <a:ext uri="{FF2B5EF4-FFF2-40B4-BE49-F238E27FC236}">
                <a16:creationId xmlns:a16="http://schemas.microsoft.com/office/drawing/2014/main" id="{AFEB0BBE-3FE3-FF79-B464-7C5DE3278A7E}"/>
              </a:ext>
            </a:extLst>
          </p:cNvPr>
          <p:cNvSpPr txBox="1">
            <a:spLocks noGrp="1"/>
          </p:cNvSpPr>
          <p:nvPr>
            <p:ph type="body" idx="4294967295"/>
          </p:nvPr>
        </p:nvSpPr>
        <p:spPr/>
        <p:txBody>
          <a:bodyPr lIns="91421" tIns="45701" rIns="91421" bIns="45701"/>
          <a:lstStyle>
            <a:lvl1pPr marL="457223" indent="-342917">
              <a:spcAft>
                <a:spcPts val="0"/>
              </a:spcAft>
              <a:buSzPts val="1800"/>
              <a:defRPr/>
            </a:lvl1pPr>
          </a:lstStyle>
          <a:p>
            <a:pPr lvl="0"/>
            <a:endParaRPr lang="en-US"/>
          </a:p>
        </p:txBody>
      </p:sp>
      <p:sp>
        <p:nvSpPr>
          <p:cNvPr id="9" name="Google Shape;65;p6">
            <a:extLst>
              <a:ext uri="{FF2B5EF4-FFF2-40B4-BE49-F238E27FC236}">
                <a16:creationId xmlns:a16="http://schemas.microsoft.com/office/drawing/2014/main" id="{49D36C42-D08D-BE3D-E79A-3C9D7AF48936}"/>
              </a:ext>
            </a:extLst>
          </p:cNvPr>
          <p:cNvSpPr txBox="1">
            <a:spLocks noGrp="1"/>
          </p:cNvSpPr>
          <p:nvPr>
            <p:ph type="sldNum" sz="quarter" idx="8"/>
          </p:nvPr>
        </p:nvSpPr>
        <p:spPr/>
        <p:txBody>
          <a:bodyPr lIns="91421" tIns="45701" rIns="91421" bIns="45701"/>
          <a:lstStyle>
            <a:lvl1pPr>
              <a:defRPr>
                <a:solidFill>
                  <a:srgbClr val="AEB3B7"/>
                </a:solidFill>
                <a:ea typeface="Calibri"/>
                <a:cs typeface="Calibri"/>
              </a:defRPr>
            </a:lvl1pPr>
          </a:lstStyle>
          <a:p>
            <a:pPr lvl="0"/>
            <a:fld id="{B1829762-F937-4FCA-BCC0-789D0695D267}" type="slidenum">
              <a:t>‹#›</a:t>
            </a:fld>
            <a:endParaRPr lang="en-US"/>
          </a:p>
        </p:txBody>
      </p:sp>
      <p:cxnSp>
        <p:nvCxnSpPr>
          <p:cNvPr id="10" name="Google Shape;66;p6">
            <a:extLst>
              <a:ext uri="{FF2B5EF4-FFF2-40B4-BE49-F238E27FC236}">
                <a16:creationId xmlns:a16="http://schemas.microsoft.com/office/drawing/2014/main" id="{6E36E1C0-A71C-FB47-0EA2-AE61A3575A4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67;p6">
            <a:extLst>
              <a:ext uri="{FF2B5EF4-FFF2-40B4-BE49-F238E27FC236}">
                <a16:creationId xmlns:a16="http://schemas.microsoft.com/office/drawing/2014/main" id="{422EC046-19FC-3B76-4532-D3B822363E92}"/>
              </a:ext>
            </a:extLst>
          </p:cNvPr>
          <p:cNvSpPr txBox="1">
            <a:spLocks noGrp="1"/>
          </p:cNvSpPr>
          <p:nvPr>
            <p:ph type="ftr" sz="quarter" idx="9"/>
          </p:nvPr>
        </p:nvSpPr>
        <p:spPr/>
        <p:txBody>
          <a:bodyPr lIns="91421" tIns="45701" rIns="91421" bIns="45701" anchorCtr="1"/>
          <a:lstStyle>
            <a:lvl1pPr algn="ctr">
              <a:defRPr/>
            </a:lvl1pPr>
          </a:lstStyle>
          <a:p>
            <a:pPr lvl="0"/>
            <a:endParaRPr lang="en-US"/>
          </a:p>
        </p:txBody>
      </p:sp>
    </p:spTree>
    <p:extLst>
      <p:ext uri="{BB962C8B-B14F-4D97-AF65-F5344CB8AC3E}">
        <p14:creationId xmlns:p14="http://schemas.microsoft.com/office/powerpoint/2010/main" val="1599132630"/>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p:cSld name="28_Photo Slide">
    <p:spTree>
      <p:nvGrpSpPr>
        <p:cNvPr id="1" name=""/>
        <p:cNvGrpSpPr/>
        <p:nvPr/>
      </p:nvGrpSpPr>
      <p:grpSpPr>
        <a:xfrm>
          <a:off x="0" y="0"/>
          <a:ext cx="0" cy="0"/>
          <a:chOff x="0" y="0"/>
          <a:chExt cx="0" cy="0"/>
        </a:xfrm>
      </p:grpSpPr>
      <p:sp>
        <p:nvSpPr>
          <p:cNvPr id="2" name="Google Shape;109;p11">
            <a:extLst>
              <a:ext uri="{FF2B5EF4-FFF2-40B4-BE49-F238E27FC236}">
                <a16:creationId xmlns:a16="http://schemas.microsoft.com/office/drawing/2014/main" id="{EB7D96CF-0C1B-ED5E-A130-FBC1C67D375A}"/>
              </a:ext>
            </a:extLst>
          </p:cNvPr>
          <p:cNvSpPr txBox="1">
            <a:spLocks noGrp="1"/>
          </p:cNvSpPr>
          <p:nvPr>
            <p:ph type="body" idx="4294967295"/>
          </p:nvPr>
        </p:nvSpPr>
        <p:spPr>
          <a:xfrm>
            <a:off x="457200" y="1146255"/>
            <a:ext cx="2350172" cy="2971800"/>
          </a:xfrm>
        </p:spPr>
        <p:txBody>
          <a:bodyPr lIns="91421" tIns="45701" rIns="91421" bIns="45701"/>
          <a:lstStyle>
            <a:lvl1pPr marL="457223">
              <a:spcAft>
                <a:spcPts val="0"/>
              </a:spcAft>
              <a:buNone/>
              <a:defRPr/>
            </a:lvl1pPr>
          </a:lstStyle>
          <a:p>
            <a:pPr lvl="0"/>
            <a:endParaRPr lang="en-US"/>
          </a:p>
        </p:txBody>
      </p:sp>
      <p:cxnSp>
        <p:nvCxnSpPr>
          <p:cNvPr id="3" name="Google Shape;110;p11">
            <a:extLst>
              <a:ext uri="{FF2B5EF4-FFF2-40B4-BE49-F238E27FC236}">
                <a16:creationId xmlns:a16="http://schemas.microsoft.com/office/drawing/2014/main" id="{2C63C9F4-710A-1673-4CFF-99FDF795CA33}"/>
              </a:ext>
            </a:extLst>
          </p:cNvPr>
          <p:cNvCxnSpPr/>
          <p:nvPr/>
        </p:nvCxnSpPr>
        <p:spPr>
          <a:xfrm>
            <a:off x="457201" y="947985"/>
            <a:ext cx="2350163" cy="0"/>
          </a:xfrm>
          <a:prstGeom prst="straightConnector1">
            <a:avLst/>
          </a:prstGeom>
          <a:noFill/>
          <a:ln w="31747" cap="flat">
            <a:solidFill>
              <a:srgbClr val="F58366"/>
            </a:solidFill>
            <a:prstDash val="solid"/>
            <a:miter/>
          </a:ln>
        </p:spPr>
      </p:cxnSp>
      <p:grpSp>
        <p:nvGrpSpPr>
          <p:cNvPr id="4" name="Google Shape;111;p11">
            <a:extLst>
              <a:ext uri="{FF2B5EF4-FFF2-40B4-BE49-F238E27FC236}">
                <a16:creationId xmlns:a16="http://schemas.microsoft.com/office/drawing/2014/main" id="{2455B4FA-8384-9016-D4FB-A030CA9D454D}"/>
              </a:ext>
            </a:extLst>
          </p:cNvPr>
          <p:cNvGrpSpPr/>
          <p:nvPr/>
        </p:nvGrpSpPr>
        <p:grpSpPr>
          <a:xfrm>
            <a:off x="1" y="5379425"/>
            <a:ext cx="2807363" cy="753895"/>
            <a:chOff x="0" y="5379424"/>
            <a:chExt cx="2807363" cy="753895"/>
          </a:xfrm>
        </p:grpSpPr>
        <p:sp>
          <p:nvSpPr>
            <p:cNvPr id="5" name="Google Shape;112;p11">
              <a:extLst>
                <a:ext uri="{FF2B5EF4-FFF2-40B4-BE49-F238E27FC236}">
                  <a16:creationId xmlns:a16="http://schemas.microsoft.com/office/drawing/2014/main" id="{1FA750B6-D1E3-C58F-6268-B5F8BF8EA238}"/>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13;p11">
              <a:extLst>
                <a:ext uri="{FF2B5EF4-FFF2-40B4-BE49-F238E27FC236}">
                  <a16:creationId xmlns:a16="http://schemas.microsoft.com/office/drawing/2014/main" id="{3F272B16-D4F6-1CB4-7417-D2770225EC2B}"/>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15;p11">
            <a:extLst>
              <a:ext uri="{FF2B5EF4-FFF2-40B4-BE49-F238E27FC236}">
                <a16:creationId xmlns:a16="http://schemas.microsoft.com/office/drawing/2014/main" id="{98D4CBF4-305B-6137-CFD8-B50387257736}"/>
              </a:ext>
            </a:extLst>
          </p:cNvPr>
          <p:cNvPicPr>
            <a:picLocks noChangeAspect="1"/>
          </p:cNvPicPr>
          <p:nvPr/>
        </p:nvPicPr>
        <p:blipFill>
          <a:blip r:embed="rId2">
            <a:alphaModFix/>
          </a:blip>
          <a:srcRect/>
          <a:stretch>
            <a:fillRect/>
          </a:stretch>
        </p:blipFill>
        <p:spPr>
          <a:xfrm>
            <a:off x="513345" y="4385535"/>
            <a:ext cx="2025313" cy="911940"/>
          </a:xfrm>
          <a:prstGeom prst="rect">
            <a:avLst/>
          </a:prstGeom>
          <a:noFill/>
          <a:ln cap="flat">
            <a:noFill/>
          </a:ln>
        </p:spPr>
      </p:pic>
    </p:spTree>
    <p:extLst>
      <p:ext uri="{BB962C8B-B14F-4D97-AF65-F5344CB8AC3E}">
        <p14:creationId xmlns:p14="http://schemas.microsoft.com/office/powerpoint/2010/main" val="7292247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Comparison">
  <p:cSld name="Comparison">
    <p:spTree>
      <p:nvGrpSpPr>
        <p:cNvPr id="1" name="Shape 9491"/>
        <p:cNvGrpSpPr/>
        <p:nvPr/>
      </p:nvGrpSpPr>
      <p:grpSpPr>
        <a:xfrm>
          <a:off x="0" y="0"/>
          <a:ext cx="0" cy="0"/>
          <a:chOff x="0" y="0"/>
          <a:chExt cx="0" cy="0"/>
        </a:xfrm>
      </p:grpSpPr>
      <p:grpSp>
        <p:nvGrpSpPr>
          <p:cNvPr id="9492" name="Google Shape;9492;p1360"/>
          <p:cNvGrpSpPr/>
          <p:nvPr/>
        </p:nvGrpSpPr>
        <p:grpSpPr>
          <a:xfrm>
            <a:off x="7191542" y="1"/>
            <a:ext cx="5000459" cy="1425992"/>
            <a:chOff x="7191542" y="1"/>
            <a:chExt cx="5000459" cy="1425992"/>
          </a:xfrm>
        </p:grpSpPr>
        <p:pic>
          <p:nvPicPr>
            <p:cNvPr id="9493" name="Google Shape;9493;p13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94" name="Google Shape;9494;p1360"/>
            <p:cNvGrpSpPr/>
            <p:nvPr/>
          </p:nvGrpSpPr>
          <p:grpSpPr>
            <a:xfrm>
              <a:off x="7191542" y="1"/>
              <a:ext cx="5000459" cy="1425992"/>
              <a:chOff x="7186272" y="0"/>
              <a:chExt cx="5005729" cy="1427495"/>
            </a:xfrm>
          </p:grpSpPr>
          <p:sp>
            <p:nvSpPr>
              <p:cNvPr id="9495" name="Google Shape;9495;p13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496" name="Google Shape;9496;p13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497" name="Google Shape;9497;p13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498" name="Google Shape;9498;p136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499" name="Google Shape;9499;p136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500" name="Google Shape;9500;p136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501" name="Google Shape;9501;p136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502" name="Google Shape;9502;p13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503" name="Google Shape;9503;p13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504" name="Google Shape;9504;p13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p:cSld name="5_Title Slide">
    <p:spTree>
      <p:nvGrpSpPr>
        <p:cNvPr id="1" name=""/>
        <p:cNvGrpSpPr/>
        <p:nvPr/>
      </p:nvGrpSpPr>
      <p:grpSpPr>
        <a:xfrm>
          <a:off x="0" y="0"/>
          <a:ext cx="0" cy="0"/>
          <a:chOff x="0" y="0"/>
          <a:chExt cx="0" cy="0"/>
        </a:xfrm>
      </p:grpSpPr>
      <p:pic>
        <p:nvPicPr>
          <p:cNvPr id="2" name="Picture 3">
            <a:extLst>
              <a:ext uri="{FF2B5EF4-FFF2-40B4-BE49-F238E27FC236}">
                <a16:creationId xmlns:a16="http://schemas.microsoft.com/office/drawing/2014/main" id="{717223A4-5CD8-D9EA-D08E-FB299C80EBA7}"/>
              </a:ext>
            </a:extLst>
          </p:cNvPr>
          <p:cNvPicPr>
            <a:picLocks noChangeAspect="1"/>
          </p:cNvPicPr>
          <p:nvPr/>
        </p:nvPicPr>
        <p:blipFill>
          <a:blip r:embed="rId2"/>
          <a:stretch>
            <a:fillRect/>
          </a:stretch>
        </p:blipFill>
        <p:spPr>
          <a:xfrm>
            <a:off x="1527" y="859"/>
            <a:ext cx="12188952" cy="6856280"/>
          </a:xfrm>
          <a:prstGeom prst="rect">
            <a:avLst/>
          </a:prstGeom>
          <a:noFill/>
          <a:ln cap="flat">
            <a:noFill/>
          </a:ln>
        </p:spPr>
      </p:pic>
      <p:pic>
        <p:nvPicPr>
          <p:cNvPr id="3" name="Picture 11">
            <a:extLst>
              <a:ext uri="{FF2B5EF4-FFF2-40B4-BE49-F238E27FC236}">
                <a16:creationId xmlns:a16="http://schemas.microsoft.com/office/drawing/2014/main" id="{34E07CDD-3DBD-7194-A0B8-CFEF7F899902}"/>
              </a:ext>
            </a:extLst>
          </p:cNvPr>
          <p:cNvPicPr>
            <a:picLocks noChangeAspect="1"/>
          </p:cNvPicPr>
          <p:nvPr/>
        </p:nvPicPr>
        <p:blipFill>
          <a:blip r:embed="rId3"/>
          <a:stretch>
            <a:fillRect/>
          </a:stretch>
        </p:blipFill>
        <p:spPr>
          <a:xfrm>
            <a:off x="10802521" y="5915006"/>
            <a:ext cx="938787" cy="493776"/>
          </a:xfrm>
          <a:prstGeom prst="rect">
            <a:avLst/>
          </a:prstGeom>
          <a:noFill/>
          <a:ln cap="flat">
            <a:noFill/>
          </a:ln>
        </p:spPr>
      </p:pic>
      <p:sp>
        <p:nvSpPr>
          <p:cNvPr id="4" name="Text Placeholder 8">
            <a:extLst>
              <a:ext uri="{FF2B5EF4-FFF2-40B4-BE49-F238E27FC236}">
                <a16:creationId xmlns:a16="http://schemas.microsoft.com/office/drawing/2014/main" id="{875197DB-3789-4585-AB5D-9212B23779D3}"/>
              </a:ext>
            </a:extLst>
          </p:cNvPr>
          <p:cNvSpPr txBox="1">
            <a:spLocks noGrp="1"/>
          </p:cNvSpPr>
          <p:nvPr>
            <p:ph type="body" idx="4294967295"/>
          </p:nvPr>
        </p:nvSpPr>
        <p:spPr>
          <a:xfrm>
            <a:off x="7459666" y="3429001"/>
            <a:ext cx="4180792" cy="1102857"/>
          </a:xfrm>
        </p:spPr>
        <p:txBody>
          <a:bodyPr/>
          <a:lstStyle>
            <a:lvl1pPr marL="0" indent="0">
              <a:spcBef>
                <a:spcPts val="0"/>
              </a:spcBef>
              <a:buNone/>
              <a:defRPr sz="4000">
                <a:solidFill>
                  <a:srgbClr val="79818A"/>
                </a:solidFill>
              </a:defRPr>
            </a:lvl1pPr>
            <a:lvl2pPr marL="0" lvl="0" indent="0">
              <a:spcBef>
                <a:spcPts val="0"/>
              </a:spcBef>
              <a:buNone/>
              <a:defRPr sz="4000">
                <a:solidFill>
                  <a:srgbClr val="79818A"/>
                </a:solidFill>
              </a:defRPr>
            </a:lvl2pPr>
          </a:lstStyle>
          <a:p>
            <a:pPr lvl="0"/>
            <a:r>
              <a:rPr lang="en-US"/>
              <a:t>Presentation </a:t>
            </a:r>
          </a:p>
          <a:p>
            <a:pPr lvl="0"/>
            <a:r>
              <a:rPr lang="en-US"/>
              <a:t>Title</a:t>
            </a:r>
          </a:p>
        </p:txBody>
      </p:sp>
      <p:sp>
        <p:nvSpPr>
          <p:cNvPr id="5" name="Text Placeholder 10">
            <a:extLst>
              <a:ext uri="{FF2B5EF4-FFF2-40B4-BE49-F238E27FC236}">
                <a16:creationId xmlns:a16="http://schemas.microsoft.com/office/drawing/2014/main" id="{E337B63A-9152-7503-3E6A-88A4E4822C3A}"/>
              </a:ext>
            </a:extLst>
          </p:cNvPr>
          <p:cNvSpPr txBox="1">
            <a:spLocks noGrp="1"/>
          </p:cNvSpPr>
          <p:nvPr>
            <p:ph type="body" idx="4294967295"/>
          </p:nvPr>
        </p:nvSpPr>
        <p:spPr>
          <a:xfrm>
            <a:off x="7459656" y="4775655"/>
            <a:ext cx="4180792" cy="783320"/>
          </a:xfrm>
        </p:spPr>
        <p:txBody>
          <a:bodyPr>
            <a:normAutofit/>
          </a:bodyPr>
          <a:lstStyle>
            <a:lvl1pPr marL="0" indent="0">
              <a:buNone/>
              <a:defRPr sz="2000">
                <a:solidFill>
                  <a:srgbClr val="FFFFFF"/>
                </a:solidFill>
              </a:defRPr>
            </a:lvl1pPr>
            <a:lvl2pPr marL="0" lvl="0" indent="0">
              <a:spcBef>
                <a:spcPts val="1000"/>
              </a:spcBef>
              <a:buNone/>
              <a:defRPr>
                <a:solidFill>
                  <a:srgbClr val="FFFFFF"/>
                </a:solidFill>
              </a:defRPr>
            </a:lvl2pPr>
          </a:lstStyle>
          <a:p>
            <a:pPr lvl="0"/>
            <a:r>
              <a:rPr lang="en-US"/>
              <a:t>Presentation Subtitle</a:t>
            </a:r>
          </a:p>
          <a:p>
            <a:pPr lvl="0"/>
            <a:r>
              <a:rPr lang="en-US"/>
              <a:t>Presentation Date</a:t>
            </a:r>
          </a:p>
        </p:txBody>
      </p:sp>
    </p:spTree>
    <p:extLst>
      <p:ext uri="{BB962C8B-B14F-4D97-AF65-F5344CB8AC3E}">
        <p14:creationId xmlns:p14="http://schemas.microsoft.com/office/powerpoint/2010/main" val="4268359530"/>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p:cSld name="32_Title and Content">
    <p:spTree>
      <p:nvGrpSpPr>
        <p:cNvPr id="1" name=""/>
        <p:cNvGrpSpPr/>
        <p:nvPr/>
      </p:nvGrpSpPr>
      <p:grpSpPr>
        <a:xfrm>
          <a:off x="0" y="0"/>
          <a:ext cx="0" cy="0"/>
          <a:chOff x="0" y="0"/>
          <a:chExt cx="0" cy="0"/>
        </a:xfrm>
      </p:grpSpPr>
      <p:pic>
        <p:nvPicPr>
          <p:cNvPr id="2" name="Picture 8">
            <a:extLst>
              <a:ext uri="{FF2B5EF4-FFF2-40B4-BE49-F238E27FC236}">
                <a16:creationId xmlns:a16="http://schemas.microsoft.com/office/drawing/2014/main" id="{D549FCCA-EB0A-FEA0-FE7D-F14BF6AA7FA9}"/>
              </a:ext>
            </a:extLst>
          </p:cNvPr>
          <p:cNvPicPr>
            <a:picLocks noChangeAspect="1"/>
          </p:cNvPicPr>
          <p:nvPr/>
        </p:nvPicPr>
        <p:blipFill>
          <a:blip r:embed="rId2"/>
          <a:stretch>
            <a:fillRect/>
          </a:stretch>
        </p:blipFill>
        <p:spPr>
          <a:xfrm>
            <a:off x="2122" y="758"/>
            <a:ext cx="12189290" cy="6856472"/>
          </a:xfrm>
          <a:prstGeom prst="rect">
            <a:avLst/>
          </a:prstGeom>
          <a:noFill/>
          <a:ln cap="flat">
            <a:noFill/>
          </a:ln>
        </p:spPr>
      </p:pic>
      <p:sp>
        <p:nvSpPr>
          <p:cNvPr id="3" name="Title 1">
            <a:extLst>
              <a:ext uri="{FF2B5EF4-FFF2-40B4-BE49-F238E27FC236}">
                <a16:creationId xmlns:a16="http://schemas.microsoft.com/office/drawing/2014/main" id="{5EE2549B-F817-91B5-2556-0E1B0CDDECE5}"/>
              </a:ext>
            </a:extLst>
          </p:cNvPr>
          <p:cNvSpPr txBox="1">
            <a:spLocks noGrp="1"/>
          </p:cNvSpPr>
          <p:nvPr>
            <p:ph type="title"/>
          </p:nvPr>
        </p:nvSpPr>
        <p:spPr/>
        <p:txBody>
          <a:bodyPr/>
          <a:lstStyle>
            <a:lvl1pPr>
              <a:defRPr/>
            </a:lvl1pPr>
          </a:lstStyle>
          <a:p>
            <a:pPr lvl="0"/>
            <a:r>
              <a:rPr lang="en-US"/>
              <a:t>Slide Heading</a:t>
            </a:r>
          </a:p>
        </p:txBody>
      </p:sp>
      <p:sp>
        <p:nvSpPr>
          <p:cNvPr id="4" name="Slide Number Placeholder 5">
            <a:extLst>
              <a:ext uri="{FF2B5EF4-FFF2-40B4-BE49-F238E27FC236}">
                <a16:creationId xmlns:a16="http://schemas.microsoft.com/office/drawing/2014/main" id="{235BF3D8-273D-0D51-1DC7-13E930B468A3}"/>
              </a:ext>
            </a:extLst>
          </p:cNvPr>
          <p:cNvSpPr txBox="1">
            <a:spLocks noGrp="1"/>
          </p:cNvSpPr>
          <p:nvPr>
            <p:ph type="sldNum" sz="quarter" idx="8"/>
          </p:nvPr>
        </p:nvSpPr>
        <p:spPr/>
        <p:txBody>
          <a:bodyPr/>
          <a:lstStyle>
            <a:lvl1pPr>
              <a:defRPr>
                <a:solidFill>
                  <a:srgbClr val="59CBE8"/>
                </a:solidFill>
              </a:defRPr>
            </a:lvl1pPr>
          </a:lstStyle>
          <a:p>
            <a:pPr lvl="0"/>
            <a:fld id="{7B8EBC70-E305-4D06-A4E7-700E92C36E61}" type="slidenum">
              <a:t>‹#›</a:t>
            </a:fld>
            <a:endParaRPr lang="en-US"/>
          </a:p>
        </p:txBody>
      </p:sp>
      <p:sp>
        <p:nvSpPr>
          <p:cNvPr id="5" name="Text Placeholder 10">
            <a:extLst>
              <a:ext uri="{FF2B5EF4-FFF2-40B4-BE49-F238E27FC236}">
                <a16:creationId xmlns:a16="http://schemas.microsoft.com/office/drawing/2014/main" id="{29CD5C6F-39E8-CA01-2FF1-964A8BBD10EA}"/>
              </a:ext>
            </a:extLst>
          </p:cNvPr>
          <p:cNvSpPr txBox="1">
            <a:spLocks noGrp="1"/>
          </p:cNvSpPr>
          <p:nvPr>
            <p:ph type="body" idx="4294967295"/>
          </p:nvPr>
        </p:nvSpPr>
        <p:spPr>
          <a:xfrm>
            <a:off x="838203" y="1825628"/>
            <a:ext cx="10515600" cy="4016373"/>
          </a:xfr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0726661"/>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p:cSld name="Image Left">
    <p:spTree>
      <p:nvGrpSpPr>
        <p:cNvPr id="1" name=""/>
        <p:cNvGrpSpPr/>
        <p:nvPr/>
      </p:nvGrpSpPr>
      <p:grpSpPr>
        <a:xfrm>
          <a:off x="0" y="0"/>
          <a:ext cx="0" cy="0"/>
          <a:chOff x="0" y="0"/>
          <a:chExt cx="0" cy="0"/>
        </a:xfrm>
      </p:grpSpPr>
      <p:pic>
        <p:nvPicPr>
          <p:cNvPr id="2" name="Picture 4">
            <a:extLst>
              <a:ext uri="{FF2B5EF4-FFF2-40B4-BE49-F238E27FC236}">
                <a16:creationId xmlns:a16="http://schemas.microsoft.com/office/drawing/2014/main" id="{504BC075-435B-E875-BB95-53DF376D7DA3}"/>
              </a:ext>
            </a:extLst>
          </p:cNvPr>
          <p:cNvPicPr>
            <a:picLocks noChangeAspect="1"/>
          </p:cNvPicPr>
          <p:nvPr/>
        </p:nvPicPr>
        <p:blipFill>
          <a:blip r:embed="rId2"/>
          <a:stretch>
            <a:fillRect/>
          </a:stretch>
        </p:blipFill>
        <p:spPr>
          <a:xfrm>
            <a:off x="1527" y="859"/>
            <a:ext cx="12188952" cy="6856280"/>
          </a:xfrm>
          <a:prstGeom prst="rect">
            <a:avLst/>
          </a:prstGeom>
          <a:noFill/>
          <a:ln cap="flat">
            <a:noFill/>
          </a:ln>
        </p:spPr>
      </p:pic>
      <p:sp>
        <p:nvSpPr>
          <p:cNvPr id="3" name="Title 1">
            <a:extLst>
              <a:ext uri="{FF2B5EF4-FFF2-40B4-BE49-F238E27FC236}">
                <a16:creationId xmlns:a16="http://schemas.microsoft.com/office/drawing/2014/main" id="{1C713CE3-3F06-0AE5-31C3-EDEDCBFDB7AA}"/>
              </a:ext>
            </a:extLst>
          </p:cNvPr>
          <p:cNvSpPr txBox="1">
            <a:spLocks noGrp="1"/>
          </p:cNvSpPr>
          <p:nvPr>
            <p:ph type="title"/>
          </p:nvPr>
        </p:nvSpPr>
        <p:spPr>
          <a:xfrm>
            <a:off x="6905174" y="365130"/>
            <a:ext cx="4927262" cy="1325559"/>
          </a:xfrm>
        </p:spPr>
        <p:txBody>
          <a:bodyPr/>
          <a:lstStyle>
            <a:lvl1pPr>
              <a:defRPr/>
            </a:lvl1pPr>
          </a:lstStyle>
          <a:p>
            <a:pPr lvl="0"/>
            <a:r>
              <a:rPr lang="en-US"/>
              <a:t>Slide Header</a:t>
            </a:r>
          </a:p>
        </p:txBody>
      </p:sp>
      <p:sp>
        <p:nvSpPr>
          <p:cNvPr id="4" name="Slide Number Placeholder 2">
            <a:extLst>
              <a:ext uri="{FF2B5EF4-FFF2-40B4-BE49-F238E27FC236}">
                <a16:creationId xmlns:a16="http://schemas.microsoft.com/office/drawing/2014/main" id="{7528AFE0-5B4C-32AA-FE90-E8F80D46714C}"/>
              </a:ext>
            </a:extLst>
          </p:cNvPr>
          <p:cNvSpPr txBox="1">
            <a:spLocks noGrp="1"/>
          </p:cNvSpPr>
          <p:nvPr>
            <p:ph type="sldNum" sz="quarter" idx="8"/>
          </p:nvPr>
        </p:nvSpPr>
        <p:spPr/>
        <p:txBody>
          <a:bodyPr/>
          <a:lstStyle>
            <a:lvl1pPr>
              <a:defRPr>
                <a:solidFill>
                  <a:srgbClr val="59CBE8"/>
                </a:solidFill>
              </a:defRPr>
            </a:lvl1pPr>
          </a:lstStyle>
          <a:p>
            <a:pPr lvl="0"/>
            <a:fld id="{09BF641B-99EE-4381-AB66-6BF1369C5D39}" type="slidenum">
              <a:t>‹#›</a:t>
            </a:fld>
            <a:endParaRPr lang="en-US"/>
          </a:p>
        </p:txBody>
      </p:sp>
      <p:sp>
        <p:nvSpPr>
          <p:cNvPr id="5" name="Text Placeholder 7">
            <a:extLst>
              <a:ext uri="{FF2B5EF4-FFF2-40B4-BE49-F238E27FC236}">
                <a16:creationId xmlns:a16="http://schemas.microsoft.com/office/drawing/2014/main" id="{0F694BFE-9FC3-B0D8-FFA5-8D597552517C}"/>
              </a:ext>
            </a:extLst>
          </p:cNvPr>
          <p:cNvSpPr txBox="1">
            <a:spLocks noGrp="1"/>
          </p:cNvSpPr>
          <p:nvPr>
            <p:ph type="body" idx="4294967295"/>
          </p:nvPr>
        </p:nvSpPr>
        <p:spPr>
          <a:xfrm>
            <a:off x="6905174" y="1825628"/>
            <a:ext cx="4927262" cy="4016373"/>
          </a:xfr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4142124"/>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p:cSld name="Breaker 4">
    <p:spTree>
      <p:nvGrpSpPr>
        <p:cNvPr id="1" name=""/>
        <p:cNvGrpSpPr/>
        <p:nvPr/>
      </p:nvGrpSpPr>
      <p:grpSpPr>
        <a:xfrm>
          <a:off x="0" y="0"/>
          <a:ext cx="0" cy="0"/>
          <a:chOff x="0" y="0"/>
          <a:chExt cx="0" cy="0"/>
        </a:xfrm>
      </p:grpSpPr>
      <p:pic>
        <p:nvPicPr>
          <p:cNvPr id="2" name="Picture 7">
            <a:extLst>
              <a:ext uri="{FF2B5EF4-FFF2-40B4-BE49-F238E27FC236}">
                <a16:creationId xmlns:a16="http://schemas.microsoft.com/office/drawing/2014/main" id="{586BE851-41D7-C448-8EE4-0FEEE56A7463}"/>
              </a:ext>
            </a:extLst>
          </p:cNvPr>
          <p:cNvPicPr>
            <a:picLocks noChangeAspect="1"/>
          </p:cNvPicPr>
          <p:nvPr/>
        </p:nvPicPr>
        <p:blipFill>
          <a:blip r:embed="rId2"/>
          <a:stretch>
            <a:fillRect/>
          </a:stretch>
        </p:blipFill>
        <p:spPr>
          <a:xfrm>
            <a:off x="1527" y="92"/>
            <a:ext cx="12188952" cy="6857807"/>
          </a:xfrm>
          <a:prstGeom prst="rect">
            <a:avLst/>
          </a:prstGeom>
          <a:noFill/>
          <a:ln cap="flat">
            <a:noFill/>
          </a:ln>
        </p:spPr>
      </p:pic>
      <p:pic>
        <p:nvPicPr>
          <p:cNvPr id="3" name="Picture 9">
            <a:extLst>
              <a:ext uri="{FF2B5EF4-FFF2-40B4-BE49-F238E27FC236}">
                <a16:creationId xmlns:a16="http://schemas.microsoft.com/office/drawing/2014/main" id="{835E304E-836D-EF9C-196B-8FE158D9B698}"/>
              </a:ext>
            </a:extLst>
          </p:cNvPr>
          <p:cNvPicPr>
            <a:picLocks noChangeAspect="1"/>
          </p:cNvPicPr>
          <p:nvPr/>
        </p:nvPicPr>
        <p:blipFill>
          <a:blip r:embed="rId3"/>
          <a:srcRect/>
          <a:stretch>
            <a:fillRect/>
          </a:stretch>
        </p:blipFill>
        <p:spPr>
          <a:xfrm>
            <a:off x="10425147" y="5894634"/>
            <a:ext cx="1312776" cy="562273"/>
          </a:xfrm>
          <a:prstGeom prst="rect">
            <a:avLst/>
          </a:prstGeom>
          <a:noFill/>
          <a:ln cap="flat">
            <a:noFill/>
          </a:ln>
        </p:spPr>
      </p:pic>
      <p:sp>
        <p:nvSpPr>
          <p:cNvPr id="4" name="Text Placeholder 8">
            <a:extLst>
              <a:ext uri="{FF2B5EF4-FFF2-40B4-BE49-F238E27FC236}">
                <a16:creationId xmlns:a16="http://schemas.microsoft.com/office/drawing/2014/main" id="{E852744B-BBE6-5AAF-C593-26DEF7AD3D9A}"/>
              </a:ext>
            </a:extLst>
          </p:cNvPr>
          <p:cNvSpPr txBox="1">
            <a:spLocks noGrp="1"/>
          </p:cNvSpPr>
          <p:nvPr>
            <p:ph type="body" idx="4294967295"/>
          </p:nvPr>
        </p:nvSpPr>
        <p:spPr>
          <a:xfrm>
            <a:off x="7459666" y="3429001"/>
            <a:ext cx="4180792" cy="1102857"/>
          </a:xfrm>
        </p:spPr>
        <p:txBody>
          <a:bodyPr/>
          <a:lstStyle>
            <a:lvl1pPr marL="0" indent="0">
              <a:spcBef>
                <a:spcPts val="0"/>
              </a:spcBef>
              <a:buNone/>
              <a:defRPr sz="3600">
                <a:solidFill>
                  <a:srgbClr val="79818A"/>
                </a:solidFill>
              </a:defRPr>
            </a:lvl1pPr>
          </a:lstStyle>
          <a:p>
            <a:pPr lvl="0"/>
            <a:r>
              <a:rPr lang="en-US"/>
              <a:t>Section </a:t>
            </a:r>
            <a:br>
              <a:rPr lang="en-US"/>
            </a:br>
            <a:r>
              <a:rPr lang="en-US"/>
              <a:t>Heading</a:t>
            </a:r>
          </a:p>
        </p:txBody>
      </p:sp>
      <p:sp>
        <p:nvSpPr>
          <p:cNvPr id="5" name="Text Placeholder 10">
            <a:extLst>
              <a:ext uri="{FF2B5EF4-FFF2-40B4-BE49-F238E27FC236}">
                <a16:creationId xmlns:a16="http://schemas.microsoft.com/office/drawing/2014/main" id="{F3ACD90B-9B31-F1F9-E8CB-8B60EDCFEC4C}"/>
              </a:ext>
            </a:extLst>
          </p:cNvPr>
          <p:cNvSpPr txBox="1">
            <a:spLocks noGrp="1"/>
          </p:cNvSpPr>
          <p:nvPr>
            <p:ph type="body" idx="4294967295"/>
          </p:nvPr>
        </p:nvSpPr>
        <p:spPr>
          <a:xfrm>
            <a:off x="7459656" y="4775655"/>
            <a:ext cx="4180792" cy="783320"/>
          </a:xfrm>
        </p:spPr>
        <p:txBody>
          <a:bodyPr>
            <a:normAutofit/>
          </a:bodyPr>
          <a:lstStyle>
            <a:lvl1pPr marL="0" indent="0" defTabSz="685780">
              <a:lnSpc>
                <a:spcPct val="90000"/>
              </a:lnSpc>
              <a:spcBef>
                <a:spcPts val="750"/>
              </a:spcBef>
              <a:spcAft>
                <a:spcPts val="0"/>
              </a:spcAft>
              <a:buNone/>
              <a:defRPr sz="1800">
                <a:solidFill>
                  <a:srgbClr val="F3F6FB"/>
                </a:solidFill>
              </a:defRPr>
            </a:lvl1pPr>
          </a:lstStyle>
          <a:p>
            <a:pPr lvl="0"/>
            <a:r>
              <a:rPr lang="en-US"/>
              <a:t>Section Subheading</a:t>
            </a:r>
          </a:p>
        </p:txBody>
      </p:sp>
    </p:spTree>
    <p:extLst>
      <p:ext uri="{BB962C8B-B14F-4D97-AF65-F5344CB8AC3E}">
        <p14:creationId xmlns:p14="http://schemas.microsoft.com/office/powerpoint/2010/main" val="3354387523"/>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p:cSld name="1_Breaker 4">
    <p:spTree>
      <p:nvGrpSpPr>
        <p:cNvPr id="1" name=""/>
        <p:cNvGrpSpPr/>
        <p:nvPr/>
      </p:nvGrpSpPr>
      <p:grpSpPr>
        <a:xfrm>
          <a:off x="0" y="0"/>
          <a:ext cx="0" cy="0"/>
          <a:chOff x="0" y="0"/>
          <a:chExt cx="0" cy="0"/>
        </a:xfrm>
      </p:grpSpPr>
      <p:pic>
        <p:nvPicPr>
          <p:cNvPr id="2" name="Picture 7">
            <a:extLst>
              <a:ext uri="{FF2B5EF4-FFF2-40B4-BE49-F238E27FC236}">
                <a16:creationId xmlns:a16="http://schemas.microsoft.com/office/drawing/2014/main" id="{83B3B3A0-1797-D8FD-DD22-F1B34E4E06F5}"/>
              </a:ext>
            </a:extLst>
          </p:cNvPr>
          <p:cNvPicPr>
            <a:picLocks noChangeAspect="1"/>
          </p:cNvPicPr>
          <p:nvPr/>
        </p:nvPicPr>
        <p:blipFill>
          <a:blip r:embed="rId2"/>
          <a:stretch>
            <a:fillRect/>
          </a:stretch>
        </p:blipFill>
        <p:spPr>
          <a:xfrm>
            <a:off x="1527" y="92"/>
            <a:ext cx="12188952" cy="6857807"/>
          </a:xfrm>
          <a:prstGeom prst="rect">
            <a:avLst/>
          </a:prstGeom>
          <a:noFill/>
          <a:ln cap="flat">
            <a:noFill/>
          </a:ln>
        </p:spPr>
      </p:pic>
      <p:pic>
        <p:nvPicPr>
          <p:cNvPr id="3" name="Picture 9">
            <a:extLst>
              <a:ext uri="{FF2B5EF4-FFF2-40B4-BE49-F238E27FC236}">
                <a16:creationId xmlns:a16="http://schemas.microsoft.com/office/drawing/2014/main" id="{B7E0118F-2EDB-8359-E9BA-91E039EA4412}"/>
              </a:ext>
            </a:extLst>
          </p:cNvPr>
          <p:cNvPicPr>
            <a:picLocks noChangeAspect="1"/>
          </p:cNvPicPr>
          <p:nvPr/>
        </p:nvPicPr>
        <p:blipFill>
          <a:blip r:embed="rId3"/>
          <a:srcRect/>
          <a:stretch>
            <a:fillRect/>
          </a:stretch>
        </p:blipFill>
        <p:spPr>
          <a:xfrm>
            <a:off x="10425156" y="5894634"/>
            <a:ext cx="1312776" cy="562273"/>
          </a:xfrm>
          <a:prstGeom prst="rect">
            <a:avLst/>
          </a:prstGeom>
          <a:noFill/>
          <a:ln cap="flat">
            <a:noFill/>
          </a:ln>
        </p:spPr>
      </p:pic>
      <p:sp>
        <p:nvSpPr>
          <p:cNvPr id="4" name="Text Placeholder 8">
            <a:extLst>
              <a:ext uri="{FF2B5EF4-FFF2-40B4-BE49-F238E27FC236}">
                <a16:creationId xmlns:a16="http://schemas.microsoft.com/office/drawing/2014/main" id="{929C47E2-33E4-FF06-AB56-B0DED831C0DC}"/>
              </a:ext>
            </a:extLst>
          </p:cNvPr>
          <p:cNvSpPr txBox="1">
            <a:spLocks noGrp="1"/>
          </p:cNvSpPr>
          <p:nvPr>
            <p:ph type="body" idx="4294967295"/>
          </p:nvPr>
        </p:nvSpPr>
        <p:spPr>
          <a:xfrm>
            <a:off x="7459666" y="3429001"/>
            <a:ext cx="4180792" cy="1102857"/>
          </a:xfrm>
        </p:spPr>
        <p:txBody>
          <a:bodyPr/>
          <a:lstStyle>
            <a:lvl1pPr marL="0" indent="0">
              <a:spcBef>
                <a:spcPts val="0"/>
              </a:spcBef>
              <a:buNone/>
              <a:defRPr sz="3600">
                <a:solidFill>
                  <a:srgbClr val="79818A"/>
                </a:solidFill>
              </a:defRPr>
            </a:lvl1pPr>
          </a:lstStyle>
          <a:p>
            <a:pPr lvl="0"/>
            <a:r>
              <a:rPr lang="en-US"/>
              <a:t>Section </a:t>
            </a:r>
            <a:br>
              <a:rPr lang="en-US"/>
            </a:br>
            <a:r>
              <a:rPr lang="en-US"/>
              <a:t>Heading</a:t>
            </a:r>
          </a:p>
        </p:txBody>
      </p:sp>
      <p:sp>
        <p:nvSpPr>
          <p:cNvPr id="5" name="Text Placeholder 10">
            <a:extLst>
              <a:ext uri="{FF2B5EF4-FFF2-40B4-BE49-F238E27FC236}">
                <a16:creationId xmlns:a16="http://schemas.microsoft.com/office/drawing/2014/main" id="{B13B4B9A-3B32-77EA-268C-630A61B4C7C0}"/>
              </a:ext>
            </a:extLst>
          </p:cNvPr>
          <p:cNvSpPr txBox="1">
            <a:spLocks noGrp="1"/>
          </p:cNvSpPr>
          <p:nvPr>
            <p:ph type="body" idx="4294967295"/>
          </p:nvPr>
        </p:nvSpPr>
        <p:spPr>
          <a:xfrm>
            <a:off x="7459666" y="4775655"/>
            <a:ext cx="4180792" cy="783320"/>
          </a:xfrm>
        </p:spPr>
        <p:txBody>
          <a:bodyPr>
            <a:normAutofit/>
          </a:bodyPr>
          <a:lstStyle>
            <a:lvl1pPr marL="0" indent="0" defTabSz="685816">
              <a:lnSpc>
                <a:spcPct val="90000"/>
              </a:lnSpc>
              <a:spcBef>
                <a:spcPts val="750"/>
              </a:spcBef>
              <a:spcAft>
                <a:spcPts val="0"/>
              </a:spcAft>
              <a:buNone/>
              <a:defRPr sz="1800">
                <a:solidFill>
                  <a:srgbClr val="F3F6FB"/>
                </a:solidFill>
              </a:defRPr>
            </a:lvl1pPr>
          </a:lstStyle>
          <a:p>
            <a:pPr lvl="0"/>
            <a:r>
              <a:rPr lang="en-US"/>
              <a:t>Section Subheading</a:t>
            </a:r>
          </a:p>
        </p:txBody>
      </p:sp>
    </p:spTree>
    <p:extLst>
      <p:ext uri="{BB962C8B-B14F-4D97-AF65-F5344CB8AC3E}">
        <p14:creationId xmlns:p14="http://schemas.microsoft.com/office/powerpoint/2010/main" val="2541920600"/>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p:cSld name="33_Title and Content">
    <p:spTree>
      <p:nvGrpSpPr>
        <p:cNvPr id="1" name=""/>
        <p:cNvGrpSpPr/>
        <p:nvPr/>
      </p:nvGrpSpPr>
      <p:grpSpPr>
        <a:xfrm>
          <a:off x="0" y="0"/>
          <a:ext cx="0" cy="0"/>
          <a:chOff x="0" y="0"/>
          <a:chExt cx="0" cy="0"/>
        </a:xfrm>
      </p:grpSpPr>
      <p:pic>
        <p:nvPicPr>
          <p:cNvPr id="2" name="Picture 8">
            <a:extLst>
              <a:ext uri="{FF2B5EF4-FFF2-40B4-BE49-F238E27FC236}">
                <a16:creationId xmlns:a16="http://schemas.microsoft.com/office/drawing/2014/main" id="{F1380599-FD75-84C6-5396-89C3CF1CD93B}"/>
              </a:ext>
            </a:extLst>
          </p:cNvPr>
          <p:cNvPicPr>
            <a:picLocks noChangeAspect="1"/>
          </p:cNvPicPr>
          <p:nvPr/>
        </p:nvPicPr>
        <p:blipFill>
          <a:blip r:embed="rId2"/>
          <a:srcRect/>
          <a:stretch>
            <a:fillRect/>
          </a:stretch>
        </p:blipFill>
        <p:spPr>
          <a:xfrm>
            <a:off x="1528" y="0"/>
            <a:ext cx="12190479" cy="6858000"/>
          </a:xfrm>
          <a:prstGeom prst="rect">
            <a:avLst/>
          </a:prstGeom>
          <a:noFill/>
          <a:ln cap="flat">
            <a:noFill/>
          </a:ln>
        </p:spPr>
      </p:pic>
      <p:sp>
        <p:nvSpPr>
          <p:cNvPr id="3" name="Title 1">
            <a:extLst>
              <a:ext uri="{FF2B5EF4-FFF2-40B4-BE49-F238E27FC236}">
                <a16:creationId xmlns:a16="http://schemas.microsoft.com/office/drawing/2014/main" id="{1C30C554-2F83-4E13-AB3A-EAD676522E51}"/>
              </a:ext>
            </a:extLst>
          </p:cNvPr>
          <p:cNvSpPr txBox="1">
            <a:spLocks noGrp="1"/>
          </p:cNvSpPr>
          <p:nvPr>
            <p:ph type="title"/>
          </p:nvPr>
        </p:nvSpPr>
        <p:spPr/>
        <p:txBody>
          <a:bodyPr/>
          <a:lstStyle>
            <a:lvl1pPr>
              <a:defRPr/>
            </a:lvl1pPr>
          </a:lstStyle>
          <a:p>
            <a:pPr lvl="0"/>
            <a:r>
              <a:rPr lang="en-US"/>
              <a:t>Click to edit Master title style</a:t>
            </a:r>
          </a:p>
        </p:txBody>
      </p:sp>
      <p:sp>
        <p:nvSpPr>
          <p:cNvPr id="4" name="Slide Number Placeholder 5">
            <a:extLst>
              <a:ext uri="{FF2B5EF4-FFF2-40B4-BE49-F238E27FC236}">
                <a16:creationId xmlns:a16="http://schemas.microsoft.com/office/drawing/2014/main" id="{12BADCF6-11E5-1B3E-F3DC-9D7282114295}"/>
              </a:ext>
            </a:extLst>
          </p:cNvPr>
          <p:cNvSpPr txBox="1">
            <a:spLocks noGrp="1"/>
          </p:cNvSpPr>
          <p:nvPr>
            <p:ph type="sldNum" sz="quarter" idx="8"/>
          </p:nvPr>
        </p:nvSpPr>
        <p:spPr/>
        <p:txBody>
          <a:bodyPr/>
          <a:lstStyle>
            <a:lvl1pPr>
              <a:defRPr/>
            </a:lvl1pPr>
          </a:lstStyle>
          <a:p>
            <a:pPr lvl="0"/>
            <a:fld id="{403A29C3-AA7B-4A36-988A-A6685E11BED4}" type="slidenum">
              <a:t>‹#›</a:t>
            </a:fld>
            <a:endParaRPr lang="en-US"/>
          </a:p>
        </p:txBody>
      </p:sp>
      <p:sp>
        <p:nvSpPr>
          <p:cNvPr id="5" name="Text Placeholder 10">
            <a:extLst>
              <a:ext uri="{FF2B5EF4-FFF2-40B4-BE49-F238E27FC236}">
                <a16:creationId xmlns:a16="http://schemas.microsoft.com/office/drawing/2014/main" id="{7DED11E9-4EE7-0DED-1279-54F089D36D50}"/>
              </a:ext>
            </a:extLst>
          </p:cNvPr>
          <p:cNvSpPr txBox="1">
            <a:spLocks noGrp="1"/>
          </p:cNvSpPr>
          <p:nvPr>
            <p:ph type="body" idx="4294967295"/>
          </p:nvPr>
        </p:nvSpPr>
        <p:spPr>
          <a:xfrm>
            <a:off x="838203" y="1825628"/>
            <a:ext cx="10515600" cy="4016373"/>
          </a:xfr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7777807"/>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p:cSld name="Blue Graphic Right">
    <p:spTree>
      <p:nvGrpSpPr>
        <p:cNvPr id="1" name=""/>
        <p:cNvGrpSpPr/>
        <p:nvPr/>
      </p:nvGrpSpPr>
      <p:grpSpPr>
        <a:xfrm>
          <a:off x="0" y="0"/>
          <a:ext cx="0" cy="0"/>
          <a:chOff x="0" y="0"/>
          <a:chExt cx="0" cy="0"/>
        </a:xfrm>
      </p:grpSpPr>
      <p:pic>
        <p:nvPicPr>
          <p:cNvPr id="2" name="Picture 3">
            <a:extLst>
              <a:ext uri="{FF2B5EF4-FFF2-40B4-BE49-F238E27FC236}">
                <a16:creationId xmlns:a16="http://schemas.microsoft.com/office/drawing/2014/main" id="{99403A10-222A-81F4-1589-F3A678BFE37B}"/>
              </a:ext>
            </a:extLst>
          </p:cNvPr>
          <p:cNvPicPr>
            <a:picLocks noChangeAspect="1"/>
          </p:cNvPicPr>
          <p:nvPr/>
        </p:nvPicPr>
        <p:blipFill>
          <a:blip r:embed="rId2"/>
          <a:stretch>
            <a:fillRect/>
          </a:stretch>
        </p:blipFill>
        <p:spPr>
          <a:xfrm>
            <a:off x="0" y="0"/>
            <a:ext cx="12188952" cy="6858000"/>
          </a:xfrm>
          <a:prstGeom prst="rect">
            <a:avLst/>
          </a:prstGeom>
          <a:noFill/>
          <a:ln cap="flat">
            <a:noFill/>
          </a:ln>
        </p:spPr>
      </p:pic>
      <p:sp>
        <p:nvSpPr>
          <p:cNvPr id="3" name="Title 1">
            <a:extLst>
              <a:ext uri="{FF2B5EF4-FFF2-40B4-BE49-F238E27FC236}">
                <a16:creationId xmlns:a16="http://schemas.microsoft.com/office/drawing/2014/main" id="{43A0EECA-3CCD-0E89-32F0-8F9B306F5446}"/>
              </a:ext>
            </a:extLst>
          </p:cNvPr>
          <p:cNvSpPr txBox="1">
            <a:spLocks noGrp="1"/>
          </p:cNvSpPr>
          <p:nvPr>
            <p:ph type="title"/>
          </p:nvPr>
        </p:nvSpPr>
        <p:spPr>
          <a:xfrm>
            <a:off x="838203" y="365130"/>
            <a:ext cx="6085112" cy="1325559"/>
          </a:xfrm>
        </p:spPr>
        <p:txBody>
          <a:bodyPr/>
          <a:lstStyle>
            <a:lvl1pPr>
              <a:defRPr/>
            </a:lvl1pPr>
          </a:lstStyle>
          <a:p>
            <a:pPr lvl="0"/>
            <a:r>
              <a:rPr lang="en-US"/>
              <a:t>Click to edit Master title style</a:t>
            </a:r>
          </a:p>
        </p:txBody>
      </p:sp>
      <p:sp>
        <p:nvSpPr>
          <p:cNvPr id="4" name="Text Placeholder 8">
            <a:extLst>
              <a:ext uri="{FF2B5EF4-FFF2-40B4-BE49-F238E27FC236}">
                <a16:creationId xmlns:a16="http://schemas.microsoft.com/office/drawing/2014/main" id="{8901BA99-590D-C354-73C0-8C3C7B92214C}"/>
              </a:ext>
            </a:extLst>
          </p:cNvPr>
          <p:cNvSpPr txBox="1">
            <a:spLocks noGrp="1"/>
          </p:cNvSpPr>
          <p:nvPr>
            <p:ph type="body" idx="4294967295"/>
          </p:nvPr>
        </p:nvSpPr>
        <p:spPr>
          <a:xfrm>
            <a:off x="838203" y="1825628"/>
            <a:ext cx="6085112" cy="4016373"/>
          </a:xfr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A3717889-8853-D539-057F-FEBEEE592EAE}"/>
              </a:ext>
            </a:extLst>
          </p:cNvPr>
          <p:cNvSpPr txBox="1">
            <a:spLocks noGrp="1"/>
          </p:cNvSpPr>
          <p:nvPr>
            <p:ph type="sldNum" sz="quarter" idx="8"/>
          </p:nvPr>
        </p:nvSpPr>
        <p:spPr>
          <a:xfrm>
            <a:off x="9292773" y="6464296"/>
            <a:ext cx="2539663" cy="181801"/>
          </a:xfrm>
        </p:spPr>
        <p:txBody>
          <a:bodyPr/>
          <a:lstStyle>
            <a:lvl1pPr>
              <a:defRPr>
                <a:solidFill>
                  <a:srgbClr val="79818A"/>
                </a:solidFill>
              </a:defRPr>
            </a:lvl1pPr>
          </a:lstStyle>
          <a:p>
            <a:pPr lvl="0"/>
            <a:fld id="{ACE608CE-B996-4315-850F-48589B0EB337}" type="slidenum">
              <a:t>‹#›</a:t>
            </a:fld>
            <a:endParaRPr lang="en-US"/>
          </a:p>
        </p:txBody>
      </p:sp>
    </p:spTree>
    <p:extLst>
      <p:ext uri="{BB962C8B-B14F-4D97-AF65-F5344CB8AC3E}">
        <p14:creationId xmlns:p14="http://schemas.microsoft.com/office/powerpoint/2010/main" val="196818321"/>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p:cSld name="3 Closing Slide">
    <p:spTree>
      <p:nvGrpSpPr>
        <p:cNvPr id="1" name=""/>
        <p:cNvGrpSpPr/>
        <p:nvPr/>
      </p:nvGrpSpPr>
      <p:grpSpPr>
        <a:xfrm>
          <a:off x="0" y="0"/>
          <a:ext cx="0" cy="0"/>
          <a:chOff x="0" y="0"/>
          <a:chExt cx="0" cy="0"/>
        </a:xfrm>
      </p:grpSpPr>
      <p:pic>
        <p:nvPicPr>
          <p:cNvPr id="2" name="Picture 13">
            <a:extLst>
              <a:ext uri="{FF2B5EF4-FFF2-40B4-BE49-F238E27FC236}">
                <a16:creationId xmlns:a16="http://schemas.microsoft.com/office/drawing/2014/main" id="{10954F0D-C35F-17F9-8E07-C5933CB83691}"/>
              </a:ext>
            </a:extLst>
          </p:cNvPr>
          <p:cNvPicPr>
            <a:picLocks noChangeAspect="1"/>
          </p:cNvPicPr>
          <p:nvPr/>
        </p:nvPicPr>
        <p:blipFill>
          <a:blip r:embed="rId2"/>
          <a:stretch>
            <a:fillRect/>
          </a:stretch>
        </p:blipFill>
        <p:spPr>
          <a:xfrm>
            <a:off x="1527" y="0"/>
            <a:ext cx="12188952" cy="6858000"/>
          </a:xfrm>
          <a:prstGeom prst="rect">
            <a:avLst/>
          </a:prstGeom>
          <a:noFill/>
          <a:ln cap="flat">
            <a:noFill/>
          </a:ln>
        </p:spPr>
      </p:pic>
      <p:pic>
        <p:nvPicPr>
          <p:cNvPr id="3" name="Picture 14">
            <a:extLst>
              <a:ext uri="{FF2B5EF4-FFF2-40B4-BE49-F238E27FC236}">
                <a16:creationId xmlns:a16="http://schemas.microsoft.com/office/drawing/2014/main" id="{8F608B6B-DE0B-E728-EF2D-B352B914830E}"/>
              </a:ext>
            </a:extLst>
          </p:cNvPr>
          <p:cNvPicPr>
            <a:picLocks noChangeAspect="1"/>
          </p:cNvPicPr>
          <p:nvPr/>
        </p:nvPicPr>
        <p:blipFill>
          <a:blip r:embed="rId3"/>
          <a:stretch>
            <a:fillRect/>
          </a:stretch>
        </p:blipFill>
        <p:spPr>
          <a:xfrm>
            <a:off x="5185224" y="2949954"/>
            <a:ext cx="1821548" cy="958090"/>
          </a:xfrm>
          <a:prstGeom prst="rect">
            <a:avLst/>
          </a:prstGeom>
          <a:noFill/>
          <a:ln cap="flat">
            <a:noFill/>
          </a:ln>
        </p:spPr>
      </p:pic>
    </p:spTree>
    <p:extLst>
      <p:ext uri="{BB962C8B-B14F-4D97-AF65-F5344CB8AC3E}">
        <p14:creationId xmlns:p14="http://schemas.microsoft.com/office/powerpoint/2010/main" val="2400090413"/>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p:cSld name="29_Photo Slide">
    <p:spTree>
      <p:nvGrpSpPr>
        <p:cNvPr id="1" name=""/>
        <p:cNvGrpSpPr/>
        <p:nvPr/>
      </p:nvGrpSpPr>
      <p:grpSpPr>
        <a:xfrm>
          <a:off x="0" y="0"/>
          <a:ext cx="0" cy="0"/>
          <a:chOff x="0" y="0"/>
          <a:chExt cx="0" cy="0"/>
        </a:xfrm>
      </p:grpSpPr>
      <p:sp>
        <p:nvSpPr>
          <p:cNvPr id="2" name="Google Shape;109;p11">
            <a:extLst>
              <a:ext uri="{FF2B5EF4-FFF2-40B4-BE49-F238E27FC236}">
                <a16:creationId xmlns:a16="http://schemas.microsoft.com/office/drawing/2014/main" id="{636287B9-F3D9-15F4-68B7-E4E26A60F978}"/>
              </a:ext>
            </a:extLst>
          </p:cNvPr>
          <p:cNvSpPr txBox="1">
            <a:spLocks noGrp="1"/>
          </p:cNvSpPr>
          <p:nvPr>
            <p:ph type="body" idx="4294967295"/>
          </p:nvPr>
        </p:nvSpPr>
        <p:spPr>
          <a:xfrm>
            <a:off x="457200" y="1146255"/>
            <a:ext cx="2350172" cy="2971800"/>
          </a:xfrm>
        </p:spPr>
        <p:txBody>
          <a:bodyPr lIns="91421" tIns="45701" rIns="91421" bIns="45701"/>
          <a:lstStyle>
            <a:lvl1pPr marL="457250" indent="-228621">
              <a:spcAft>
                <a:spcPts val="0"/>
              </a:spcAft>
              <a:buNone/>
              <a:defRPr/>
            </a:lvl1pPr>
          </a:lstStyle>
          <a:p>
            <a:pPr lvl="0"/>
            <a:endParaRPr lang="en-US"/>
          </a:p>
        </p:txBody>
      </p:sp>
      <p:cxnSp>
        <p:nvCxnSpPr>
          <p:cNvPr id="3" name="Google Shape;110;p11">
            <a:extLst>
              <a:ext uri="{FF2B5EF4-FFF2-40B4-BE49-F238E27FC236}">
                <a16:creationId xmlns:a16="http://schemas.microsoft.com/office/drawing/2014/main" id="{BBDDC8EB-98CC-D90C-B176-74D4FB09CC04}"/>
              </a:ext>
            </a:extLst>
          </p:cNvPr>
          <p:cNvCxnSpPr/>
          <p:nvPr/>
        </p:nvCxnSpPr>
        <p:spPr>
          <a:xfrm>
            <a:off x="457201" y="947985"/>
            <a:ext cx="2350163" cy="0"/>
          </a:xfrm>
          <a:prstGeom prst="straightConnector1">
            <a:avLst/>
          </a:prstGeom>
          <a:noFill/>
          <a:ln w="31747" cap="flat">
            <a:solidFill>
              <a:srgbClr val="F58366"/>
            </a:solidFill>
            <a:prstDash val="solid"/>
            <a:miter/>
          </a:ln>
        </p:spPr>
      </p:cxnSp>
      <p:grpSp>
        <p:nvGrpSpPr>
          <p:cNvPr id="4" name="Google Shape;111;p11">
            <a:extLst>
              <a:ext uri="{FF2B5EF4-FFF2-40B4-BE49-F238E27FC236}">
                <a16:creationId xmlns:a16="http://schemas.microsoft.com/office/drawing/2014/main" id="{A2C026B1-DC01-EB81-7512-3D765FA0FBCC}"/>
              </a:ext>
            </a:extLst>
          </p:cNvPr>
          <p:cNvGrpSpPr/>
          <p:nvPr/>
        </p:nvGrpSpPr>
        <p:grpSpPr>
          <a:xfrm>
            <a:off x="1" y="5379425"/>
            <a:ext cx="2807363" cy="753895"/>
            <a:chOff x="0" y="5379424"/>
            <a:chExt cx="2807363" cy="753895"/>
          </a:xfrm>
        </p:grpSpPr>
        <p:sp>
          <p:nvSpPr>
            <p:cNvPr id="5" name="Google Shape;112;p11">
              <a:extLst>
                <a:ext uri="{FF2B5EF4-FFF2-40B4-BE49-F238E27FC236}">
                  <a16:creationId xmlns:a16="http://schemas.microsoft.com/office/drawing/2014/main" id="{D4869B11-49F0-386B-DB94-E7F5A654BB1A}"/>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13;p11">
              <a:extLst>
                <a:ext uri="{FF2B5EF4-FFF2-40B4-BE49-F238E27FC236}">
                  <a16:creationId xmlns:a16="http://schemas.microsoft.com/office/drawing/2014/main" id="{FCCA4EAF-31F5-277F-06E8-7912F51796C5}"/>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15;p11">
            <a:extLst>
              <a:ext uri="{FF2B5EF4-FFF2-40B4-BE49-F238E27FC236}">
                <a16:creationId xmlns:a16="http://schemas.microsoft.com/office/drawing/2014/main" id="{C10D8BB1-8A95-33D1-AAB3-E237D2D0C9A8}"/>
              </a:ext>
            </a:extLst>
          </p:cNvPr>
          <p:cNvPicPr>
            <a:picLocks noChangeAspect="1"/>
          </p:cNvPicPr>
          <p:nvPr/>
        </p:nvPicPr>
        <p:blipFill>
          <a:blip r:embed="rId2">
            <a:alphaModFix/>
          </a:blip>
          <a:srcRect/>
          <a:stretch>
            <a:fillRect/>
          </a:stretch>
        </p:blipFill>
        <p:spPr>
          <a:xfrm>
            <a:off x="513354" y="4385535"/>
            <a:ext cx="2025313" cy="911940"/>
          </a:xfrm>
          <a:prstGeom prst="rect">
            <a:avLst/>
          </a:prstGeom>
          <a:noFill/>
          <a:ln cap="flat">
            <a:noFill/>
          </a:ln>
        </p:spPr>
      </p:pic>
    </p:spTree>
    <p:extLst>
      <p:ext uri="{BB962C8B-B14F-4D97-AF65-F5344CB8AC3E}">
        <p14:creationId xmlns:p14="http://schemas.microsoft.com/office/powerpoint/2010/main" val="1027768419"/>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p:cSld name="2_Breaker 4">
    <p:spTree>
      <p:nvGrpSpPr>
        <p:cNvPr id="1" name=""/>
        <p:cNvGrpSpPr/>
        <p:nvPr/>
      </p:nvGrpSpPr>
      <p:grpSpPr>
        <a:xfrm>
          <a:off x="0" y="0"/>
          <a:ext cx="0" cy="0"/>
          <a:chOff x="0" y="0"/>
          <a:chExt cx="0" cy="0"/>
        </a:xfrm>
      </p:grpSpPr>
      <p:pic>
        <p:nvPicPr>
          <p:cNvPr id="2" name="Picture 7">
            <a:extLst>
              <a:ext uri="{FF2B5EF4-FFF2-40B4-BE49-F238E27FC236}">
                <a16:creationId xmlns:a16="http://schemas.microsoft.com/office/drawing/2014/main" id="{05A29F2C-0A5E-A7C0-3E49-AB7633163D3D}"/>
              </a:ext>
            </a:extLst>
          </p:cNvPr>
          <p:cNvPicPr>
            <a:picLocks noChangeAspect="1"/>
          </p:cNvPicPr>
          <p:nvPr/>
        </p:nvPicPr>
        <p:blipFill>
          <a:blip r:embed="rId2"/>
          <a:stretch>
            <a:fillRect/>
          </a:stretch>
        </p:blipFill>
        <p:spPr>
          <a:xfrm>
            <a:off x="1527" y="92"/>
            <a:ext cx="12188952" cy="6857807"/>
          </a:xfrm>
          <a:prstGeom prst="rect">
            <a:avLst/>
          </a:prstGeom>
          <a:noFill/>
          <a:ln cap="flat">
            <a:noFill/>
          </a:ln>
        </p:spPr>
      </p:pic>
      <p:pic>
        <p:nvPicPr>
          <p:cNvPr id="3" name="Picture 9">
            <a:extLst>
              <a:ext uri="{FF2B5EF4-FFF2-40B4-BE49-F238E27FC236}">
                <a16:creationId xmlns:a16="http://schemas.microsoft.com/office/drawing/2014/main" id="{5FB5798E-122A-9860-2C18-DE92C1432661}"/>
              </a:ext>
            </a:extLst>
          </p:cNvPr>
          <p:cNvPicPr>
            <a:picLocks noChangeAspect="1"/>
          </p:cNvPicPr>
          <p:nvPr/>
        </p:nvPicPr>
        <p:blipFill>
          <a:blip r:embed="rId3"/>
          <a:srcRect l="44353" t="41308" r="41308" b="44537"/>
          <a:stretch>
            <a:fillRect/>
          </a:stretch>
        </p:blipFill>
        <p:spPr>
          <a:xfrm>
            <a:off x="10425156" y="5894634"/>
            <a:ext cx="1312776" cy="562273"/>
          </a:xfrm>
          <a:prstGeom prst="rect">
            <a:avLst/>
          </a:prstGeom>
          <a:noFill/>
          <a:ln cap="flat">
            <a:noFill/>
          </a:ln>
        </p:spPr>
      </p:pic>
      <p:sp>
        <p:nvSpPr>
          <p:cNvPr id="4" name="Text Placeholder 8">
            <a:extLst>
              <a:ext uri="{FF2B5EF4-FFF2-40B4-BE49-F238E27FC236}">
                <a16:creationId xmlns:a16="http://schemas.microsoft.com/office/drawing/2014/main" id="{978D0130-42EE-E468-D8DE-531E7C7FD417}"/>
              </a:ext>
            </a:extLst>
          </p:cNvPr>
          <p:cNvSpPr txBox="1">
            <a:spLocks noGrp="1"/>
          </p:cNvSpPr>
          <p:nvPr>
            <p:ph type="body" idx="4294967295"/>
          </p:nvPr>
        </p:nvSpPr>
        <p:spPr>
          <a:xfrm>
            <a:off x="7459666" y="3429001"/>
            <a:ext cx="4180792" cy="1102857"/>
          </a:xfrm>
        </p:spPr>
        <p:txBody>
          <a:bodyPr/>
          <a:lstStyle>
            <a:lvl1pPr marL="0" indent="0">
              <a:spcBef>
                <a:spcPts val="0"/>
              </a:spcBef>
              <a:buNone/>
              <a:defRPr sz="3600">
                <a:solidFill>
                  <a:srgbClr val="79818A"/>
                </a:solidFill>
              </a:defRPr>
            </a:lvl1pPr>
          </a:lstStyle>
          <a:p>
            <a:pPr lvl="0"/>
            <a:r>
              <a:rPr lang="en-US"/>
              <a:t>Section </a:t>
            </a:r>
            <a:br>
              <a:rPr lang="en-US"/>
            </a:br>
            <a:r>
              <a:rPr lang="en-US"/>
              <a:t>Heading</a:t>
            </a:r>
          </a:p>
        </p:txBody>
      </p:sp>
      <p:sp>
        <p:nvSpPr>
          <p:cNvPr id="5" name="Text Placeholder 10">
            <a:extLst>
              <a:ext uri="{FF2B5EF4-FFF2-40B4-BE49-F238E27FC236}">
                <a16:creationId xmlns:a16="http://schemas.microsoft.com/office/drawing/2014/main" id="{ACFF56ED-C331-E436-9B30-F7D4DF749CF1}"/>
              </a:ext>
            </a:extLst>
          </p:cNvPr>
          <p:cNvSpPr txBox="1">
            <a:spLocks noGrp="1"/>
          </p:cNvSpPr>
          <p:nvPr>
            <p:ph type="body" idx="4294967295"/>
          </p:nvPr>
        </p:nvSpPr>
        <p:spPr>
          <a:xfrm>
            <a:off x="7459666" y="4775655"/>
            <a:ext cx="4180792" cy="783320"/>
          </a:xfrm>
        </p:spPr>
        <p:txBody>
          <a:bodyPr>
            <a:normAutofit/>
          </a:bodyPr>
          <a:lstStyle>
            <a:lvl1pPr marL="0" indent="0" defTabSz="685816">
              <a:lnSpc>
                <a:spcPct val="90000"/>
              </a:lnSpc>
              <a:spcBef>
                <a:spcPts val="750"/>
              </a:spcBef>
              <a:spcAft>
                <a:spcPts val="0"/>
              </a:spcAft>
              <a:buNone/>
              <a:defRPr sz="1800">
                <a:solidFill>
                  <a:srgbClr val="F3F6FB"/>
                </a:solidFill>
              </a:defRPr>
            </a:lvl1pPr>
          </a:lstStyle>
          <a:p>
            <a:pPr lvl="0"/>
            <a:r>
              <a:rPr lang="en-US"/>
              <a:t>Section Subheading</a:t>
            </a:r>
          </a:p>
        </p:txBody>
      </p:sp>
    </p:spTree>
    <p:extLst>
      <p:ext uri="{BB962C8B-B14F-4D97-AF65-F5344CB8AC3E}">
        <p14:creationId xmlns:p14="http://schemas.microsoft.com/office/powerpoint/2010/main" val="376342711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9505"/>
        <p:cNvGrpSpPr/>
        <p:nvPr/>
      </p:nvGrpSpPr>
      <p:grpSpPr>
        <a:xfrm>
          <a:off x="0" y="0"/>
          <a:ext cx="0" cy="0"/>
          <a:chOff x="0" y="0"/>
          <a:chExt cx="0" cy="0"/>
        </a:xfrm>
      </p:grpSpPr>
      <p:grpSp>
        <p:nvGrpSpPr>
          <p:cNvPr id="9506" name="Google Shape;9506;p1361"/>
          <p:cNvGrpSpPr/>
          <p:nvPr/>
        </p:nvGrpSpPr>
        <p:grpSpPr>
          <a:xfrm>
            <a:off x="7191542" y="1"/>
            <a:ext cx="5000459" cy="1425992"/>
            <a:chOff x="7191542" y="1"/>
            <a:chExt cx="5000459" cy="1425992"/>
          </a:xfrm>
        </p:grpSpPr>
        <p:pic>
          <p:nvPicPr>
            <p:cNvPr id="9507" name="Google Shape;9507;p13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508" name="Google Shape;9508;p1361"/>
            <p:cNvGrpSpPr/>
            <p:nvPr/>
          </p:nvGrpSpPr>
          <p:grpSpPr>
            <a:xfrm>
              <a:off x="7191542" y="1"/>
              <a:ext cx="5000459" cy="1425992"/>
              <a:chOff x="7186272" y="0"/>
              <a:chExt cx="5005729" cy="1427495"/>
            </a:xfrm>
          </p:grpSpPr>
          <p:sp>
            <p:nvSpPr>
              <p:cNvPr id="9509" name="Google Shape;9509;p13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510" name="Google Shape;9510;p13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511" name="Google Shape;9511;p136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512" name="Google Shape;9512;p13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513" name="Google Shape;9513;p13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514" name="Google Shape;9514;p13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p:cSld name="19_Title Slide_Yale Blue">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C911BFF4-47E9-B289-7948-91DA264B6309}"/>
              </a:ext>
            </a:extLst>
          </p:cNvPr>
          <p:cNvSpPr txBox="1">
            <a:spLocks noGrp="1"/>
          </p:cNvSpPr>
          <p:nvPr>
            <p:ph type="body" idx="4294967295"/>
          </p:nvPr>
        </p:nvSpPr>
        <p:spPr>
          <a:xfrm>
            <a:off x="2826557" y="5400857"/>
            <a:ext cx="8178613" cy="379656"/>
          </a:xfrm>
        </p:spPr>
        <p:txBody>
          <a:bodyPr wrap="square">
            <a:spAutoFit/>
          </a:bodyPr>
          <a:lstStyle>
            <a:lvl1pPr marL="0" indent="0" algn="r">
              <a:buNone/>
              <a:defRPr sz="1867">
                <a:solidFill>
                  <a:srgbClr val="616364"/>
                </a:solidFill>
                <a:latin typeface="Verdana"/>
                <a:ea typeface="Verdana"/>
                <a:cs typeface="Verdana"/>
              </a:defRPr>
            </a:lvl1pPr>
          </a:lstStyle>
          <a:p>
            <a:pPr lvl="0"/>
            <a:r>
              <a:rPr lang="en-US"/>
              <a:t>Date | Presenter Information (14 pt)</a:t>
            </a:r>
          </a:p>
        </p:txBody>
      </p:sp>
      <p:sp>
        <p:nvSpPr>
          <p:cNvPr id="3" name="Title 1">
            <a:extLst>
              <a:ext uri="{FF2B5EF4-FFF2-40B4-BE49-F238E27FC236}">
                <a16:creationId xmlns:a16="http://schemas.microsoft.com/office/drawing/2014/main" id="{88BB261C-AEB9-FF1C-3B08-18267B1D45EA}"/>
              </a:ext>
            </a:extLst>
          </p:cNvPr>
          <p:cNvSpPr txBox="1">
            <a:spLocks noGrp="1"/>
          </p:cNvSpPr>
          <p:nvPr>
            <p:ph type="title"/>
          </p:nvPr>
        </p:nvSpPr>
        <p:spPr>
          <a:xfrm>
            <a:off x="2826557" y="1807156"/>
            <a:ext cx="8178613" cy="1629460"/>
          </a:xfrm>
        </p:spPr>
        <p:txBody>
          <a:bodyPr anchor="b"/>
          <a:lstStyle>
            <a:lvl1pPr>
              <a:defRPr sz="5334">
                <a:solidFill>
                  <a:srgbClr val="00314C"/>
                </a:solidFill>
                <a:latin typeface="Verdana"/>
                <a:ea typeface="Verdana"/>
                <a:cs typeface="Verdana"/>
              </a:defRPr>
            </a:lvl1pPr>
          </a:lstStyle>
          <a:p>
            <a:pPr lvl="0"/>
            <a:r>
              <a:rPr lang="en-US"/>
              <a:t>Presentation Title (40pt)</a:t>
            </a:r>
          </a:p>
        </p:txBody>
      </p:sp>
      <p:sp>
        <p:nvSpPr>
          <p:cNvPr id="4" name="Date Placeholder 3">
            <a:extLst>
              <a:ext uri="{FF2B5EF4-FFF2-40B4-BE49-F238E27FC236}">
                <a16:creationId xmlns:a16="http://schemas.microsoft.com/office/drawing/2014/main" id="{29F97F1C-C9CA-7FAD-7F75-FB52F7AC55DF}"/>
              </a:ext>
            </a:extLst>
          </p:cNvPr>
          <p:cNvSpPr txBox="1">
            <a:spLocks noGrp="1"/>
          </p:cNvSpPr>
          <p:nvPr>
            <p:ph type="dt" sz="quarter" idx="7"/>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914446"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defRPr>
            </a:lvl1pPr>
          </a:lstStyle>
          <a:p>
            <a:pPr lvl="0"/>
            <a:fld id="{2F8BC048-A3DD-4BD5-8A6C-91F82DD2CF1D}" type="datetime1">
              <a:rPr lang="en-US"/>
              <a:pPr lvl="0"/>
              <a:t>5/20/2026</a:t>
            </a:fld>
            <a:endParaRPr lang="en-US"/>
          </a:p>
        </p:txBody>
      </p:sp>
      <p:sp>
        <p:nvSpPr>
          <p:cNvPr id="5" name="Footer Placeholder 4">
            <a:extLst>
              <a:ext uri="{FF2B5EF4-FFF2-40B4-BE49-F238E27FC236}">
                <a16:creationId xmlns:a16="http://schemas.microsoft.com/office/drawing/2014/main" id="{561B1FFE-85C7-9BA1-AF65-0DB826481286}"/>
              </a:ext>
            </a:extLst>
          </p:cNvPr>
          <p:cNvSpPr txBox="1">
            <a:spLocks noGrp="1"/>
          </p:cNvSpPr>
          <p:nvPr>
            <p:ph type="ftr" sz="quarter" idx="9"/>
          </p:nvPr>
        </p:nvSpPr>
        <p:spPr/>
        <p:txBody>
          <a:bodyPr anchorCtr="1"/>
          <a:lstStyle>
            <a:lvl1pPr algn="ctr">
              <a:defRPr/>
            </a:lvl1pPr>
          </a:lstStyle>
          <a:p>
            <a:pPr lvl="0"/>
            <a:endParaRPr lang="en-US"/>
          </a:p>
        </p:txBody>
      </p:sp>
      <p:sp>
        <p:nvSpPr>
          <p:cNvPr id="6" name="Slide Number Placeholder 5">
            <a:extLst>
              <a:ext uri="{FF2B5EF4-FFF2-40B4-BE49-F238E27FC236}">
                <a16:creationId xmlns:a16="http://schemas.microsoft.com/office/drawing/2014/main" id="{236C2F66-8488-6B35-4E46-120746B71392}"/>
              </a:ext>
            </a:extLst>
          </p:cNvPr>
          <p:cNvSpPr txBox="1">
            <a:spLocks noGrp="1"/>
          </p:cNvSpPr>
          <p:nvPr>
            <p:ph type="sldNum" sz="quarter" idx="8"/>
          </p:nvPr>
        </p:nvSpPr>
        <p:spPr/>
        <p:txBody>
          <a:bodyPr/>
          <a:lstStyle>
            <a:lvl1pPr>
              <a:defRPr/>
            </a:lvl1pPr>
          </a:lstStyle>
          <a:p>
            <a:pPr lvl="0"/>
            <a:fld id="{9EF6ED12-FD4C-43A3-9D52-C89BD25EFF4E}" type="slidenum">
              <a:t>‹#›</a:t>
            </a:fld>
            <a:endParaRPr lang="en-US"/>
          </a:p>
        </p:txBody>
      </p:sp>
      <p:sp>
        <p:nvSpPr>
          <p:cNvPr id="7" name="Rectangle 12">
            <a:extLst>
              <a:ext uri="{FF2B5EF4-FFF2-40B4-BE49-F238E27FC236}">
                <a16:creationId xmlns:a16="http://schemas.microsoft.com/office/drawing/2014/main" id="{61DDFB87-13F1-EF7B-D3CB-053AA6C31D36}"/>
              </a:ext>
            </a:extLst>
          </p:cNvPr>
          <p:cNvSpPr/>
          <p:nvPr/>
        </p:nvSpPr>
        <p:spPr>
          <a:xfrm rot="10799991">
            <a:off x="-28" y="2000224"/>
            <a:ext cx="2785070" cy="2042851"/>
          </a:xfrm>
          <a:custGeom>
            <a:avLst/>
            <a:gdLst>
              <a:gd name="f0" fmla="val 10800000"/>
              <a:gd name="f1" fmla="val 5400000"/>
              <a:gd name="f2" fmla="val 180"/>
              <a:gd name="f3" fmla="val w"/>
              <a:gd name="f4" fmla="val h"/>
              <a:gd name="f5" fmla="val 0"/>
              <a:gd name="f6" fmla="val 10293751"/>
              <a:gd name="f7" fmla="val 1031873"/>
              <a:gd name="f8" fmla="val 3579068"/>
              <a:gd name="f9" fmla="val 1"/>
              <a:gd name="f10" fmla="val 1031872"/>
              <a:gd name="f11" fmla="+- 0 0 -90"/>
              <a:gd name="f12" fmla="*/ f3 1 10293751"/>
              <a:gd name="f13" fmla="*/ f4 1 1031873"/>
              <a:gd name="f14" fmla="+- f7 0 f5"/>
              <a:gd name="f15" fmla="+- f6 0 f5"/>
              <a:gd name="f16" fmla="*/ f11 f0 1"/>
              <a:gd name="f17" fmla="*/ f15 1 10293751"/>
              <a:gd name="f18" fmla="*/ f14 1 1031873"/>
              <a:gd name="f19" fmla="*/ 10293751 f15 1"/>
              <a:gd name="f20" fmla="*/ 0 f15 1"/>
              <a:gd name="f21" fmla="*/ 0 f14 1"/>
              <a:gd name="f22" fmla="*/ 1 f14 1"/>
              <a:gd name="f23" fmla="*/ 1031873 f14 1"/>
              <a:gd name="f24" fmla="*/ 1031872 f14 1"/>
              <a:gd name="f25" fmla="*/ 3579068 f15 1"/>
              <a:gd name="f26" fmla="*/ f16 1 f2"/>
              <a:gd name="f27" fmla="*/ f19 1 10293751"/>
              <a:gd name="f28" fmla="*/ f20 1 10293751"/>
              <a:gd name="f29" fmla="*/ f21 1 1031873"/>
              <a:gd name="f30" fmla="*/ f22 1 1031873"/>
              <a:gd name="f31" fmla="*/ f23 1 1031873"/>
              <a:gd name="f32" fmla="*/ f24 1 1031873"/>
              <a:gd name="f33" fmla="*/ f25 1 10293751"/>
              <a:gd name="f34" fmla="*/ f5 1 f17"/>
              <a:gd name="f35" fmla="*/ f6 1 f17"/>
              <a:gd name="f36" fmla="*/ f5 1 f18"/>
              <a:gd name="f37" fmla="*/ f7 1 f18"/>
              <a:gd name="f38" fmla="+- f26 0 f1"/>
              <a:gd name="f39" fmla="*/ f33 1 f17"/>
              <a:gd name="f40" fmla="*/ f29 1 f18"/>
              <a:gd name="f41" fmla="*/ f27 1 f17"/>
              <a:gd name="f42" fmla="*/ f30 1 f18"/>
              <a:gd name="f43" fmla="*/ f31 1 f18"/>
              <a:gd name="f44" fmla="*/ f28 1 f17"/>
              <a:gd name="f45" fmla="*/ f32 1 f18"/>
              <a:gd name="f46" fmla="*/ f34 f12 1"/>
              <a:gd name="f47" fmla="*/ f35 f12 1"/>
              <a:gd name="f48" fmla="*/ f37 f13 1"/>
              <a:gd name="f49" fmla="*/ f36 f13 1"/>
              <a:gd name="f50" fmla="*/ f39 f12 1"/>
              <a:gd name="f51" fmla="*/ f40 f13 1"/>
              <a:gd name="f52" fmla="*/ f41 f12 1"/>
              <a:gd name="f53" fmla="*/ f42 f13 1"/>
              <a:gd name="f54" fmla="*/ f43 f13 1"/>
              <a:gd name="f55" fmla="*/ f44 f12 1"/>
              <a:gd name="f56" fmla="*/ f45 f13 1"/>
            </a:gdLst>
            <a:ahLst/>
            <a:cxnLst>
              <a:cxn ang="3cd4">
                <a:pos x="hc" y="t"/>
              </a:cxn>
              <a:cxn ang="0">
                <a:pos x="r" y="vc"/>
              </a:cxn>
              <a:cxn ang="cd4">
                <a:pos x="hc" y="b"/>
              </a:cxn>
              <a:cxn ang="cd2">
                <a:pos x="l" y="vc"/>
              </a:cxn>
              <a:cxn ang="f38">
                <a:pos x="f50" y="f51"/>
              </a:cxn>
              <a:cxn ang="f38">
                <a:pos x="f52" y="f53"/>
              </a:cxn>
              <a:cxn ang="f38">
                <a:pos x="f52" y="f54"/>
              </a:cxn>
              <a:cxn ang="f38">
                <a:pos x="f55" y="f56"/>
              </a:cxn>
              <a:cxn ang="f38">
                <a:pos x="f50" y="f51"/>
              </a:cxn>
            </a:cxnLst>
            <a:rect l="f46" t="f49" r="f47" b="f48"/>
            <a:pathLst>
              <a:path w="10293751" h="1031873">
                <a:moveTo>
                  <a:pt x="f8" y="f5"/>
                </a:moveTo>
                <a:lnTo>
                  <a:pt x="f6" y="f9"/>
                </a:lnTo>
                <a:lnTo>
                  <a:pt x="f6" y="f7"/>
                </a:lnTo>
                <a:lnTo>
                  <a:pt x="f5" y="f10"/>
                </a:lnTo>
                <a:lnTo>
                  <a:pt x="f8" y="f5"/>
                </a:lnTo>
                <a:close/>
              </a:path>
            </a:pathLst>
          </a:cu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8" name="Rectangle 8">
            <a:extLst>
              <a:ext uri="{FF2B5EF4-FFF2-40B4-BE49-F238E27FC236}">
                <a16:creationId xmlns:a16="http://schemas.microsoft.com/office/drawing/2014/main" id="{99A04468-1D73-C601-A9FA-7400063AE962}"/>
              </a:ext>
            </a:extLst>
          </p:cNvPr>
          <p:cNvSpPr/>
          <p:nvPr/>
        </p:nvSpPr>
        <p:spPr>
          <a:xfrm>
            <a:off x="0" y="6115050"/>
            <a:ext cx="12191996" cy="742950"/>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9" name="Text Placeholder 11">
            <a:extLst>
              <a:ext uri="{FF2B5EF4-FFF2-40B4-BE49-F238E27FC236}">
                <a16:creationId xmlns:a16="http://schemas.microsoft.com/office/drawing/2014/main" id="{9C13E7CC-A5F3-7189-7D10-56CED55D543B}"/>
              </a:ext>
            </a:extLst>
          </p:cNvPr>
          <p:cNvSpPr txBox="1">
            <a:spLocks noGrp="1"/>
          </p:cNvSpPr>
          <p:nvPr>
            <p:ph type="body" idx="4294967295"/>
          </p:nvPr>
        </p:nvSpPr>
        <p:spPr>
          <a:xfrm>
            <a:off x="2826557" y="3447397"/>
            <a:ext cx="8178613" cy="713314"/>
          </a:xfrm>
        </p:spPr>
        <p:txBody>
          <a:bodyPr/>
          <a:lstStyle>
            <a:lvl1pPr marL="0" indent="0">
              <a:buNone/>
              <a:defRPr sz="3200">
                <a:solidFill>
                  <a:srgbClr val="00314C"/>
                </a:solidFill>
                <a:latin typeface="Verdana"/>
                <a:ea typeface="Verdana"/>
                <a:cs typeface="Verdana"/>
              </a:defRPr>
            </a:lvl1pPr>
          </a:lstStyle>
          <a:p>
            <a:pPr lvl="0"/>
            <a:r>
              <a:rPr lang="en-US"/>
              <a:t>Subtitle (24)</a:t>
            </a:r>
          </a:p>
        </p:txBody>
      </p:sp>
      <p:pic>
        <p:nvPicPr>
          <p:cNvPr id="10" name="Picture 12">
            <a:extLst>
              <a:ext uri="{FF2B5EF4-FFF2-40B4-BE49-F238E27FC236}">
                <a16:creationId xmlns:a16="http://schemas.microsoft.com/office/drawing/2014/main" id="{3976D4E2-C3AC-7DB4-1897-8A77DED033B9}"/>
              </a:ext>
            </a:extLst>
          </p:cNvPr>
          <p:cNvPicPr>
            <a:picLocks noChangeAspect="1"/>
          </p:cNvPicPr>
          <p:nvPr/>
        </p:nvPicPr>
        <p:blipFill>
          <a:blip r:embed="rId2"/>
          <a:srcRect/>
          <a:stretch>
            <a:fillRect/>
          </a:stretch>
        </p:blipFill>
        <p:spPr>
          <a:xfrm>
            <a:off x="2829840" y="4178333"/>
            <a:ext cx="4395959" cy="1140165"/>
          </a:xfrm>
          <a:prstGeom prst="rect">
            <a:avLst/>
          </a:prstGeom>
          <a:noFill/>
          <a:ln cap="flat">
            <a:noFill/>
          </a:ln>
        </p:spPr>
      </p:pic>
    </p:spTree>
    <p:extLst>
      <p:ext uri="{BB962C8B-B14F-4D97-AF65-F5344CB8AC3E}">
        <p14:creationId xmlns:p14="http://schemas.microsoft.com/office/powerpoint/2010/main" val="2385366819"/>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p:cSld name="16_Title and Bullets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619A71-A9F4-B795-2162-A81FBD908351}"/>
              </a:ext>
            </a:extLst>
          </p:cNvPr>
          <p:cNvSpPr txBox="1">
            <a:spLocks noGrp="1"/>
          </p:cNvSpPr>
          <p:nvPr>
            <p:ph type="title"/>
          </p:nvPr>
        </p:nvSpPr>
        <p:spPr>
          <a:xfrm>
            <a:off x="848992" y="783842"/>
            <a:ext cx="10177756"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sp>
        <p:nvSpPr>
          <p:cNvPr id="3" name="Rectangle 9">
            <a:extLst>
              <a:ext uri="{FF2B5EF4-FFF2-40B4-BE49-F238E27FC236}">
                <a16:creationId xmlns:a16="http://schemas.microsoft.com/office/drawing/2014/main" id="{710C2C2B-1002-9752-E88D-A0D2F787AC66}"/>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4" name="Rectangle 10">
            <a:extLst>
              <a:ext uri="{FF2B5EF4-FFF2-40B4-BE49-F238E27FC236}">
                <a16:creationId xmlns:a16="http://schemas.microsoft.com/office/drawing/2014/main" id="{62F9B0EB-4823-7D8A-F4C1-0485A935111C}"/>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5" name="Text Placeholder 4">
            <a:extLst>
              <a:ext uri="{FF2B5EF4-FFF2-40B4-BE49-F238E27FC236}">
                <a16:creationId xmlns:a16="http://schemas.microsoft.com/office/drawing/2014/main" id="{0C1ACC97-1BD8-EB23-5881-50677616C44B}"/>
              </a:ext>
            </a:extLst>
          </p:cNvPr>
          <p:cNvSpPr txBox="1">
            <a:spLocks noGrp="1"/>
          </p:cNvSpPr>
          <p:nvPr>
            <p:ph type="body" idx="4294967295"/>
          </p:nvPr>
        </p:nvSpPr>
        <p:spPr>
          <a:xfrm>
            <a:off x="848783" y="1615023"/>
            <a:ext cx="10176933" cy="3812115"/>
          </a:xfrm>
        </p:spPr>
        <p:txBody>
          <a:bodyPr/>
          <a:lstStyle>
            <a:lvl1pPr marL="381031" indent="-381031">
              <a:defRPr sz="2133">
                <a:latin typeface="Verdana"/>
                <a:ea typeface="Verdana"/>
                <a:cs typeface="Verdana"/>
              </a:defRPr>
            </a:lvl1pPr>
            <a:lvl2pPr marL="381031" lvl="0" indent="-381031">
              <a:spcBef>
                <a:spcPts val="1000"/>
              </a:spcBef>
              <a:buClr>
                <a:srgbClr val="F5668F"/>
              </a:buClr>
              <a:defRPr sz="2133">
                <a:latin typeface="Verdana"/>
                <a:ea typeface="Verdana"/>
                <a:cs typeface="Verdana"/>
              </a:defRPr>
            </a:lvl2pPr>
          </a:lstStyle>
          <a:p>
            <a:pPr lvl="0"/>
            <a:r>
              <a:rPr lang="en-US"/>
              <a:t>Copy goes here</a:t>
            </a:r>
          </a:p>
          <a:p>
            <a:pPr lvl="0"/>
            <a:endParaRPr lang="en-US"/>
          </a:p>
        </p:txBody>
      </p:sp>
      <p:pic>
        <p:nvPicPr>
          <p:cNvPr id="6" name="Picture 6">
            <a:extLst>
              <a:ext uri="{FF2B5EF4-FFF2-40B4-BE49-F238E27FC236}">
                <a16:creationId xmlns:a16="http://schemas.microsoft.com/office/drawing/2014/main" id="{2592023D-F207-A238-C92D-4A8477ACB2AA}"/>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Tree>
    <p:extLst>
      <p:ext uri="{BB962C8B-B14F-4D97-AF65-F5344CB8AC3E}">
        <p14:creationId xmlns:p14="http://schemas.microsoft.com/office/powerpoint/2010/main" val="4102479643"/>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p:cSld name="35_Title and Content">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E9AC151D-4186-2BE6-D107-FD8F5B9A82CF}"/>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pic>
        <p:nvPicPr>
          <p:cNvPr id="3" name="Picture 10">
            <a:extLst>
              <a:ext uri="{FF2B5EF4-FFF2-40B4-BE49-F238E27FC236}">
                <a16:creationId xmlns:a16="http://schemas.microsoft.com/office/drawing/2014/main" id="{F966AC07-A567-8EDF-06AE-B62BFB40E177}"/>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
        <p:nvSpPr>
          <p:cNvPr id="4" name="Rectangle 11">
            <a:extLst>
              <a:ext uri="{FF2B5EF4-FFF2-40B4-BE49-F238E27FC236}">
                <a16:creationId xmlns:a16="http://schemas.microsoft.com/office/drawing/2014/main" id="{B19329A0-098D-A06E-AE5A-A762572AA73B}"/>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5" name="Title 1">
            <a:extLst>
              <a:ext uri="{FF2B5EF4-FFF2-40B4-BE49-F238E27FC236}">
                <a16:creationId xmlns:a16="http://schemas.microsoft.com/office/drawing/2014/main" id="{70B46119-233D-FEF0-358A-D47B86095A18}"/>
              </a:ext>
            </a:extLst>
          </p:cNvPr>
          <p:cNvSpPr txBox="1">
            <a:spLocks noGrp="1"/>
          </p:cNvSpPr>
          <p:nvPr>
            <p:ph type="title"/>
          </p:nvPr>
        </p:nvSpPr>
        <p:spPr>
          <a:xfrm>
            <a:off x="848992" y="806858"/>
            <a:ext cx="10156176"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sp>
        <p:nvSpPr>
          <p:cNvPr id="6" name="Text Placeholder 15">
            <a:extLst>
              <a:ext uri="{FF2B5EF4-FFF2-40B4-BE49-F238E27FC236}">
                <a16:creationId xmlns:a16="http://schemas.microsoft.com/office/drawing/2014/main" id="{AB273D1A-B347-755E-64B9-EFF81D57D9FE}"/>
              </a:ext>
            </a:extLst>
          </p:cNvPr>
          <p:cNvSpPr txBox="1">
            <a:spLocks noGrp="1"/>
          </p:cNvSpPr>
          <p:nvPr>
            <p:ph type="body" idx="4294967295"/>
          </p:nvPr>
        </p:nvSpPr>
        <p:spPr>
          <a:xfrm>
            <a:off x="848992" y="1637855"/>
            <a:ext cx="10156176" cy="4117159"/>
          </a:xfrm>
        </p:spPr>
        <p:txBody>
          <a:bodyPr/>
          <a:lstStyle>
            <a:lvl1pPr marL="0" indent="0" defTabSz="914473">
              <a:lnSpc>
                <a:spcPct val="90000"/>
              </a:lnSpc>
              <a:spcAft>
                <a:spcPts val="0"/>
              </a:spcAft>
              <a:buNone/>
              <a:defRPr sz="2133">
                <a:latin typeface="Verdana"/>
                <a:ea typeface="Verdana"/>
                <a:cs typeface="Verdana"/>
              </a:defRPr>
            </a:lvl1pPr>
          </a:lstStyle>
          <a:p>
            <a:pPr lvl="0"/>
            <a:r>
              <a:rPr lang="en-US"/>
              <a:t>Copy goes here. </a:t>
            </a:r>
          </a:p>
        </p:txBody>
      </p:sp>
    </p:spTree>
    <p:extLst>
      <p:ext uri="{BB962C8B-B14F-4D97-AF65-F5344CB8AC3E}">
        <p14:creationId xmlns:p14="http://schemas.microsoft.com/office/powerpoint/2010/main" val="1244691828"/>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p:cSld name="16_Two Section | Picture and Copy Layout">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1E1ACBA3-E0F0-13C3-7796-FC4B77CEC0E1}"/>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3" name="Rectangle 11">
            <a:extLst>
              <a:ext uri="{FF2B5EF4-FFF2-40B4-BE49-F238E27FC236}">
                <a16:creationId xmlns:a16="http://schemas.microsoft.com/office/drawing/2014/main" id="{E2568DA8-6704-7BBC-32AC-04F3CC13B6C1}"/>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4" name="Content Placeholder 2">
            <a:extLst>
              <a:ext uri="{FF2B5EF4-FFF2-40B4-BE49-F238E27FC236}">
                <a16:creationId xmlns:a16="http://schemas.microsoft.com/office/drawing/2014/main" id="{838B35BB-1DBA-11B2-39BC-B5CFCF92FF07}"/>
              </a:ext>
            </a:extLst>
          </p:cNvPr>
          <p:cNvSpPr txBox="1">
            <a:spLocks noGrp="1"/>
          </p:cNvSpPr>
          <p:nvPr>
            <p:ph idx="4294967295"/>
          </p:nvPr>
        </p:nvSpPr>
        <p:spPr>
          <a:xfrm>
            <a:off x="1186836" y="1294452"/>
            <a:ext cx="3983336" cy="3788084"/>
          </a:xfrm>
        </p:spPr>
        <p:txBody>
          <a:bodyPr/>
          <a:lstStyle>
            <a:lvl1pPr marL="0" indent="0">
              <a:buNone/>
              <a:defRPr sz="1200" i="1">
                <a:solidFill>
                  <a:srgbClr val="003B5C"/>
                </a:solidFill>
                <a:latin typeface="Verdana"/>
                <a:ea typeface="Verdana"/>
                <a:cs typeface="Verdana"/>
              </a:defRPr>
            </a:lvl1pPr>
          </a:lstStyle>
          <a:p>
            <a:pPr lvl="0"/>
            <a:r>
              <a:rPr lang="en-US"/>
              <a:t>*Insert Image Here</a:t>
            </a:r>
          </a:p>
        </p:txBody>
      </p:sp>
      <p:sp>
        <p:nvSpPr>
          <p:cNvPr id="5" name="Content Placeholder 3">
            <a:extLst>
              <a:ext uri="{FF2B5EF4-FFF2-40B4-BE49-F238E27FC236}">
                <a16:creationId xmlns:a16="http://schemas.microsoft.com/office/drawing/2014/main" id="{88D93CD1-A890-696B-D7CF-287F97049D02}"/>
              </a:ext>
            </a:extLst>
          </p:cNvPr>
          <p:cNvSpPr txBox="1">
            <a:spLocks noGrp="1"/>
          </p:cNvSpPr>
          <p:nvPr>
            <p:ph idx="4294967295"/>
          </p:nvPr>
        </p:nvSpPr>
        <p:spPr>
          <a:xfrm>
            <a:off x="5549394" y="1997132"/>
            <a:ext cx="5466557" cy="3085414"/>
          </a:xfrm>
        </p:spPr>
        <p:txBody>
          <a:bodyPr/>
          <a:lstStyle>
            <a:lvl1pPr marL="0" indent="0" defTabSz="914473">
              <a:lnSpc>
                <a:spcPct val="90000"/>
              </a:lnSpc>
              <a:spcAft>
                <a:spcPts val="0"/>
              </a:spcAft>
              <a:buNone/>
              <a:defRPr sz="2133">
                <a:latin typeface="Verdana"/>
                <a:ea typeface="Verdana"/>
                <a:cs typeface="Verdana"/>
              </a:defRPr>
            </a:lvl1pPr>
          </a:lstStyle>
          <a:p>
            <a:pPr lvl="0"/>
            <a:r>
              <a:rPr lang="en-US"/>
              <a:t>Copy goes here. </a:t>
            </a:r>
          </a:p>
        </p:txBody>
      </p:sp>
      <p:sp>
        <p:nvSpPr>
          <p:cNvPr id="6" name="Title 16">
            <a:extLst>
              <a:ext uri="{FF2B5EF4-FFF2-40B4-BE49-F238E27FC236}">
                <a16:creationId xmlns:a16="http://schemas.microsoft.com/office/drawing/2014/main" id="{E0867FF4-B1D9-CE44-8EA2-70F9A83BF799}"/>
              </a:ext>
            </a:extLst>
          </p:cNvPr>
          <p:cNvSpPr txBox="1">
            <a:spLocks noGrp="1"/>
          </p:cNvSpPr>
          <p:nvPr>
            <p:ph type="title"/>
          </p:nvPr>
        </p:nvSpPr>
        <p:spPr>
          <a:xfrm>
            <a:off x="5549394" y="1154531"/>
            <a:ext cx="5466557"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pic>
        <p:nvPicPr>
          <p:cNvPr id="7" name="Picture 7">
            <a:extLst>
              <a:ext uri="{FF2B5EF4-FFF2-40B4-BE49-F238E27FC236}">
                <a16:creationId xmlns:a16="http://schemas.microsoft.com/office/drawing/2014/main" id="{2683C5B0-35BB-B97D-A09B-1D6862961BC3}"/>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Tree>
    <p:extLst>
      <p:ext uri="{BB962C8B-B14F-4D97-AF65-F5344CB8AC3E}">
        <p14:creationId xmlns:p14="http://schemas.microsoft.com/office/powerpoint/2010/main" val="1045856263"/>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p:cSld name="2_Table of Content">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860DA3CF-320E-9DD7-B6B6-688CC6326D70}"/>
              </a:ext>
            </a:extLst>
          </p:cNvPr>
          <p:cNvGraphicFramePr/>
          <p:nvPr/>
        </p:nvGraphicFramePr>
        <p:xfrm>
          <a:off x="2121" y="2121"/>
          <a:ext cx="2112" cy="2112"/>
        </p:xfrm>
        <a:graphic>
          <a:graphicData uri="http://schemas.openxmlformats.org/presentationml/2006/ole">
            <mc:AlternateContent xmlns:mc="http://schemas.openxmlformats.org/markup-compatibility/2006">
              <mc:Choice xmlns:v="urn:schemas-microsoft-com:vml" Requires="v">
                <p:oleObj r:id="rId2" imgW="12700" imgH="12700" progId="">
                  <p:embed/>
                </p:oleObj>
              </mc:Choice>
              <mc:Fallback>
                <p:oleObj r:id="rId2" imgW="12700" imgH="12700" progId="">
                  <p:embed/>
                  <p:pic>
                    <p:nvPicPr>
                      <p:cNvPr id="2" name="Object 2" hidden="1">
                        <a:extLst>
                          <a:ext uri="{FF2B5EF4-FFF2-40B4-BE49-F238E27FC236}">
                            <a16:creationId xmlns:a16="http://schemas.microsoft.com/office/drawing/2014/main" id="{860DA3CF-320E-9DD7-B6B6-688CC6326D70}"/>
                          </a:ext>
                        </a:extLst>
                      </p:cNvPr>
                      <p:cNvPicPr/>
                      <p:nvPr/>
                    </p:nvPicPr>
                    <p:blipFill>
                      <a:blip r:embed="rId3"/>
                      <a:stretch>
                        <a:fillRect/>
                      </a:stretch>
                    </p:blipFill>
                    <p:spPr>
                      <a:xfrm>
                        <a:off x="2121" y="2121"/>
                        <a:ext cx="2112" cy="2112"/>
                      </a:xfrm>
                      <a:prstGeom prst="rect">
                        <a:avLst/>
                      </a:prstGeom>
                    </p:spPr>
                  </p:pic>
                </p:oleObj>
              </mc:Fallback>
            </mc:AlternateContent>
          </a:graphicData>
        </a:graphic>
      </p:graphicFrame>
      <p:sp>
        <p:nvSpPr>
          <p:cNvPr id="3" name="Rectangle 7">
            <a:extLst>
              <a:ext uri="{FF2B5EF4-FFF2-40B4-BE49-F238E27FC236}">
                <a16:creationId xmlns:a16="http://schemas.microsoft.com/office/drawing/2014/main" id="{AF9F86AA-6819-70DB-989D-599FBEA8CDDB}"/>
              </a:ext>
            </a:extLst>
          </p:cNvPr>
          <p:cNvSpPr/>
          <p:nvPr/>
        </p:nvSpPr>
        <p:spPr>
          <a:xfrm>
            <a:off x="-10579" y="6620933"/>
            <a:ext cx="12213165" cy="237067"/>
          </a:xfrm>
          <a:prstGeom prst="rect">
            <a:avLst/>
          </a:prstGeom>
          <a:solidFill>
            <a:srgbClr val="767676"/>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graphicFrame>
        <p:nvGraphicFramePr>
          <p:cNvPr id="4" name="Object 7" hidden="1">
            <a:extLst>
              <a:ext uri="{FF2B5EF4-FFF2-40B4-BE49-F238E27FC236}">
                <a16:creationId xmlns:a16="http://schemas.microsoft.com/office/drawing/2014/main" id="{227612F2-BF80-5748-A2A7-1882EE203789}"/>
              </a:ext>
            </a:extLst>
          </p:cNvPr>
          <p:cNvGraphicFramePr/>
          <p:nvPr/>
        </p:nvGraphicFramePr>
        <p:xfrm>
          <a:off x="2121" y="2121"/>
          <a:ext cx="2112" cy="2112"/>
        </p:xfrm>
        <a:graphic>
          <a:graphicData uri="http://schemas.openxmlformats.org/presentationml/2006/ole">
            <mc:AlternateContent xmlns:mc="http://schemas.openxmlformats.org/markup-compatibility/2006">
              <mc:Choice xmlns:v="urn:schemas-microsoft-com:vml" Requires="v">
                <p:oleObj r:id="rId4" imgW="12700" imgH="12700" progId="">
                  <p:embed/>
                </p:oleObj>
              </mc:Choice>
              <mc:Fallback>
                <p:oleObj r:id="rId4" imgW="12700" imgH="12700" progId="">
                  <p:embed/>
                  <p:pic>
                    <p:nvPicPr>
                      <p:cNvPr id="4" name="Object 7" hidden="1">
                        <a:extLst>
                          <a:ext uri="{FF2B5EF4-FFF2-40B4-BE49-F238E27FC236}">
                            <a16:creationId xmlns:a16="http://schemas.microsoft.com/office/drawing/2014/main" id="{227612F2-BF80-5748-A2A7-1882EE203789}"/>
                          </a:ext>
                        </a:extLst>
                      </p:cNvPr>
                      <p:cNvPicPr/>
                      <p:nvPr/>
                    </p:nvPicPr>
                    <p:blipFill>
                      <a:blip r:embed="rId3"/>
                      <a:stretch>
                        <a:fillRect/>
                      </a:stretch>
                    </p:blipFill>
                    <p:spPr>
                      <a:xfrm>
                        <a:off x="2121" y="2121"/>
                        <a:ext cx="2112" cy="2112"/>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1F137BFF-16A7-D85C-DC6C-90FEEC18A754}"/>
              </a:ext>
            </a:extLst>
          </p:cNvPr>
          <p:cNvSpPr txBox="1">
            <a:spLocks noGrp="1"/>
          </p:cNvSpPr>
          <p:nvPr>
            <p:ph type="title"/>
          </p:nvPr>
        </p:nvSpPr>
        <p:spPr>
          <a:xfrm>
            <a:off x="218112" y="224842"/>
            <a:ext cx="11715722" cy="569323"/>
          </a:xfrm>
        </p:spPr>
        <p:txBody>
          <a:bodyPr/>
          <a:lstStyle>
            <a:lvl1pPr>
              <a:defRPr sz="2933">
                <a:solidFill>
                  <a:srgbClr val="79818A"/>
                </a:solidFill>
              </a:defRPr>
            </a:lvl1pPr>
          </a:lstStyle>
          <a:p>
            <a:pPr lvl="0"/>
            <a:r>
              <a:rPr lang="en-US"/>
              <a:t>Click to edit Master title style</a:t>
            </a:r>
          </a:p>
        </p:txBody>
      </p:sp>
      <p:sp>
        <p:nvSpPr>
          <p:cNvPr id="6" name="Content Placeholder 2">
            <a:extLst>
              <a:ext uri="{FF2B5EF4-FFF2-40B4-BE49-F238E27FC236}">
                <a16:creationId xmlns:a16="http://schemas.microsoft.com/office/drawing/2014/main" id="{1130FBA1-68FA-E0F7-F407-B4AE8B54C8D0}"/>
              </a:ext>
            </a:extLst>
          </p:cNvPr>
          <p:cNvSpPr txBox="1">
            <a:spLocks noGrp="1"/>
          </p:cNvSpPr>
          <p:nvPr>
            <p:ph idx="4294967295"/>
          </p:nvPr>
        </p:nvSpPr>
        <p:spPr>
          <a:xfrm>
            <a:off x="218112" y="917198"/>
            <a:ext cx="11715722" cy="4958672"/>
          </a:xfrm>
        </p:spPr>
        <p:txBody>
          <a:bodyPr/>
          <a:lstStyle>
            <a:lvl1pPr marL="381031" indent="-381031">
              <a:buFont typeface="Wingdings" pitchFamily="2"/>
              <a:buChar char="§"/>
              <a:defRPr sz="1867" b="1"/>
            </a:lvl1pPr>
            <a:lvl2pPr marL="609642" indent="-296353">
              <a:buChar char="̶"/>
              <a:defRPr sz="1867"/>
            </a:lvl2pPr>
            <a:lvl3pPr marL="922931" indent="-313289">
              <a:defRPr sz="1867"/>
            </a:lvl3pPr>
            <a:lvl4pPr marL="1219294" indent="-296353">
              <a:buFont typeface="Wingdings" pitchFamily="2"/>
              <a:buChar char="ü"/>
              <a:defRPr sz="1867"/>
            </a:lvl4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DECF0847-C128-9259-2005-860BA676EA9D}"/>
              </a:ext>
            </a:extLst>
          </p:cNvPr>
          <p:cNvSpPr txBox="1">
            <a:spLocks noGrp="1"/>
          </p:cNvSpPr>
          <p:nvPr>
            <p:ph type="body" idx="4294967295"/>
          </p:nvPr>
        </p:nvSpPr>
        <p:spPr>
          <a:xfrm>
            <a:off x="3858942" y="5969002"/>
            <a:ext cx="8074901" cy="649818"/>
          </a:xfrm>
        </p:spPr>
        <p:txBody>
          <a:bodyPr anchor="b"/>
          <a:lstStyle>
            <a:lvl1pPr>
              <a:defRPr sz="1333"/>
            </a:lvl1pPr>
          </a:lstStyle>
          <a:p>
            <a:pPr lvl="0"/>
            <a:r>
              <a:rPr lang="en-US"/>
              <a:t>Edit Master text styles</a:t>
            </a:r>
          </a:p>
        </p:txBody>
      </p:sp>
      <p:sp>
        <p:nvSpPr>
          <p:cNvPr id="8" name="Slide Number Placeholder 3">
            <a:extLst>
              <a:ext uri="{FF2B5EF4-FFF2-40B4-BE49-F238E27FC236}">
                <a16:creationId xmlns:a16="http://schemas.microsoft.com/office/drawing/2014/main" id="{0A5DC894-56CA-C6C2-A753-84487C22B6FA}"/>
              </a:ext>
            </a:extLst>
          </p:cNvPr>
          <p:cNvSpPr txBox="1">
            <a:spLocks noGrp="1"/>
          </p:cNvSpPr>
          <p:nvPr>
            <p:ph type="sldNum" sz="quarter" idx="8"/>
          </p:nvPr>
        </p:nvSpPr>
        <p:spPr/>
        <p:txBody>
          <a:bodyPr/>
          <a:lstStyle>
            <a:lvl1pPr>
              <a:defRPr sz="1467">
                <a:solidFill>
                  <a:srgbClr val="FFFFFF"/>
                </a:solidFill>
              </a:defRPr>
            </a:lvl1pPr>
          </a:lstStyle>
          <a:p>
            <a:pPr lvl="0"/>
            <a:fld id="{523EF0D1-FBA4-432A-80F4-D8D75EC07DE4}" type="slidenum">
              <a:t>‹#›</a:t>
            </a:fld>
            <a:endParaRPr lang="en-US"/>
          </a:p>
        </p:txBody>
      </p:sp>
      <p:pic>
        <p:nvPicPr>
          <p:cNvPr id="9" name="Picture 3" descr="M:\Marketing Communication and Referral Access\Luis\newbrand\UCM_logo\master\horizontal\UCM_Logo_Master_Brand_Horizontal_Tagline_rgb.jpg">
            <a:extLst>
              <a:ext uri="{FF2B5EF4-FFF2-40B4-BE49-F238E27FC236}">
                <a16:creationId xmlns:a16="http://schemas.microsoft.com/office/drawing/2014/main" id="{F3840E0E-623F-A48D-7FDE-6645B5484735}"/>
              </a:ext>
            </a:extLst>
          </p:cNvPr>
          <p:cNvPicPr>
            <a:picLocks noChangeAspect="1"/>
          </p:cNvPicPr>
          <p:nvPr/>
        </p:nvPicPr>
        <p:blipFill>
          <a:blip r:embed="rId5"/>
          <a:srcRect/>
          <a:stretch>
            <a:fillRect/>
          </a:stretch>
        </p:blipFill>
        <p:spPr>
          <a:xfrm>
            <a:off x="101598" y="5969002"/>
            <a:ext cx="3704344" cy="651930"/>
          </a:xfrm>
          <a:prstGeom prst="rect">
            <a:avLst/>
          </a:prstGeom>
          <a:noFill/>
          <a:ln cap="flat">
            <a:noFill/>
          </a:ln>
        </p:spPr>
      </p:pic>
    </p:spTree>
    <p:extLst>
      <p:ext uri="{BB962C8B-B14F-4D97-AF65-F5344CB8AC3E}">
        <p14:creationId xmlns:p14="http://schemas.microsoft.com/office/powerpoint/2010/main" val="2558160392"/>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08F57C-28E7-689E-D2B4-BC772525E7D5}"/>
              </a:ext>
            </a:extLst>
          </p:cNvPr>
          <p:cNvSpPr txBox="1">
            <a:spLocks noGrp="1"/>
          </p:cNvSpPr>
          <p:nvPr>
            <p:ph type="title"/>
          </p:nvPr>
        </p:nvSpPr>
        <p:spPr>
          <a:xfrm>
            <a:off x="963082" y="4406906"/>
            <a:ext cx="10363196" cy="1362071"/>
          </a:xfrm>
        </p:spPr>
        <p:txBody>
          <a:bodyPr anchor="t"/>
          <a:lstStyle>
            <a:lvl1pPr>
              <a:defRPr sz="4000" cap="all"/>
            </a:lvl1pPr>
          </a:lstStyle>
          <a:p>
            <a:pPr lvl="0"/>
            <a:r>
              <a:rPr lang="en-US"/>
              <a:t>Click to edit Master title style</a:t>
            </a:r>
          </a:p>
        </p:txBody>
      </p:sp>
      <p:sp>
        <p:nvSpPr>
          <p:cNvPr id="3" name="Text Placeholder 2">
            <a:extLst>
              <a:ext uri="{FF2B5EF4-FFF2-40B4-BE49-F238E27FC236}">
                <a16:creationId xmlns:a16="http://schemas.microsoft.com/office/drawing/2014/main" id="{58B60318-7D6D-3F8B-7AE8-A424A6061449}"/>
              </a:ext>
            </a:extLst>
          </p:cNvPr>
          <p:cNvSpPr txBox="1">
            <a:spLocks noGrp="1"/>
          </p:cNvSpPr>
          <p:nvPr>
            <p:ph type="body" idx="1"/>
          </p:nvPr>
        </p:nvSpPr>
        <p:spPr>
          <a:xfrm>
            <a:off x="963082" y="2906714"/>
            <a:ext cx="10363196" cy="1500182"/>
          </a:xfrm>
        </p:spPr>
        <p:txBody>
          <a:bodyPr anchor="b"/>
          <a:lstStyle>
            <a:lvl1pPr marL="0" indent="0">
              <a:buNone/>
              <a:defRPr sz="2000">
                <a:solidFill>
                  <a:srgbClr val="939699"/>
                </a:solidFill>
              </a:defRPr>
            </a:lvl1pPr>
          </a:lstStyle>
          <a:p>
            <a:pPr lvl="0"/>
            <a:r>
              <a:rPr lang="en-US"/>
              <a:t>Click to edit Master text styles</a:t>
            </a:r>
          </a:p>
        </p:txBody>
      </p:sp>
      <p:sp>
        <p:nvSpPr>
          <p:cNvPr id="4" name="Date Placeholder 3">
            <a:extLst>
              <a:ext uri="{FF2B5EF4-FFF2-40B4-BE49-F238E27FC236}">
                <a16:creationId xmlns:a16="http://schemas.microsoft.com/office/drawing/2014/main" id="{EFEE3FF6-3AD2-DEA1-B1A3-8E9B2A253C13}"/>
              </a:ext>
            </a:extLst>
          </p:cNvPr>
          <p:cNvSpPr txBox="1">
            <a:spLocks noGrp="1"/>
          </p:cNvSpPr>
          <p:nvPr>
            <p:ph type="dt" sz="quarter" idx="7"/>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914446"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メイリオ" pitchFamily="34"/>
              </a:defRPr>
            </a:lvl1pPr>
          </a:lstStyle>
          <a:p>
            <a:pPr lvl="0"/>
            <a:fld id="{1E15DDB4-D273-4ECC-AE4C-E1F2C7177156}" type="datetime1">
              <a:rPr lang="en-US"/>
              <a:pPr lvl="0"/>
              <a:t>5/20/2026</a:t>
            </a:fld>
            <a:endParaRPr lang="en-US"/>
          </a:p>
        </p:txBody>
      </p:sp>
      <p:sp>
        <p:nvSpPr>
          <p:cNvPr id="5" name="Footer Placeholder 4">
            <a:extLst>
              <a:ext uri="{FF2B5EF4-FFF2-40B4-BE49-F238E27FC236}">
                <a16:creationId xmlns:a16="http://schemas.microsoft.com/office/drawing/2014/main" id="{1DAB5A28-4D23-987A-5E67-72505C2F6271}"/>
              </a:ext>
            </a:extLst>
          </p:cNvPr>
          <p:cNvSpPr txBox="1">
            <a:spLocks noGrp="1"/>
          </p:cNvSpPr>
          <p:nvPr>
            <p:ph type="ftr" sz="quarter" idx="9"/>
          </p:nvPr>
        </p:nvSpPr>
        <p:spPr/>
        <p:txBody>
          <a:bodyPr anchorCtr="1"/>
          <a:lstStyle>
            <a:lvl1pPr algn="ctr">
              <a:defRPr>
                <a:solidFill>
                  <a:srgbClr val="898989"/>
                </a:solidFill>
              </a:defRPr>
            </a:lvl1pPr>
          </a:lstStyle>
          <a:p>
            <a:pPr lvl="0"/>
            <a:endParaRPr lang="en-US"/>
          </a:p>
        </p:txBody>
      </p:sp>
      <p:sp>
        <p:nvSpPr>
          <p:cNvPr id="6" name="Slide Number Placeholder 5">
            <a:extLst>
              <a:ext uri="{FF2B5EF4-FFF2-40B4-BE49-F238E27FC236}">
                <a16:creationId xmlns:a16="http://schemas.microsoft.com/office/drawing/2014/main" id="{FDDF1B05-F38E-A1EA-CDCF-E0CFDBF5CE21}"/>
              </a:ext>
            </a:extLst>
          </p:cNvPr>
          <p:cNvSpPr txBox="1">
            <a:spLocks noGrp="1"/>
          </p:cNvSpPr>
          <p:nvPr>
            <p:ph type="sldNum" sz="quarter" idx="8"/>
          </p:nvPr>
        </p:nvSpPr>
        <p:spPr/>
        <p:txBody>
          <a:bodyPr/>
          <a:lstStyle>
            <a:lvl1pPr>
              <a:defRPr/>
            </a:lvl1pPr>
          </a:lstStyle>
          <a:p>
            <a:pPr lvl="0"/>
            <a:fld id="{64D15A56-286B-4897-9F15-92D3B5B5661A}" type="slidenum">
              <a:t>‹#›</a:t>
            </a:fld>
            <a:endParaRPr lang="en-US"/>
          </a:p>
        </p:txBody>
      </p:sp>
    </p:spTree>
    <p:extLst>
      <p:ext uri="{BB962C8B-B14F-4D97-AF65-F5344CB8AC3E}">
        <p14:creationId xmlns:p14="http://schemas.microsoft.com/office/powerpoint/2010/main" val="1420148397"/>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1ECCD5-B2FA-1FAA-AAF7-D886AAAE7A38}"/>
              </a:ext>
            </a:extLst>
          </p:cNvPr>
          <p:cNvSpPr txBox="1">
            <a:spLocks noGrp="1"/>
          </p:cNvSpPr>
          <p:nvPr>
            <p:ph type="title"/>
          </p:nvPr>
        </p:nvSpPr>
        <p:spPr>
          <a:xfrm>
            <a:off x="609604" y="273048"/>
            <a:ext cx="4011079" cy="1162046"/>
          </a:xfrm>
        </p:spPr>
        <p:txBody>
          <a:bodyPr anchor="b"/>
          <a:lstStyle>
            <a:lvl1pPr>
              <a:defRPr sz="2000"/>
            </a:lvl1pPr>
          </a:lstStyle>
          <a:p>
            <a:pPr lvl="0"/>
            <a:r>
              <a:rPr lang="en-US"/>
              <a:t>Click to edit Master title style</a:t>
            </a:r>
          </a:p>
        </p:txBody>
      </p:sp>
      <p:sp>
        <p:nvSpPr>
          <p:cNvPr id="3" name="Content Placeholder 2">
            <a:extLst>
              <a:ext uri="{FF2B5EF4-FFF2-40B4-BE49-F238E27FC236}">
                <a16:creationId xmlns:a16="http://schemas.microsoft.com/office/drawing/2014/main" id="{45C4A1F2-C2D3-D2B4-0343-1395B6BEBC72}"/>
              </a:ext>
            </a:extLst>
          </p:cNvPr>
          <p:cNvSpPr txBox="1">
            <a:spLocks noGrp="1"/>
          </p:cNvSpPr>
          <p:nvPr>
            <p:ph idx="1"/>
          </p:nvPr>
        </p:nvSpPr>
        <p:spPr>
          <a:xfrm>
            <a:off x="4766731" y="273058"/>
            <a:ext cx="6815663" cy="5853110"/>
          </a:xfrm>
        </p:spPr>
        <p:txBody>
          <a:bodyPr/>
          <a:lstStyle>
            <a:lvl1pPr>
              <a:defRPr sz="3200"/>
            </a:lvl1pPr>
            <a:lvl2pPr>
              <a:defRPr sz="2800"/>
            </a:lvl2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83C5F9B-2FD1-EE0C-9D8B-1FC3EEE70E46}"/>
              </a:ext>
            </a:extLst>
          </p:cNvPr>
          <p:cNvSpPr txBox="1">
            <a:spLocks noGrp="1"/>
          </p:cNvSpPr>
          <p:nvPr>
            <p:ph type="body" idx="2"/>
          </p:nvPr>
        </p:nvSpPr>
        <p:spPr>
          <a:xfrm>
            <a:off x="609604" y="1435105"/>
            <a:ext cx="4011079" cy="4691064"/>
          </a:xfrm>
        </p:spPr>
        <p:txBody>
          <a:bodyPr/>
          <a:lstStyle>
            <a:lvl1pPr marL="0" indent="0">
              <a:buNone/>
              <a:defRPr sz="1400"/>
            </a:lvl1pPr>
          </a:lstStyle>
          <a:p>
            <a:pPr lvl="0"/>
            <a:r>
              <a:rPr lang="en-US"/>
              <a:t>Click to edit Master text styles</a:t>
            </a:r>
          </a:p>
        </p:txBody>
      </p:sp>
      <p:sp>
        <p:nvSpPr>
          <p:cNvPr id="5" name="Date Placeholder 3">
            <a:extLst>
              <a:ext uri="{FF2B5EF4-FFF2-40B4-BE49-F238E27FC236}">
                <a16:creationId xmlns:a16="http://schemas.microsoft.com/office/drawing/2014/main" id="{C9B5256F-532C-ACF8-FC86-98569D54C29B}"/>
              </a:ext>
            </a:extLst>
          </p:cNvPr>
          <p:cNvSpPr txBox="1">
            <a:spLocks noGrp="1"/>
          </p:cNvSpPr>
          <p:nvPr>
            <p:ph type="dt" sz="quarter" idx="7"/>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914446"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メイリオ" pitchFamily="34"/>
              </a:defRPr>
            </a:lvl1pPr>
          </a:lstStyle>
          <a:p>
            <a:pPr lvl="0"/>
            <a:fld id="{EAE26171-3EF5-4A45-B902-78DB536C40D0}" type="datetime1">
              <a:rPr lang="en-US"/>
              <a:pPr lvl="0"/>
              <a:t>5/20/2026</a:t>
            </a:fld>
            <a:endParaRPr lang="en-US"/>
          </a:p>
        </p:txBody>
      </p:sp>
      <p:sp>
        <p:nvSpPr>
          <p:cNvPr id="6" name="Footer Placeholder 4">
            <a:extLst>
              <a:ext uri="{FF2B5EF4-FFF2-40B4-BE49-F238E27FC236}">
                <a16:creationId xmlns:a16="http://schemas.microsoft.com/office/drawing/2014/main" id="{C290823B-A9E1-9047-09C5-026AF69128AC}"/>
              </a:ext>
            </a:extLst>
          </p:cNvPr>
          <p:cNvSpPr txBox="1">
            <a:spLocks noGrp="1"/>
          </p:cNvSpPr>
          <p:nvPr>
            <p:ph type="ftr" sz="quarter" idx="9"/>
          </p:nvPr>
        </p:nvSpPr>
        <p:spPr/>
        <p:txBody>
          <a:bodyPr anchorCtr="1"/>
          <a:lstStyle>
            <a:lvl1pPr algn="ctr">
              <a:defRPr/>
            </a:lvl1pPr>
          </a:lstStyle>
          <a:p>
            <a:pPr lvl="0"/>
            <a:endParaRPr lang="en-US"/>
          </a:p>
        </p:txBody>
      </p:sp>
      <p:sp>
        <p:nvSpPr>
          <p:cNvPr id="7" name="Slide Number Placeholder 5">
            <a:extLst>
              <a:ext uri="{FF2B5EF4-FFF2-40B4-BE49-F238E27FC236}">
                <a16:creationId xmlns:a16="http://schemas.microsoft.com/office/drawing/2014/main" id="{C146667F-67C4-1734-F683-5C83425B0C71}"/>
              </a:ext>
            </a:extLst>
          </p:cNvPr>
          <p:cNvSpPr txBox="1">
            <a:spLocks noGrp="1"/>
          </p:cNvSpPr>
          <p:nvPr>
            <p:ph type="sldNum" sz="quarter" idx="8"/>
          </p:nvPr>
        </p:nvSpPr>
        <p:spPr/>
        <p:txBody>
          <a:bodyPr/>
          <a:lstStyle>
            <a:lvl1pPr>
              <a:defRPr/>
            </a:lvl1pPr>
          </a:lstStyle>
          <a:p>
            <a:pPr lvl="0"/>
            <a:fld id="{02AD91E7-4742-4D90-BD7B-5278911C5EA1}" type="slidenum">
              <a:t>‹#›</a:t>
            </a:fld>
            <a:endParaRPr lang="en-US"/>
          </a:p>
        </p:txBody>
      </p:sp>
    </p:spTree>
    <p:extLst>
      <p:ext uri="{BB962C8B-B14F-4D97-AF65-F5344CB8AC3E}">
        <p14:creationId xmlns:p14="http://schemas.microsoft.com/office/powerpoint/2010/main" val="3742663446"/>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p:cSld name="1_EVERYDAY CONTENT ONLY">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90F09C27-8289-182E-F233-C455B4AD0E4C}"/>
              </a:ext>
            </a:extLst>
          </p:cNvPr>
          <p:cNvSpPr/>
          <p:nvPr/>
        </p:nvSpPr>
        <p:spPr>
          <a:xfrm>
            <a:off x="0" y="0"/>
            <a:ext cx="12191996" cy="1313060"/>
          </a:xfrm>
          <a:prstGeom prst="rect">
            <a:avLst/>
          </a:prstGeom>
          <a:gradFill>
            <a:gsLst>
              <a:gs pos="0">
                <a:srgbClr val="1C498B"/>
              </a:gs>
              <a:gs pos="100000">
                <a:srgbClr val="79818A"/>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Shape">
            <a:extLst>
              <a:ext uri="{FF2B5EF4-FFF2-40B4-BE49-F238E27FC236}">
                <a16:creationId xmlns:a16="http://schemas.microsoft.com/office/drawing/2014/main" id="{163852BB-7828-994A-ECE9-0D6771B51332}"/>
              </a:ext>
            </a:extLst>
          </p:cNvPr>
          <p:cNvSpPr/>
          <p:nvPr/>
        </p:nvSpPr>
        <p:spPr>
          <a:xfrm>
            <a:off x="6863642" y="16268"/>
            <a:ext cx="5328355" cy="812270"/>
          </a:xfrm>
          <a:custGeom>
            <a:avLst/>
            <a:gdLst>
              <a:gd name="f0" fmla="val 10800000"/>
              <a:gd name="f1" fmla="val 5400000"/>
              <a:gd name="f2" fmla="val 180"/>
              <a:gd name="f3" fmla="val w"/>
              <a:gd name="f4" fmla="val h"/>
              <a:gd name="f5" fmla="val 0"/>
              <a:gd name="f6" fmla="val 21600"/>
              <a:gd name="f7" fmla="val 20619"/>
              <a:gd name="f8" fmla="val 7043"/>
              <a:gd name="f9" fmla="val 1599"/>
              <a:gd name="f10" fmla="val 10431"/>
              <a:gd name="f11" fmla="val 3359"/>
              <a:gd name="f12" fmla="val 12009"/>
              <a:gd name="f13" fmla="val 5125"/>
              <a:gd name="f14" fmla="val 11638"/>
              <a:gd name="f15" fmla="val 8965"/>
              <a:gd name="f16" fmla="val 10834"/>
              <a:gd name="f17" fmla="val 12429"/>
              <a:gd name="f18" fmla="val 1037"/>
              <a:gd name="f19" fmla="val 16255"/>
              <a:gd name="f20" fmla="val 77"/>
              <a:gd name="f21" fmla="val 18093"/>
              <a:gd name="f22" fmla="+- 0 0 385"/>
              <a:gd name="f23" fmla="val 19927"/>
              <a:gd name="f24" fmla="val 1227"/>
              <a:gd name="f25" fmla="val 21590"/>
              <a:gd name="f26" fmla="val 4766"/>
              <a:gd name="f27" fmla="val 14041"/>
              <a:gd name="f28" fmla="val 19718"/>
              <a:gd name="f29" fmla="val 9870"/>
              <a:gd name="f30" fmla="val 17612"/>
              <a:gd name="f31" fmla="val 8157"/>
              <a:gd name="f32" fmla="val 15523"/>
              <a:gd name="f33" fmla="val 9097"/>
              <a:gd name="f34" fmla="val 12138"/>
              <a:gd name="f35" fmla="val 10620"/>
              <a:gd name="f36" fmla="val 9076"/>
              <a:gd name="f37" fmla="val 19001"/>
              <a:gd name="f38" fmla="val 5674"/>
              <a:gd name="f39" fmla="val 20410"/>
              <a:gd name="f40" fmla="val 3728"/>
              <a:gd name="f41" fmla="val 21215"/>
              <a:gd name="f42" fmla="val 1770"/>
              <a:gd name="f43" fmla="val 19679"/>
              <a:gd name="f44" fmla="val 15961"/>
              <a:gd name="f45" fmla="+- 0 0 -90"/>
              <a:gd name="f46" fmla="+- 0 0 -180"/>
              <a:gd name="f47" fmla="+- 0 0 -270"/>
              <a:gd name="f48" fmla="+- 0 0 -360"/>
              <a:gd name="f49" fmla="*/ f3 1 21600"/>
              <a:gd name="f50" fmla="*/ f4 1 20619"/>
              <a:gd name="f51" fmla="+- f7 0 f5"/>
              <a:gd name="f52" fmla="+- f6 0 f5"/>
              <a:gd name="f53" fmla="*/ f45 f0 1"/>
              <a:gd name="f54" fmla="*/ f46 f0 1"/>
              <a:gd name="f55" fmla="*/ f47 f0 1"/>
              <a:gd name="f56" fmla="*/ f48 f0 1"/>
              <a:gd name="f57" fmla="*/ f51 1 2"/>
              <a:gd name="f58" fmla="*/ f52 1 2"/>
              <a:gd name="f59" fmla="*/ f52 1 21600"/>
              <a:gd name="f60" fmla="*/ f51 1 20619"/>
              <a:gd name="f61" fmla="*/ f53 1 f2"/>
              <a:gd name="f62" fmla="*/ f54 1 f2"/>
              <a:gd name="f63" fmla="*/ f55 1 f2"/>
              <a:gd name="f64" fmla="*/ f56 1 f2"/>
              <a:gd name="f65" fmla="*/ f58 1 f59"/>
              <a:gd name="f66" fmla="*/ f57 1 f60"/>
              <a:gd name="f67" fmla="*/ 0 1 f59"/>
              <a:gd name="f68" fmla="*/ f6 1 f59"/>
              <a:gd name="f69" fmla="*/ 0 1 f60"/>
              <a:gd name="f70" fmla="*/ f7 1 f60"/>
              <a:gd name="f71" fmla="+- f61 0 f1"/>
              <a:gd name="f72" fmla="+- f62 0 f1"/>
              <a:gd name="f73" fmla="+- f63 0 f1"/>
              <a:gd name="f74" fmla="+- f64 0 f1"/>
              <a:gd name="f75" fmla="*/ f67 f49 1"/>
              <a:gd name="f76" fmla="*/ f68 f49 1"/>
              <a:gd name="f77" fmla="*/ f70 f50 1"/>
              <a:gd name="f78" fmla="*/ f69 f50 1"/>
              <a:gd name="f79" fmla="*/ f65 f49 1"/>
              <a:gd name="f80" fmla="*/ f66 f50 1"/>
            </a:gdLst>
            <a:ahLst/>
            <a:cxnLst>
              <a:cxn ang="3cd4">
                <a:pos x="hc" y="t"/>
              </a:cxn>
              <a:cxn ang="0">
                <a:pos x="r" y="vc"/>
              </a:cxn>
              <a:cxn ang="cd4">
                <a:pos x="hc" y="b"/>
              </a:cxn>
              <a:cxn ang="cd2">
                <a:pos x="l" y="vc"/>
              </a:cxn>
              <a:cxn ang="f71">
                <a:pos x="f79" y="f80"/>
              </a:cxn>
              <a:cxn ang="f72">
                <a:pos x="f79" y="f80"/>
              </a:cxn>
              <a:cxn ang="f73">
                <a:pos x="f79" y="f80"/>
              </a:cxn>
              <a:cxn ang="f74">
                <a:pos x="f79" y="f80"/>
              </a:cxn>
            </a:cxnLst>
            <a:rect l="f75" t="f78" r="f76" b="f77"/>
            <a:pathLst>
              <a:path w="21600" h="20619">
                <a:moveTo>
                  <a:pt x="f5" y="f8"/>
                </a:moveTo>
                <a:cubicBezTo>
                  <a:pt x="f9" y="f10"/>
                  <a:pt x="f11" y="f12"/>
                  <a:pt x="f13" y="f14"/>
                </a:cubicBezTo>
                <a:cubicBezTo>
                  <a:pt x="f15" y="f16"/>
                  <a:pt x="f17" y="f18"/>
                  <a:pt x="f19" y="f20"/>
                </a:cubicBezTo>
                <a:cubicBezTo>
                  <a:pt x="f21" y="f22"/>
                  <a:pt x="f23" y="f24"/>
                  <a:pt x="f25" y="f26"/>
                </a:cubicBezTo>
                <a:lnTo>
                  <a:pt x="f6" y="f27"/>
                </a:lnTo>
                <a:cubicBezTo>
                  <a:pt x="f28" y="f29"/>
                  <a:pt x="f30" y="f31"/>
                  <a:pt x="f32" y="f33"/>
                </a:cubicBezTo>
                <a:cubicBezTo>
                  <a:pt x="f34" y="f35"/>
                  <a:pt x="f36" y="f37"/>
                  <a:pt x="f38" y="f39"/>
                </a:cubicBezTo>
                <a:cubicBezTo>
                  <a:pt x="f40" y="f41"/>
                  <a:pt x="f42" y="f43"/>
                  <a:pt x="f5" y="f44"/>
                </a:cubicBezTo>
                <a:lnTo>
                  <a:pt x="f5" y="f8"/>
                </a:lnTo>
                <a:close/>
              </a:path>
            </a:pathLst>
          </a:custGeom>
          <a:gradFill>
            <a:gsLst>
              <a:gs pos="0">
                <a:srgbClr val="1C498B">
                  <a:alpha val="0"/>
                </a:srgbClr>
              </a:gs>
              <a:gs pos="100000">
                <a:srgbClr val="1C498B">
                  <a:alpha val="63000"/>
                </a:srgbClr>
              </a:gs>
            </a:gsLst>
            <a:lin ang="0"/>
          </a:gradFill>
          <a:ln cap="flat">
            <a:noFill/>
            <a:prstDash val="solid"/>
          </a:ln>
        </p:spPr>
        <p:txBody>
          <a:bodyPr vert="horz" wrap="square" lIns="0" tIns="0" rIns="0" bIns="0" anchor="ctr" anchorCtr="1" compatLnSpc="1">
            <a:noAutofit/>
          </a:bodyPr>
          <a:lstStyle/>
          <a:p>
            <a:pPr marL="0" marR="0" lvl="0" indent="0" algn="ctr" defTabSz="412799" rtl="0" fontAlgn="auto" hangingPunct="0">
              <a:lnSpc>
                <a:spcPct val="100000"/>
              </a:lnSpc>
              <a:spcBef>
                <a:spcPts val="0"/>
              </a:spcBef>
              <a:spcAft>
                <a:spcPts val="0"/>
              </a:spcAft>
              <a:buNone/>
              <a:tabLst/>
              <a:defRPr sz="2400" b="0" i="0" u="none" strike="noStrike" kern="0" cap="none" spc="0" baseline="0">
                <a:solidFill>
                  <a:srgbClr val="FFFFFF"/>
                </a:solidFill>
                <a:uFillTx/>
                <a:latin typeface="Helvetica Neue Medium"/>
                <a:ea typeface="Helvetica Neue Medium"/>
                <a:cs typeface="Helvetica Neue Medium"/>
              </a:defRPr>
            </a:pPr>
            <a:endParaRPr lang="en-US" sz="1525" b="0" i="0" u="none" strike="noStrike" kern="0" cap="none" spc="0" baseline="0">
              <a:solidFill>
                <a:srgbClr val="FFFFFF"/>
              </a:solidFill>
              <a:uFillTx/>
              <a:latin typeface="Helvetica Neue Medium"/>
              <a:ea typeface="Helvetica Neue Medium"/>
              <a:cs typeface="Helvetica Neue Medium"/>
            </a:endParaRPr>
          </a:p>
        </p:txBody>
      </p:sp>
      <p:sp>
        <p:nvSpPr>
          <p:cNvPr id="4" name="Content Placeholder 2">
            <a:extLst>
              <a:ext uri="{FF2B5EF4-FFF2-40B4-BE49-F238E27FC236}">
                <a16:creationId xmlns:a16="http://schemas.microsoft.com/office/drawing/2014/main" id="{A350172D-87BF-B3B1-FF73-DBB4F5FA2455}"/>
              </a:ext>
            </a:extLst>
          </p:cNvPr>
          <p:cNvSpPr txBox="1">
            <a:spLocks noGrp="1"/>
          </p:cNvSpPr>
          <p:nvPr>
            <p:ph idx="4294967295"/>
          </p:nvPr>
        </p:nvSpPr>
        <p:spPr>
          <a:xfrm>
            <a:off x="508544" y="1707789"/>
            <a:ext cx="11203667" cy="4648571"/>
          </a:xfrm>
        </p:spPr>
        <p:txBody>
          <a:bodyPr/>
          <a:lstStyle>
            <a:lvl1pPr>
              <a:defRPr>
                <a:solidFill>
                  <a:srgbClr val="4C555F"/>
                </a:solidFill>
              </a:defRPr>
            </a:lvl1pPr>
            <a:lvl2pPr>
              <a:defRPr>
                <a:solidFill>
                  <a:srgbClr val="4C555F"/>
                </a:solidFill>
              </a:defRPr>
            </a:lvl2pPr>
            <a:lvl3pPr>
              <a:defRPr>
                <a:solidFill>
                  <a:srgbClr val="4C555F"/>
                </a:solidFill>
              </a:defRPr>
            </a:lvl3pPr>
            <a:lvl4pPr>
              <a:defRPr>
                <a:solidFill>
                  <a:srgbClr val="4C555F"/>
                </a:solidFill>
              </a:defRPr>
            </a:lvl4pPr>
            <a:lvl5pPr>
              <a:defRPr>
                <a:solidFill>
                  <a:srgbClr val="4C555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hape">
            <a:extLst>
              <a:ext uri="{FF2B5EF4-FFF2-40B4-BE49-F238E27FC236}">
                <a16:creationId xmlns:a16="http://schemas.microsoft.com/office/drawing/2014/main" id="{451C2E66-E923-0AD2-83D2-0062EDE63224}"/>
              </a:ext>
            </a:extLst>
          </p:cNvPr>
          <p:cNvSpPr/>
          <p:nvPr/>
        </p:nvSpPr>
        <p:spPr>
          <a:xfrm>
            <a:off x="6863642" y="519644"/>
            <a:ext cx="5328355" cy="812270"/>
          </a:xfrm>
          <a:custGeom>
            <a:avLst/>
            <a:gdLst>
              <a:gd name="f0" fmla="val 10800000"/>
              <a:gd name="f1" fmla="val 5400000"/>
              <a:gd name="f2" fmla="val 180"/>
              <a:gd name="f3" fmla="val w"/>
              <a:gd name="f4" fmla="val h"/>
              <a:gd name="f5" fmla="val 0"/>
              <a:gd name="f6" fmla="val 21600"/>
              <a:gd name="f7" fmla="val 20619"/>
              <a:gd name="f8" fmla="val 7043"/>
              <a:gd name="f9" fmla="val 1599"/>
              <a:gd name="f10" fmla="val 10431"/>
              <a:gd name="f11" fmla="val 3359"/>
              <a:gd name="f12" fmla="val 12009"/>
              <a:gd name="f13" fmla="val 5125"/>
              <a:gd name="f14" fmla="val 11638"/>
              <a:gd name="f15" fmla="val 8965"/>
              <a:gd name="f16" fmla="val 10834"/>
              <a:gd name="f17" fmla="val 12429"/>
              <a:gd name="f18" fmla="val 1037"/>
              <a:gd name="f19" fmla="val 16255"/>
              <a:gd name="f20" fmla="val 77"/>
              <a:gd name="f21" fmla="val 18093"/>
              <a:gd name="f22" fmla="+- 0 0 385"/>
              <a:gd name="f23" fmla="val 19927"/>
              <a:gd name="f24" fmla="val 1227"/>
              <a:gd name="f25" fmla="val 21590"/>
              <a:gd name="f26" fmla="val 4766"/>
              <a:gd name="f27" fmla="val 14041"/>
              <a:gd name="f28" fmla="val 19718"/>
              <a:gd name="f29" fmla="val 9870"/>
              <a:gd name="f30" fmla="val 17612"/>
              <a:gd name="f31" fmla="val 8157"/>
              <a:gd name="f32" fmla="val 15523"/>
              <a:gd name="f33" fmla="val 9097"/>
              <a:gd name="f34" fmla="val 12138"/>
              <a:gd name="f35" fmla="val 10620"/>
              <a:gd name="f36" fmla="val 9076"/>
              <a:gd name="f37" fmla="val 19001"/>
              <a:gd name="f38" fmla="val 5674"/>
              <a:gd name="f39" fmla="val 20410"/>
              <a:gd name="f40" fmla="val 3728"/>
              <a:gd name="f41" fmla="val 21215"/>
              <a:gd name="f42" fmla="val 1770"/>
              <a:gd name="f43" fmla="val 19679"/>
              <a:gd name="f44" fmla="val 15961"/>
              <a:gd name="f45" fmla="+- 0 0 -90"/>
              <a:gd name="f46" fmla="+- 0 0 -180"/>
              <a:gd name="f47" fmla="+- 0 0 -270"/>
              <a:gd name="f48" fmla="+- 0 0 -360"/>
              <a:gd name="f49" fmla="*/ f3 1 21600"/>
              <a:gd name="f50" fmla="*/ f4 1 20619"/>
              <a:gd name="f51" fmla="+- f7 0 f5"/>
              <a:gd name="f52" fmla="+- f6 0 f5"/>
              <a:gd name="f53" fmla="*/ f45 f0 1"/>
              <a:gd name="f54" fmla="*/ f46 f0 1"/>
              <a:gd name="f55" fmla="*/ f47 f0 1"/>
              <a:gd name="f56" fmla="*/ f48 f0 1"/>
              <a:gd name="f57" fmla="*/ f51 1 2"/>
              <a:gd name="f58" fmla="*/ f52 1 2"/>
              <a:gd name="f59" fmla="*/ f52 1 21600"/>
              <a:gd name="f60" fmla="*/ f51 1 20619"/>
              <a:gd name="f61" fmla="*/ f53 1 f2"/>
              <a:gd name="f62" fmla="*/ f54 1 f2"/>
              <a:gd name="f63" fmla="*/ f55 1 f2"/>
              <a:gd name="f64" fmla="*/ f56 1 f2"/>
              <a:gd name="f65" fmla="*/ f58 1 f59"/>
              <a:gd name="f66" fmla="*/ f57 1 f60"/>
              <a:gd name="f67" fmla="*/ 0 1 f59"/>
              <a:gd name="f68" fmla="*/ f6 1 f59"/>
              <a:gd name="f69" fmla="*/ 0 1 f60"/>
              <a:gd name="f70" fmla="*/ f7 1 f60"/>
              <a:gd name="f71" fmla="+- f61 0 f1"/>
              <a:gd name="f72" fmla="+- f62 0 f1"/>
              <a:gd name="f73" fmla="+- f63 0 f1"/>
              <a:gd name="f74" fmla="+- f64 0 f1"/>
              <a:gd name="f75" fmla="*/ f67 f49 1"/>
              <a:gd name="f76" fmla="*/ f68 f49 1"/>
              <a:gd name="f77" fmla="*/ f70 f50 1"/>
              <a:gd name="f78" fmla="*/ f69 f50 1"/>
              <a:gd name="f79" fmla="*/ f65 f49 1"/>
              <a:gd name="f80" fmla="*/ f66 f50 1"/>
            </a:gdLst>
            <a:ahLst/>
            <a:cxnLst>
              <a:cxn ang="3cd4">
                <a:pos x="hc" y="t"/>
              </a:cxn>
              <a:cxn ang="0">
                <a:pos x="r" y="vc"/>
              </a:cxn>
              <a:cxn ang="cd4">
                <a:pos x="hc" y="b"/>
              </a:cxn>
              <a:cxn ang="cd2">
                <a:pos x="l" y="vc"/>
              </a:cxn>
              <a:cxn ang="f71">
                <a:pos x="f79" y="f80"/>
              </a:cxn>
              <a:cxn ang="f72">
                <a:pos x="f79" y="f80"/>
              </a:cxn>
              <a:cxn ang="f73">
                <a:pos x="f79" y="f80"/>
              </a:cxn>
              <a:cxn ang="f74">
                <a:pos x="f79" y="f80"/>
              </a:cxn>
            </a:cxnLst>
            <a:rect l="f75" t="f78" r="f76" b="f77"/>
            <a:pathLst>
              <a:path w="21600" h="20619">
                <a:moveTo>
                  <a:pt x="f5" y="f8"/>
                </a:moveTo>
                <a:cubicBezTo>
                  <a:pt x="f9" y="f10"/>
                  <a:pt x="f11" y="f12"/>
                  <a:pt x="f13" y="f14"/>
                </a:cubicBezTo>
                <a:cubicBezTo>
                  <a:pt x="f15" y="f16"/>
                  <a:pt x="f17" y="f18"/>
                  <a:pt x="f19" y="f20"/>
                </a:cubicBezTo>
                <a:cubicBezTo>
                  <a:pt x="f21" y="f22"/>
                  <a:pt x="f23" y="f24"/>
                  <a:pt x="f25" y="f26"/>
                </a:cubicBezTo>
                <a:lnTo>
                  <a:pt x="f6" y="f27"/>
                </a:lnTo>
                <a:cubicBezTo>
                  <a:pt x="f28" y="f29"/>
                  <a:pt x="f30" y="f31"/>
                  <a:pt x="f32" y="f33"/>
                </a:cubicBezTo>
                <a:cubicBezTo>
                  <a:pt x="f34" y="f35"/>
                  <a:pt x="f36" y="f37"/>
                  <a:pt x="f38" y="f39"/>
                </a:cubicBezTo>
                <a:cubicBezTo>
                  <a:pt x="f40" y="f41"/>
                  <a:pt x="f42" y="f43"/>
                  <a:pt x="f5" y="f44"/>
                </a:cubicBezTo>
                <a:lnTo>
                  <a:pt x="f5" y="f8"/>
                </a:lnTo>
                <a:close/>
              </a:path>
            </a:pathLst>
          </a:custGeom>
          <a:gradFill>
            <a:gsLst>
              <a:gs pos="0">
                <a:srgbClr val="1C498B">
                  <a:alpha val="0"/>
                </a:srgbClr>
              </a:gs>
              <a:gs pos="100000">
                <a:srgbClr val="1C498B">
                  <a:alpha val="63000"/>
                </a:srgbClr>
              </a:gs>
            </a:gsLst>
            <a:lin ang="0"/>
          </a:gradFill>
          <a:ln cap="flat">
            <a:noFill/>
            <a:prstDash val="solid"/>
          </a:ln>
        </p:spPr>
        <p:txBody>
          <a:bodyPr vert="horz" wrap="square" lIns="0" tIns="0" rIns="0" bIns="0" anchor="ctr" anchorCtr="1" compatLnSpc="1">
            <a:noAutofit/>
          </a:bodyPr>
          <a:lstStyle/>
          <a:p>
            <a:pPr marL="0" marR="0" lvl="0" indent="0" algn="ctr" defTabSz="412799" rtl="0" fontAlgn="auto" hangingPunct="0">
              <a:lnSpc>
                <a:spcPct val="100000"/>
              </a:lnSpc>
              <a:spcBef>
                <a:spcPts val="0"/>
              </a:spcBef>
              <a:spcAft>
                <a:spcPts val="0"/>
              </a:spcAft>
              <a:buNone/>
              <a:tabLst/>
              <a:defRPr sz="2400" b="0" i="0" u="none" strike="noStrike" kern="0" cap="none" spc="0" baseline="0">
                <a:solidFill>
                  <a:srgbClr val="FFFFFF"/>
                </a:solidFill>
                <a:uFillTx/>
                <a:latin typeface="Helvetica Neue Medium"/>
                <a:ea typeface="Helvetica Neue Medium"/>
                <a:cs typeface="Helvetica Neue Medium"/>
              </a:defRPr>
            </a:pPr>
            <a:endParaRPr lang="en-US" sz="1525" b="0" i="0" u="none" strike="noStrike" kern="0" cap="none" spc="0" baseline="0">
              <a:solidFill>
                <a:srgbClr val="FFFFFF"/>
              </a:solidFill>
              <a:uFillTx/>
              <a:latin typeface="Helvetica Neue Medium"/>
              <a:ea typeface="Helvetica Neue Medium"/>
              <a:cs typeface="Helvetica Neue Medium"/>
            </a:endParaRPr>
          </a:p>
        </p:txBody>
      </p:sp>
      <p:sp>
        <p:nvSpPr>
          <p:cNvPr id="6" name="Title 1">
            <a:extLst>
              <a:ext uri="{FF2B5EF4-FFF2-40B4-BE49-F238E27FC236}">
                <a16:creationId xmlns:a16="http://schemas.microsoft.com/office/drawing/2014/main" id="{D6FAF4AE-CB4F-F591-50F9-A3329237BAC7}"/>
              </a:ext>
            </a:extLst>
          </p:cNvPr>
          <p:cNvSpPr txBox="1">
            <a:spLocks noGrp="1"/>
          </p:cNvSpPr>
          <p:nvPr>
            <p:ph type="title"/>
          </p:nvPr>
        </p:nvSpPr>
        <p:spPr>
          <a:xfrm>
            <a:off x="304796" y="170060"/>
            <a:ext cx="11430000" cy="1143000"/>
          </a:xfrm>
        </p:spPr>
        <p:txBody>
          <a:bodyPr/>
          <a:lstStyle>
            <a:lvl1pPr>
              <a:defRPr sz="3200">
                <a:solidFill>
                  <a:srgbClr val="FFFFFF"/>
                </a:solidFill>
              </a:defRPr>
            </a:lvl1pPr>
          </a:lstStyle>
          <a:p>
            <a:pPr lvl="0"/>
            <a:r>
              <a:rPr lang="en-US"/>
              <a:t>Click to edit Master title style</a:t>
            </a:r>
          </a:p>
        </p:txBody>
      </p:sp>
      <p:sp>
        <p:nvSpPr>
          <p:cNvPr id="7" name="Text Placeholder 4">
            <a:extLst>
              <a:ext uri="{FF2B5EF4-FFF2-40B4-BE49-F238E27FC236}">
                <a16:creationId xmlns:a16="http://schemas.microsoft.com/office/drawing/2014/main" id="{60CFE357-A039-0742-7330-33BC43CE44BE}"/>
              </a:ext>
            </a:extLst>
          </p:cNvPr>
          <p:cNvSpPr txBox="1">
            <a:spLocks noGrp="1"/>
          </p:cNvSpPr>
          <p:nvPr>
            <p:ph type="body" idx="4294967295"/>
          </p:nvPr>
        </p:nvSpPr>
        <p:spPr>
          <a:xfrm>
            <a:off x="332184" y="953345"/>
            <a:ext cx="11430109" cy="415923"/>
          </a:xfrm>
        </p:spPr>
        <p:txBody>
          <a:bodyPr>
            <a:normAutofit/>
          </a:bodyPr>
          <a:lstStyle>
            <a:lvl1pPr marL="0" indent="0">
              <a:buNone/>
              <a:defRPr sz="1400">
                <a:solidFill>
                  <a:srgbClr val="FFFFFF"/>
                </a:solidFill>
              </a:defRPr>
            </a:lvl1pPr>
          </a:lstStyle>
          <a:p>
            <a:pPr lvl="0"/>
            <a:r>
              <a:rPr lang="en-US"/>
              <a:t>Subtitle</a:t>
            </a:r>
          </a:p>
        </p:txBody>
      </p:sp>
      <p:cxnSp>
        <p:nvCxnSpPr>
          <p:cNvPr id="8" name="Straight Connector 15">
            <a:extLst>
              <a:ext uri="{FF2B5EF4-FFF2-40B4-BE49-F238E27FC236}">
                <a16:creationId xmlns:a16="http://schemas.microsoft.com/office/drawing/2014/main" id="{B7916D32-868B-56B2-297A-C2AE780DDC5B}"/>
              </a:ext>
            </a:extLst>
          </p:cNvPr>
          <p:cNvCxnSpPr/>
          <p:nvPr/>
        </p:nvCxnSpPr>
        <p:spPr>
          <a:xfrm>
            <a:off x="11311722" y="6447270"/>
            <a:ext cx="0" cy="267883"/>
          </a:xfrm>
          <a:prstGeom prst="straightConnector1">
            <a:avLst/>
          </a:prstGeom>
          <a:noFill/>
          <a:ln w="6345" cap="flat">
            <a:solidFill>
              <a:srgbClr val="7F7F7F"/>
            </a:solidFill>
            <a:prstDash val="solid"/>
            <a:miter/>
          </a:ln>
        </p:spPr>
      </p:cxnSp>
      <p:sp>
        <p:nvSpPr>
          <p:cNvPr id="9" name="Slide Number Placeholder 6">
            <a:extLst>
              <a:ext uri="{FF2B5EF4-FFF2-40B4-BE49-F238E27FC236}">
                <a16:creationId xmlns:a16="http://schemas.microsoft.com/office/drawing/2014/main" id="{D7A2DA6F-05F6-78E9-2D97-1462CF65CDFD}"/>
              </a:ext>
            </a:extLst>
          </p:cNvPr>
          <p:cNvSpPr txBox="1">
            <a:spLocks noGrp="1"/>
          </p:cNvSpPr>
          <p:nvPr>
            <p:ph type="sldNum" sz="quarter" idx="8"/>
          </p:nvPr>
        </p:nvSpPr>
        <p:spPr>
          <a:xfrm>
            <a:off x="11202597" y="6454531"/>
            <a:ext cx="559704" cy="319171"/>
          </a:xfrm>
        </p:spPr>
        <p:txBody>
          <a:bodyPr/>
          <a:lstStyle>
            <a:lvl1pPr>
              <a:defRPr sz="1000">
                <a:solidFill>
                  <a:srgbClr val="7F7F7F"/>
                </a:solidFill>
              </a:defRPr>
            </a:lvl1pPr>
          </a:lstStyle>
          <a:p>
            <a:pPr lvl="0"/>
            <a:fld id="{19C53856-B273-498E-851B-3638EB66E855}" type="slidenum">
              <a:t>‹#›</a:t>
            </a:fld>
            <a:endParaRPr lang="en-US"/>
          </a:p>
        </p:txBody>
      </p:sp>
      <p:pic>
        <p:nvPicPr>
          <p:cNvPr id="10" name="Picture 11">
            <a:extLst>
              <a:ext uri="{FF2B5EF4-FFF2-40B4-BE49-F238E27FC236}">
                <a16:creationId xmlns:a16="http://schemas.microsoft.com/office/drawing/2014/main" id="{0D85783E-83E1-E9A4-BCA8-F50A2B9F308C}"/>
              </a:ext>
            </a:extLst>
          </p:cNvPr>
          <p:cNvPicPr>
            <a:picLocks noChangeAspect="1"/>
          </p:cNvPicPr>
          <p:nvPr/>
        </p:nvPicPr>
        <p:blipFill>
          <a:blip r:embed="rId2"/>
          <a:stretch>
            <a:fillRect/>
          </a:stretch>
        </p:blipFill>
        <p:spPr>
          <a:xfrm>
            <a:off x="9596464" y="6492240"/>
            <a:ext cx="1606134" cy="229240"/>
          </a:xfrm>
          <a:prstGeom prst="rect">
            <a:avLst/>
          </a:prstGeom>
          <a:noFill/>
          <a:ln cap="flat">
            <a:noFill/>
          </a:ln>
        </p:spPr>
      </p:pic>
    </p:spTree>
    <p:extLst>
      <p:ext uri="{BB962C8B-B14F-4D97-AF65-F5344CB8AC3E}">
        <p14:creationId xmlns:p14="http://schemas.microsoft.com/office/powerpoint/2010/main" val="401735297"/>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p:cSld name="36_Title and Content">
    <p:spTree>
      <p:nvGrpSpPr>
        <p:cNvPr id="1" name=""/>
        <p:cNvGrpSpPr/>
        <p:nvPr/>
      </p:nvGrpSpPr>
      <p:grpSpPr>
        <a:xfrm>
          <a:off x="0" y="0"/>
          <a:ext cx="0" cy="0"/>
          <a:chOff x="0" y="0"/>
          <a:chExt cx="0" cy="0"/>
        </a:xfrm>
      </p:grpSpPr>
      <p:grpSp>
        <p:nvGrpSpPr>
          <p:cNvPr id="2" name="Google Shape;76;p44">
            <a:extLst>
              <a:ext uri="{FF2B5EF4-FFF2-40B4-BE49-F238E27FC236}">
                <a16:creationId xmlns:a16="http://schemas.microsoft.com/office/drawing/2014/main" id="{56363D47-47F4-592A-84B9-4A14FB49DC7E}"/>
              </a:ext>
            </a:extLst>
          </p:cNvPr>
          <p:cNvGrpSpPr/>
          <p:nvPr/>
        </p:nvGrpSpPr>
        <p:grpSpPr>
          <a:xfrm>
            <a:off x="7191545" y="0"/>
            <a:ext cx="5000460" cy="1425988"/>
            <a:chOff x="7191545" y="0"/>
            <a:chExt cx="5000460" cy="1425988"/>
          </a:xfrm>
        </p:grpSpPr>
        <p:pic>
          <p:nvPicPr>
            <p:cNvPr id="3" name="Google Shape;77;p44">
              <a:extLst>
                <a:ext uri="{FF2B5EF4-FFF2-40B4-BE49-F238E27FC236}">
                  <a16:creationId xmlns:a16="http://schemas.microsoft.com/office/drawing/2014/main" id="{FE4FB196-513B-AD3D-7C3B-63544B569836}"/>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78;p44">
              <a:extLst>
                <a:ext uri="{FF2B5EF4-FFF2-40B4-BE49-F238E27FC236}">
                  <a16:creationId xmlns:a16="http://schemas.microsoft.com/office/drawing/2014/main" id="{B47EC7A2-FCF3-02F2-D77B-5C1D9F7AB125}"/>
                </a:ext>
              </a:extLst>
            </p:cNvPr>
            <p:cNvGrpSpPr/>
            <p:nvPr/>
          </p:nvGrpSpPr>
          <p:grpSpPr>
            <a:xfrm>
              <a:off x="7191545" y="0"/>
              <a:ext cx="5000460" cy="1425988"/>
              <a:chOff x="7191545" y="0"/>
              <a:chExt cx="5000460" cy="1425988"/>
            </a:xfrm>
          </p:grpSpPr>
          <p:sp>
            <p:nvSpPr>
              <p:cNvPr id="5" name="Google Shape;79;p44">
                <a:extLst>
                  <a:ext uri="{FF2B5EF4-FFF2-40B4-BE49-F238E27FC236}">
                    <a16:creationId xmlns:a16="http://schemas.microsoft.com/office/drawing/2014/main" id="{0BE805F0-227E-7BD3-831F-F2113E4508F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80;p44">
                <a:extLst>
                  <a:ext uri="{FF2B5EF4-FFF2-40B4-BE49-F238E27FC236}">
                    <a16:creationId xmlns:a16="http://schemas.microsoft.com/office/drawing/2014/main" id="{B69426B6-DAD0-215F-4416-F74E3F35CFD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81;p44">
            <a:extLst>
              <a:ext uri="{FF2B5EF4-FFF2-40B4-BE49-F238E27FC236}">
                <a16:creationId xmlns:a16="http://schemas.microsoft.com/office/drawing/2014/main" id="{5F36BB35-41DF-6145-358F-9F6E72F06381}"/>
              </a:ext>
            </a:extLst>
          </p:cNvPr>
          <p:cNvSpPr txBox="1">
            <a:spLocks noGrp="1"/>
          </p:cNvSpPr>
          <p:nvPr>
            <p:ph type="title"/>
          </p:nvPr>
        </p:nvSpPr>
        <p:spPr/>
        <p:txBody>
          <a:bodyPr lIns="91421" tIns="45701" rIns="91421" bIns="45701"/>
          <a:lstStyle>
            <a:lvl1pPr>
              <a:defRPr/>
            </a:lvl1pPr>
          </a:lstStyle>
          <a:p>
            <a:pPr lvl="0"/>
            <a:endParaRPr lang="en-US"/>
          </a:p>
        </p:txBody>
      </p:sp>
      <p:sp>
        <p:nvSpPr>
          <p:cNvPr id="8" name="Google Shape;82;p44">
            <a:extLst>
              <a:ext uri="{FF2B5EF4-FFF2-40B4-BE49-F238E27FC236}">
                <a16:creationId xmlns:a16="http://schemas.microsoft.com/office/drawing/2014/main" id="{E42A634E-30A9-E15D-112D-32F0803328A2}"/>
              </a:ext>
            </a:extLst>
          </p:cNvPr>
          <p:cNvSpPr txBox="1">
            <a:spLocks noGrp="1"/>
          </p:cNvSpPr>
          <p:nvPr>
            <p:ph type="body" idx="4294967295"/>
          </p:nvPr>
        </p:nvSpPr>
        <p:spPr/>
        <p:txBody>
          <a:bodyPr lIns="91421" tIns="45701" rIns="91421" bIns="45701"/>
          <a:lstStyle>
            <a:lvl1pPr marL="457250" indent="-342935">
              <a:spcAft>
                <a:spcPts val="0"/>
              </a:spcAft>
              <a:buSzPts val="1800"/>
              <a:defRPr/>
            </a:lvl1pPr>
          </a:lstStyle>
          <a:p>
            <a:pPr lvl="0"/>
            <a:endParaRPr lang="en-US"/>
          </a:p>
        </p:txBody>
      </p:sp>
      <p:sp>
        <p:nvSpPr>
          <p:cNvPr id="9" name="Google Shape;83;p44">
            <a:extLst>
              <a:ext uri="{FF2B5EF4-FFF2-40B4-BE49-F238E27FC236}">
                <a16:creationId xmlns:a16="http://schemas.microsoft.com/office/drawing/2014/main" id="{CA63CD87-A991-BCAD-18F1-020D8A5B824A}"/>
              </a:ext>
            </a:extLst>
          </p:cNvPr>
          <p:cNvSpPr txBox="1">
            <a:spLocks noGrp="1"/>
          </p:cNvSpPr>
          <p:nvPr>
            <p:ph type="sldNum" sz="quarter" idx="8"/>
          </p:nvPr>
        </p:nvSpPr>
        <p:spPr/>
        <p:txBody>
          <a:bodyPr lIns="91421" tIns="45701" rIns="91421" bIns="45701"/>
          <a:lstStyle>
            <a:lvl1pPr>
              <a:defRPr>
                <a:solidFill>
                  <a:srgbClr val="AEB3B7"/>
                </a:solidFill>
                <a:ea typeface="Calibri"/>
                <a:cs typeface="Calibri"/>
              </a:defRPr>
            </a:lvl1pPr>
          </a:lstStyle>
          <a:p>
            <a:pPr lvl="0"/>
            <a:fld id="{29CD492F-62AC-4831-8F35-381849A9D98C}" type="slidenum">
              <a:t>‹#›</a:t>
            </a:fld>
            <a:endParaRPr lang="en-US"/>
          </a:p>
        </p:txBody>
      </p:sp>
      <p:cxnSp>
        <p:nvCxnSpPr>
          <p:cNvPr id="10" name="Google Shape;84;p44">
            <a:extLst>
              <a:ext uri="{FF2B5EF4-FFF2-40B4-BE49-F238E27FC236}">
                <a16:creationId xmlns:a16="http://schemas.microsoft.com/office/drawing/2014/main" id="{368A2584-DCA4-C06D-4D9A-4CA8D580772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85;p44">
            <a:extLst>
              <a:ext uri="{FF2B5EF4-FFF2-40B4-BE49-F238E27FC236}">
                <a16:creationId xmlns:a16="http://schemas.microsoft.com/office/drawing/2014/main" id="{3B34900B-292B-A75E-A3E6-C8B123286C05}"/>
              </a:ext>
            </a:extLst>
          </p:cNvPr>
          <p:cNvSpPr txBox="1">
            <a:spLocks noGrp="1"/>
          </p:cNvSpPr>
          <p:nvPr>
            <p:ph type="ftr" sz="quarter" idx="9"/>
          </p:nvPr>
        </p:nvSpPr>
        <p:spPr/>
        <p:txBody>
          <a:bodyPr lIns="91421" tIns="45701" rIns="91421" bIns="45701" anchorCtr="1"/>
          <a:lstStyle>
            <a:lvl1pPr algn="ctr">
              <a:defRPr/>
            </a:lvl1pPr>
          </a:lstStyle>
          <a:p>
            <a:pPr lvl="0"/>
            <a:endParaRPr lang="en-US"/>
          </a:p>
        </p:txBody>
      </p:sp>
    </p:spTree>
    <p:extLst>
      <p:ext uri="{BB962C8B-B14F-4D97-AF65-F5344CB8AC3E}">
        <p14:creationId xmlns:p14="http://schemas.microsoft.com/office/powerpoint/2010/main" val="2679771685"/>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p:cSld name="30_Photo Slide">
    <p:spTree>
      <p:nvGrpSpPr>
        <p:cNvPr id="1" name=""/>
        <p:cNvGrpSpPr/>
        <p:nvPr/>
      </p:nvGrpSpPr>
      <p:grpSpPr>
        <a:xfrm>
          <a:off x="0" y="0"/>
          <a:ext cx="0" cy="0"/>
          <a:chOff x="0" y="0"/>
          <a:chExt cx="0" cy="0"/>
        </a:xfrm>
      </p:grpSpPr>
      <p:sp>
        <p:nvSpPr>
          <p:cNvPr id="2" name="Google Shape;87;p41">
            <a:extLst>
              <a:ext uri="{FF2B5EF4-FFF2-40B4-BE49-F238E27FC236}">
                <a16:creationId xmlns:a16="http://schemas.microsoft.com/office/drawing/2014/main" id="{3E338D99-F8FD-3547-20B8-F6AE7FB3CCDE}"/>
              </a:ext>
            </a:extLst>
          </p:cNvPr>
          <p:cNvSpPr txBox="1">
            <a:spLocks noGrp="1"/>
          </p:cNvSpPr>
          <p:nvPr>
            <p:ph type="body" idx="4294967295"/>
          </p:nvPr>
        </p:nvSpPr>
        <p:spPr>
          <a:xfrm>
            <a:off x="457200" y="1146255"/>
            <a:ext cx="2350172" cy="2971800"/>
          </a:xfrm>
        </p:spPr>
        <p:txBody>
          <a:bodyPr lIns="91421" tIns="45701" rIns="91421" bIns="45701"/>
          <a:lstStyle>
            <a:lvl1pPr marL="457250" indent="-228621">
              <a:spcAft>
                <a:spcPts val="0"/>
              </a:spcAft>
              <a:buNone/>
              <a:defRPr/>
            </a:lvl1pPr>
          </a:lstStyle>
          <a:p>
            <a:pPr lvl="0"/>
            <a:endParaRPr lang="en-US"/>
          </a:p>
        </p:txBody>
      </p:sp>
      <p:cxnSp>
        <p:nvCxnSpPr>
          <p:cNvPr id="3" name="Google Shape;88;p41">
            <a:extLst>
              <a:ext uri="{FF2B5EF4-FFF2-40B4-BE49-F238E27FC236}">
                <a16:creationId xmlns:a16="http://schemas.microsoft.com/office/drawing/2014/main" id="{CDA676BD-B4E0-B275-BC14-D5C6C3CE574E}"/>
              </a:ext>
            </a:extLst>
          </p:cNvPr>
          <p:cNvCxnSpPr/>
          <p:nvPr/>
        </p:nvCxnSpPr>
        <p:spPr>
          <a:xfrm>
            <a:off x="457201" y="947985"/>
            <a:ext cx="2350163" cy="0"/>
          </a:xfrm>
          <a:prstGeom prst="straightConnector1">
            <a:avLst/>
          </a:prstGeom>
          <a:noFill/>
          <a:ln w="31747" cap="flat">
            <a:solidFill>
              <a:srgbClr val="F58366"/>
            </a:solidFill>
            <a:prstDash val="solid"/>
            <a:miter/>
          </a:ln>
        </p:spPr>
      </p:cxnSp>
      <p:grpSp>
        <p:nvGrpSpPr>
          <p:cNvPr id="4" name="Google Shape;89;p41">
            <a:extLst>
              <a:ext uri="{FF2B5EF4-FFF2-40B4-BE49-F238E27FC236}">
                <a16:creationId xmlns:a16="http://schemas.microsoft.com/office/drawing/2014/main" id="{0C018CFB-2D88-C15C-36E6-09E52C51D9A5}"/>
              </a:ext>
            </a:extLst>
          </p:cNvPr>
          <p:cNvGrpSpPr/>
          <p:nvPr/>
        </p:nvGrpSpPr>
        <p:grpSpPr>
          <a:xfrm>
            <a:off x="1" y="5379425"/>
            <a:ext cx="2807363" cy="753895"/>
            <a:chOff x="0" y="5379424"/>
            <a:chExt cx="2807363" cy="753895"/>
          </a:xfrm>
        </p:grpSpPr>
        <p:sp>
          <p:nvSpPr>
            <p:cNvPr id="5" name="Google Shape;90;p41">
              <a:extLst>
                <a:ext uri="{FF2B5EF4-FFF2-40B4-BE49-F238E27FC236}">
                  <a16:creationId xmlns:a16="http://schemas.microsoft.com/office/drawing/2014/main" id="{2669A79F-0A62-B2F2-EAC5-ED3AF4ED154A}"/>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91;p41">
              <a:extLst>
                <a:ext uri="{FF2B5EF4-FFF2-40B4-BE49-F238E27FC236}">
                  <a16:creationId xmlns:a16="http://schemas.microsoft.com/office/drawing/2014/main" id="{9D9E63D2-0FDF-F072-578A-7490BAD9CAEA}"/>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93;p41">
            <a:extLst>
              <a:ext uri="{FF2B5EF4-FFF2-40B4-BE49-F238E27FC236}">
                <a16:creationId xmlns:a16="http://schemas.microsoft.com/office/drawing/2014/main" id="{AC9C496B-4379-B193-D59D-5C797130E7C4}"/>
              </a:ext>
            </a:extLst>
          </p:cNvPr>
          <p:cNvPicPr>
            <a:picLocks noChangeAspect="1"/>
          </p:cNvPicPr>
          <p:nvPr/>
        </p:nvPicPr>
        <p:blipFill>
          <a:blip r:embed="rId2">
            <a:alphaModFix/>
          </a:blip>
          <a:srcRect/>
          <a:stretch>
            <a:fillRect/>
          </a:stretch>
        </p:blipFill>
        <p:spPr>
          <a:xfrm>
            <a:off x="513354" y="4385535"/>
            <a:ext cx="2025313" cy="911940"/>
          </a:xfrm>
          <a:prstGeom prst="rect">
            <a:avLst/>
          </a:prstGeom>
          <a:noFill/>
          <a:ln cap="flat">
            <a:noFill/>
          </a:ln>
        </p:spPr>
      </p:pic>
    </p:spTree>
    <p:extLst>
      <p:ext uri="{BB962C8B-B14F-4D97-AF65-F5344CB8AC3E}">
        <p14:creationId xmlns:p14="http://schemas.microsoft.com/office/powerpoint/2010/main" val="195040501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End">
  <p:cSld name="End 2 2">
    <p:spTree>
      <p:nvGrpSpPr>
        <p:cNvPr id="1" name="Shape 9515"/>
        <p:cNvGrpSpPr/>
        <p:nvPr/>
      </p:nvGrpSpPr>
      <p:grpSpPr>
        <a:xfrm>
          <a:off x="0" y="0"/>
          <a:ext cx="0" cy="0"/>
          <a:chOff x="0" y="0"/>
          <a:chExt cx="0" cy="0"/>
        </a:xfrm>
      </p:grpSpPr>
      <p:grpSp>
        <p:nvGrpSpPr>
          <p:cNvPr id="9516" name="Google Shape;9516;p1362"/>
          <p:cNvGrpSpPr/>
          <p:nvPr/>
        </p:nvGrpSpPr>
        <p:grpSpPr>
          <a:xfrm>
            <a:off x="0" y="0"/>
            <a:ext cx="12192000" cy="2148830"/>
            <a:chOff x="0" y="0"/>
            <a:chExt cx="12192000" cy="2148830"/>
          </a:xfrm>
        </p:grpSpPr>
        <p:sp>
          <p:nvSpPr>
            <p:cNvPr id="9517" name="Google Shape;9517;p136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518" name="Google Shape;9518;p136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9519" name="Google Shape;9519;p136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520" name="Google Shape;9520;p136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521" name="Google Shape;9521;p136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9522" name="Google Shape;9522;p136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523" name="Google Shape;9523;p136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p:cSld name="31_Photo Slide">
    <p:spTree>
      <p:nvGrpSpPr>
        <p:cNvPr id="1" name=""/>
        <p:cNvGrpSpPr/>
        <p:nvPr/>
      </p:nvGrpSpPr>
      <p:grpSpPr>
        <a:xfrm>
          <a:off x="0" y="0"/>
          <a:ext cx="0" cy="0"/>
          <a:chOff x="0" y="0"/>
          <a:chExt cx="0" cy="0"/>
        </a:xfrm>
      </p:grpSpPr>
      <p:sp>
        <p:nvSpPr>
          <p:cNvPr id="2" name="Google Shape;87;p41">
            <a:extLst>
              <a:ext uri="{FF2B5EF4-FFF2-40B4-BE49-F238E27FC236}">
                <a16:creationId xmlns:a16="http://schemas.microsoft.com/office/drawing/2014/main" id="{178AA7F1-74C9-6241-741D-F6552D9CCAF3}"/>
              </a:ext>
            </a:extLst>
          </p:cNvPr>
          <p:cNvSpPr txBox="1">
            <a:spLocks noGrp="1"/>
          </p:cNvSpPr>
          <p:nvPr>
            <p:ph type="body" idx="4294967295"/>
          </p:nvPr>
        </p:nvSpPr>
        <p:spPr>
          <a:xfrm>
            <a:off x="457200" y="1146255"/>
            <a:ext cx="2350172" cy="2971800"/>
          </a:xfrm>
        </p:spPr>
        <p:txBody>
          <a:bodyPr lIns="91421" tIns="45701" rIns="91421" bIns="45701"/>
          <a:lstStyle>
            <a:lvl1pPr marL="457250" indent="-228621">
              <a:spcAft>
                <a:spcPts val="0"/>
              </a:spcAft>
              <a:buNone/>
              <a:defRPr/>
            </a:lvl1pPr>
          </a:lstStyle>
          <a:p>
            <a:pPr lvl="0"/>
            <a:endParaRPr lang="en-US"/>
          </a:p>
        </p:txBody>
      </p:sp>
      <p:cxnSp>
        <p:nvCxnSpPr>
          <p:cNvPr id="3" name="Google Shape;88;p41">
            <a:extLst>
              <a:ext uri="{FF2B5EF4-FFF2-40B4-BE49-F238E27FC236}">
                <a16:creationId xmlns:a16="http://schemas.microsoft.com/office/drawing/2014/main" id="{30A4538D-7C9B-948F-09AA-B30889A2B113}"/>
              </a:ext>
            </a:extLst>
          </p:cNvPr>
          <p:cNvCxnSpPr/>
          <p:nvPr/>
        </p:nvCxnSpPr>
        <p:spPr>
          <a:xfrm>
            <a:off x="457201" y="947985"/>
            <a:ext cx="2350163" cy="0"/>
          </a:xfrm>
          <a:prstGeom prst="straightConnector1">
            <a:avLst/>
          </a:prstGeom>
          <a:noFill/>
          <a:ln w="31747" cap="flat">
            <a:solidFill>
              <a:srgbClr val="F58366"/>
            </a:solidFill>
            <a:prstDash val="solid"/>
            <a:miter/>
          </a:ln>
        </p:spPr>
      </p:cxnSp>
      <p:grpSp>
        <p:nvGrpSpPr>
          <p:cNvPr id="4" name="Google Shape;89;p41">
            <a:extLst>
              <a:ext uri="{FF2B5EF4-FFF2-40B4-BE49-F238E27FC236}">
                <a16:creationId xmlns:a16="http://schemas.microsoft.com/office/drawing/2014/main" id="{A497FB46-2418-54E9-852B-9B03A89F76C6}"/>
              </a:ext>
            </a:extLst>
          </p:cNvPr>
          <p:cNvGrpSpPr/>
          <p:nvPr/>
        </p:nvGrpSpPr>
        <p:grpSpPr>
          <a:xfrm>
            <a:off x="1" y="5379425"/>
            <a:ext cx="2807363" cy="753895"/>
            <a:chOff x="0" y="5379424"/>
            <a:chExt cx="2807363" cy="753895"/>
          </a:xfrm>
        </p:grpSpPr>
        <p:sp>
          <p:nvSpPr>
            <p:cNvPr id="5" name="Google Shape;90;p41">
              <a:extLst>
                <a:ext uri="{FF2B5EF4-FFF2-40B4-BE49-F238E27FC236}">
                  <a16:creationId xmlns:a16="http://schemas.microsoft.com/office/drawing/2014/main" id="{7B35D0E3-9987-E5D0-BDC3-B61FE518A267}"/>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91;p41">
              <a:extLst>
                <a:ext uri="{FF2B5EF4-FFF2-40B4-BE49-F238E27FC236}">
                  <a16:creationId xmlns:a16="http://schemas.microsoft.com/office/drawing/2014/main" id="{799A8494-110D-3521-BEDB-F27B9F4778A3}"/>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93;p41">
            <a:extLst>
              <a:ext uri="{FF2B5EF4-FFF2-40B4-BE49-F238E27FC236}">
                <a16:creationId xmlns:a16="http://schemas.microsoft.com/office/drawing/2014/main" id="{9176876B-2AD0-6814-1F4D-5DDAC0716F5A}"/>
              </a:ext>
            </a:extLst>
          </p:cNvPr>
          <p:cNvPicPr>
            <a:picLocks noChangeAspect="1"/>
          </p:cNvPicPr>
          <p:nvPr/>
        </p:nvPicPr>
        <p:blipFill>
          <a:blip r:embed="rId2">
            <a:alphaModFix/>
          </a:blip>
          <a:srcRect/>
          <a:stretch>
            <a:fillRect/>
          </a:stretch>
        </p:blipFill>
        <p:spPr>
          <a:xfrm>
            <a:off x="513354" y="4385535"/>
            <a:ext cx="2025313" cy="911940"/>
          </a:xfrm>
          <a:prstGeom prst="rect">
            <a:avLst/>
          </a:prstGeom>
          <a:noFill/>
          <a:ln cap="flat">
            <a:noFill/>
          </a:ln>
        </p:spPr>
      </p:pic>
    </p:spTree>
    <p:extLst>
      <p:ext uri="{BB962C8B-B14F-4D97-AF65-F5344CB8AC3E}">
        <p14:creationId xmlns:p14="http://schemas.microsoft.com/office/powerpoint/2010/main" val="573415536"/>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p:cSld name="2_EVERYDAY CONTENT ONLY">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D578A6CE-1E57-1FBE-8A74-DCEC0E25CF9B}"/>
              </a:ext>
            </a:extLst>
          </p:cNvPr>
          <p:cNvSpPr/>
          <p:nvPr/>
        </p:nvSpPr>
        <p:spPr>
          <a:xfrm>
            <a:off x="0" y="0"/>
            <a:ext cx="12191996" cy="1313060"/>
          </a:xfrm>
          <a:prstGeom prst="rect">
            <a:avLst/>
          </a:prstGeom>
          <a:gradFill>
            <a:gsLst>
              <a:gs pos="0">
                <a:srgbClr val="1C498B"/>
              </a:gs>
              <a:gs pos="100000">
                <a:srgbClr val="79818A"/>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Shape">
            <a:extLst>
              <a:ext uri="{FF2B5EF4-FFF2-40B4-BE49-F238E27FC236}">
                <a16:creationId xmlns:a16="http://schemas.microsoft.com/office/drawing/2014/main" id="{07D69C59-2EBC-2FBC-E7FC-84832185C298}"/>
              </a:ext>
            </a:extLst>
          </p:cNvPr>
          <p:cNvSpPr/>
          <p:nvPr/>
        </p:nvSpPr>
        <p:spPr>
          <a:xfrm>
            <a:off x="6863642" y="16268"/>
            <a:ext cx="5328355" cy="812270"/>
          </a:xfrm>
          <a:custGeom>
            <a:avLst/>
            <a:gdLst>
              <a:gd name="f0" fmla="val 10800000"/>
              <a:gd name="f1" fmla="val 5400000"/>
              <a:gd name="f2" fmla="val 180"/>
              <a:gd name="f3" fmla="val w"/>
              <a:gd name="f4" fmla="val h"/>
              <a:gd name="f5" fmla="val 0"/>
              <a:gd name="f6" fmla="val 21600"/>
              <a:gd name="f7" fmla="val 20619"/>
              <a:gd name="f8" fmla="val 7043"/>
              <a:gd name="f9" fmla="val 1599"/>
              <a:gd name="f10" fmla="val 10431"/>
              <a:gd name="f11" fmla="val 3359"/>
              <a:gd name="f12" fmla="val 12009"/>
              <a:gd name="f13" fmla="val 5125"/>
              <a:gd name="f14" fmla="val 11638"/>
              <a:gd name="f15" fmla="val 8965"/>
              <a:gd name="f16" fmla="val 10834"/>
              <a:gd name="f17" fmla="val 12429"/>
              <a:gd name="f18" fmla="val 1037"/>
              <a:gd name="f19" fmla="val 16255"/>
              <a:gd name="f20" fmla="val 77"/>
              <a:gd name="f21" fmla="val 18093"/>
              <a:gd name="f22" fmla="+- 0 0 385"/>
              <a:gd name="f23" fmla="val 19927"/>
              <a:gd name="f24" fmla="val 1227"/>
              <a:gd name="f25" fmla="val 21590"/>
              <a:gd name="f26" fmla="val 4766"/>
              <a:gd name="f27" fmla="val 14041"/>
              <a:gd name="f28" fmla="val 19718"/>
              <a:gd name="f29" fmla="val 9870"/>
              <a:gd name="f30" fmla="val 17612"/>
              <a:gd name="f31" fmla="val 8157"/>
              <a:gd name="f32" fmla="val 15523"/>
              <a:gd name="f33" fmla="val 9097"/>
              <a:gd name="f34" fmla="val 12138"/>
              <a:gd name="f35" fmla="val 10620"/>
              <a:gd name="f36" fmla="val 9076"/>
              <a:gd name="f37" fmla="val 19001"/>
              <a:gd name="f38" fmla="val 5674"/>
              <a:gd name="f39" fmla="val 20410"/>
              <a:gd name="f40" fmla="val 3728"/>
              <a:gd name="f41" fmla="val 21215"/>
              <a:gd name="f42" fmla="val 1770"/>
              <a:gd name="f43" fmla="val 19679"/>
              <a:gd name="f44" fmla="val 15961"/>
              <a:gd name="f45" fmla="+- 0 0 -90"/>
              <a:gd name="f46" fmla="+- 0 0 -180"/>
              <a:gd name="f47" fmla="+- 0 0 -270"/>
              <a:gd name="f48" fmla="+- 0 0 -360"/>
              <a:gd name="f49" fmla="*/ f3 1 21600"/>
              <a:gd name="f50" fmla="*/ f4 1 20619"/>
              <a:gd name="f51" fmla="+- f7 0 f5"/>
              <a:gd name="f52" fmla="+- f6 0 f5"/>
              <a:gd name="f53" fmla="*/ f45 f0 1"/>
              <a:gd name="f54" fmla="*/ f46 f0 1"/>
              <a:gd name="f55" fmla="*/ f47 f0 1"/>
              <a:gd name="f56" fmla="*/ f48 f0 1"/>
              <a:gd name="f57" fmla="*/ f51 1 2"/>
              <a:gd name="f58" fmla="*/ f52 1 2"/>
              <a:gd name="f59" fmla="*/ f52 1 21600"/>
              <a:gd name="f60" fmla="*/ f51 1 20619"/>
              <a:gd name="f61" fmla="*/ f53 1 f2"/>
              <a:gd name="f62" fmla="*/ f54 1 f2"/>
              <a:gd name="f63" fmla="*/ f55 1 f2"/>
              <a:gd name="f64" fmla="*/ f56 1 f2"/>
              <a:gd name="f65" fmla="*/ f58 1 f59"/>
              <a:gd name="f66" fmla="*/ f57 1 f60"/>
              <a:gd name="f67" fmla="*/ 0 1 f59"/>
              <a:gd name="f68" fmla="*/ f6 1 f59"/>
              <a:gd name="f69" fmla="*/ 0 1 f60"/>
              <a:gd name="f70" fmla="*/ f7 1 f60"/>
              <a:gd name="f71" fmla="+- f61 0 f1"/>
              <a:gd name="f72" fmla="+- f62 0 f1"/>
              <a:gd name="f73" fmla="+- f63 0 f1"/>
              <a:gd name="f74" fmla="+- f64 0 f1"/>
              <a:gd name="f75" fmla="*/ f67 f49 1"/>
              <a:gd name="f76" fmla="*/ f68 f49 1"/>
              <a:gd name="f77" fmla="*/ f70 f50 1"/>
              <a:gd name="f78" fmla="*/ f69 f50 1"/>
              <a:gd name="f79" fmla="*/ f65 f49 1"/>
              <a:gd name="f80" fmla="*/ f66 f50 1"/>
            </a:gdLst>
            <a:ahLst/>
            <a:cxnLst>
              <a:cxn ang="3cd4">
                <a:pos x="hc" y="t"/>
              </a:cxn>
              <a:cxn ang="0">
                <a:pos x="r" y="vc"/>
              </a:cxn>
              <a:cxn ang="cd4">
                <a:pos x="hc" y="b"/>
              </a:cxn>
              <a:cxn ang="cd2">
                <a:pos x="l" y="vc"/>
              </a:cxn>
              <a:cxn ang="f71">
                <a:pos x="f79" y="f80"/>
              </a:cxn>
              <a:cxn ang="f72">
                <a:pos x="f79" y="f80"/>
              </a:cxn>
              <a:cxn ang="f73">
                <a:pos x="f79" y="f80"/>
              </a:cxn>
              <a:cxn ang="f74">
                <a:pos x="f79" y="f80"/>
              </a:cxn>
            </a:cxnLst>
            <a:rect l="f75" t="f78" r="f76" b="f77"/>
            <a:pathLst>
              <a:path w="21600" h="20619">
                <a:moveTo>
                  <a:pt x="f5" y="f8"/>
                </a:moveTo>
                <a:cubicBezTo>
                  <a:pt x="f9" y="f10"/>
                  <a:pt x="f11" y="f12"/>
                  <a:pt x="f13" y="f14"/>
                </a:cubicBezTo>
                <a:cubicBezTo>
                  <a:pt x="f15" y="f16"/>
                  <a:pt x="f17" y="f18"/>
                  <a:pt x="f19" y="f20"/>
                </a:cubicBezTo>
                <a:cubicBezTo>
                  <a:pt x="f21" y="f22"/>
                  <a:pt x="f23" y="f24"/>
                  <a:pt x="f25" y="f26"/>
                </a:cubicBezTo>
                <a:lnTo>
                  <a:pt x="f6" y="f27"/>
                </a:lnTo>
                <a:cubicBezTo>
                  <a:pt x="f28" y="f29"/>
                  <a:pt x="f30" y="f31"/>
                  <a:pt x="f32" y="f33"/>
                </a:cubicBezTo>
                <a:cubicBezTo>
                  <a:pt x="f34" y="f35"/>
                  <a:pt x="f36" y="f37"/>
                  <a:pt x="f38" y="f39"/>
                </a:cubicBezTo>
                <a:cubicBezTo>
                  <a:pt x="f40" y="f41"/>
                  <a:pt x="f42" y="f43"/>
                  <a:pt x="f5" y="f44"/>
                </a:cubicBezTo>
                <a:lnTo>
                  <a:pt x="f5" y="f8"/>
                </a:lnTo>
                <a:close/>
              </a:path>
            </a:pathLst>
          </a:custGeom>
          <a:gradFill>
            <a:gsLst>
              <a:gs pos="0">
                <a:srgbClr val="1C498B">
                  <a:alpha val="0"/>
                </a:srgbClr>
              </a:gs>
              <a:gs pos="100000">
                <a:srgbClr val="1C498B">
                  <a:alpha val="63000"/>
                </a:srgbClr>
              </a:gs>
            </a:gsLst>
            <a:lin ang="0"/>
          </a:gradFill>
          <a:ln cap="flat">
            <a:noFill/>
            <a:prstDash val="solid"/>
          </a:ln>
        </p:spPr>
        <p:txBody>
          <a:bodyPr vert="horz" wrap="square" lIns="0" tIns="0" rIns="0" bIns="0" anchor="ctr" anchorCtr="1" compatLnSpc="1">
            <a:noAutofit/>
          </a:bodyPr>
          <a:lstStyle/>
          <a:p>
            <a:pPr marL="0" marR="0" lvl="0" indent="0" algn="ctr" defTabSz="412799" rtl="0" fontAlgn="auto" hangingPunct="0">
              <a:lnSpc>
                <a:spcPct val="100000"/>
              </a:lnSpc>
              <a:spcBef>
                <a:spcPts val="0"/>
              </a:spcBef>
              <a:spcAft>
                <a:spcPts val="0"/>
              </a:spcAft>
              <a:buNone/>
              <a:tabLst/>
              <a:defRPr sz="2400" b="0" i="0" u="none" strike="noStrike" kern="0" cap="none" spc="0" baseline="0">
                <a:solidFill>
                  <a:srgbClr val="FFFFFF"/>
                </a:solidFill>
                <a:uFillTx/>
                <a:latin typeface="Helvetica Neue Medium"/>
                <a:ea typeface="Helvetica Neue Medium"/>
                <a:cs typeface="Helvetica Neue Medium"/>
              </a:defRPr>
            </a:pPr>
            <a:endParaRPr lang="en-US" sz="1525" b="0" i="0" u="none" strike="noStrike" kern="0" cap="none" spc="0" baseline="0">
              <a:solidFill>
                <a:srgbClr val="FFFFFF"/>
              </a:solidFill>
              <a:uFillTx/>
              <a:latin typeface="Helvetica Neue Medium"/>
              <a:ea typeface="Helvetica Neue Medium"/>
              <a:cs typeface="Helvetica Neue Medium"/>
            </a:endParaRPr>
          </a:p>
        </p:txBody>
      </p:sp>
      <p:sp>
        <p:nvSpPr>
          <p:cNvPr id="4" name="Content Placeholder 2">
            <a:extLst>
              <a:ext uri="{FF2B5EF4-FFF2-40B4-BE49-F238E27FC236}">
                <a16:creationId xmlns:a16="http://schemas.microsoft.com/office/drawing/2014/main" id="{C18B34CF-E04B-E99E-C9A9-4C00859CAC62}"/>
              </a:ext>
            </a:extLst>
          </p:cNvPr>
          <p:cNvSpPr txBox="1">
            <a:spLocks noGrp="1"/>
          </p:cNvSpPr>
          <p:nvPr>
            <p:ph idx="4294967295"/>
          </p:nvPr>
        </p:nvSpPr>
        <p:spPr>
          <a:xfrm>
            <a:off x="508544" y="1707789"/>
            <a:ext cx="11203667" cy="4648571"/>
          </a:xfrm>
        </p:spPr>
        <p:txBody>
          <a:bodyPr/>
          <a:lstStyle>
            <a:lvl1pPr>
              <a:defRPr>
                <a:solidFill>
                  <a:srgbClr val="4C555F"/>
                </a:solidFill>
              </a:defRPr>
            </a:lvl1pPr>
            <a:lvl2pPr>
              <a:defRPr>
                <a:solidFill>
                  <a:srgbClr val="4C555F"/>
                </a:solidFill>
              </a:defRPr>
            </a:lvl2pPr>
            <a:lvl3pPr>
              <a:defRPr>
                <a:solidFill>
                  <a:srgbClr val="4C555F"/>
                </a:solidFill>
              </a:defRPr>
            </a:lvl3pPr>
            <a:lvl4pPr>
              <a:defRPr>
                <a:solidFill>
                  <a:srgbClr val="4C555F"/>
                </a:solidFill>
              </a:defRPr>
            </a:lvl4pPr>
            <a:lvl5pPr>
              <a:defRPr>
                <a:solidFill>
                  <a:srgbClr val="4C555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hape">
            <a:extLst>
              <a:ext uri="{FF2B5EF4-FFF2-40B4-BE49-F238E27FC236}">
                <a16:creationId xmlns:a16="http://schemas.microsoft.com/office/drawing/2014/main" id="{DF419DAD-7E7B-96FC-0C71-CE054254FF37}"/>
              </a:ext>
            </a:extLst>
          </p:cNvPr>
          <p:cNvSpPr/>
          <p:nvPr/>
        </p:nvSpPr>
        <p:spPr>
          <a:xfrm>
            <a:off x="6863642" y="519644"/>
            <a:ext cx="5328355" cy="812270"/>
          </a:xfrm>
          <a:custGeom>
            <a:avLst/>
            <a:gdLst>
              <a:gd name="f0" fmla="val 10800000"/>
              <a:gd name="f1" fmla="val 5400000"/>
              <a:gd name="f2" fmla="val 180"/>
              <a:gd name="f3" fmla="val w"/>
              <a:gd name="f4" fmla="val h"/>
              <a:gd name="f5" fmla="val 0"/>
              <a:gd name="f6" fmla="val 21600"/>
              <a:gd name="f7" fmla="val 20619"/>
              <a:gd name="f8" fmla="val 7043"/>
              <a:gd name="f9" fmla="val 1599"/>
              <a:gd name="f10" fmla="val 10431"/>
              <a:gd name="f11" fmla="val 3359"/>
              <a:gd name="f12" fmla="val 12009"/>
              <a:gd name="f13" fmla="val 5125"/>
              <a:gd name="f14" fmla="val 11638"/>
              <a:gd name="f15" fmla="val 8965"/>
              <a:gd name="f16" fmla="val 10834"/>
              <a:gd name="f17" fmla="val 12429"/>
              <a:gd name="f18" fmla="val 1037"/>
              <a:gd name="f19" fmla="val 16255"/>
              <a:gd name="f20" fmla="val 77"/>
              <a:gd name="f21" fmla="val 18093"/>
              <a:gd name="f22" fmla="+- 0 0 385"/>
              <a:gd name="f23" fmla="val 19927"/>
              <a:gd name="f24" fmla="val 1227"/>
              <a:gd name="f25" fmla="val 21590"/>
              <a:gd name="f26" fmla="val 4766"/>
              <a:gd name="f27" fmla="val 14041"/>
              <a:gd name="f28" fmla="val 19718"/>
              <a:gd name="f29" fmla="val 9870"/>
              <a:gd name="f30" fmla="val 17612"/>
              <a:gd name="f31" fmla="val 8157"/>
              <a:gd name="f32" fmla="val 15523"/>
              <a:gd name="f33" fmla="val 9097"/>
              <a:gd name="f34" fmla="val 12138"/>
              <a:gd name="f35" fmla="val 10620"/>
              <a:gd name="f36" fmla="val 9076"/>
              <a:gd name="f37" fmla="val 19001"/>
              <a:gd name="f38" fmla="val 5674"/>
              <a:gd name="f39" fmla="val 20410"/>
              <a:gd name="f40" fmla="val 3728"/>
              <a:gd name="f41" fmla="val 21215"/>
              <a:gd name="f42" fmla="val 1770"/>
              <a:gd name="f43" fmla="val 19679"/>
              <a:gd name="f44" fmla="val 15961"/>
              <a:gd name="f45" fmla="+- 0 0 -90"/>
              <a:gd name="f46" fmla="+- 0 0 -180"/>
              <a:gd name="f47" fmla="+- 0 0 -270"/>
              <a:gd name="f48" fmla="+- 0 0 -360"/>
              <a:gd name="f49" fmla="*/ f3 1 21600"/>
              <a:gd name="f50" fmla="*/ f4 1 20619"/>
              <a:gd name="f51" fmla="+- f7 0 f5"/>
              <a:gd name="f52" fmla="+- f6 0 f5"/>
              <a:gd name="f53" fmla="*/ f45 f0 1"/>
              <a:gd name="f54" fmla="*/ f46 f0 1"/>
              <a:gd name="f55" fmla="*/ f47 f0 1"/>
              <a:gd name="f56" fmla="*/ f48 f0 1"/>
              <a:gd name="f57" fmla="*/ f51 1 2"/>
              <a:gd name="f58" fmla="*/ f52 1 2"/>
              <a:gd name="f59" fmla="*/ f52 1 21600"/>
              <a:gd name="f60" fmla="*/ f51 1 20619"/>
              <a:gd name="f61" fmla="*/ f53 1 f2"/>
              <a:gd name="f62" fmla="*/ f54 1 f2"/>
              <a:gd name="f63" fmla="*/ f55 1 f2"/>
              <a:gd name="f64" fmla="*/ f56 1 f2"/>
              <a:gd name="f65" fmla="*/ f58 1 f59"/>
              <a:gd name="f66" fmla="*/ f57 1 f60"/>
              <a:gd name="f67" fmla="*/ 0 1 f59"/>
              <a:gd name="f68" fmla="*/ f6 1 f59"/>
              <a:gd name="f69" fmla="*/ 0 1 f60"/>
              <a:gd name="f70" fmla="*/ f7 1 f60"/>
              <a:gd name="f71" fmla="+- f61 0 f1"/>
              <a:gd name="f72" fmla="+- f62 0 f1"/>
              <a:gd name="f73" fmla="+- f63 0 f1"/>
              <a:gd name="f74" fmla="+- f64 0 f1"/>
              <a:gd name="f75" fmla="*/ f67 f49 1"/>
              <a:gd name="f76" fmla="*/ f68 f49 1"/>
              <a:gd name="f77" fmla="*/ f70 f50 1"/>
              <a:gd name="f78" fmla="*/ f69 f50 1"/>
              <a:gd name="f79" fmla="*/ f65 f49 1"/>
              <a:gd name="f80" fmla="*/ f66 f50 1"/>
            </a:gdLst>
            <a:ahLst/>
            <a:cxnLst>
              <a:cxn ang="3cd4">
                <a:pos x="hc" y="t"/>
              </a:cxn>
              <a:cxn ang="0">
                <a:pos x="r" y="vc"/>
              </a:cxn>
              <a:cxn ang="cd4">
                <a:pos x="hc" y="b"/>
              </a:cxn>
              <a:cxn ang="cd2">
                <a:pos x="l" y="vc"/>
              </a:cxn>
              <a:cxn ang="f71">
                <a:pos x="f79" y="f80"/>
              </a:cxn>
              <a:cxn ang="f72">
                <a:pos x="f79" y="f80"/>
              </a:cxn>
              <a:cxn ang="f73">
                <a:pos x="f79" y="f80"/>
              </a:cxn>
              <a:cxn ang="f74">
                <a:pos x="f79" y="f80"/>
              </a:cxn>
            </a:cxnLst>
            <a:rect l="f75" t="f78" r="f76" b="f77"/>
            <a:pathLst>
              <a:path w="21600" h="20619">
                <a:moveTo>
                  <a:pt x="f5" y="f8"/>
                </a:moveTo>
                <a:cubicBezTo>
                  <a:pt x="f9" y="f10"/>
                  <a:pt x="f11" y="f12"/>
                  <a:pt x="f13" y="f14"/>
                </a:cubicBezTo>
                <a:cubicBezTo>
                  <a:pt x="f15" y="f16"/>
                  <a:pt x="f17" y="f18"/>
                  <a:pt x="f19" y="f20"/>
                </a:cubicBezTo>
                <a:cubicBezTo>
                  <a:pt x="f21" y="f22"/>
                  <a:pt x="f23" y="f24"/>
                  <a:pt x="f25" y="f26"/>
                </a:cubicBezTo>
                <a:lnTo>
                  <a:pt x="f6" y="f27"/>
                </a:lnTo>
                <a:cubicBezTo>
                  <a:pt x="f28" y="f29"/>
                  <a:pt x="f30" y="f31"/>
                  <a:pt x="f32" y="f33"/>
                </a:cubicBezTo>
                <a:cubicBezTo>
                  <a:pt x="f34" y="f35"/>
                  <a:pt x="f36" y="f37"/>
                  <a:pt x="f38" y="f39"/>
                </a:cubicBezTo>
                <a:cubicBezTo>
                  <a:pt x="f40" y="f41"/>
                  <a:pt x="f42" y="f43"/>
                  <a:pt x="f5" y="f44"/>
                </a:cubicBezTo>
                <a:lnTo>
                  <a:pt x="f5" y="f8"/>
                </a:lnTo>
                <a:close/>
              </a:path>
            </a:pathLst>
          </a:custGeom>
          <a:gradFill>
            <a:gsLst>
              <a:gs pos="0">
                <a:srgbClr val="1C498B">
                  <a:alpha val="0"/>
                </a:srgbClr>
              </a:gs>
              <a:gs pos="100000">
                <a:srgbClr val="1C498B">
                  <a:alpha val="63000"/>
                </a:srgbClr>
              </a:gs>
            </a:gsLst>
            <a:lin ang="0"/>
          </a:gradFill>
          <a:ln cap="flat">
            <a:noFill/>
            <a:prstDash val="solid"/>
          </a:ln>
        </p:spPr>
        <p:txBody>
          <a:bodyPr vert="horz" wrap="square" lIns="0" tIns="0" rIns="0" bIns="0" anchor="ctr" anchorCtr="1" compatLnSpc="1">
            <a:noAutofit/>
          </a:bodyPr>
          <a:lstStyle/>
          <a:p>
            <a:pPr marL="0" marR="0" lvl="0" indent="0" algn="ctr" defTabSz="412799" rtl="0" fontAlgn="auto" hangingPunct="0">
              <a:lnSpc>
                <a:spcPct val="100000"/>
              </a:lnSpc>
              <a:spcBef>
                <a:spcPts val="0"/>
              </a:spcBef>
              <a:spcAft>
                <a:spcPts val="0"/>
              </a:spcAft>
              <a:buNone/>
              <a:tabLst/>
              <a:defRPr sz="2400" b="0" i="0" u="none" strike="noStrike" kern="0" cap="none" spc="0" baseline="0">
                <a:solidFill>
                  <a:srgbClr val="FFFFFF"/>
                </a:solidFill>
                <a:uFillTx/>
                <a:latin typeface="Helvetica Neue Medium"/>
                <a:ea typeface="Helvetica Neue Medium"/>
                <a:cs typeface="Helvetica Neue Medium"/>
              </a:defRPr>
            </a:pPr>
            <a:endParaRPr lang="en-US" sz="1525" b="0" i="0" u="none" strike="noStrike" kern="0" cap="none" spc="0" baseline="0">
              <a:solidFill>
                <a:srgbClr val="FFFFFF"/>
              </a:solidFill>
              <a:uFillTx/>
              <a:latin typeface="Helvetica Neue Medium"/>
              <a:ea typeface="Helvetica Neue Medium"/>
              <a:cs typeface="Helvetica Neue Medium"/>
            </a:endParaRPr>
          </a:p>
        </p:txBody>
      </p:sp>
      <p:sp>
        <p:nvSpPr>
          <p:cNvPr id="6" name="Title 1">
            <a:extLst>
              <a:ext uri="{FF2B5EF4-FFF2-40B4-BE49-F238E27FC236}">
                <a16:creationId xmlns:a16="http://schemas.microsoft.com/office/drawing/2014/main" id="{B0C67523-9438-4E03-D59B-85820870C61F}"/>
              </a:ext>
            </a:extLst>
          </p:cNvPr>
          <p:cNvSpPr txBox="1">
            <a:spLocks noGrp="1"/>
          </p:cNvSpPr>
          <p:nvPr>
            <p:ph type="title"/>
          </p:nvPr>
        </p:nvSpPr>
        <p:spPr>
          <a:xfrm>
            <a:off x="304796" y="170060"/>
            <a:ext cx="11430000" cy="1143000"/>
          </a:xfrm>
        </p:spPr>
        <p:txBody>
          <a:bodyPr/>
          <a:lstStyle>
            <a:lvl1pPr>
              <a:defRPr sz="3200">
                <a:solidFill>
                  <a:srgbClr val="FFFFFF"/>
                </a:solidFill>
              </a:defRPr>
            </a:lvl1pPr>
          </a:lstStyle>
          <a:p>
            <a:pPr lvl="0"/>
            <a:r>
              <a:rPr lang="en-US"/>
              <a:t>Click to edit Master title style</a:t>
            </a:r>
          </a:p>
        </p:txBody>
      </p:sp>
      <p:sp>
        <p:nvSpPr>
          <p:cNvPr id="7" name="Text Placeholder 4">
            <a:extLst>
              <a:ext uri="{FF2B5EF4-FFF2-40B4-BE49-F238E27FC236}">
                <a16:creationId xmlns:a16="http://schemas.microsoft.com/office/drawing/2014/main" id="{EA6AD1C4-BD70-BE3D-A30A-664BAD9605D5}"/>
              </a:ext>
            </a:extLst>
          </p:cNvPr>
          <p:cNvSpPr txBox="1">
            <a:spLocks noGrp="1"/>
          </p:cNvSpPr>
          <p:nvPr>
            <p:ph type="body" idx="4294967295"/>
          </p:nvPr>
        </p:nvSpPr>
        <p:spPr>
          <a:xfrm>
            <a:off x="332184" y="953345"/>
            <a:ext cx="11430109" cy="415923"/>
          </a:xfrm>
        </p:spPr>
        <p:txBody>
          <a:bodyPr>
            <a:normAutofit/>
          </a:bodyPr>
          <a:lstStyle>
            <a:lvl1pPr marL="0" indent="0">
              <a:buNone/>
              <a:defRPr sz="1400">
                <a:solidFill>
                  <a:srgbClr val="FFFFFF"/>
                </a:solidFill>
              </a:defRPr>
            </a:lvl1pPr>
          </a:lstStyle>
          <a:p>
            <a:pPr lvl="0"/>
            <a:r>
              <a:rPr lang="en-US"/>
              <a:t>Subtitle</a:t>
            </a:r>
          </a:p>
        </p:txBody>
      </p:sp>
      <p:cxnSp>
        <p:nvCxnSpPr>
          <p:cNvPr id="8" name="Straight Connector 15">
            <a:extLst>
              <a:ext uri="{FF2B5EF4-FFF2-40B4-BE49-F238E27FC236}">
                <a16:creationId xmlns:a16="http://schemas.microsoft.com/office/drawing/2014/main" id="{4502C399-7790-409F-1E11-79C214E600AD}"/>
              </a:ext>
            </a:extLst>
          </p:cNvPr>
          <p:cNvCxnSpPr/>
          <p:nvPr/>
        </p:nvCxnSpPr>
        <p:spPr>
          <a:xfrm>
            <a:off x="11311722" y="6447270"/>
            <a:ext cx="0" cy="267883"/>
          </a:xfrm>
          <a:prstGeom prst="straightConnector1">
            <a:avLst/>
          </a:prstGeom>
          <a:noFill/>
          <a:ln w="6345" cap="flat">
            <a:solidFill>
              <a:srgbClr val="7F7F7F"/>
            </a:solidFill>
            <a:prstDash val="solid"/>
            <a:miter/>
          </a:ln>
        </p:spPr>
      </p:cxnSp>
      <p:sp>
        <p:nvSpPr>
          <p:cNvPr id="9" name="Slide Number Placeholder 6">
            <a:extLst>
              <a:ext uri="{FF2B5EF4-FFF2-40B4-BE49-F238E27FC236}">
                <a16:creationId xmlns:a16="http://schemas.microsoft.com/office/drawing/2014/main" id="{EB8FCB71-500A-3A5F-43F8-26140C8C68D4}"/>
              </a:ext>
            </a:extLst>
          </p:cNvPr>
          <p:cNvSpPr txBox="1">
            <a:spLocks noGrp="1"/>
          </p:cNvSpPr>
          <p:nvPr>
            <p:ph type="sldNum" sz="quarter" idx="8"/>
          </p:nvPr>
        </p:nvSpPr>
        <p:spPr>
          <a:xfrm>
            <a:off x="11202597" y="6454531"/>
            <a:ext cx="559704" cy="319171"/>
          </a:xfrm>
        </p:spPr>
        <p:txBody>
          <a:bodyPr/>
          <a:lstStyle>
            <a:lvl1pPr>
              <a:defRPr sz="1000">
                <a:solidFill>
                  <a:srgbClr val="7F7F7F"/>
                </a:solidFill>
              </a:defRPr>
            </a:lvl1pPr>
          </a:lstStyle>
          <a:p>
            <a:pPr lvl="0"/>
            <a:fld id="{1ED1AFB0-E6BB-40F0-BB1F-4791BA8BD454}" type="slidenum">
              <a:t>‹#›</a:t>
            </a:fld>
            <a:endParaRPr lang="en-US"/>
          </a:p>
        </p:txBody>
      </p:sp>
      <p:pic>
        <p:nvPicPr>
          <p:cNvPr id="10" name="Picture 11">
            <a:extLst>
              <a:ext uri="{FF2B5EF4-FFF2-40B4-BE49-F238E27FC236}">
                <a16:creationId xmlns:a16="http://schemas.microsoft.com/office/drawing/2014/main" id="{5CAE1CB2-066C-FC1C-F07A-EA0CCF55990F}"/>
              </a:ext>
            </a:extLst>
          </p:cNvPr>
          <p:cNvPicPr>
            <a:picLocks noChangeAspect="1"/>
          </p:cNvPicPr>
          <p:nvPr/>
        </p:nvPicPr>
        <p:blipFill>
          <a:blip r:embed="rId2"/>
          <a:stretch>
            <a:fillRect/>
          </a:stretch>
        </p:blipFill>
        <p:spPr>
          <a:xfrm>
            <a:off x="9596464" y="6492240"/>
            <a:ext cx="1606134" cy="229240"/>
          </a:xfrm>
          <a:prstGeom prst="rect">
            <a:avLst/>
          </a:prstGeom>
          <a:noFill/>
          <a:ln cap="flat">
            <a:noFill/>
          </a:ln>
        </p:spPr>
      </p:pic>
    </p:spTree>
    <p:extLst>
      <p:ext uri="{BB962C8B-B14F-4D97-AF65-F5344CB8AC3E}">
        <p14:creationId xmlns:p14="http://schemas.microsoft.com/office/powerpoint/2010/main" val="3130927632"/>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p:cSld name="3_EVERYDAY CONTENT ONLY">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F58EB19D-63C9-7198-E330-62EFB2AEC48D}"/>
              </a:ext>
            </a:extLst>
          </p:cNvPr>
          <p:cNvSpPr/>
          <p:nvPr/>
        </p:nvSpPr>
        <p:spPr>
          <a:xfrm>
            <a:off x="0" y="0"/>
            <a:ext cx="12191996" cy="1313060"/>
          </a:xfrm>
          <a:prstGeom prst="rect">
            <a:avLst/>
          </a:prstGeom>
          <a:gradFill>
            <a:gsLst>
              <a:gs pos="0">
                <a:srgbClr val="1C498B"/>
              </a:gs>
              <a:gs pos="100000">
                <a:srgbClr val="79818A"/>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Shape">
            <a:extLst>
              <a:ext uri="{FF2B5EF4-FFF2-40B4-BE49-F238E27FC236}">
                <a16:creationId xmlns:a16="http://schemas.microsoft.com/office/drawing/2014/main" id="{6DCDD6A7-6A83-F270-B895-34344B4CF593}"/>
              </a:ext>
            </a:extLst>
          </p:cNvPr>
          <p:cNvSpPr/>
          <p:nvPr/>
        </p:nvSpPr>
        <p:spPr>
          <a:xfrm>
            <a:off x="6863642" y="16268"/>
            <a:ext cx="5328355" cy="812270"/>
          </a:xfrm>
          <a:custGeom>
            <a:avLst/>
            <a:gdLst>
              <a:gd name="f0" fmla="val 10800000"/>
              <a:gd name="f1" fmla="val 5400000"/>
              <a:gd name="f2" fmla="val 180"/>
              <a:gd name="f3" fmla="val w"/>
              <a:gd name="f4" fmla="val h"/>
              <a:gd name="f5" fmla="val 0"/>
              <a:gd name="f6" fmla="val 21600"/>
              <a:gd name="f7" fmla="val 20619"/>
              <a:gd name="f8" fmla="val 7043"/>
              <a:gd name="f9" fmla="val 1599"/>
              <a:gd name="f10" fmla="val 10431"/>
              <a:gd name="f11" fmla="val 3359"/>
              <a:gd name="f12" fmla="val 12009"/>
              <a:gd name="f13" fmla="val 5125"/>
              <a:gd name="f14" fmla="val 11638"/>
              <a:gd name="f15" fmla="val 8965"/>
              <a:gd name="f16" fmla="val 10834"/>
              <a:gd name="f17" fmla="val 12429"/>
              <a:gd name="f18" fmla="val 1037"/>
              <a:gd name="f19" fmla="val 16255"/>
              <a:gd name="f20" fmla="val 77"/>
              <a:gd name="f21" fmla="val 18093"/>
              <a:gd name="f22" fmla="+- 0 0 385"/>
              <a:gd name="f23" fmla="val 19927"/>
              <a:gd name="f24" fmla="val 1227"/>
              <a:gd name="f25" fmla="val 21590"/>
              <a:gd name="f26" fmla="val 4766"/>
              <a:gd name="f27" fmla="val 14041"/>
              <a:gd name="f28" fmla="val 19718"/>
              <a:gd name="f29" fmla="val 9870"/>
              <a:gd name="f30" fmla="val 17612"/>
              <a:gd name="f31" fmla="val 8157"/>
              <a:gd name="f32" fmla="val 15523"/>
              <a:gd name="f33" fmla="val 9097"/>
              <a:gd name="f34" fmla="val 12138"/>
              <a:gd name="f35" fmla="val 10620"/>
              <a:gd name="f36" fmla="val 9076"/>
              <a:gd name="f37" fmla="val 19001"/>
              <a:gd name="f38" fmla="val 5674"/>
              <a:gd name="f39" fmla="val 20410"/>
              <a:gd name="f40" fmla="val 3728"/>
              <a:gd name="f41" fmla="val 21215"/>
              <a:gd name="f42" fmla="val 1770"/>
              <a:gd name="f43" fmla="val 19679"/>
              <a:gd name="f44" fmla="val 15961"/>
              <a:gd name="f45" fmla="+- 0 0 -90"/>
              <a:gd name="f46" fmla="+- 0 0 -180"/>
              <a:gd name="f47" fmla="+- 0 0 -270"/>
              <a:gd name="f48" fmla="+- 0 0 -360"/>
              <a:gd name="f49" fmla="*/ f3 1 21600"/>
              <a:gd name="f50" fmla="*/ f4 1 20619"/>
              <a:gd name="f51" fmla="+- f7 0 f5"/>
              <a:gd name="f52" fmla="+- f6 0 f5"/>
              <a:gd name="f53" fmla="*/ f45 f0 1"/>
              <a:gd name="f54" fmla="*/ f46 f0 1"/>
              <a:gd name="f55" fmla="*/ f47 f0 1"/>
              <a:gd name="f56" fmla="*/ f48 f0 1"/>
              <a:gd name="f57" fmla="*/ f51 1 2"/>
              <a:gd name="f58" fmla="*/ f52 1 2"/>
              <a:gd name="f59" fmla="*/ f52 1 21600"/>
              <a:gd name="f60" fmla="*/ f51 1 20619"/>
              <a:gd name="f61" fmla="*/ f53 1 f2"/>
              <a:gd name="f62" fmla="*/ f54 1 f2"/>
              <a:gd name="f63" fmla="*/ f55 1 f2"/>
              <a:gd name="f64" fmla="*/ f56 1 f2"/>
              <a:gd name="f65" fmla="*/ f58 1 f59"/>
              <a:gd name="f66" fmla="*/ f57 1 f60"/>
              <a:gd name="f67" fmla="*/ 0 1 f59"/>
              <a:gd name="f68" fmla="*/ f6 1 f59"/>
              <a:gd name="f69" fmla="*/ 0 1 f60"/>
              <a:gd name="f70" fmla="*/ f7 1 f60"/>
              <a:gd name="f71" fmla="+- f61 0 f1"/>
              <a:gd name="f72" fmla="+- f62 0 f1"/>
              <a:gd name="f73" fmla="+- f63 0 f1"/>
              <a:gd name="f74" fmla="+- f64 0 f1"/>
              <a:gd name="f75" fmla="*/ f67 f49 1"/>
              <a:gd name="f76" fmla="*/ f68 f49 1"/>
              <a:gd name="f77" fmla="*/ f70 f50 1"/>
              <a:gd name="f78" fmla="*/ f69 f50 1"/>
              <a:gd name="f79" fmla="*/ f65 f49 1"/>
              <a:gd name="f80" fmla="*/ f66 f50 1"/>
            </a:gdLst>
            <a:ahLst/>
            <a:cxnLst>
              <a:cxn ang="3cd4">
                <a:pos x="hc" y="t"/>
              </a:cxn>
              <a:cxn ang="0">
                <a:pos x="r" y="vc"/>
              </a:cxn>
              <a:cxn ang="cd4">
                <a:pos x="hc" y="b"/>
              </a:cxn>
              <a:cxn ang="cd2">
                <a:pos x="l" y="vc"/>
              </a:cxn>
              <a:cxn ang="f71">
                <a:pos x="f79" y="f80"/>
              </a:cxn>
              <a:cxn ang="f72">
                <a:pos x="f79" y="f80"/>
              </a:cxn>
              <a:cxn ang="f73">
                <a:pos x="f79" y="f80"/>
              </a:cxn>
              <a:cxn ang="f74">
                <a:pos x="f79" y="f80"/>
              </a:cxn>
            </a:cxnLst>
            <a:rect l="f75" t="f78" r="f76" b="f77"/>
            <a:pathLst>
              <a:path w="21600" h="20619">
                <a:moveTo>
                  <a:pt x="f5" y="f8"/>
                </a:moveTo>
                <a:cubicBezTo>
                  <a:pt x="f9" y="f10"/>
                  <a:pt x="f11" y="f12"/>
                  <a:pt x="f13" y="f14"/>
                </a:cubicBezTo>
                <a:cubicBezTo>
                  <a:pt x="f15" y="f16"/>
                  <a:pt x="f17" y="f18"/>
                  <a:pt x="f19" y="f20"/>
                </a:cubicBezTo>
                <a:cubicBezTo>
                  <a:pt x="f21" y="f22"/>
                  <a:pt x="f23" y="f24"/>
                  <a:pt x="f25" y="f26"/>
                </a:cubicBezTo>
                <a:lnTo>
                  <a:pt x="f6" y="f27"/>
                </a:lnTo>
                <a:cubicBezTo>
                  <a:pt x="f28" y="f29"/>
                  <a:pt x="f30" y="f31"/>
                  <a:pt x="f32" y="f33"/>
                </a:cubicBezTo>
                <a:cubicBezTo>
                  <a:pt x="f34" y="f35"/>
                  <a:pt x="f36" y="f37"/>
                  <a:pt x="f38" y="f39"/>
                </a:cubicBezTo>
                <a:cubicBezTo>
                  <a:pt x="f40" y="f41"/>
                  <a:pt x="f42" y="f43"/>
                  <a:pt x="f5" y="f44"/>
                </a:cubicBezTo>
                <a:lnTo>
                  <a:pt x="f5" y="f8"/>
                </a:lnTo>
                <a:close/>
              </a:path>
            </a:pathLst>
          </a:custGeom>
          <a:gradFill>
            <a:gsLst>
              <a:gs pos="0">
                <a:srgbClr val="1C498B">
                  <a:alpha val="0"/>
                </a:srgbClr>
              </a:gs>
              <a:gs pos="100000">
                <a:srgbClr val="1C498B">
                  <a:alpha val="63000"/>
                </a:srgbClr>
              </a:gs>
            </a:gsLst>
            <a:lin ang="0"/>
          </a:gradFill>
          <a:ln cap="flat">
            <a:noFill/>
            <a:prstDash val="solid"/>
          </a:ln>
        </p:spPr>
        <p:txBody>
          <a:bodyPr vert="horz" wrap="square" lIns="0" tIns="0" rIns="0" bIns="0" anchor="ctr" anchorCtr="1" compatLnSpc="1">
            <a:noAutofit/>
          </a:bodyPr>
          <a:lstStyle/>
          <a:p>
            <a:pPr marL="0" marR="0" lvl="0" indent="0" algn="ctr" defTabSz="412799" rtl="0" fontAlgn="auto" hangingPunct="0">
              <a:lnSpc>
                <a:spcPct val="100000"/>
              </a:lnSpc>
              <a:spcBef>
                <a:spcPts val="0"/>
              </a:spcBef>
              <a:spcAft>
                <a:spcPts val="0"/>
              </a:spcAft>
              <a:buNone/>
              <a:tabLst/>
              <a:defRPr sz="2400" b="0" i="0" u="none" strike="noStrike" kern="0" cap="none" spc="0" baseline="0">
                <a:solidFill>
                  <a:srgbClr val="FFFFFF"/>
                </a:solidFill>
                <a:uFillTx/>
                <a:latin typeface="Helvetica Neue Medium"/>
                <a:ea typeface="Helvetica Neue Medium"/>
                <a:cs typeface="Helvetica Neue Medium"/>
              </a:defRPr>
            </a:pPr>
            <a:endParaRPr lang="en-US" sz="1525" b="0" i="0" u="none" strike="noStrike" kern="0" cap="none" spc="0" baseline="0">
              <a:solidFill>
                <a:srgbClr val="FFFFFF"/>
              </a:solidFill>
              <a:uFillTx/>
              <a:latin typeface="Helvetica Neue Medium"/>
              <a:ea typeface="Helvetica Neue Medium"/>
              <a:cs typeface="Helvetica Neue Medium"/>
            </a:endParaRPr>
          </a:p>
        </p:txBody>
      </p:sp>
      <p:sp>
        <p:nvSpPr>
          <p:cNvPr id="4" name="Content Placeholder 2">
            <a:extLst>
              <a:ext uri="{FF2B5EF4-FFF2-40B4-BE49-F238E27FC236}">
                <a16:creationId xmlns:a16="http://schemas.microsoft.com/office/drawing/2014/main" id="{BE521440-E8A9-B4B8-0088-BC86503B265D}"/>
              </a:ext>
            </a:extLst>
          </p:cNvPr>
          <p:cNvSpPr txBox="1">
            <a:spLocks noGrp="1"/>
          </p:cNvSpPr>
          <p:nvPr>
            <p:ph idx="4294967295"/>
          </p:nvPr>
        </p:nvSpPr>
        <p:spPr>
          <a:xfrm>
            <a:off x="508544" y="1707789"/>
            <a:ext cx="11203667" cy="4648571"/>
          </a:xfrm>
        </p:spPr>
        <p:txBody>
          <a:bodyPr/>
          <a:lstStyle>
            <a:lvl1pPr>
              <a:defRPr>
                <a:solidFill>
                  <a:srgbClr val="4C555F"/>
                </a:solidFill>
              </a:defRPr>
            </a:lvl1pPr>
            <a:lvl2pPr>
              <a:defRPr>
                <a:solidFill>
                  <a:srgbClr val="4C555F"/>
                </a:solidFill>
              </a:defRPr>
            </a:lvl2pPr>
            <a:lvl3pPr>
              <a:defRPr>
                <a:solidFill>
                  <a:srgbClr val="4C555F"/>
                </a:solidFill>
              </a:defRPr>
            </a:lvl3pPr>
            <a:lvl4pPr>
              <a:defRPr>
                <a:solidFill>
                  <a:srgbClr val="4C555F"/>
                </a:solidFill>
              </a:defRPr>
            </a:lvl4pPr>
            <a:lvl5pPr>
              <a:defRPr>
                <a:solidFill>
                  <a:srgbClr val="4C555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hape">
            <a:extLst>
              <a:ext uri="{FF2B5EF4-FFF2-40B4-BE49-F238E27FC236}">
                <a16:creationId xmlns:a16="http://schemas.microsoft.com/office/drawing/2014/main" id="{B65231D2-2668-1C49-9D71-502571E91A21}"/>
              </a:ext>
            </a:extLst>
          </p:cNvPr>
          <p:cNvSpPr/>
          <p:nvPr/>
        </p:nvSpPr>
        <p:spPr>
          <a:xfrm>
            <a:off x="6863642" y="519644"/>
            <a:ext cx="5328355" cy="812270"/>
          </a:xfrm>
          <a:custGeom>
            <a:avLst/>
            <a:gdLst>
              <a:gd name="f0" fmla="val 10800000"/>
              <a:gd name="f1" fmla="val 5400000"/>
              <a:gd name="f2" fmla="val 180"/>
              <a:gd name="f3" fmla="val w"/>
              <a:gd name="f4" fmla="val h"/>
              <a:gd name="f5" fmla="val 0"/>
              <a:gd name="f6" fmla="val 21600"/>
              <a:gd name="f7" fmla="val 20619"/>
              <a:gd name="f8" fmla="val 7043"/>
              <a:gd name="f9" fmla="val 1599"/>
              <a:gd name="f10" fmla="val 10431"/>
              <a:gd name="f11" fmla="val 3359"/>
              <a:gd name="f12" fmla="val 12009"/>
              <a:gd name="f13" fmla="val 5125"/>
              <a:gd name="f14" fmla="val 11638"/>
              <a:gd name="f15" fmla="val 8965"/>
              <a:gd name="f16" fmla="val 10834"/>
              <a:gd name="f17" fmla="val 12429"/>
              <a:gd name="f18" fmla="val 1037"/>
              <a:gd name="f19" fmla="val 16255"/>
              <a:gd name="f20" fmla="val 77"/>
              <a:gd name="f21" fmla="val 18093"/>
              <a:gd name="f22" fmla="+- 0 0 385"/>
              <a:gd name="f23" fmla="val 19927"/>
              <a:gd name="f24" fmla="val 1227"/>
              <a:gd name="f25" fmla="val 21590"/>
              <a:gd name="f26" fmla="val 4766"/>
              <a:gd name="f27" fmla="val 14041"/>
              <a:gd name="f28" fmla="val 19718"/>
              <a:gd name="f29" fmla="val 9870"/>
              <a:gd name="f30" fmla="val 17612"/>
              <a:gd name="f31" fmla="val 8157"/>
              <a:gd name="f32" fmla="val 15523"/>
              <a:gd name="f33" fmla="val 9097"/>
              <a:gd name="f34" fmla="val 12138"/>
              <a:gd name="f35" fmla="val 10620"/>
              <a:gd name="f36" fmla="val 9076"/>
              <a:gd name="f37" fmla="val 19001"/>
              <a:gd name="f38" fmla="val 5674"/>
              <a:gd name="f39" fmla="val 20410"/>
              <a:gd name="f40" fmla="val 3728"/>
              <a:gd name="f41" fmla="val 21215"/>
              <a:gd name="f42" fmla="val 1770"/>
              <a:gd name="f43" fmla="val 19679"/>
              <a:gd name="f44" fmla="val 15961"/>
              <a:gd name="f45" fmla="+- 0 0 -90"/>
              <a:gd name="f46" fmla="+- 0 0 -180"/>
              <a:gd name="f47" fmla="+- 0 0 -270"/>
              <a:gd name="f48" fmla="+- 0 0 -360"/>
              <a:gd name="f49" fmla="*/ f3 1 21600"/>
              <a:gd name="f50" fmla="*/ f4 1 20619"/>
              <a:gd name="f51" fmla="+- f7 0 f5"/>
              <a:gd name="f52" fmla="+- f6 0 f5"/>
              <a:gd name="f53" fmla="*/ f45 f0 1"/>
              <a:gd name="f54" fmla="*/ f46 f0 1"/>
              <a:gd name="f55" fmla="*/ f47 f0 1"/>
              <a:gd name="f56" fmla="*/ f48 f0 1"/>
              <a:gd name="f57" fmla="*/ f51 1 2"/>
              <a:gd name="f58" fmla="*/ f52 1 2"/>
              <a:gd name="f59" fmla="*/ f52 1 21600"/>
              <a:gd name="f60" fmla="*/ f51 1 20619"/>
              <a:gd name="f61" fmla="*/ f53 1 f2"/>
              <a:gd name="f62" fmla="*/ f54 1 f2"/>
              <a:gd name="f63" fmla="*/ f55 1 f2"/>
              <a:gd name="f64" fmla="*/ f56 1 f2"/>
              <a:gd name="f65" fmla="*/ f58 1 f59"/>
              <a:gd name="f66" fmla="*/ f57 1 f60"/>
              <a:gd name="f67" fmla="*/ 0 1 f59"/>
              <a:gd name="f68" fmla="*/ f6 1 f59"/>
              <a:gd name="f69" fmla="*/ 0 1 f60"/>
              <a:gd name="f70" fmla="*/ f7 1 f60"/>
              <a:gd name="f71" fmla="+- f61 0 f1"/>
              <a:gd name="f72" fmla="+- f62 0 f1"/>
              <a:gd name="f73" fmla="+- f63 0 f1"/>
              <a:gd name="f74" fmla="+- f64 0 f1"/>
              <a:gd name="f75" fmla="*/ f67 f49 1"/>
              <a:gd name="f76" fmla="*/ f68 f49 1"/>
              <a:gd name="f77" fmla="*/ f70 f50 1"/>
              <a:gd name="f78" fmla="*/ f69 f50 1"/>
              <a:gd name="f79" fmla="*/ f65 f49 1"/>
              <a:gd name="f80" fmla="*/ f66 f50 1"/>
            </a:gdLst>
            <a:ahLst/>
            <a:cxnLst>
              <a:cxn ang="3cd4">
                <a:pos x="hc" y="t"/>
              </a:cxn>
              <a:cxn ang="0">
                <a:pos x="r" y="vc"/>
              </a:cxn>
              <a:cxn ang="cd4">
                <a:pos x="hc" y="b"/>
              </a:cxn>
              <a:cxn ang="cd2">
                <a:pos x="l" y="vc"/>
              </a:cxn>
              <a:cxn ang="f71">
                <a:pos x="f79" y="f80"/>
              </a:cxn>
              <a:cxn ang="f72">
                <a:pos x="f79" y="f80"/>
              </a:cxn>
              <a:cxn ang="f73">
                <a:pos x="f79" y="f80"/>
              </a:cxn>
              <a:cxn ang="f74">
                <a:pos x="f79" y="f80"/>
              </a:cxn>
            </a:cxnLst>
            <a:rect l="f75" t="f78" r="f76" b="f77"/>
            <a:pathLst>
              <a:path w="21600" h="20619">
                <a:moveTo>
                  <a:pt x="f5" y="f8"/>
                </a:moveTo>
                <a:cubicBezTo>
                  <a:pt x="f9" y="f10"/>
                  <a:pt x="f11" y="f12"/>
                  <a:pt x="f13" y="f14"/>
                </a:cubicBezTo>
                <a:cubicBezTo>
                  <a:pt x="f15" y="f16"/>
                  <a:pt x="f17" y="f18"/>
                  <a:pt x="f19" y="f20"/>
                </a:cubicBezTo>
                <a:cubicBezTo>
                  <a:pt x="f21" y="f22"/>
                  <a:pt x="f23" y="f24"/>
                  <a:pt x="f25" y="f26"/>
                </a:cubicBezTo>
                <a:lnTo>
                  <a:pt x="f6" y="f27"/>
                </a:lnTo>
                <a:cubicBezTo>
                  <a:pt x="f28" y="f29"/>
                  <a:pt x="f30" y="f31"/>
                  <a:pt x="f32" y="f33"/>
                </a:cubicBezTo>
                <a:cubicBezTo>
                  <a:pt x="f34" y="f35"/>
                  <a:pt x="f36" y="f37"/>
                  <a:pt x="f38" y="f39"/>
                </a:cubicBezTo>
                <a:cubicBezTo>
                  <a:pt x="f40" y="f41"/>
                  <a:pt x="f42" y="f43"/>
                  <a:pt x="f5" y="f44"/>
                </a:cubicBezTo>
                <a:lnTo>
                  <a:pt x="f5" y="f8"/>
                </a:lnTo>
                <a:close/>
              </a:path>
            </a:pathLst>
          </a:custGeom>
          <a:gradFill>
            <a:gsLst>
              <a:gs pos="0">
                <a:srgbClr val="1C498B">
                  <a:alpha val="0"/>
                </a:srgbClr>
              </a:gs>
              <a:gs pos="100000">
                <a:srgbClr val="1C498B">
                  <a:alpha val="63000"/>
                </a:srgbClr>
              </a:gs>
            </a:gsLst>
            <a:lin ang="0"/>
          </a:gradFill>
          <a:ln cap="flat">
            <a:noFill/>
            <a:prstDash val="solid"/>
          </a:ln>
        </p:spPr>
        <p:txBody>
          <a:bodyPr vert="horz" wrap="square" lIns="0" tIns="0" rIns="0" bIns="0" anchor="ctr" anchorCtr="1" compatLnSpc="1">
            <a:noAutofit/>
          </a:bodyPr>
          <a:lstStyle/>
          <a:p>
            <a:pPr marL="0" marR="0" lvl="0" indent="0" algn="ctr" defTabSz="412799" rtl="0" fontAlgn="auto" hangingPunct="0">
              <a:lnSpc>
                <a:spcPct val="100000"/>
              </a:lnSpc>
              <a:spcBef>
                <a:spcPts val="0"/>
              </a:spcBef>
              <a:spcAft>
                <a:spcPts val="0"/>
              </a:spcAft>
              <a:buNone/>
              <a:tabLst/>
              <a:defRPr sz="2400" b="0" i="0" u="none" strike="noStrike" kern="0" cap="none" spc="0" baseline="0">
                <a:solidFill>
                  <a:srgbClr val="FFFFFF"/>
                </a:solidFill>
                <a:uFillTx/>
                <a:latin typeface="Helvetica Neue Medium"/>
                <a:ea typeface="Helvetica Neue Medium"/>
                <a:cs typeface="Helvetica Neue Medium"/>
              </a:defRPr>
            </a:pPr>
            <a:endParaRPr lang="en-US" sz="1525" b="0" i="0" u="none" strike="noStrike" kern="0" cap="none" spc="0" baseline="0">
              <a:solidFill>
                <a:srgbClr val="FFFFFF"/>
              </a:solidFill>
              <a:uFillTx/>
              <a:latin typeface="Helvetica Neue Medium"/>
              <a:ea typeface="Helvetica Neue Medium"/>
              <a:cs typeface="Helvetica Neue Medium"/>
            </a:endParaRPr>
          </a:p>
        </p:txBody>
      </p:sp>
      <p:sp>
        <p:nvSpPr>
          <p:cNvPr id="6" name="Title 1">
            <a:extLst>
              <a:ext uri="{FF2B5EF4-FFF2-40B4-BE49-F238E27FC236}">
                <a16:creationId xmlns:a16="http://schemas.microsoft.com/office/drawing/2014/main" id="{BF72217D-E74A-F1BB-EA0A-F0245E272D8A}"/>
              </a:ext>
            </a:extLst>
          </p:cNvPr>
          <p:cNvSpPr txBox="1">
            <a:spLocks noGrp="1"/>
          </p:cNvSpPr>
          <p:nvPr>
            <p:ph type="title"/>
          </p:nvPr>
        </p:nvSpPr>
        <p:spPr>
          <a:xfrm>
            <a:off x="304796" y="170060"/>
            <a:ext cx="11430000" cy="1143000"/>
          </a:xfrm>
        </p:spPr>
        <p:txBody>
          <a:bodyPr/>
          <a:lstStyle>
            <a:lvl1pPr>
              <a:defRPr sz="3200">
                <a:solidFill>
                  <a:srgbClr val="FFFFFF"/>
                </a:solidFill>
              </a:defRPr>
            </a:lvl1pPr>
          </a:lstStyle>
          <a:p>
            <a:pPr lvl="0"/>
            <a:r>
              <a:rPr lang="en-US"/>
              <a:t>Click to edit Master title style</a:t>
            </a:r>
          </a:p>
        </p:txBody>
      </p:sp>
      <p:sp>
        <p:nvSpPr>
          <p:cNvPr id="7" name="Text Placeholder 4">
            <a:extLst>
              <a:ext uri="{FF2B5EF4-FFF2-40B4-BE49-F238E27FC236}">
                <a16:creationId xmlns:a16="http://schemas.microsoft.com/office/drawing/2014/main" id="{33208B9F-6EF2-BDAA-C576-35CE95AA69D5}"/>
              </a:ext>
            </a:extLst>
          </p:cNvPr>
          <p:cNvSpPr txBox="1">
            <a:spLocks noGrp="1"/>
          </p:cNvSpPr>
          <p:nvPr>
            <p:ph type="body" idx="4294967295"/>
          </p:nvPr>
        </p:nvSpPr>
        <p:spPr>
          <a:xfrm>
            <a:off x="332184" y="953345"/>
            <a:ext cx="11430109" cy="415923"/>
          </a:xfrm>
        </p:spPr>
        <p:txBody>
          <a:bodyPr>
            <a:normAutofit/>
          </a:bodyPr>
          <a:lstStyle>
            <a:lvl1pPr marL="0" indent="0">
              <a:buNone/>
              <a:defRPr sz="1400">
                <a:solidFill>
                  <a:srgbClr val="FFFFFF"/>
                </a:solidFill>
              </a:defRPr>
            </a:lvl1pPr>
          </a:lstStyle>
          <a:p>
            <a:pPr lvl="0"/>
            <a:r>
              <a:rPr lang="en-US"/>
              <a:t>Subtitle</a:t>
            </a:r>
          </a:p>
        </p:txBody>
      </p:sp>
      <p:cxnSp>
        <p:nvCxnSpPr>
          <p:cNvPr id="8" name="Straight Connector 15">
            <a:extLst>
              <a:ext uri="{FF2B5EF4-FFF2-40B4-BE49-F238E27FC236}">
                <a16:creationId xmlns:a16="http://schemas.microsoft.com/office/drawing/2014/main" id="{18505F46-2CC2-F59F-F6EA-20F0F32CBFFD}"/>
              </a:ext>
            </a:extLst>
          </p:cNvPr>
          <p:cNvCxnSpPr/>
          <p:nvPr/>
        </p:nvCxnSpPr>
        <p:spPr>
          <a:xfrm>
            <a:off x="11311722" y="6447270"/>
            <a:ext cx="0" cy="267883"/>
          </a:xfrm>
          <a:prstGeom prst="straightConnector1">
            <a:avLst/>
          </a:prstGeom>
          <a:noFill/>
          <a:ln w="6345" cap="flat">
            <a:solidFill>
              <a:srgbClr val="7F7F7F"/>
            </a:solidFill>
            <a:prstDash val="solid"/>
            <a:miter/>
          </a:ln>
        </p:spPr>
      </p:cxnSp>
      <p:sp>
        <p:nvSpPr>
          <p:cNvPr id="9" name="Slide Number Placeholder 6">
            <a:extLst>
              <a:ext uri="{FF2B5EF4-FFF2-40B4-BE49-F238E27FC236}">
                <a16:creationId xmlns:a16="http://schemas.microsoft.com/office/drawing/2014/main" id="{4635F8C0-BF17-6DE3-6A33-4992876D4B3E}"/>
              </a:ext>
            </a:extLst>
          </p:cNvPr>
          <p:cNvSpPr txBox="1">
            <a:spLocks noGrp="1"/>
          </p:cNvSpPr>
          <p:nvPr>
            <p:ph type="sldNum" sz="quarter" idx="8"/>
          </p:nvPr>
        </p:nvSpPr>
        <p:spPr>
          <a:xfrm>
            <a:off x="11202597" y="6454531"/>
            <a:ext cx="559704" cy="319171"/>
          </a:xfrm>
        </p:spPr>
        <p:txBody>
          <a:bodyPr/>
          <a:lstStyle>
            <a:lvl1pPr>
              <a:defRPr sz="1000">
                <a:solidFill>
                  <a:srgbClr val="7F7F7F"/>
                </a:solidFill>
              </a:defRPr>
            </a:lvl1pPr>
          </a:lstStyle>
          <a:p>
            <a:pPr lvl="0"/>
            <a:fld id="{D5A6F9D8-A579-4148-A47E-579DF324AB3B}" type="slidenum">
              <a:t>‹#›</a:t>
            </a:fld>
            <a:endParaRPr lang="en-US"/>
          </a:p>
        </p:txBody>
      </p:sp>
      <p:pic>
        <p:nvPicPr>
          <p:cNvPr id="10" name="Picture 11">
            <a:extLst>
              <a:ext uri="{FF2B5EF4-FFF2-40B4-BE49-F238E27FC236}">
                <a16:creationId xmlns:a16="http://schemas.microsoft.com/office/drawing/2014/main" id="{0050B770-528C-500D-3EE4-FA19F0BF936F}"/>
              </a:ext>
            </a:extLst>
          </p:cNvPr>
          <p:cNvPicPr>
            <a:picLocks noChangeAspect="1"/>
          </p:cNvPicPr>
          <p:nvPr/>
        </p:nvPicPr>
        <p:blipFill>
          <a:blip r:embed="rId2"/>
          <a:stretch>
            <a:fillRect/>
          </a:stretch>
        </p:blipFill>
        <p:spPr>
          <a:xfrm>
            <a:off x="9596464" y="6492240"/>
            <a:ext cx="1606134" cy="229240"/>
          </a:xfrm>
          <a:prstGeom prst="rect">
            <a:avLst/>
          </a:prstGeom>
          <a:noFill/>
          <a:ln cap="flat">
            <a:noFill/>
          </a:ln>
        </p:spPr>
      </p:pic>
    </p:spTree>
    <p:extLst>
      <p:ext uri="{BB962C8B-B14F-4D97-AF65-F5344CB8AC3E}">
        <p14:creationId xmlns:p14="http://schemas.microsoft.com/office/powerpoint/2010/main" val="3499278919"/>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type="obj" preserve="1">
  <p:cSld name="49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F35C53EF-8A96-8FFE-7892-AF2842D4604D}"/>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0E32D334-3714-202D-E25B-D79D38C262E7}"/>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5760F61E-E129-2F67-49F3-EFD6DBF460A2}"/>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C55E546E-2011-5E7D-B8BC-22FC04063DD5}"/>
              </a:ext>
            </a:extLst>
          </p:cNvPr>
          <p:cNvSpPr txBox="1">
            <a:spLocks noGrp="1"/>
          </p:cNvSpPr>
          <p:nvPr>
            <p:ph type="sldNum" sz="quarter" idx="8"/>
          </p:nvPr>
        </p:nvSpPr>
        <p:spPr/>
        <p:txBody>
          <a:bodyPr/>
          <a:lstStyle>
            <a:lvl1pPr>
              <a:defRPr>
                <a:solidFill>
                  <a:srgbClr val="AFB3B9"/>
                </a:solidFill>
              </a:defRPr>
            </a:lvl1pPr>
          </a:lstStyle>
          <a:p>
            <a:pPr lvl="0"/>
            <a:fld id="{805DE26F-872D-4BDD-9D21-054794E61099}" type="slidenum">
              <a:t>‹#›</a:t>
            </a:fld>
            <a:endParaRPr lang="en-US"/>
          </a:p>
        </p:txBody>
      </p:sp>
      <p:cxnSp>
        <p:nvCxnSpPr>
          <p:cNvPr id="6" name="Straight Connector 7">
            <a:extLst>
              <a:ext uri="{FF2B5EF4-FFF2-40B4-BE49-F238E27FC236}">
                <a16:creationId xmlns:a16="http://schemas.microsoft.com/office/drawing/2014/main" id="{96A7AFB8-0955-E902-37E5-71248544305F}"/>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3510D0AA-ED4C-28FC-97D7-571DC39C87A9}"/>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8D1560C1-B384-9D1D-A325-B4DC887F4519}"/>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2BCD0304-AAD0-5FFD-D201-9AEBEA3E37CD}"/>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D6DDECB5-34DF-2D5A-59D3-12622856132B}"/>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A214E6DF-38B3-8AB5-F1B2-68BDFF468FB3}"/>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1FA20EF7-CDD0-BDDF-5D43-C812D166979D}"/>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D327E8B9-4893-0BE7-2EAF-A3A816D3851D}"/>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3119987713"/>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type="obj" preserve="1">
  <p:cSld name="50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CCD13DAE-7799-2BC3-BFFF-4523BCA2974E}"/>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12101123-E470-A66D-928D-0606822F417A}"/>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24437614-35CF-25D6-A021-7D056260402D}"/>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7480CC9D-0641-5CAC-63B6-2F6588BF16C2}"/>
              </a:ext>
            </a:extLst>
          </p:cNvPr>
          <p:cNvSpPr txBox="1">
            <a:spLocks noGrp="1"/>
          </p:cNvSpPr>
          <p:nvPr>
            <p:ph type="sldNum" sz="quarter" idx="8"/>
          </p:nvPr>
        </p:nvSpPr>
        <p:spPr/>
        <p:txBody>
          <a:bodyPr/>
          <a:lstStyle>
            <a:lvl1pPr>
              <a:defRPr>
                <a:solidFill>
                  <a:srgbClr val="AFB3B9"/>
                </a:solidFill>
              </a:defRPr>
            </a:lvl1pPr>
          </a:lstStyle>
          <a:p>
            <a:pPr lvl="0"/>
            <a:fld id="{ED56C211-D6D7-4C8D-AF84-9E82A76BBBEC}" type="slidenum">
              <a:t>‹#›</a:t>
            </a:fld>
            <a:endParaRPr lang="en-US"/>
          </a:p>
        </p:txBody>
      </p:sp>
      <p:cxnSp>
        <p:nvCxnSpPr>
          <p:cNvPr id="6" name="Straight Connector 7">
            <a:extLst>
              <a:ext uri="{FF2B5EF4-FFF2-40B4-BE49-F238E27FC236}">
                <a16:creationId xmlns:a16="http://schemas.microsoft.com/office/drawing/2014/main" id="{E1A6D29C-49DE-A506-E19E-C269AC123301}"/>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07C07665-501C-B0A3-FBAA-10B549E71BCA}"/>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D1469D51-306B-AD03-F555-A575D7C5D369}"/>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90424891-5881-B2D8-CA96-FF0CEB76572E}"/>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E2194A7D-0C24-E6D1-523D-1E3737AAE642}"/>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B6568B28-D0A0-435B-11CB-70EFC380F36F}"/>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74558BB2-5E0C-2372-E21A-B0464689C116}"/>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0A7819DD-5595-8DFD-5369-472C6B38A63B}"/>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3888012599"/>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p:cSld name="28_Cover">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4E4F8117-84F7-E109-EA12-673C04D71171}"/>
              </a:ext>
            </a:extLst>
          </p:cNvPr>
          <p:cNvSpPr/>
          <p:nvPr/>
        </p:nvSpPr>
        <p:spPr>
          <a:xfrm>
            <a:off x="902366" y="1294416"/>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A1841076-AD4C-B27B-B727-11B525ADAE84}"/>
              </a:ext>
            </a:extLst>
          </p:cNvPr>
          <p:cNvSpPr txBox="1">
            <a:spLocks noGrp="1"/>
          </p:cNvSpPr>
          <p:nvPr>
            <p:ph type="title"/>
          </p:nvPr>
        </p:nvSpPr>
        <p:spPr>
          <a:xfrm>
            <a:off x="1413314" y="1561328"/>
            <a:ext cx="5194432" cy="1826340"/>
          </a:xfrm>
        </p:spPr>
        <p:txBody>
          <a:bodyPr anchor="b"/>
          <a:lstStyle>
            <a:lvl1pPr>
              <a:defRPr sz="4000">
                <a:solidFill>
                  <a:srgbClr val="444C55"/>
                </a:solidFill>
              </a:defRPr>
            </a:lvl1pPr>
          </a:lstStyle>
          <a:p>
            <a:pPr lvl="0"/>
            <a:r>
              <a:rPr lang="en-US"/>
              <a:t>Click to edit Master title style</a:t>
            </a:r>
          </a:p>
        </p:txBody>
      </p:sp>
      <p:sp>
        <p:nvSpPr>
          <p:cNvPr id="4" name="Subtitle 2">
            <a:extLst>
              <a:ext uri="{FF2B5EF4-FFF2-40B4-BE49-F238E27FC236}">
                <a16:creationId xmlns:a16="http://schemas.microsoft.com/office/drawing/2014/main" id="{47473DD3-9EE0-A807-AD40-DDF1D9A3677A}"/>
              </a:ext>
            </a:extLst>
          </p:cNvPr>
          <p:cNvSpPr txBox="1">
            <a:spLocks noGrp="1"/>
          </p:cNvSpPr>
          <p:nvPr>
            <p:ph type="subTitle" idx="4294967295"/>
          </p:nvPr>
        </p:nvSpPr>
        <p:spPr>
          <a:xfrm>
            <a:off x="1413314" y="3766861"/>
            <a:ext cx="5194432" cy="986564"/>
          </a:xfrm>
        </p:spPr>
        <p:txBody>
          <a:bodyPr/>
          <a:lstStyle>
            <a:lvl1pPr marL="0" indent="0">
              <a:buNone/>
              <a:defRPr/>
            </a:lvl1pPr>
          </a:lstStyle>
          <a:p>
            <a:pPr lvl="0"/>
            <a:r>
              <a:rPr lang="en-US"/>
              <a:t>Click to edit Master subtitle style</a:t>
            </a:r>
          </a:p>
        </p:txBody>
      </p:sp>
      <p:sp>
        <p:nvSpPr>
          <p:cNvPr id="5" name="Picture Placeholder 21">
            <a:extLst>
              <a:ext uri="{FF2B5EF4-FFF2-40B4-BE49-F238E27FC236}">
                <a16:creationId xmlns:a16="http://schemas.microsoft.com/office/drawing/2014/main" id="{17DBEF2B-C1AB-6EA9-7E55-1F012088A24A}"/>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grpSp>
        <p:nvGrpSpPr>
          <p:cNvPr id="6" name="Group 26">
            <a:extLst>
              <a:ext uri="{FF2B5EF4-FFF2-40B4-BE49-F238E27FC236}">
                <a16:creationId xmlns:a16="http://schemas.microsoft.com/office/drawing/2014/main" id="{0999F79D-347A-1D88-6122-D5156AEBF6E7}"/>
              </a:ext>
            </a:extLst>
          </p:cNvPr>
          <p:cNvGrpSpPr/>
          <p:nvPr/>
        </p:nvGrpSpPr>
        <p:grpSpPr>
          <a:xfrm>
            <a:off x="0" y="5020349"/>
            <a:ext cx="12191996" cy="1837651"/>
            <a:chOff x="0" y="5020348"/>
            <a:chExt cx="12191996" cy="1837651"/>
          </a:xfrm>
        </p:grpSpPr>
        <p:sp>
          <p:nvSpPr>
            <p:cNvPr id="7" name="Freeform 27">
              <a:extLst>
                <a:ext uri="{FF2B5EF4-FFF2-40B4-BE49-F238E27FC236}">
                  <a16:creationId xmlns:a16="http://schemas.microsoft.com/office/drawing/2014/main" id="{60ED01B6-51FC-CF42-3518-858E94657DFE}"/>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8" name="Freeform 28">
              <a:extLst>
                <a:ext uri="{FF2B5EF4-FFF2-40B4-BE49-F238E27FC236}">
                  <a16:creationId xmlns:a16="http://schemas.microsoft.com/office/drawing/2014/main" id="{64BF8C4F-CB96-B213-30E5-6FFD2FE27636}"/>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9" name="Picture 29">
              <a:extLst>
                <a:ext uri="{FF2B5EF4-FFF2-40B4-BE49-F238E27FC236}">
                  <a16:creationId xmlns:a16="http://schemas.microsoft.com/office/drawing/2014/main" id="{37492208-FD85-3F40-7B26-1FE3DFB956EF}"/>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3916670036"/>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p:cSld name="21_Divider">
    <p:spTree>
      <p:nvGrpSpPr>
        <p:cNvPr id="1" name=""/>
        <p:cNvGrpSpPr/>
        <p:nvPr/>
      </p:nvGrpSpPr>
      <p:grpSpPr>
        <a:xfrm>
          <a:off x="0" y="0"/>
          <a:ext cx="0" cy="0"/>
          <a:chOff x="0" y="0"/>
          <a:chExt cx="0" cy="0"/>
        </a:xfrm>
      </p:grpSpPr>
      <p:grpSp>
        <p:nvGrpSpPr>
          <p:cNvPr id="2" name="Group 9">
            <a:extLst>
              <a:ext uri="{FF2B5EF4-FFF2-40B4-BE49-F238E27FC236}">
                <a16:creationId xmlns:a16="http://schemas.microsoft.com/office/drawing/2014/main" id="{EF7D6F61-73F7-949D-DDB4-BFC4DFC1ED6C}"/>
              </a:ext>
            </a:extLst>
          </p:cNvPr>
          <p:cNvGrpSpPr/>
          <p:nvPr/>
        </p:nvGrpSpPr>
        <p:grpSpPr>
          <a:xfrm>
            <a:off x="0" y="5020349"/>
            <a:ext cx="12191996" cy="1837651"/>
            <a:chOff x="0" y="5020348"/>
            <a:chExt cx="12191996" cy="1837651"/>
          </a:xfrm>
        </p:grpSpPr>
        <p:sp>
          <p:nvSpPr>
            <p:cNvPr id="3" name="Freeform 25">
              <a:extLst>
                <a:ext uri="{FF2B5EF4-FFF2-40B4-BE49-F238E27FC236}">
                  <a16:creationId xmlns:a16="http://schemas.microsoft.com/office/drawing/2014/main" id="{53FFBFB4-3291-E4A3-E2B3-F8A2E1658A84}"/>
                </a:ext>
              </a:extLst>
            </p:cNvPr>
            <p:cNvSpPr/>
            <p:nvPr/>
          </p:nvSpPr>
          <p:spPr>
            <a:xfrm>
              <a:off x="0" y="5100267"/>
              <a:ext cx="7111371" cy="1757732"/>
            </a:xfrm>
            <a:custGeom>
              <a:avLst/>
              <a:gdLst>
                <a:gd name="f0" fmla="val 10800000"/>
                <a:gd name="f1" fmla="val 5400000"/>
                <a:gd name="f2" fmla="val 180"/>
                <a:gd name="f3" fmla="val w"/>
                <a:gd name="f4" fmla="val h"/>
                <a:gd name="f5" fmla="val 0"/>
                <a:gd name="f6" fmla="val 7111369"/>
                <a:gd name="f7" fmla="val 1757730"/>
                <a:gd name="f8" fmla="val 772954"/>
                <a:gd name="f9" fmla="val 2778"/>
                <a:gd name="f10" fmla="val 1769038"/>
                <a:gd name="f11" fmla="val 30799"/>
                <a:gd name="f12" fmla="val 2696750"/>
                <a:gd name="f13" fmla="val 267531"/>
                <a:gd name="f14" fmla="val 3590934"/>
                <a:gd name="f15" fmla="val 566046"/>
                <a:gd name="f16" fmla="val 4684008"/>
                <a:gd name="f17" fmla="val 930921"/>
                <a:gd name="f18" fmla="val 5690778"/>
                <a:gd name="f19" fmla="val 1324625"/>
                <a:gd name="f20" fmla="val 6700767"/>
                <a:gd name="f21" fmla="val 1636882"/>
                <a:gd name="f22" fmla="val 25690"/>
                <a:gd name="f23" fmla="val 2197"/>
                <a:gd name="f24" fmla="val 25414"/>
                <a:gd name="f25" fmla="val 114653"/>
                <a:gd name="f26" fmla="val 14905"/>
                <a:gd name="f27" fmla="val 227801"/>
                <a:gd name="f28" fmla="val 7857"/>
                <a:gd name="f29" fmla="val 341773"/>
                <a:gd name="f30" fmla="val 3976"/>
                <a:gd name="f31" fmla="val 486963"/>
                <a:gd name="f32" fmla="+- 0 0 968"/>
                <a:gd name="f33" fmla="val 630656"/>
                <a:gd name="f34" fmla="+- 0 0 1224"/>
                <a:gd name="f35" fmla="+- 0 0 -90"/>
                <a:gd name="f36" fmla="*/ f3 1 7111369"/>
                <a:gd name="f37" fmla="*/ f4 1 1757730"/>
                <a:gd name="f38" fmla="+- f7 0 f5"/>
                <a:gd name="f39" fmla="+- f6 0 f5"/>
                <a:gd name="f40" fmla="*/ f35 f0 1"/>
                <a:gd name="f41" fmla="*/ f39 1 7111369"/>
                <a:gd name="f42" fmla="*/ f38 1 1757730"/>
                <a:gd name="f43" fmla="*/ 772954 f39 1"/>
                <a:gd name="f44" fmla="*/ 2778 f38 1"/>
                <a:gd name="f45" fmla="*/ 3590934 f39 1"/>
                <a:gd name="f46" fmla="*/ 566046 f38 1"/>
                <a:gd name="f47" fmla="*/ 6700767 f39 1"/>
                <a:gd name="f48" fmla="*/ 1636882 f38 1"/>
                <a:gd name="f49" fmla="*/ 7111369 f39 1"/>
                <a:gd name="f50" fmla="*/ 1757730 f38 1"/>
                <a:gd name="f51" fmla="*/ 0 f39 1"/>
                <a:gd name="f52" fmla="*/ 25690 f38 1"/>
                <a:gd name="f53" fmla="*/ 2197 f39 1"/>
                <a:gd name="f54" fmla="*/ 25414 f38 1"/>
                <a:gd name="f55" fmla="*/ 341773 f39 1"/>
                <a:gd name="f56" fmla="*/ 3976 f38 1"/>
                <a:gd name="f57" fmla="*/ f40 1 f2"/>
                <a:gd name="f58" fmla="*/ f43 1 7111369"/>
                <a:gd name="f59" fmla="*/ f44 1 1757730"/>
                <a:gd name="f60" fmla="*/ f45 1 7111369"/>
                <a:gd name="f61" fmla="*/ f46 1 1757730"/>
                <a:gd name="f62" fmla="*/ f47 1 7111369"/>
                <a:gd name="f63" fmla="*/ f48 1 1757730"/>
                <a:gd name="f64" fmla="*/ f49 1 7111369"/>
                <a:gd name="f65" fmla="*/ f50 1 1757730"/>
                <a:gd name="f66" fmla="*/ f51 1 7111369"/>
                <a:gd name="f67" fmla="*/ f52 1 1757730"/>
                <a:gd name="f68" fmla="*/ f53 1 7111369"/>
                <a:gd name="f69" fmla="*/ f54 1 1757730"/>
                <a:gd name="f70" fmla="*/ f55 1 7111369"/>
                <a:gd name="f71" fmla="*/ f56 1 1757730"/>
                <a:gd name="f72" fmla="*/ f5 1 f41"/>
                <a:gd name="f73" fmla="*/ f6 1 f41"/>
                <a:gd name="f74" fmla="*/ f5 1 f42"/>
                <a:gd name="f75" fmla="*/ f7 1 f42"/>
                <a:gd name="f76" fmla="+- f57 0 f1"/>
                <a:gd name="f77" fmla="*/ f58 1 f41"/>
                <a:gd name="f78" fmla="*/ f59 1 f42"/>
                <a:gd name="f79" fmla="*/ f60 1 f41"/>
                <a:gd name="f80" fmla="*/ f61 1 f42"/>
                <a:gd name="f81" fmla="*/ f62 1 f41"/>
                <a:gd name="f82" fmla="*/ f63 1 f42"/>
                <a:gd name="f83" fmla="*/ f64 1 f41"/>
                <a:gd name="f84" fmla="*/ f65 1 f42"/>
                <a:gd name="f85" fmla="*/ f66 1 f41"/>
                <a:gd name="f86" fmla="*/ f67 1 f42"/>
                <a:gd name="f87" fmla="*/ f68 1 f41"/>
                <a:gd name="f88" fmla="*/ f69 1 f42"/>
                <a:gd name="f89" fmla="*/ f70 1 f41"/>
                <a:gd name="f90" fmla="*/ f71 1 f42"/>
                <a:gd name="f91" fmla="*/ f72 f36 1"/>
                <a:gd name="f92" fmla="*/ f73 f36 1"/>
                <a:gd name="f93" fmla="*/ f75 f37 1"/>
                <a:gd name="f94" fmla="*/ f74 f37 1"/>
                <a:gd name="f95" fmla="*/ f77 f36 1"/>
                <a:gd name="f96" fmla="*/ f78 f37 1"/>
                <a:gd name="f97" fmla="*/ f79 f36 1"/>
                <a:gd name="f98" fmla="*/ f80 f37 1"/>
                <a:gd name="f99" fmla="*/ f81 f36 1"/>
                <a:gd name="f100" fmla="*/ f82 f37 1"/>
                <a:gd name="f101" fmla="*/ f83 f36 1"/>
                <a:gd name="f102" fmla="*/ f84 f37 1"/>
                <a:gd name="f103" fmla="*/ f85 f36 1"/>
                <a:gd name="f104" fmla="*/ f86 f37 1"/>
                <a:gd name="f105" fmla="*/ f87 f36 1"/>
                <a:gd name="f106" fmla="*/ f88 f37 1"/>
                <a:gd name="f107" fmla="*/ f89 f36 1"/>
                <a:gd name="f108" fmla="*/ f90 f37 1"/>
              </a:gdLst>
              <a:ahLst/>
              <a:cxnLst>
                <a:cxn ang="3cd4">
                  <a:pos x="hc" y="t"/>
                </a:cxn>
                <a:cxn ang="0">
                  <a:pos x="r" y="vc"/>
                </a:cxn>
                <a:cxn ang="cd4">
                  <a:pos x="hc" y="b"/>
                </a:cxn>
                <a:cxn ang="cd2">
                  <a:pos x="l" y="vc"/>
                </a:cxn>
                <a:cxn ang="f76">
                  <a:pos x="f95" y="f96"/>
                </a:cxn>
                <a:cxn ang="f76">
                  <a:pos x="f97" y="f98"/>
                </a:cxn>
                <a:cxn ang="f76">
                  <a:pos x="f99" y="f100"/>
                </a:cxn>
                <a:cxn ang="f76">
                  <a:pos x="f101" y="f102"/>
                </a:cxn>
                <a:cxn ang="f76">
                  <a:pos x="f103" y="f102"/>
                </a:cxn>
                <a:cxn ang="f76">
                  <a:pos x="f103" y="f104"/>
                </a:cxn>
                <a:cxn ang="f76">
                  <a:pos x="f105" y="f106"/>
                </a:cxn>
                <a:cxn ang="f76">
                  <a:pos x="f107" y="f108"/>
                </a:cxn>
                <a:cxn ang="f76">
                  <a:pos x="f95" y="f96"/>
                </a:cxn>
              </a:cxnLst>
              <a:rect l="f91" t="f94" r="f92" b="f93"/>
              <a:pathLst>
                <a:path w="7111369" h="1757730">
                  <a:moveTo>
                    <a:pt x="f8" y="f9"/>
                  </a:moveTo>
                  <a:cubicBezTo>
                    <a:pt x="f10" y="f11"/>
                    <a:pt x="f12" y="f13"/>
                    <a:pt x="f14" y="f15"/>
                  </a:cubicBezTo>
                  <a:cubicBezTo>
                    <a:pt x="f16" y="f17"/>
                    <a:pt x="f18" y="f19"/>
                    <a:pt x="f20" y="f21"/>
                  </a:cubicBezTo>
                  <a:lnTo>
                    <a:pt x="f6" y="f7"/>
                  </a:lnTo>
                  <a:lnTo>
                    <a:pt x="f5" y="f7"/>
                  </a:lnTo>
                  <a:lnTo>
                    <a:pt x="f5" y="f22"/>
                  </a:lnTo>
                  <a:lnTo>
                    <a:pt x="f23" y="f24"/>
                  </a:lnTo>
                  <a:cubicBezTo>
                    <a:pt x="f25" y="f26"/>
                    <a:pt x="f27" y="f28"/>
                    <a:pt x="f29" y="f30"/>
                  </a:cubicBezTo>
                  <a:cubicBezTo>
                    <a:pt x="f31" y="f32"/>
                    <a:pt x="f33" y="f34"/>
                    <a:pt x="f8" y="f9"/>
                  </a:cubicBezTo>
                  <a:close/>
                </a:path>
              </a:pathLst>
            </a:cu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4" name="Freeform 19">
              <a:extLst>
                <a:ext uri="{FF2B5EF4-FFF2-40B4-BE49-F238E27FC236}">
                  <a16:creationId xmlns:a16="http://schemas.microsoft.com/office/drawing/2014/main" id="{E5869CC3-6207-D847-3E84-E5092C9DCCF0}"/>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5" name="Freeform 14">
              <a:extLst>
                <a:ext uri="{FF2B5EF4-FFF2-40B4-BE49-F238E27FC236}">
                  <a16:creationId xmlns:a16="http://schemas.microsoft.com/office/drawing/2014/main" id="{5CCBB398-D652-FFF4-CA26-A871F0899329}"/>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6" name="Picture 20">
              <a:extLst>
                <a:ext uri="{FF2B5EF4-FFF2-40B4-BE49-F238E27FC236}">
                  <a16:creationId xmlns:a16="http://schemas.microsoft.com/office/drawing/2014/main" id="{5A5550F9-2284-AA40-1C7C-B123F966918E}"/>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
        <p:nvSpPr>
          <p:cNvPr id="7" name="Title 10">
            <a:extLst>
              <a:ext uri="{FF2B5EF4-FFF2-40B4-BE49-F238E27FC236}">
                <a16:creationId xmlns:a16="http://schemas.microsoft.com/office/drawing/2014/main" id="{3E081A72-FF2F-F026-628A-6BF686095324}"/>
              </a:ext>
            </a:extLst>
          </p:cNvPr>
          <p:cNvSpPr txBox="1">
            <a:spLocks noGrp="1"/>
          </p:cNvSpPr>
          <p:nvPr>
            <p:ph type="title"/>
          </p:nvPr>
        </p:nvSpPr>
        <p:spPr>
          <a:xfrm>
            <a:off x="1413305" y="701748"/>
            <a:ext cx="9365376" cy="2014679"/>
          </a:xfrm>
        </p:spPr>
        <p:txBody>
          <a:bodyPr anchor="b"/>
          <a:lstStyle>
            <a:lvl1pPr>
              <a:defRPr/>
            </a:lvl1pPr>
          </a:lstStyle>
          <a:p>
            <a:pPr lvl="0"/>
            <a:r>
              <a:rPr lang="en-US"/>
              <a:t>Click to edit Master title style</a:t>
            </a:r>
          </a:p>
        </p:txBody>
      </p:sp>
      <p:sp>
        <p:nvSpPr>
          <p:cNvPr id="8" name="Subtitle 2">
            <a:extLst>
              <a:ext uri="{FF2B5EF4-FFF2-40B4-BE49-F238E27FC236}">
                <a16:creationId xmlns:a16="http://schemas.microsoft.com/office/drawing/2014/main" id="{568B4D94-CCD6-62F4-D1C7-4BFFC1E11456}"/>
              </a:ext>
            </a:extLst>
          </p:cNvPr>
          <p:cNvSpPr txBox="1">
            <a:spLocks noGrp="1"/>
          </p:cNvSpPr>
          <p:nvPr>
            <p:ph type="subTitle" idx="4294967295"/>
          </p:nvPr>
        </p:nvSpPr>
        <p:spPr>
          <a:xfrm>
            <a:off x="1413305" y="3081637"/>
            <a:ext cx="9365376" cy="986564"/>
          </a:xfrm>
        </p:spPr>
        <p:txBody>
          <a:bodyPr/>
          <a:lstStyle>
            <a:lvl1pPr marL="0" indent="0">
              <a:buNone/>
              <a:defRPr/>
            </a:lvl1pPr>
          </a:lstStyle>
          <a:p>
            <a:pPr lvl="0"/>
            <a:r>
              <a:rPr lang="en-US"/>
              <a:t>Click to edit Master subtitle style</a:t>
            </a:r>
          </a:p>
        </p:txBody>
      </p:sp>
    </p:spTree>
    <p:extLst>
      <p:ext uri="{BB962C8B-B14F-4D97-AF65-F5344CB8AC3E}">
        <p14:creationId xmlns:p14="http://schemas.microsoft.com/office/powerpoint/2010/main" val="721636164"/>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p:cSld name="32_Photo Slide">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B3B98F7F-EA52-4F13-3999-DB3CBF847B41}"/>
              </a:ext>
            </a:extLst>
          </p:cNvPr>
          <p:cNvSpPr txBox="1">
            <a:spLocks noGrp="1"/>
          </p:cNvSpPr>
          <p:nvPr>
            <p:ph type="body" idx="4294967295"/>
          </p:nvPr>
        </p:nvSpPr>
        <p:spPr>
          <a:xfrm>
            <a:off x="457200" y="1146255"/>
            <a:ext cx="2350172" cy="2971800"/>
          </a:xfrm>
        </p:spPr>
        <p:txBody>
          <a:bodyPr/>
          <a:lstStyle>
            <a:lvl1pPr marL="0" indent="0">
              <a:buNone/>
              <a:defRPr/>
            </a:lvl1pPr>
          </a:lstStyle>
          <a:p>
            <a:pPr lvl="0"/>
            <a:r>
              <a:rPr lang="en-US"/>
              <a:t>Click to edit Master text styles</a:t>
            </a:r>
          </a:p>
        </p:txBody>
      </p:sp>
      <p:cxnSp>
        <p:nvCxnSpPr>
          <p:cNvPr id="3" name="Straight Connector 5">
            <a:extLst>
              <a:ext uri="{FF2B5EF4-FFF2-40B4-BE49-F238E27FC236}">
                <a16:creationId xmlns:a16="http://schemas.microsoft.com/office/drawing/2014/main" id="{15E13C0C-95A2-B20A-3457-CDBA8D377506}"/>
              </a:ext>
            </a:extLst>
          </p:cNvPr>
          <p:cNvCxnSpPr/>
          <p:nvPr/>
        </p:nvCxnSpPr>
        <p:spPr>
          <a:xfrm>
            <a:off x="457201" y="947985"/>
            <a:ext cx="2350163" cy="0"/>
          </a:xfrm>
          <a:prstGeom prst="straightConnector1">
            <a:avLst/>
          </a:prstGeom>
          <a:noFill/>
          <a:ln w="31747" cap="flat">
            <a:solidFill>
              <a:srgbClr val="F58366"/>
            </a:solidFill>
            <a:prstDash val="solid"/>
            <a:miter/>
          </a:ln>
        </p:spPr>
      </p:cxnSp>
      <p:grpSp>
        <p:nvGrpSpPr>
          <p:cNvPr id="4" name="Group 2">
            <a:extLst>
              <a:ext uri="{FF2B5EF4-FFF2-40B4-BE49-F238E27FC236}">
                <a16:creationId xmlns:a16="http://schemas.microsoft.com/office/drawing/2014/main" id="{DA96EE11-854E-77A2-E589-79E90F7CA107}"/>
              </a:ext>
            </a:extLst>
          </p:cNvPr>
          <p:cNvGrpSpPr/>
          <p:nvPr/>
        </p:nvGrpSpPr>
        <p:grpSpPr>
          <a:xfrm>
            <a:off x="1" y="5379425"/>
            <a:ext cx="2807363" cy="753895"/>
            <a:chOff x="0" y="5379424"/>
            <a:chExt cx="2807363" cy="753895"/>
          </a:xfrm>
        </p:grpSpPr>
        <p:sp>
          <p:nvSpPr>
            <p:cNvPr id="5" name="Freeform 21">
              <a:extLst>
                <a:ext uri="{FF2B5EF4-FFF2-40B4-BE49-F238E27FC236}">
                  <a16:creationId xmlns:a16="http://schemas.microsoft.com/office/drawing/2014/main" id="{5BA1AAF0-8ADD-5B25-7958-E8815510127D}"/>
                </a:ext>
              </a:extLst>
            </p:cNvPr>
            <p:cNvSpPr/>
            <p:nvPr/>
          </p:nvSpPr>
          <p:spPr>
            <a:xfrm>
              <a:off x="0" y="5532513"/>
              <a:ext cx="2807363" cy="600806"/>
            </a:xfrm>
            <a:custGeom>
              <a:avLst/>
              <a:gdLst>
                <a:gd name="f0" fmla="val 10800000"/>
                <a:gd name="f1" fmla="val 5400000"/>
                <a:gd name="f2" fmla="val 180"/>
                <a:gd name="f3" fmla="val w"/>
                <a:gd name="f4" fmla="val h"/>
                <a:gd name="f5" fmla="val 0"/>
                <a:gd name="f6" fmla="val 2807368"/>
                <a:gd name="f7" fmla="val 600807"/>
                <a:gd name="f8" fmla="val 429971"/>
                <a:gd name="f9" fmla="val 123998"/>
                <a:gd name="f10" fmla="val 1184765"/>
                <a:gd name="f11" fmla="val 325331"/>
                <a:gd name="f12" fmla="val 2014184"/>
                <a:gd name="f13" fmla="val 392492"/>
                <a:gd name="f14" fmla="val 2790212"/>
                <a:gd name="f15" fmla="val 235402"/>
                <a:gd name="f16" fmla="val 231522"/>
                <a:gd name="f17" fmla="val 566106"/>
                <a:gd name="f18" fmla="val 2593885"/>
                <a:gd name="f19" fmla="val 587498"/>
                <a:gd name="f20" fmla="val 1673646"/>
                <a:gd name="f21" fmla="val 651184"/>
                <a:gd name="f22" fmla="val 884869"/>
                <a:gd name="f23" fmla="val 479260"/>
                <a:gd name="f24" fmla="val 100844"/>
                <a:gd name="f25" fmla="val 222653"/>
                <a:gd name="f26" fmla="val 188389"/>
                <a:gd name="f27" fmla="+- 0 0 -90"/>
                <a:gd name="f28" fmla="*/ f3 1 2807368"/>
                <a:gd name="f29" fmla="*/ f4 1 600807"/>
                <a:gd name="f30" fmla="+- f7 0 f5"/>
                <a:gd name="f31" fmla="+- f6 0 f5"/>
                <a:gd name="f32" fmla="*/ f27 f0 1"/>
                <a:gd name="f33" fmla="*/ f31 1 2807368"/>
                <a:gd name="f34" fmla="*/ f30 1 600807"/>
                <a:gd name="f35" fmla="*/ 0 f31 1"/>
                <a:gd name="f36" fmla="*/ 0 f30 1"/>
                <a:gd name="f37" fmla="*/ 429971 f31 1"/>
                <a:gd name="f38" fmla="*/ 123998 f30 1"/>
                <a:gd name="f39" fmla="*/ 2790212 f31 1"/>
                <a:gd name="f40" fmla="*/ 235402 f30 1"/>
                <a:gd name="f41" fmla="*/ 2807368 f31 1"/>
                <a:gd name="f42" fmla="*/ 231522 f30 1"/>
                <a:gd name="f43" fmla="*/ 566106 f30 1"/>
                <a:gd name="f44" fmla="*/ 2593885 f31 1"/>
                <a:gd name="f45" fmla="*/ 587498 f30 1"/>
                <a:gd name="f46" fmla="*/ 100844 f31 1"/>
                <a:gd name="f47" fmla="*/ 222653 f30 1"/>
                <a:gd name="f48" fmla="*/ 188389 f30 1"/>
                <a:gd name="f49" fmla="*/ f32 1 f2"/>
                <a:gd name="f50" fmla="*/ f35 1 2807368"/>
                <a:gd name="f51" fmla="*/ f36 1 600807"/>
                <a:gd name="f52" fmla="*/ f37 1 2807368"/>
                <a:gd name="f53" fmla="*/ f38 1 600807"/>
                <a:gd name="f54" fmla="*/ f39 1 2807368"/>
                <a:gd name="f55" fmla="*/ f40 1 600807"/>
                <a:gd name="f56" fmla="*/ f41 1 2807368"/>
                <a:gd name="f57" fmla="*/ f42 1 600807"/>
                <a:gd name="f58" fmla="*/ f43 1 600807"/>
                <a:gd name="f59" fmla="*/ f44 1 2807368"/>
                <a:gd name="f60" fmla="*/ f45 1 600807"/>
                <a:gd name="f61" fmla="*/ f46 1 2807368"/>
                <a:gd name="f62" fmla="*/ f47 1 600807"/>
                <a:gd name="f63" fmla="*/ f48 1 600807"/>
                <a:gd name="f64" fmla="*/ f5 1 f33"/>
                <a:gd name="f65" fmla="*/ f6 1 f33"/>
                <a:gd name="f66" fmla="*/ f5 1 f34"/>
                <a:gd name="f67" fmla="*/ f7 1 f34"/>
                <a:gd name="f68" fmla="+- f49 0 f1"/>
                <a:gd name="f69" fmla="*/ f50 1 f33"/>
                <a:gd name="f70" fmla="*/ f51 1 f34"/>
                <a:gd name="f71" fmla="*/ f52 1 f33"/>
                <a:gd name="f72" fmla="*/ f53 1 f34"/>
                <a:gd name="f73" fmla="*/ f54 1 f33"/>
                <a:gd name="f74" fmla="*/ f55 1 f34"/>
                <a:gd name="f75" fmla="*/ f56 1 f33"/>
                <a:gd name="f76" fmla="*/ f57 1 f34"/>
                <a:gd name="f77" fmla="*/ f58 1 f34"/>
                <a:gd name="f78" fmla="*/ f59 1 f33"/>
                <a:gd name="f79" fmla="*/ f60 1 f34"/>
                <a:gd name="f80" fmla="*/ f61 1 f33"/>
                <a:gd name="f81" fmla="*/ f62 1 f34"/>
                <a:gd name="f82" fmla="*/ f63 1 f34"/>
                <a:gd name="f83" fmla="*/ f64 f28 1"/>
                <a:gd name="f84" fmla="*/ f65 f28 1"/>
                <a:gd name="f85" fmla="*/ f67 f29 1"/>
                <a:gd name="f86" fmla="*/ f66 f29 1"/>
                <a:gd name="f87" fmla="*/ f69 f28 1"/>
                <a:gd name="f88" fmla="*/ f70 f29 1"/>
                <a:gd name="f89" fmla="*/ f71 f28 1"/>
                <a:gd name="f90" fmla="*/ f72 f29 1"/>
                <a:gd name="f91" fmla="*/ f73 f28 1"/>
                <a:gd name="f92" fmla="*/ f74 f29 1"/>
                <a:gd name="f93" fmla="*/ f75 f28 1"/>
                <a:gd name="f94" fmla="*/ f76 f29 1"/>
                <a:gd name="f95" fmla="*/ f77 f29 1"/>
                <a:gd name="f96" fmla="*/ f78 f28 1"/>
                <a:gd name="f97" fmla="*/ f79 f29 1"/>
                <a:gd name="f98" fmla="*/ f80 f28 1"/>
                <a:gd name="f99" fmla="*/ f81 f29 1"/>
                <a:gd name="f100" fmla="*/ f82 f29 1"/>
              </a:gdLst>
              <a:ahLst/>
              <a:cxnLst>
                <a:cxn ang="3cd4">
                  <a:pos x="hc" y="t"/>
                </a:cxn>
                <a:cxn ang="0">
                  <a:pos x="r" y="vc"/>
                </a:cxn>
                <a:cxn ang="cd4">
                  <a:pos x="hc" y="b"/>
                </a:cxn>
                <a:cxn ang="cd2">
                  <a:pos x="l" y="vc"/>
                </a:cxn>
                <a:cxn ang="f68">
                  <a:pos x="f87" y="f88"/>
                </a:cxn>
                <a:cxn ang="f68">
                  <a:pos x="f89" y="f90"/>
                </a:cxn>
                <a:cxn ang="f68">
                  <a:pos x="f91" y="f92"/>
                </a:cxn>
                <a:cxn ang="f68">
                  <a:pos x="f93" y="f94"/>
                </a:cxn>
                <a:cxn ang="f68">
                  <a:pos x="f93" y="f95"/>
                </a:cxn>
                <a:cxn ang="f68">
                  <a:pos x="f96" y="f97"/>
                </a:cxn>
                <a:cxn ang="f68">
                  <a:pos x="f98" y="f99"/>
                </a:cxn>
                <a:cxn ang="f68">
                  <a:pos x="f87" y="f100"/>
                </a:cxn>
              </a:cxnLst>
              <a:rect l="f83" t="f86" r="f84" b="f85"/>
              <a:pathLst>
                <a:path w="2807368" h="600807">
                  <a:moveTo>
                    <a:pt x="f5" y="f5"/>
                  </a:moveTo>
                  <a:lnTo>
                    <a:pt x="f8" y="f9"/>
                  </a:lnTo>
                  <a:cubicBezTo>
                    <a:pt x="f10" y="f11"/>
                    <a:pt x="f12" y="f13"/>
                    <a:pt x="f14" y="f15"/>
                  </a:cubicBezTo>
                  <a:lnTo>
                    <a:pt x="f6" y="f16"/>
                  </a:lnTo>
                  <a:lnTo>
                    <a:pt x="f6" y="f17"/>
                  </a:lnTo>
                  <a:lnTo>
                    <a:pt x="f18" y="f19"/>
                  </a:lnTo>
                  <a:cubicBezTo>
                    <a:pt x="f20" y="f21"/>
                    <a:pt x="f22" y="f23"/>
                    <a:pt x="f24" y="f25"/>
                  </a:cubicBezTo>
                  <a:lnTo>
                    <a:pt x="f5" y="f26"/>
                  </a:ln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Freeform 19">
              <a:extLst>
                <a:ext uri="{FF2B5EF4-FFF2-40B4-BE49-F238E27FC236}">
                  <a16:creationId xmlns:a16="http://schemas.microsoft.com/office/drawing/2014/main" id="{C346A18D-B291-5BA4-CCBA-F23C2CDB0A33}"/>
                </a:ext>
              </a:extLst>
            </p:cNvPr>
            <p:cNvSpPr/>
            <p:nvPr/>
          </p:nvSpPr>
          <p:spPr>
            <a:xfrm>
              <a:off x="0" y="5379424"/>
              <a:ext cx="2807363" cy="649800"/>
            </a:xfrm>
            <a:custGeom>
              <a:avLst/>
              <a:gdLst>
                <a:gd name="f0" fmla="val 10800000"/>
                <a:gd name="f1" fmla="val 5400000"/>
                <a:gd name="f2" fmla="val 180"/>
                <a:gd name="f3" fmla="val w"/>
                <a:gd name="f4" fmla="val h"/>
                <a:gd name="f5" fmla="val 0"/>
                <a:gd name="f6" fmla="val 2807368"/>
                <a:gd name="f7" fmla="val 649803"/>
                <a:gd name="f8" fmla="val 282676"/>
                <a:gd name="f9" fmla="val 70799"/>
                <a:gd name="f10" fmla="val 435964"/>
                <a:gd name="f11" fmla="val 106085"/>
                <a:gd name="f12" fmla="val 588770"/>
                <a:gd name="f13" fmla="val 137629"/>
                <a:gd name="f14" fmla="val 740881"/>
                <a:gd name="f15" fmla="val 163828"/>
                <a:gd name="f16" fmla="val 1362800"/>
                <a:gd name="f17" fmla="val 270912"/>
                <a:gd name="f18" fmla="val 2067879"/>
                <a:gd name="f19" fmla="val 253759"/>
                <a:gd name="f20" fmla="val 2706471"/>
                <a:gd name="f21" fmla="val 96397"/>
                <a:gd name="f22" fmla="val 67250"/>
                <a:gd name="f23" fmla="val 605551"/>
                <a:gd name="f24" fmla="val 2602685"/>
                <a:gd name="f25" fmla="val 629466"/>
                <a:gd name="f26" fmla="val 1684237"/>
                <a:gd name="f27" fmla="val 708219"/>
                <a:gd name="f28" fmla="val 893252"/>
                <a:gd name="f29" fmla="val 549395"/>
                <a:gd name="f30" fmla="val 105614"/>
                <a:gd name="f31" fmla="val 305882"/>
                <a:gd name="f32" fmla="val 271926"/>
                <a:gd name="f33" fmla="+- 0 0 -90"/>
                <a:gd name="f34" fmla="*/ f3 1 2807368"/>
                <a:gd name="f35" fmla="*/ f4 1 649803"/>
                <a:gd name="f36" fmla="+- f7 0 f5"/>
                <a:gd name="f37" fmla="+- f6 0 f5"/>
                <a:gd name="f38" fmla="*/ f33 f0 1"/>
                <a:gd name="f39" fmla="*/ f37 1 2807368"/>
                <a:gd name="f40" fmla="*/ f36 1 649803"/>
                <a:gd name="f41" fmla="*/ 0 f37 1"/>
                <a:gd name="f42" fmla="*/ 0 f36 1"/>
                <a:gd name="f43" fmla="*/ 282676 f37 1"/>
                <a:gd name="f44" fmla="*/ 70799 f36 1"/>
                <a:gd name="f45" fmla="*/ 740881 f37 1"/>
                <a:gd name="f46" fmla="*/ 163828 f36 1"/>
                <a:gd name="f47" fmla="*/ 2706471 f37 1"/>
                <a:gd name="f48" fmla="*/ 96397 f36 1"/>
                <a:gd name="f49" fmla="*/ 2807368 f37 1"/>
                <a:gd name="f50" fmla="*/ 67250 f36 1"/>
                <a:gd name="f51" fmla="*/ 605551 f36 1"/>
                <a:gd name="f52" fmla="*/ 2602685 f37 1"/>
                <a:gd name="f53" fmla="*/ 629466 f36 1"/>
                <a:gd name="f54" fmla="*/ 105614 f37 1"/>
                <a:gd name="f55" fmla="*/ 305882 f36 1"/>
                <a:gd name="f56" fmla="*/ 271926 f36 1"/>
                <a:gd name="f57" fmla="*/ f38 1 f2"/>
                <a:gd name="f58" fmla="*/ f41 1 2807368"/>
                <a:gd name="f59" fmla="*/ f42 1 649803"/>
                <a:gd name="f60" fmla="*/ f43 1 2807368"/>
                <a:gd name="f61" fmla="*/ f44 1 649803"/>
                <a:gd name="f62" fmla="*/ f45 1 2807368"/>
                <a:gd name="f63" fmla="*/ f46 1 649803"/>
                <a:gd name="f64" fmla="*/ f47 1 2807368"/>
                <a:gd name="f65" fmla="*/ f48 1 649803"/>
                <a:gd name="f66" fmla="*/ f49 1 2807368"/>
                <a:gd name="f67" fmla="*/ f50 1 649803"/>
                <a:gd name="f68" fmla="*/ f51 1 649803"/>
                <a:gd name="f69" fmla="*/ f52 1 2807368"/>
                <a:gd name="f70" fmla="*/ f53 1 649803"/>
                <a:gd name="f71" fmla="*/ f54 1 2807368"/>
                <a:gd name="f72" fmla="*/ f55 1 649803"/>
                <a:gd name="f73" fmla="*/ f56 1 649803"/>
                <a:gd name="f74" fmla="*/ f5 1 f39"/>
                <a:gd name="f75" fmla="*/ f6 1 f39"/>
                <a:gd name="f76" fmla="*/ f5 1 f40"/>
                <a:gd name="f77" fmla="*/ f7 1 f40"/>
                <a:gd name="f78" fmla="+- f57 0 f1"/>
                <a:gd name="f79" fmla="*/ f58 1 f39"/>
                <a:gd name="f80" fmla="*/ f59 1 f40"/>
                <a:gd name="f81" fmla="*/ f60 1 f39"/>
                <a:gd name="f82" fmla="*/ f61 1 f40"/>
                <a:gd name="f83" fmla="*/ f62 1 f39"/>
                <a:gd name="f84" fmla="*/ f63 1 f40"/>
                <a:gd name="f85" fmla="*/ f64 1 f39"/>
                <a:gd name="f86" fmla="*/ f65 1 f40"/>
                <a:gd name="f87" fmla="*/ f66 1 f39"/>
                <a:gd name="f88" fmla="*/ f67 1 f40"/>
                <a:gd name="f89" fmla="*/ f68 1 f40"/>
                <a:gd name="f90" fmla="*/ f69 1 f39"/>
                <a:gd name="f91" fmla="*/ f70 1 f40"/>
                <a:gd name="f92" fmla="*/ f71 1 f39"/>
                <a:gd name="f93" fmla="*/ f72 1 f40"/>
                <a:gd name="f94" fmla="*/ f73 1 f40"/>
                <a:gd name="f95" fmla="*/ f74 f34 1"/>
                <a:gd name="f96" fmla="*/ f75 f34 1"/>
                <a:gd name="f97" fmla="*/ f77 f35 1"/>
                <a:gd name="f98" fmla="*/ f76 f35 1"/>
                <a:gd name="f99" fmla="*/ f79 f34 1"/>
                <a:gd name="f100" fmla="*/ f80 f35 1"/>
                <a:gd name="f101" fmla="*/ f81 f34 1"/>
                <a:gd name="f102" fmla="*/ f82 f35 1"/>
                <a:gd name="f103" fmla="*/ f83 f34 1"/>
                <a:gd name="f104" fmla="*/ f84 f35 1"/>
                <a:gd name="f105" fmla="*/ f85 f34 1"/>
                <a:gd name="f106" fmla="*/ f86 f35 1"/>
                <a:gd name="f107" fmla="*/ f87 f34 1"/>
                <a:gd name="f108" fmla="*/ f88 f35 1"/>
                <a:gd name="f109" fmla="*/ f89 f35 1"/>
                <a:gd name="f110" fmla="*/ f90 f34 1"/>
                <a:gd name="f111" fmla="*/ f91 f35 1"/>
                <a:gd name="f112" fmla="*/ f92 f34 1"/>
                <a:gd name="f113" fmla="*/ f93 f35 1"/>
                <a:gd name="f114" fmla="*/ f94 f35 1"/>
              </a:gdLst>
              <a:ahLst/>
              <a:cxnLst>
                <a:cxn ang="3cd4">
                  <a:pos x="hc" y="t"/>
                </a:cxn>
                <a:cxn ang="0">
                  <a:pos x="r" y="vc"/>
                </a:cxn>
                <a:cxn ang="cd4">
                  <a:pos x="hc" y="b"/>
                </a:cxn>
                <a:cxn ang="cd2">
                  <a:pos x="l" y="vc"/>
                </a:cxn>
                <a:cxn ang="f78">
                  <a:pos x="f99" y="f100"/>
                </a:cxn>
                <a:cxn ang="f78">
                  <a:pos x="f101" y="f102"/>
                </a:cxn>
                <a:cxn ang="f78">
                  <a:pos x="f103" y="f104"/>
                </a:cxn>
                <a:cxn ang="f78">
                  <a:pos x="f105" y="f106"/>
                </a:cxn>
                <a:cxn ang="f78">
                  <a:pos x="f107" y="f108"/>
                </a:cxn>
                <a:cxn ang="f78">
                  <a:pos x="f107" y="f109"/>
                </a:cxn>
                <a:cxn ang="f78">
                  <a:pos x="f110" y="f111"/>
                </a:cxn>
                <a:cxn ang="f78">
                  <a:pos x="f112" y="f113"/>
                </a:cxn>
                <a:cxn ang="f78">
                  <a:pos x="f99" y="f114"/>
                </a:cxn>
              </a:cxnLst>
              <a:rect l="f95" t="f98" r="f96" b="f97"/>
              <a:pathLst>
                <a:path w="2807368" h="649803">
                  <a:moveTo>
                    <a:pt x="f5" y="f5"/>
                  </a:moveTo>
                  <a:lnTo>
                    <a:pt x="f8" y="f9"/>
                  </a:lnTo>
                  <a:cubicBezTo>
                    <a:pt x="f10" y="f11"/>
                    <a:pt x="f12" y="f13"/>
                    <a:pt x="f14" y="f15"/>
                  </a:cubicBezTo>
                  <a:cubicBezTo>
                    <a:pt x="f16" y="f17"/>
                    <a:pt x="f18" y="f19"/>
                    <a:pt x="f20" y="f21"/>
                  </a:cubicBezTo>
                  <a:lnTo>
                    <a:pt x="f6" y="f22"/>
                  </a:lnTo>
                  <a:lnTo>
                    <a:pt x="f6" y="f23"/>
                  </a:lnTo>
                  <a:lnTo>
                    <a:pt x="f24" y="f25"/>
                  </a:lnTo>
                  <a:cubicBezTo>
                    <a:pt x="f26" y="f27"/>
                    <a:pt x="f28" y="f29"/>
                    <a:pt x="f30" y="f31"/>
                  </a:cubicBezTo>
                  <a:lnTo>
                    <a:pt x="f5" y="f32"/>
                  </a:ln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grpSp>
      <p:sp>
        <p:nvSpPr>
          <p:cNvPr id="7" name="Picture Placeholder 6">
            <a:extLst>
              <a:ext uri="{FF2B5EF4-FFF2-40B4-BE49-F238E27FC236}">
                <a16:creationId xmlns:a16="http://schemas.microsoft.com/office/drawing/2014/main" id="{ACF256C8-4FA1-2631-F135-6265789066B3}"/>
              </a:ext>
            </a:extLst>
          </p:cNvPr>
          <p:cNvSpPr txBox="1">
            <a:spLocks noGrp="1"/>
          </p:cNvSpPr>
          <p:nvPr>
            <p:ph type="pic" idx="4294967295"/>
          </p:nvPr>
        </p:nvSpPr>
        <p:spPr>
          <a:xfrm>
            <a:off x="2807363" y="457200"/>
            <a:ext cx="8915400" cy="5943600"/>
          </a:xfrm>
        </p:spPr>
        <p:txBody>
          <a:bodyPr/>
          <a:lstStyle>
            <a:lvl1pPr>
              <a:defRPr/>
            </a:lvl1pPr>
          </a:lstStyle>
          <a:p>
            <a:pPr lvl="0"/>
            <a:endParaRPr lang="en-US"/>
          </a:p>
        </p:txBody>
      </p:sp>
      <p:pic>
        <p:nvPicPr>
          <p:cNvPr id="8" name="Picture 14">
            <a:extLst>
              <a:ext uri="{FF2B5EF4-FFF2-40B4-BE49-F238E27FC236}">
                <a16:creationId xmlns:a16="http://schemas.microsoft.com/office/drawing/2014/main" id="{A7436F5E-1278-25D9-553B-74C98DE05F8B}"/>
              </a:ext>
            </a:extLst>
          </p:cNvPr>
          <p:cNvPicPr>
            <a:picLocks noChangeAspect="1"/>
          </p:cNvPicPr>
          <p:nvPr/>
        </p:nvPicPr>
        <p:blipFill>
          <a:blip r:embed="rId2"/>
          <a:srcRect/>
          <a:stretch>
            <a:fillRect/>
          </a:stretch>
        </p:blipFill>
        <p:spPr>
          <a:xfrm>
            <a:off x="513354" y="4385535"/>
            <a:ext cx="2025313" cy="911940"/>
          </a:xfrm>
          <a:prstGeom prst="rect">
            <a:avLst/>
          </a:prstGeom>
          <a:noFill/>
          <a:ln cap="flat">
            <a:noFill/>
          </a:ln>
        </p:spPr>
      </p:pic>
    </p:spTree>
    <p:extLst>
      <p:ext uri="{BB962C8B-B14F-4D97-AF65-F5344CB8AC3E}">
        <p14:creationId xmlns:p14="http://schemas.microsoft.com/office/powerpoint/2010/main" val="337336997"/>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DA37D979-7A27-635F-9DC8-D0F3F46B6437}"/>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A71E1894-B126-DC2A-611D-CBA09118BE5F}"/>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52E34730-83DA-9AF9-25E3-9F59FEAEBCD9}"/>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B7C5D37D-9965-5209-C9E2-55007566A867}"/>
              </a:ext>
            </a:extLst>
          </p:cNvPr>
          <p:cNvSpPr txBox="1">
            <a:spLocks noGrp="1"/>
          </p:cNvSpPr>
          <p:nvPr>
            <p:ph type="sldNum" sz="quarter" idx="8"/>
          </p:nvPr>
        </p:nvSpPr>
        <p:spPr/>
        <p:txBody>
          <a:bodyPr/>
          <a:lstStyle>
            <a:lvl1pPr>
              <a:defRPr>
                <a:solidFill>
                  <a:srgbClr val="AFB3B9"/>
                </a:solidFill>
              </a:defRPr>
            </a:lvl1pPr>
          </a:lstStyle>
          <a:p>
            <a:pPr lvl="0"/>
            <a:fld id="{0CD8FA2D-9DB9-4841-9B31-C73615E427BB}" type="slidenum">
              <a:t>‹#›</a:t>
            </a:fld>
            <a:endParaRPr lang="en-US"/>
          </a:p>
        </p:txBody>
      </p:sp>
      <p:cxnSp>
        <p:nvCxnSpPr>
          <p:cNvPr id="6" name="Straight Connector 7">
            <a:extLst>
              <a:ext uri="{FF2B5EF4-FFF2-40B4-BE49-F238E27FC236}">
                <a16:creationId xmlns:a16="http://schemas.microsoft.com/office/drawing/2014/main" id="{8FA52FD8-32FB-8FA5-A74B-B89211CB8650}"/>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B19E6DA7-E41E-ADD2-2ABD-9F24CE0AC6E0}"/>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9DEF2FBB-8E4C-29BC-1F01-9E8F82849423}"/>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8A760B42-D203-1147-C13E-7217BC64441A}"/>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2FEF95EE-A3A2-2821-13F7-06520B6CC5EF}"/>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D61A4566-3A1E-8C5F-0463-8CF933A24B89}"/>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FEE67FFF-BB2B-4522-2F36-324A8D36B2CB}"/>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0866981A-8F16-D2E3-4D66-E60C4550E356}"/>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3238796644"/>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800CFF4C-50FD-F16D-E8AB-5BC1585B6A33}"/>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3B474E32-2616-2F9A-EDE8-2062C36BA475}"/>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59E0DFF0-384A-3B0D-37BC-65A728E5F281}"/>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5F2FB1FA-BF23-3820-5AF1-3EDBD8BE3FE7}"/>
              </a:ext>
            </a:extLst>
          </p:cNvPr>
          <p:cNvSpPr txBox="1">
            <a:spLocks noGrp="1"/>
          </p:cNvSpPr>
          <p:nvPr>
            <p:ph type="sldNum" sz="quarter" idx="8"/>
          </p:nvPr>
        </p:nvSpPr>
        <p:spPr/>
        <p:txBody>
          <a:bodyPr/>
          <a:lstStyle>
            <a:lvl1pPr>
              <a:defRPr>
                <a:solidFill>
                  <a:srgbClr val="AFB3B9"/>
                </a:solidFill>
              </a:defRPr>
            </a:lvl1pPr>
          </a:lstStyle>
          <a:p>
            <a:pPr lvl="0"/>
            <a:fld id="{C61E2EAA-38B6-4ED2-9C59-B41F5DC5028C}" type="slidenum">
              <a:t>‹#›</a:t>
            </a:fld>
            <a:endParaRPr lang="en-US"/>
          </a:p>
        </p:txBody>
      </p:sp>
      <p:cxnSp>
        <p:nvCxnSpPr>
          <p:cNvPr id="6" name="Straight Connector 7">
            <a:extLst>
              <a:ext uri="{FF2B5EF4-FFF2-40B4-BE49-F238E27FC236}">
                <a16:creationId xmlns:a16="http://schemas.microsoft.com/office/drawing/2014/main" id="{95B7F7BD-C03C-37DD-D662-B6D77F4B3A41}"/>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BD67EA9F-120D-AA19-74D2-FF56C1B79189}"/>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534CE10F-B4D9-F2CC-0680-A656F1D14BE0}"/>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CC6022FB-17FD-139C-0890-27F0AEB1D834}"/>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38A5A33C-B00B-4CDC-8AB6-99672D14B80B}"/>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98ECCC73-A969-E2CD-3082-4C66204BD0E5}"/>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E6FC1237-C23D-505F-B0D7-49AFB4A66E1F}"/>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AF025F9F-B400-6B8B-1026-E2FB56BC805A}"/>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227225720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9524"/>
        <p:cNvGrpSpPr/>
        <p:nvPr/>
      </p:nvGrpSpPr>
      <p:grpSpPr>
        <a:xfrm>
          <a:off x="0" y="0"/>
          <a:ext cx="0" cy="0"/>
          <a:chOff x="0" y="0"/>
          <a:chExt cx="0" cy="0"/>
        </a:xfrm>
      </p:grpSpPr>
      <p:sp>
        <p:nvSpPr>
          <p:cNvPr id="9525" name="Google Shape;9525;p136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526" name="Google Shape;9526;p136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527" name="Google Shape;9527;p136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528" name="Google Shape;9528;p13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529" name="Google Shape;9529;p13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530" name="Google Shape;9530;p13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531" name="Google Shape;9531;p1363"/>
          <p:cNvGrpSpPr/>
          <p:nvPr/>
        </p:nvGrpSpPr>
        <p:grpSpPr>
          <a:xfrm>
            <a:off x="7191542" y="1"/>
            <a:ext cx="5000459" cy="1425992"/>
            <a:chOff x="7191542" y="1"/>
            <a:chExt cx="5000459" cy="1425992"/>
          </a:xfrm>
        </p:grpSpPr>
        <p:pic>
          <p:nvPicPr>
            <p:cNvPr id="9532" name="Google Shape;9532;p13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533" name="Google Shape;9533;p1363"/>
            <p:cNvGrpSpPr/>
            <p:nvPr/>
          </p:nvGrpSpPr>
          <p:grpSpPr>
            <a:xfrm>
              <a:off x="7191542" y="1"/>
              <a:ext cx="5000459" cy="1425992"/>
              <a:chOff x="7186272" y="0"/>
              <a:chExt cx="5005729" cy="1427495"/>
            </a:xfrm>
          </p:grpSpPr>
          <p:sp>
            <p:nvSpPr>
              <p:cNvPr id="9534" name="Google Shape;9534;p13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535" name="Google Shape;9535;p13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536" name="Google Shape;9536;p136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2" name="Group 63">
            <a:extLst>
              <a:ext uri="{FF2B5EF4-FFF2-40B4-BE49-F238E27FC236}">
                <a16:creationId xmlns:a16="http://schemas.microsoft.com/office/drawing/2014/main" id="{FB6E159E-A595-568E-07B9-FE7232E7993F}"/>
              </a:ext>
            </a:extLst>
          </p:cNvPr>
          <p:cNvGrpSpPr/>
          <p:nvPr/>
        </p:nvGrpSpPr>
        <p:grpSpPr>
          <a:xfrm>
            <a:off x="7191545" y="0"/>
            <a:ext cx="5000460" cy="1425988"/>
            <a:chOff x="7191545" y="0"/>
            <a:chExt cx="5000460" cy="1425988"/>
          </a:xfrm>
        </p:grpSpPr>
        <p:pic>
          <p:nvPicPr>
            <p:cNvPr id="3" name="Picture 64">
              <a:extLst>
                <a:ext uri="{FF2B5EF4-FFF2-40B4-BE49-F238E27FC236}">
                  <a16:creationId xmlns:a16="http://schemas.microsoft.com/office/drawing/2014/main" id="{1FBAC6C0-6462-DFD6-4400-E0E67414F36D}"/>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65">
              <a:extLst>
                <a:ext uri="{FF2B5EF4-FFF2-40B4-BE49-F238E27FC236}">
                  <a16:creationId xmlns:a16="http://schemas.microsoft.com/office/drawing/2014/main" id="{B4495D0B-284D-FBC5-17B2-459C559AE744}"/>
                </a:ext>
              </a:extLst>
            </p:cNvPr>
            <p:cNvGrpSpPr/>
            <p:nvPr/>
          </p:nvGrpSpPr>
          <p:grpSpPr>
            <a:xfrm>
              <a:off x="7191545" y="0"/>
              <a:ext cx="5000460" cy="1425988"/>
              <a:chOff x="7191545" y="0"/>
              <a:chExt cx="5000460" cy="1425988"/>
            </a:xfrm>
          </p:grpSpPr>
          <p:sp>
            <p:nvSpPr>
              <p:cNvPr id="5" name="Freeform 66">
                <a:extLst>
                  <a:ext uri="{FF2B5EF4-FFF2-40B4-BE49-F238E27FC236}">
                    <a16:creationId xmlns:a16="http://schemas.microsoft.com/office/drawing/2014/main" id="{741B8433-BD83-0433-0335-7E16AAE0DF5F}"/>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67">
                <a:extLst>
                  <a:ext uri="{FF2B5EF4-FFF2-40B4-BE49-F238E27FC236}">
                    <a16:creationId xmlns:a16="http://schemas.microsoft.com/office/drawing/2014/main" id="{141DB695-DDBF-FE2D-991C-1B8B069D88BC}"/>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A0E1EE22-2B0C-84E3-83E7-FE08662DCF7C}"/>
              </a:ext>
            </a:extLst>
          </p:cNvPr>
          <p:cNvSpPr txBox="1">
            <a:spLocks noGrp="1"/>
          </p:cNvSpPr>
          <p:nvPr>
            <p:ph type="title"/>
          </p:nvPr>
        </p:nvSpPr>
        <p:spPr/>
        <p:txBody>
          <a:bodyPr/>
          <a:lstStyle>
            <a:lvl1pPr>
              <a:defRPr/>
            </a:lvl1pPr>
          </a:lstStyle>
          <a:p>
            <a:pPr lvl="0"/>
            <a:r>
              <a:rPr lang="en-US"/>
              <a:t>Click to edit Master title style</a:t>
            </a:r>
          </a:p>
        </p:txBody>
      </p:sp>
      <p:sp>
        <p:nvSpPr>
          <p:cNvPr id="8" name="Content Placeholder 2">
            <a:extLst>
              <a:ext uri="{FF2B5EF4-FFF2-40B4-BE49-F238E27FC236}">
                <a16:creationId xmlns:a16="http://schemas.microsoft.com/office/drawing/2014/main" id="{A62D8F7B-BBA9-A7CE-FFF3-0FF1410698F9}"/>
              </a:ext>
            </a:extLst>
          </p:cNvPr>
          <p:cNvSpPr txBox="1">
            <a:spLocks noGrp="1"/>
          </p:cNvSpPr>
          <p:nvPr>
            <p:ph idx="1"/>
          </p:nvPr>
        </p:nvSpPr>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6">
            <a:extLst>
              <a:ext uri="{FF2B5EF4-FFF2-40B4-BE49-F238E27FC236}">
                <a16:creationId xmlns:a16="http://schemas.microsoft.com/office/drawing/2014/main" id="{552BFF3E-0488-CF20-89D3-4371D5F02A35}"/>
              </a:ext>
            </a:extLst>
          </p:cNvPr>
          <p:cNvSpPr txBox="1">
            <a:spLocks noGrp="1"/>
          </p:cNvSpPr>
          <p:nvPr>
            <p:ph type="sldNum" sz="quarter" idx="8"/>
          </p:nvPr>
        </p:nvSpPr>
        <p:spPr/>
        <p:txBody>
          <a:bodyPr/>
          <a:lstStyle>
            <a:lvl1pPr>
              <a:defRPr>
                <a:solidFill>
                  <a:srgbClr val="AFB3B9"/>
                </a:solidFill>
              </a:defRPr>
            </a:lvl1pPr>
          </a:lstStyle>
          <a:p>
            <a:pPr lvl="0"/>
            <a:fld id="{8125573F-E7F0-45EE-9B08-4B9ABF01B558}" type="slidenum">
              <a:t>‹#›</a:t>
            </a:fld>
            <a:endParaRPr lang="en-US"/>
          </a:p>
        </p:txBody>
      </p:sp>
      <p:cxnSp>
        <p:nvCxnSpPr>
          <p:cNvPr id="10" name="Straight Connector 7">
            <a:extLst>
              <a:ext uri="{FF2B5EF4-FFF2-40B4-BE49-F238E27FC236}">
                <a16:creationId xmlns:a16="http://schemas.microsoft.com/office/drawing/2014/main" id="{5F80B336-D807-54E4-6960-4C17139BB2D7}"/>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1" name="Footer Placeholder 5">
            <a:extLst>
              <a:ext uri="{FF2B5EF4-FFF2-40B4-BE49-F238E27FC236}">
                <a16:creationId xmlns:a16="http://schemas.microsoft.com/office/drawing/2014/main" id="{D0FBA423-B52F-151A-80CD-5858F1039FD1}"/>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4100970801"/>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B8969B-9FB6-D753-D7A2-AA315474AFA5}"/>
              </a:ext>
            </a:extLst>
          </p:cNvPr>
          <p:cNvSpPr txBox="1">
            <a:spLocks noGrp="1"/>
          </p:cNvSpPr>
          <p:nvPr>
            <p:ph type="title"/>
          </p:nvPr>
        </p:nvSpPr>
        <p:spPr/>
        <p:txBody>
          <a:bodyPr/>
          <a:lstStyle>
            <a:lvl1pPr>
              <a:defRPr/>
            </a:lvl1pPr>
          </a:lstStyle>
          <a:p>
            <a:pPr lvl="0"/>
            <a:r>
              <a:rPr lang="en-US"/>
              <a:t>Click to edit Master title style</a:t>
            </a:r>
          </a:p>
        </p:txBody>
      </p:sp>
      <p:sp>
        <p:nvSpPr>
          <p:cNvPr id="3" name="Content Placeholder 2">
            <a:extLst>
              <a:ext uri="{FF2B5EF4-FFF2-40B4-BE49-F238E27FC236}">
                <a16:creationId xmlns:a16="http://schemas.microsoft.com/office/drawing/2014/main" id="{5B5095FD-1190-8A48-C646-C511DA1EF599}"/>
              </a:ext>
            </a:extLst>
          </p:cNvPr>
          <p:cNvSpPr txBox="1">
            <a:spLocks noGrp="1"/>
          </p:cNvSpPr>
          <p:nvPr>
            <p:ph idx="1"/>
          </p:nvPr>
        </p:nvSpPr>
        <p:spPr>
          <a:xfrm>
            <a:off x="609604" y="1825627"/>
            <a:ext cx="5410203" cy="4351336"/>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43">
            <a:extLst>
              <a:ext uri="{FF2B5EF4-FFF2-40B4-BE49-F238E27FC236}">
                <a16:creationId xmlns:a16="http://schemas.microsoft.com/office/drawing/2014/main" id="{4316A2A5-6245-A750-8B14-FF59087C5E68}"/>
              </a:ext>
            </a:extLst>
          </p:cNvPr>
          <p:cNvGrpSpPr/>
          <p:nvPr/>
        </p:nvGrpSpPr>
        <p:grpSpPr>
          <a:xfrm>
            <a:off x="7191545" y="0"/>
            <a:ext cx="5000460" cy="1425988"/>
            <a:chOff x="7191545" y="0"/>
            <a:chExt cx="5000460" cy="1425988"/>
          </a:xfrm>
        </p:grpSpPr>
        <p:pic>
          <p:nvPicPr>
            <p:cNvPr id="5" name="Picture 19">
              <a:extLst>
                <a:ext uri="{FF2B5EF4-FFF2-40B4-BE49-F238E27FC236}">
                  <a16:creationId xmlns:a16="http://schemas.microsoft.com/office/drawing/2014/main" id="{6C930472-2002-75A1-02D4-CC6ED4F22721}"/>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6" name="Group 42">
              <a:extLst>
                <a:ext uri="{FF2B5EF4-FFF2-40B4-BE49-F238E27FC236}">
                  <a16:creationId xmlns:a16="http://schemas.microsoft.com/office/drawing/2014/main" id="{FE91BC26-3880-FB7A-4B28-645132421997}"/>
                </a:ext>
              </a:extLst>
            </p:cNvPr>
            <p:cNvGrpSpPr/>
            <p:nvPr/>
          </p:nvGrpSpPr>
          <p:grpSpPr>
            <a:xfrm>
              <a:off x="7191545" y="0"/>
              <a:ext cx="5000460" cy="1425988"/>
              <a:chOff x="7191545" y="0"/>
              <a:chExt cx="5000460" cy="1425988"/>
            </a:xfrm>
          </p:grpSpPr>
          <p:sp>
            <p:nvSpPr>
              <p:cNvPr id="7" name="Freeform 41">
                <a:extLst>
                  <a:ext uri="{FF2B5EF4-FFF2-40B4-BE49-F238E27FC236}">
                    <a16:creationId xmlns:a16="http://schemas.microsoft.com/office/drawing/2014/main" id="{FB4C9C48-D6D3-EB45-7A3B-C0FA478788CA}"/>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8" name="Freeform 39">
                <a:extLst>
                  <a:ext uri="{FF2B5EF4-FFF2-40B4-BE49-F238E27FC236}">
                    <a16:creationId xmlns:a16="http://schemas.microsoft.com/office/drawing/2014/main" id="{4BAFD70B-E0FF-01DD-789A-CE31D11AFD87}"/>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9" name="Content Placeholder 3">
            <a:extLst>
              <a:ext uri="{FF2B5EF4-FFF2-40B4-BE49-F238E27FC236}">
                <a16:creationId xmlns:a16="http://schemas.microsoft.com/office/drawing/2014/main" id="{0F3C9755-8201-5160-B00E-A2D1A63F0208}"/>
              </a:ext>
            </a:extLst>
          </p:cNvPr>
          <p:cNvSpPr txBox="1">
            <a:spLocks noGrp="1"/>
          </p:cNvSpPr>
          <p:nvPr>
            <p:ph idx="2"/>
          </p:nvPr>
        </p:nvSpPr>
        <p:spPr>
          <a:xfrm>
            <a:off x="6172201" y="1825627"/>
            <a:ext cx="5410203" cy="4351336"/>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7">
            <a:extLst>
              <a:ext uri="{FF2B5EF4-FFF2-40B4-BE49-F238E27FC236}">
                <a16:creationId xmlns:a16="http://schemas.microsoft.com/office/drawing/2014/main" id="{F22A6AE4-FFD5-EE67-1AD8-4DDB1002D6B3}"/>
              </a:ext>
            </a:extLst>
          </p:cNvPr>
          <p:cNvSpPr txBox="1">
            <a:spLocks noGrp="1"/>
          </p:cNvSpPr>
          <p:nvPr>
            <p:ph type="sldNum" sz="quarter" idx="8"/>
          </p:nvPr>
        </p:nvSpPr>
        <p:spPr>
          <a:xfrm>
            <a:off x="8839193" y="6356352"/>
            <a:ext cx="2743200" cy="365129"/>
          </a:xfrm>
        </p:spPr>
        <p:txBody>
          <a:bodyPr/>
          <a:lstStyle>
            <a:lvl1pPr>
              <a:defRPr/>
            </a:lvl1pPr>
          </a:lstStyle>
          <a:p>
            <a:pPr lvl="0"/>
            <a:fld id="{D66D6035-A928-4407-A07C-0D7B675F3321}" type="slidenum">
              <a:t>‹#›</a:t>
            </a:fld>
            <a:endParaRPr lang="en-US"/>
          </a:p>
        </p:txBody>
      </p:sp>
      <p:cxnSp>
        <p:nvCxnSpPr>
          <p:cNvPr id="11" name="Straight Connector 6">
            <a:extLst>
              <a:ext uri="{FF2B5EF4-FFF2-40B4-BE49-F238E27FC236}">
                <a16:creationId xmlns:a16="http://schemas.microsoft.com/office/drawing/2014/main" id="{CCAB3561-31DE-801E-1A0A-DF6573ADADAB}"/>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2" name="Footer Placeholder 4">
            <a:extLst>
              <a:ext uri="{FF2B5EF4-FFF2-40B4-BE49-F238E27FC236}">
                <a16:creationId xmlns:a16="http://schemas.microsoft.com/office/drawing/2014/main" id="{52F80BA2-545B-2AEF-D9C8-6FD311872B9C}"/>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173192629"/>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 name="Group 24">
            <a:extLst>
              <a:ext uri="{FF2B5EF4-FFF2-40B4-BE49-F238E27FC236}">
                <a16:creationId xmlns:a16="http://schemas.microsoft.com/office/drawing/2014/main" id="{D496129E-79BB-7E4D-249C-E616BBD83EF5}"/>
              </a:ext>
            </a:extLst>
          </p:cNvPr>
          <p:cNvGrpSpPr/>
          <p:nvPr/>
        </p:nvGrpSpPr>
        <p:grpSpPr>
          <a:xfrm>
            <a:off x="7191545" y="0"/>
            <a:ext cx="5000460" cy="1425988"/>
            <a:chOff x="7191545" y="0"/>
            <a:chExt cx="5000460" cy="1425988"/>
          </a:xfrm>
        </p:grpSpPr>
        <p:pic>
          <p:nvPicPr>
            <p:cNvPr id="3" name="Picture 25">
              <a:extLst>
                <a:ext uri="{FF2B5EF4-FFF2-40B4-BE49-F238E27FC236}">
                  <a16:creationId xmlns:a16="http://schemas.microsoft.com/office/drawing/2014/main" id="{A3AF5989-2F5C-4A62-1C30-B3B04A0A3B5B}"/>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26">
              <a:extLst>
                <a:ext uri="{FF2B5EF4-FFF2-40B4-BE49-F238E27FC236}">
                  <a16:creationId xmlns:a16="http://schemas.microsoft.com/office/drawing/2014/main" id="{00136DFB-25D9-ED77-01F2-6A5877281391}"/>
                </a:ext>
              </a:extLst>
            </p:cNvPr>
            <p:cNvGrpSpPr/>
            <p:nvPr/>
          </p:nvGrpSpPr>
          <p:grpSpPr>
            <a:xfrm>
              <a:off x="7191545" y="0"/>
              <a:ext cx="5000460" cy="1425988"/>
              <a:chOff x="7191545" y="0"/>
              <a:chExt cx="5000460" cy="1425988"/>
            </a:xfrm>
          </p:grpSpPr>
          <p:sp>
            <p:nvSpPr>
              <p:cNvPr id="5" name="Freeform 27">
                <a:extLst>
                  <a:ext uri="{FF2B5EF4-FFF2-40B4-BE49-F238E27FC236}">
                    <a16:creationId xmlns:a16="http://schemas.microsoft.com/office/drawing/2014/main" id="{66EF267B-A464-D137-3A82-BA75EBB1A8AE}"/>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28">
                <a:extLst>
                  <a:ext uri="{FF2B5EF4-FFF2-40B4-BE49-F238E27FC236}">
                    <a16:creationId xmlns:a16="http://schemas.microsoft.com/office/drawing/2014/main" id="{D5394A70-7410-CD82-A954-17144CC98F84}"/>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3B80DF75-5465-9EB6-F4EA-9F87FCCC5D57}"/>
              </a:ext>
            </a:extLst>
          </p:cNvPr>
          <p:cNvSpPr txBox="1">
            <a:spLocks noGrp="1"/>
          </p:cNvSpPr>
          <p:nvPr>
            <p:ph type="title"/>
          </p:nvPr>
        </p:nvSpPr>
        <p:spPr/>
        <p:txBody>
          <a:bodyPr/>
          <a:lstStyle>
            <a:lvl1pPr>
              <a:defRPr/>
            </a:lvl1pPr>
          </a:lstStyle>
          <a:p>
            <a:pPr lvl="0"/>
            <a:r>
              <a:rPr lang="en-US"/>
              <a:t>Click to edit Master title style</a:t>
            </a:r>
          </a:p>
        </p:txBody>
      </p:sp>
      <p:sp>
        <p:nvSpPr>
          <p:cNvPr id="8" name="Text Placeholder 2">
            <a:extLst>
              <a:ext uri="{FF2B5EF4-FFF2-40B4-BE49-F238E27FC236}">
                <a16:creationId xmlns:a16="http://schemas.microsoft.com/office/drawing/2014/main" id="{F9C105F7-6228-AA36-EBA6-6D0BA7051578}"/>
              </a:ext>
            </a:extLst>
          </p:cNvPr>
          <p:cNvSpPr txBox="1">
            <a:spLocks noGrp="1"/>
          </p:cNvSpPr>
          <p:nvPr>
            <p:ph type="body" idx="1"/>
          </p:nvPr>
        </p:nvSpPr>
        <p:spPr>
          <a:xfrm>
            <a:off x="609604" y="1681160"/>
            <a:ext cx="5387973" cy="823910"/>
          </a:xfrm>
          <a:solidFill>
            <a:srgbClr val="F3F6FB"/>
          </a:solidFill>
        </p:spPr>
        <p:txBody>
          <a:bodyPr lIns="182880" tIns="0" rIns="182880" bIns="0" anchor="ctr"/>
          <a:lstStyle>
            <a:lvl1pPr marL="0" indent="0">
              <a:buNone/>
              <a:defRPr u="sng">
                <a:uFill>
                  <a:solidFill>
                    <a:srgbClr val="F58366"/>
                  </a:solidFill>
                </a:uFill>
              </a:defRPr>
            </a:lvl1pPr>
          </a:lstStyle>
          <a:p>
            <a:pPr lvl="0"/>
            <a:r>
              <a:rPr lang="en-US"/>
              <a:t>Click to edit Master text styles</a:t>
            </a:r>
          </a:p>
        </p:txBody>
      </p:sp>
      <p:sp>
        <p:nvSpPr>
          <p:cNvPr id="9" name="Content Placeholder 3">
            <a:extLst>
              <a:ext uri="{FF2B5EF4-FFF2-40B4-BE49-F238E27FC236}">
                <a16:creationId xmlns:a16="http://schemas.microsoft.com/office/drawing/2014/main" id="{41F31D0F-E3A5-6F24-F1EE-1726104E23F3}"/>
              </a:ext>
            </a:extLst>
          </p:cNvPr>
          <p:cNvSpPr txBox="1">
            <a:spLocks noGrp="1"/>
          </p:cNvSpPr>
          <p:nvPr>
            <p:ph idx="2"/>
          </p:nvPr>
        </p:nvSpPr>
        <p:spPr>
          <a:xfrm>
            <a:off x="609604" y="2505072"/>
            <a:ext cx="5387973" cy="3684583"/>
          </a:xfrm>
          <a:solidFill>
            <a:srgbClr val="F3F6FB"/>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B65E4D02-AA1A-D1D4-7EF7-119F29F844C5}"/>
              </a:ext>
            </a:extLst>
          </p:cNvPr>
          <p:cNvSpPr txBox="1">
            <a:spLocks noGrp="1"/>
          </p:cNvSpPr>
          <p:nvPr>
            <p:ph type="body" idx="3"/>
          </p:nvPr>
        </p:nvSpPr>
        <p:spPr>
          <a:xfrm>
            <a:off x="6172201" y="1681160"/>
            <a:ext cx="5410203" cy="823910"/>
          </a:xfrm>
          <a:solidFill>
            <a:srgbClr val="F3F6FB"/>
          </a:solidFill>
        </p:spPr>
        <p:txBody>
          <a:bodyPr lIns="182880" tIns="0" rIns="182880" bIns="0" anchor="ctr"/>
          <a:lstStyle>
            <a:lvl1pPr marL="0" indent="0">
              <a:buNone/>
              <a:defRPr u="sng">
                <a:uFill>
                  <a:solidFill>
                    <a:srgbClr val="F58366"/>
                  </a:solidFill>
                </a:uFill>
              </a:defRPr>
            </a:lvl1pPr>
          </a:lstStyle>
          <a:p>
            <a:pPr lvl="0"/>
            <a:r>
              <a:rPr lang="en-US"/>
              <a:t>Click to edit Master text styles</a:t>
            </a:r>
          </a:p>
        </p:txBody>
      </p:sp>
      <p:sp>
        <p:nvSpPr>
          <p:cNvPr id="11" name="Content Placeholder 5">
            <a:extLst>
              <a:ext uri="{FF2B5EF4-FFF2-40B4-BE49-F238E27FC236}">
                <a16:creationId xmlns:a16="http://schemas.microsoft.com/office/drawing/2014/main" id="{800206F1-2C07-AD94-22A8-5E934A2E1DD8}"/>
              </a:ext>
            </a:extLst>
          </p:cNvPr>
          <p:cNvSpPr txBox="1">
            <a:spLocks noGrp="1"/>
          </p:cNvSpPr>
          <p:nvPr>
            <p:ph idx="4"/>
          </p:nvPr>
        </p:nvSpPr>
        <p:spPr>
          <a:xfrm>
            <a:off x="6172201" y="2505072"/>
            <a:ext cx="5410203" cy="3684583"/>
          </a:xfrm>
          <a:solidFill>
            <a:srgbClr val="F3F6FB"/>
          </a:solidFill>
        </p:spPr>
        <p:txBody>
          <a:bodyPr lIns="182880" tIns="0" rIns="182880" bIns="0"/>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9">
            <a:extLst>
              <a:ext uri="{FF2B5EF4-FFF2-40B4-BE49-F238E27FC236}">
                <a16:creationId xmlns:a16="http://schemas.microsoft.com/office/drawing/2014/main" id="{8ABAB4EF-6962-125F-D610-1E195ED39290}"/>
              </a:ext>
            </a:extLst>
          </p:cNvPr>
          <p:cNvSpPr txBox="1">
            <a:spLocks noGrp="1"/>
          </p:cNvSpPr>
          <p:nvPr>
            <p:ph type="sldNum" sz="quarter" idx="8"/>
          </p:nvPr>
        </p:nvSpPr>
        <p:spPr/>
        <p:txBody>
          <a:bodyPr/>
          <a:lstStyle>
            <a:lvl1pPr>
              <a:defRPr/>
            </a:lvl1pPr>
          </a:lstStyle>
          <a:p>
            <a:pPr lvl="0"/>
            <a:fld id="{07133A3E-0E2E-419E-AD16-AA9429DE747C}" type="slidenum">
              <a:t>‹#›</a:t>
            </a:fld>
            <a:endParaRPr lang="en-US"/>
          </a:p>
        </p:txBody>
      </p:sp>
      <p:cxnSp>
        <p:nvCxnSpPr>
          <p:cNvPr id="13" name="Straight Connector 8">
            <a:extLst>
              <a:ext uri="{FF2B5EF4-FFF2-40B4-BE49-F238E27FC236}">
                <a16:creationId xmlns:a16="http://schemas.microsoft.com/office/drawing/2014/main" id="{1F3B31DF-8570-738A-5E19-CA47BAEB3BE4}"/>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4" name="Footer Placeholder 7">
            <a:extLst>
              <a:ext uri="{FF2B5EF4-FFF2-40B4-BE49-F238E27FC236}">
                <a16:creationId xmlns:a16="http://schemas.microsoft.com/office/drawing/2014/main" id="{B3031F6D-B98F-3E8E-D663-68995AF20432}"/>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3504521569"/>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 name="Group 21">
            <a:extLst>
              <a:ext uri="{FF2B5EF4-FFF2-40B4-BE49-F238E27FC236}">
                <a16:creationId xmlns:a16="http://schemas.microsoft.com/office/drawing/2014/main" id="{F6F98AA6-778C-61C7-4487-4E12C333F296}"/>
              </a:ext>
            </a:extLst>
          </p:cNvPr>
          <p:cNvGrpSpPr/>
          <p:nvPr/>
        </p:nvGrpSpPr>
        <p:grpSpPr>
          <a:xfrm>
            <a:off x="7191545" y="0"/>
            <a:ext cx="5000460" cy="1425988"/>
            <a:chOff x="7191545" y="0"/>
            <a:chExt cx="5000460" cy="1425988"/>
          </a:xfrm>
        </p:grpSpPr>
        <p:pic>
          <p:nvPicPr>
            <p:cNvPr id="3" name="Picture 22">
              <a:extLst>
                <a:ext uri="{FF2B5EF4-FFF2-40B4-BE49-F238E27FC236}">
                  <a16:creationId xmlns:a16="http://schemas.microsoft.com/office/drawing/2014/main" id="{07A39D04-31E8-F351-B0C4-E60BB06D595B}"/>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4" name="Group 23">
              <a:extLst>
                <a:ext uri="{FF2B5EF4-FFF2-40B4-BE49-F238E27FC236}">
                  <a16:creationId xmlns:a16="http://schemas.microsoft.com/office/drawing/2014/main" id="{83B7421E-A9DB-B146-E3B2-1F49FDABD418}"/>
                </a:ext>
              </a:extLst>
            </p:cNvPr>
            <p:cNvGrpSpPr/>
            <p:nvPr/>
          </p:nvGrpSpPr>
          <p:grpSpPr>
            <a:xfrm>
              <a:off x="7191545" y="0"/>
              <a:ext cx="5000460" cy="1425988"/>
              <a:chOff x="7191545" y="0"/>
              <a:chExt cx="5000460" cy="1425988"/>
            </a:xfrm>
          </p:grpSpPr>
          <p:sp>
            <p:nvSpPr>
              <p:cNvPr id="5" name="Freeform 24">
                <a:extLst>
                  <a:ext uri="{FF2B5EF4-FFF2-40B4-BE49-F238E27FC236}">
                    <a16:creationId xmlns:a16="http://schemas.microsoft.com/office/drawing/2014/main" id="{D93BA280-F0F9-CBED-8D7D-FAF1BA453014}"/>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6" name="Freeform 25">
                <a:extLst>
                  <a:ext uri="{FF2B5EF4-FFF2-40B4-BE49-F238E27FC236}">
                    <a16:creationId xmlns:a16="http://schemas.microsoft.com/office/drawing/2014/main" id="{E5571EE3-4E20-EF74-380F-78A545675689}"/>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
        <p:nvSpPr>
          <p:cNvPr id="7" name="Title 1">
            <a:extLst>
              <a:ext uri="{FF2B5EF4-FFF2-40B4-BE49-F238E27FC236}">
                <a16:creationId xmlns:a16="http://schemas.microsoft.com/office/drawing/2014/main" id="{4EC4C359-0CBE-C930-978C-8A87C62AC0FB}"/>
              </a:ext>
            </a:extLst>
          </p:cNvPr>
          <p:cNvSpPr txBox="1">
            <a:spLocks noGrp="1"/>
          </p:cNvSpPr>
          <p:nvPr>
            <p:ph type="title"/>
          </p:nvPr>
        </p:nvSpPr>
        <p:spPr/>
        <p:txBody>
          <a:bodyPr/>
          <a:lstStyle>
            <a:lvl1pPr>
              <a:defRPr/>
            </a:lvl1pPr>
          </a:lstStyle>
          <a:p>
            <a:pPr lvl="0"/>
            <a:r>
              <a:rPr lang="en-US"/>
              <a:t>Click to edit Master title style</a:t>
            </a:r>
          </a:p>
        </p:txBody>
      </p:sp>
      <p:sp>
        <p:nvSpPr>
          <p:cNvPr id="8" name="Slide Number Placeholder 5">
            <a:extLst>
              <a:ext uri="{FF2B5EF4-FFF2-40B4-BE49-F238E27FC236}">
                <a16:creationId xmlns:a16="http://schemas.microsoft.com/office/drawing/2014/main" id="{E2CA37CC-4FEB-0AFE-BF00-89680C80A11D}"/>
              </a:ext>
            </a:extLst>
          </p:cNvPr>
          <p:cNvSpPr txBox="1">
            <a:spLocks noGrp="1"/>
          </p:cNvSpPr>
          <p:nvPr>
            <p:ph type="sldNum" sz="quarter" idx="8"/>
          </p:nvPr>
        </p:nvSpPr>
        <p:spPr/>
        <p:txBody>
          <a:bodyPr/>
          <a:lstStyle>
            <a:lvl1pPr>
              <a:defRPr/>
            </a:lvl1pPr>
          </a:lstStyle>
          <a:p>
            <a:pPr lvl="0"/>
            <a:fld id="{701B4DDC-5CDF-4193-AE74-73121AA47092}" type="slidenum">
              <a:t>‹#›</a:t>
            </a:fld>
            <a:endParaRPr lang="en-US"/>
          </a:p>
        </p:txBody>
      </p:sp>
      <p:cxnSp>
        <p:nvCxnSpPr>
          <p:cNvPr id="9" name="Straight Connector 6">
            <a:extLst>
              <a:ext uri="{FF2B5EF4-FFF2-40B4-BE49-F238E27FC236}">
                <a16:creationId xmlns:a16="http://schemas.microsoft.com/office/drawing/2014/main" id="{3A7301C5-CD51-BC5D-0117-72202C01A1AA}"/>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10" name="Footer Placeholder 2">
            <a:extLst>
              <a:ext uri="{FF2B5EF4-FFF2-40B4-BE49-F238E27FC236}">
                <a16:creationId xmlns:a16="http://schemas.microsoft.com/office/drawing/2014/main" id="{D1FF97DA-3DE1-8CF7-C06A-500DE4753EDE}"/>
              </a:ext>
            </a:extLst>
          </p:cNvPr>
          <p:cNvSpPr txBox="1">
            <a:spLocks noGrp="1"/>
          </p:cNvSpPr>
          <p:nvPr>
            <p:ph type="ftr" sz="quarter" idx="9"/>
          </p:nvPr>
        </p:nvSpPr>
        <p:spPr/>
        <p:txBody>
          <a:bodyPr/>
          <a:lstStyle>
            <a:lvl1pPr>
              <a:defRPr/>
            </a:lvl1pPr>
          </a:lstStyle>
          <a:p>
            <a:pPr lvl="0"/>
            <a:r>
              <a:rPr lang="en-US"/>
              <a:t>Illinois Perinatal Quality Collaborative</a:t>
            </a:r>
          </a:p>
        </p:txBody>
      </p:sp>
    </p:spTree>
    <p:extLst>
      <p:ext uri="{BB962C8B-B14F-4D97-AF65-F5344CB8AC3E}">
        <p14:creationId xmlns:p14="http://schemas.microsoft.com/office/powerpoint/2010/main" val="1769295475"/>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p:cSld name="21_End">
    <p:spTree>
      <p:nvGrpSpPr>
        <p:cNvPr id="1" name=""/>
        <p:cNvGrpSpPr/>
        <p:nvPr/>
      </p:nvGrpSpPr>
      <p:grpSpPr>
        <a:xfrm>
          <a:off x="0" y="0"/>
          <a:ext cx="0" cy="0"/>
          <a:chOff x="0" y="0"/>
          <a:chExt cx="0" cy="0"/>
        </a:xfrm>
      </p:grpSpPr>
      <p:grpSp>
        <p:nvGrpSpPr>
          <p:cNvPr id="2" name="Group 41">
            <a:extLst>
              <a:ext uri="{FF2B5EF4-FFF2-40B4-BE49-F238E27FC236}">
                <a16:creationId xmlns:a16="http://schemas.microsoft.com/office/drawing/2014/main" id="{5FBD2692-B9D3-8F3E-CDF7-6A01D1CAF84F}"/>
              </a:ext>
            </a:extLst>
          </p:cNvPr>
          <p:cNvGrpSpPr/>
          <p:nvPr/>
        </p:nvGrpSpPr>
        <p:grpSpPr>
          <a:xfrm>
            <a:off x="0" y="0"/>
            <a:ext cx="12191996" cy="2148830"/>
            <a:chOff x="0" y="0"/>
            <a:chExt cx="12191996" cy="2148830"/>
          </a:xfrm>
        </p:grpSpPr>
        <p:sp>
          <p:nvSpPr>
            <p:cNvPr id="3" name="Freeform 40">
              <a:extLst>
                <a:ext uri="{FF2B5EF4-FFF2-40B4-BE49-F238E27FC236}">
                  <a16:creationId xmlns:a16="http://schemas.microsoft.com/office/drawing/2014/main" id="{3E598637-DA23-E497-CF91-66D0CE2CEF33}"/>
                </a:ext>
              </a:extLst>
            </p:cNvPr>
            <p:cNvSpPr/>
            <p:nvPr/>
          </p:nvSpPr>
          <p:spPr>
            <a:xfrm flipH="1">
              <a:off x="0" y="0"/>
              <a:ext cx="12191996" cy="2148830"/>
            </a:xfrm>
            <a:custGeom>
              <a:avLst/>
              <a:gdLst>
                <a:gd name="f0" fmla="val 10800000"/>
                <a:gd name="f1" fmla="val 5400000"/>
                <a:gd name="f2" fmla="val 180"/>
                <a:gd name="f3" fmla="val w"/>
                <a:gd name="f4" fmla="val h"/>
                <a:gd name="f5" fmla="val 0"/>
                <a:gd name="f6" fmla="val 12192000"/>
                <a:gd name="f7" fmla="val 2148830"/>
                <a:gd name="f8" fmla="val 2318293"/>
                <a:gd name="f9" fmla="val 2110341"/>
                <a:gd name="f10" fmla="val 1952334"/>
                <a:gd name="f11" fmla="val 920"/>
                <a:gd name="f12" fmla="val 1343499"/>
                <a:gd name="f13" fmla="val 23864"/>
                <a:gd name="f14" fmla="val 752130"/>
                <a:gd name="f15" fmla="val 152982"/>
                <a:gd name="f16" fmla="val 184205"/>
                <a:gd name="f17" fmla="val 435928"/>
                <a:gd name="f18" fmla="val 536864"/>
                <a:gd name="f19" fmla="val 554713"/>
                <a:gd name="f20" fmla="val 201115"/>
                <a:gd name="f21" fmla="val 452796"/>
                <a:gd name="f22" fmla="val 776357"/>
                <a:gd name="f23" fmla="val 187336"/>
                <a:gd name="f24" fmla="val 1349828"/>
                <a:gd name="f25" fmla="val 76760"/>
                <a:gd name="f26" fmla="val 1947588"/>
                <a:gd name="f27" fmla="val 66249"/>
                <a:gd name="f28" fmla="val 2962940"/>
                <a:gd name="f29" fmla="val 48421"/>
                <a:gd name="f30" fmla="val 3890218"/>
                <a:gd name="f31" fmla="val 291317"/>
                <a:gd name="f32" fmla="val 4778140"/>
                <a:gd name="f33" fmla="val 604018"/>
                <a:gd name="f34" fmla="val 7231510"/>
                <a:gd name="f35" fmla="val 1468126"/>
                <a:gd name="f36" fmla="val 9178927"/>
                <a:gd name="f37" fmla="val 2492024"/>
                <a:gd name="f38" fmla="val 11996242"/>
                <a:gd name="f39" fmla="val 2036894"/>
                <a:gd name="f40" fmla="val 2002266"/>
                <a:gd name="f41" fmla="val 1415250"/>
                <a:gd name="f42" fmla="val 12022971"/>
                <a:gd name="f43" fmla="val 1470801"/>
                <a:gd name="f44" fmla="val 10719696"/>
                <a:gd name="f45" fmla="val 1863939"/>
                <a:gd name="f46" fmla="val 9271154"/>
                <a:gd name="f47" fmla="val 1783804"/>
                <a:gd name="f48" fmla="val 7970940"/>
                <a:gd name="f49" fmla="val 1436986"/>
                <a:gd name="f50" fmla="val 6890984"/>
                <a:gd name="f51" fmla="val 1148958"/>
                <a:gd name="f52" fmla="val 5866930"/>
                <a:gd name="f53" fmla="val 767309"/>
                <a:gd name="f54" fmla="val 4800356"/>
                <a:gd name="f55" fmla="val 456582"/>
                <a:gd name="f56" fmla="val 4068903"/>
                <a:gd name="f57" fmla="val 243471"/>
                <a:gd name="f58" fmla="val 3348204"/>
                <a:gd name="f59" fmla="val 74251"/>
                <a:gd name="f60" fmla="val 2646880"/>
                <a:gd name="f61" fmla="val 17560"/>
                <a:gd name="f62" fmla="+- 0 0 -90"/>
                <a:gd name="f63" fmla="*/ f3 1 12192000"/>
                <a:gd name="f64" fmla="*/ f4 1 2148830"/>
                <a:gd name="f65" fmla="+- f7 0 f5"/>
                <a:gd name="f66" fmla="+- f6 0 f5"/>
                <a:gd name="f67" fmla="*/ f62 f0 1"/>
                <a:gd name="f68" fmla="*/ f66 1 12192000"/>
                <a:gd name="f69" fmla="*/ f65 1 2148830"/>
                <a:gd name="f70" fmla="*/ 2318293 f66 1"/>
                <a:gd name="f71" fmla="*/ 0 f65 1"/>
                <a:gd name="f72" fmla="*/ 2110341 f66 1"/>
                <a:gd name="f73" fmla="*/ 1952334 f66 1"/>
                <a:gd name="f74" fmla="*/ 920 f65 1"/>
                <a:gd name="f75" fmla="*/ 184205 f66 1"/>
                <a:gd name="f76" fmla="*/ 435928 f65 1"/>
                <a:gd name="f77" fmla="*/ 0 f66 1"/>
                <a:gd name="f78" fmla="*/ 536864 f65 1"/>
                <a:gd name="f79" fmla="*/ 554713 f65 1"/>
                <a:gd name="f80" fmla="*/ 201115 f66 1"/>
                <a:gd name="f81" fmla="*/ 452796 f65 1"/>
                <a:gd name="f82" fmla="*/ 1947588 f66 1"/>
                <a:gd name="f83" fmla="*/ 66249 f65 1"/>
                <a:gd name="f84" fmla="*/ 4778140 f66 1"/>
                <a:gd name="f85" fmla="*/ 604018 f65 1"/>
                <a:gd name="f86" fmla="*/ 11996242 f66 1"/>
                <a:gd name="f87" fmla="*/ 2036894 f65 1"/>
                <a:gd name="f88" fmla="*/ 12192000 f66 1"/>
                <a:gd name="f89" fmla="*/ 2002266 f65 1"/>
                <a:gd name="f90" fmla="*/ 1415250 f65 1"/>
                <a:gd name="f91" fmla="*/ 12022971 f66 1"/>
                <a:gd name="f92" fmla="*/ 1470801 f65 1"/>
                <a:gd name="f93" fmla="*/ 7970940 f66 1"/>
                <a:gd name="f94" fmla="*/ 1436986 f65 1"/>
                <a:gd name="f95" fmla="*/ 4800356 f66 1"/>
                <a:gd name="f96" fmla="*/ 456582 f65 1"/>
                <a:gd name="f97" fmla="*/ 2646880 f66 1"/>
                <a:gd name="f98" fmla="*/ 17560 f65 1"/>
                <a:gd name="f99" fmla="*/ f67 1 f2"/>
                <a:gd name="f100" fmla="*/ f70 1 12192000"/>
                <a:gd name="f101" fmla="*/ f71 1 2148830"/>
                <a:gd name="f102" fmla="*/ f72 1 12192000"/>
                <a:gd name="f103" fmla="*/ f73 1 12192000"/>
                <a:gd name="f104" fmla="*/ f74 1 2148830"/>
                <a:gd name="f105" fmla="*/ f75 1 12192000"/>
                <a:gd name="f106" fmla="*/ f76 1 2148830"/>
                <a:gd name="f107" fmla="*/ f77 1 12192000"/>
                <a:gd name="f108" fmla="*/ f78 1 2148830"/>
                <a:gd name="f109" fmla="*/ f79 1 2148830"/>
                <a:gd name="f110" fmla="*/ f80 1 12192000"/>
                <a:gd name="f111" fmla="*/ f81 1 2148830"/>
                <a:gd name="f112" fmla="*/ f82 1 12192000"/>
                <a:gd name="f113" fmla="*/ f83 1 2148830"/>
                <a:gd name="f114" fmla="*/ f84 1 12192000"/>
                <a:gd name="f115" fmla="*/ f85 1 2148830"/>
                <a:gd name="f116" fmla="*/ f86 1 12192000"/>
                <a:gd name="f117" fmla="*/ f87 1 2148830"/>
                <a:gd name="f118" fmla="*/ f88 1 12192000"/>
                <a:gd name="f119" fmla="*/ f89 1 2148830"/>
                <a:gd name="f120" fmla="*/ f90 1 2148830"/>
                <a:gd name="f121" fmla="*/ f91 1 12192000"/>
                <a:gd name="f122" fmla="*/ f92 1 2148830"/>
                <a:gd name="f123" fmla="*/ f93 1 12192000"/>
                <a:gd name="f124" fmla="*/ f94 1 2148830"/>
                <a:gd name="f125" fmla="*/ f95 1 12192000"/>
                <a:gd name="f126" fmla="*/ f96 1 2148830"/>
                <a:gd name="f127" fmla="*/ f97 1 12192000"/>
                <a:gd name="f128" fmla="*/ f98 1 2148830"/>
                <a:gd name="f129" fmla="*/ f5 1 f68"/>
                <a:gd name="f130" fmla="*/ f6 1 f68"/>
                <a:gd name="f131" fmla="*/ f5 1 f69"/>
                <a:gd name="f132" fmla="*/ f7 1 f69"/>
                <a:gd name="f133" fmla="+- f99 0 f1"/>
                <a:gd name="f134" fmla="*/ f100 1 f68"/>
                <a:gd name="f135" fmla="*/ f101 1 f69"/>
                <a:gd name="f136" fmla="*/ f102 1 f68"/>
                <a:gd name="f137" fmla="*/ f103 1 f68"/>
                <a:gd name="f138" fmla="*/ f104 1 f69"/>
                <a:gd name="f139" fmla="*/ f105 1 f68"/>
                <a:gd name="f140" fmla="*/ f106 1 f69"/>
                <a:gd name="f141" fmla="*/ f107 1 f68"/>
                <a:gd name="f142" fmla="*/ f108 1 f69"/>
                <a:gd name="f143" fmla="*/ f109 1 f69"/>
                <a:gd name="f144" fmla="*/ f110 1 f68"/>
                <a:gd name="f145" fmla="*/ f111 1 f69"/>
                <a:gd name="f146" fmla="*/ f112 1 f68"/>
                <a:gd name="f147" fmla="*/ f113 1 f69"/>
                <a:gd name="f148" fmla="*/ f114 1 f68"/>
                <a:gd name="f149" fmla="*/ f115 1 f69"/>
                <a:gd name="f150" fmla="*/ f116 1 f68"/>
                <a:gd name="f151" fmla="*/ f117 1 f69"/>
                <a:gd name="f152" fmla="*/ f118 1 f68"/>
                <a:gd name="f153" fmla="*/ f119 1 f69"/>
                <a:gd name="f154" fmla="*/ f120 1 f69"/>
                <a:gd name="f155" fmla="*/ f121 1 f68"/>
                <a:gd name="f156" fmla="*/ f122 1 f69"/>
                <a:gd name="f157" fmla="*/ f123 1 f68"/>
                <a:gd name="f158" fmla="*/ f124 1 f69"/>
                <a:gd name="f159" fmla="*/ f125 1 f68"/>
                <a:gd name="f160" fmla="*/ f126 1 f69"/>
                <a:gd name="f161" fmla="*/ f127 1 f68"/>
                <a:gd name="f162" fmla="*/ f128 1 f69"/>
                <a:gd name="f163" fmla="*/ f129 f63 1"/>
                <a:gd name="f164" fmla="*/ f130 f63 1"/>
                <a:gd name="f165" fmla="*/ f132 f64 1"/>
                <a:gd name="f166" fmla="*/ f131 f64 1"/>
                <a:gd name="f167" fmla="*/ f134 f63 1"/>
                <a:gd name="f168" fmla="*/ f135 f64 1"/>
                <a:gd name="f169" fmla="*/ f136 f63 1"/>
                <a:gd name="f170" fmla="*/ f137 f63 1"/>
                <a:gd name="f171" fmla="*/ f138 f64 1"/>
                <a:gd name="f172" fmla="*/ f139 f63 1"/>
                <a:gd name="f173" fmla="*/ f140 f64 1"/>
                <a:gd name="f174" fmla="*/ f141 f63 1"/>
                <a:gd name="f175" fmla="*/ f142 f64 1"/>
                <a:gd name="f176" fmla="*/ f143 f64 1"/>
                <a:gd name="f177" fmla="*/ f144 f63 1"/>
                <a:gd name="f178" fmla="*/ f145 f64 1"/>
                <a:gd name="f179" fmla="*/ f146 f63 1"/>
                <a:gd name="f180" fmla="*/ f147 f64 1"/>
                <a:gd name="f181" fmla="*/ f148 f63 1"/>
                <a:gd name="f182" fmla="*/ f149 f64 1"/>
                <a:gd name="f183" fmla="*/ f150 f63 1"/>
                <a:gd name="f184" fmla="*/ f151 f64 1"/>
                <a:gd name="f185" fmla="*/ f152 f63 1"/>
                <a:gd name="f186" fmla="*/ f153 f64 1"/>
                <a:gd name="f187" fmla="*/ f154 f64 1"/>
                <a:gd name="f188" fmla="*/ f155 f63 1"/>
                <a:gd name="f189" fmla="*/ f156 f64 1"/>
                <a:gd name="f190" fmla="*/ f157 f63 1"/>
                <a:gd name="f191" fmla="*/ f158 f64 1"/>
                <a:gd name="f192" fmla="*/ f159 f63 1"/>
                <a:gd name="f193" fmla="*/ f160 f64 1"/>
                <a:gd name="f194" fmla="*/ f161 f63 1"/>
                <a:gd name="f195" fmla="*/ f162 f64 1"/>
              </a:gdLst>
              <a:ahLst/>
              <a:cxnLst>
                <a:cxn ang="3cd4">
                  <a:pos x="hc" y="t"/>
                </a:cxn>
                <a:cxn ang="0">
                  <a:pos x="r" y="vc"/>
                </a:cxn>
                <a:cxn ang="cd4">
                  <a:pos x="hc" y="b"/>
                </a:cxn>
                <a:cxn ang="cd2">
                  <a:pos x="l" y="vc"/>
                </a:cxn>
                <a:cxn ang="f133">
                  <a:pos x="f167" y="f168"/>
                </a:cxn>
                <a:cxn ang="f133">
                  <a:pos x="f169" y="f168"/>
                </a:cxn>
                <a:cxn ang="f133">
                  <a:pos x="f170" y="f171"/>
                </a:cxn>
                <a:cxn ang="f133">
                  <a:pos x="f172" y="f173"/>
                </a:cxn>
                <a:cxn ang="f133">
                  <a:pos x="f174" y="f175"/>
                </a:cxn>
                <a:cxn ang="f133">
                  <a:pos x="f174" y="f176"/>
                </a:cxn>
                <a:cxn ang="f133">
                  <a:pos x="f177" y="f178"/>
                </a:cxn>
                <a:cxn ang="f133">
                  <a:pos x="f179" y="f180"/>
                </a:cxn>
                <a:cxn ang="f133">
                  <a:pos x="f181" y="f182"/>
                </a:cxn>
                <a:cxn ang="f133">
                  <a:pos x="f183" y="f184"/>
                </a:cxn>
                <a:cxn ang="f133">
                  <a:pos x="f185" y="f186"/>
                </a:cxn>
                <a:cxn ang="f133">
                  <a:pos x="f185" y="f187"/>
                </a:cxn>
                <a:cxn ang="f133">
                  <a:pos x="f188" y="f189"/>
                </a:cxn>
                <a:cxn ang="f133">
                  <a:pos x="f190" y="f191"/>
                </a:cxn>
                <a:cxn ang="f133">
                  <a:pos x="f192" y="f193"/>
                </a:cxn>
                <a:cxn ang="f133">
                  <a:pos x="f194" y="f195"/>
                </a:cxn>
              </a:cxnLst>
              <a:rect l="f163" t="f166" r="f164" b="f165"/>
              <a:pathLst>
                <a:path w="12192000" h="2148830">
                  <a:moveTo>
                    <a:pt x="f8" y="f5"/>
                  </a:moveTo>
                  <a:lnTo>
                    <a:pt x="f9" y="f5"/>
                  </a:lnTo>
                  <a:lnTo>
                    <a:pt x="f10" y="f11"/>
                  </a:lnTo>
                  <a:cubicBezTo>
                    <a:pt x="f12" y="f13"/>
                    <a:pt x="f14" y="f15"/>
                    <a:pt x="f16" y="f17"/>
                  </a:cubicBezTo>
                  <a:lnTo>
                    <a:pt x="f5" y="f18"/>
                  </a:lnTo>
                  <a:lnTo>
                    <a:pt x="f5" y="f19"/>
                  </a:lnTo>
                  <a:lnTo>
                    <a:pt x="f20" y="f21"/>
                  </a:lnTo>
                  <a:cubicBezTo>
                    <a:pt x="f22" y="f23"/>
                    <a:pt x="f24" y="f25"/>
                    <a:pt x="f26" y="f27"/>
                  </a:cubicBezTo>
                  <a:cubicBezTo>
                    <a:pt x="f28" y="f29"/>
                    <a:pt x="f30" y="f31"/>
                    <a:pt x="f32" y="f33"/>
                  </a:cubicBezTo>
                  <a:cubicBezTo>
                    <a:pt x="f34" y="f35"/>
                    <a:pt x="f36" y="f37"/>
                    <a:pt x="f38" y="f39"/>
                  </a:cubicBezTo>
                  <a:lnTo>
                    <a:pt x="f6" y="f40"/>
                  </a:lnTo>
                  <a:lnTo>
                    <a:pt x="f6" y="f41"/>
                  </a:lnTo>
                  <a:lnTo>
                    <a:pt x="f42" y="f43"/>
                  </a:lnTo>
                  <a:cubicBezTo>
                    <a:pt x="f44" y="f45"/>
                    <a:pt x="f46" y="f47"/>
                    <a:pt x="f48" y="f49"/>
                  </a:cubicBezTo>
                  <a:cubicBezTo>
                    <a:pt x="f50" y="f51"/>
                    <a:pt x="f52" y="f53"/>
                    <a:pt x="f54" y="f55"/>
                  </a:cubicBezTo>
                  <a:cubicBezTo>
                    <a:pt x="f56" y="f57"/>
                    <a:pt x="f58" y="f59"/>
                    <a:pt x="f60" y="f61"/>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4" name="Freeform 38">
              <a:extLst>
                <a:ext uri="{FF2B5EF4-FFF2-40B4-BE49-F238E27FC236}">
                  <a16:creationId xmlns:a16="http://schemas.microsoft.com/office/drawing/2014/main" id="{84F8DA02-B283-5808-EEB9-F9A10CEF25E7}"/>
                </a:ext>
              </a:extLst>
            </p:cNvPr>
            <p:cNvSpPr/>
            <p:nvPr/>
          </p:nvSpPr>
          <p:spPr>
            <a:xfrm flipH="1">
              <a:off x="0" y="0"/>
              <a:ext cx="12191996" cy="1992139"/>
            </a:xfrm>
            <a:custGeom>
              <a:avLst/>
              <a:gdLst>
                <a:gd name="f0" fmla="val 10800000"/>
                <a:gd name="f1" fmla="val 5400000"/>
                <a:gd name="f2" fmla="val 180"/>
                <a:gd name="f3" fmla="val w"/>
                <a:gd name="f4" fmla="val h"/>
                <a:gd name="f5" fmla="val 0"/>
                <a:gd name="f6" fmla="val 12192000"/>
                <a:gd name="f7" fmla="val 1992138"/>
                <a:gd name="f8" fmla="val 2724271"/>
                <a:gd name="f9" fmla="val 1788442"/>
                <a:gd name="f10" fmla="val 1635403"/>
                <a:gd name="f11" fmla="val 12925"/>
                <a:gd name="f12" fmla="val 1134241"/>
                <a:gd name="f13" fmla="val 70905"/>
                <a:gd name="f14" fmla="val 647221"/>
                <a:gd name="f15" fmla="val 207817"/>
                <a:gd name="f16" fmla="val 178220"/>
                <a:gd name="f17" fmla="val 451207"/>
                <a:gd name="f18" fmla="val 552718"/>
                <a:gd name="f19" fmla="val 570885"/>
                <a:gd name="f20" fmla="val 195368"/>
                <a:gd name="f21" fmla="val 467800"/>
                <a:gd name="f22" fmla="val 765758"/>
                <a:gd name="f23" fmla="val 193094"/>
                <a:gd name="f24" fmla="val 1336955"/>
                <a:gd name="f25" fmla="val 73179"/>
                <a:gd name="f26" fmla="val 1934073"/>
                <a:gd name="f27" fmla="val 52850"/>
                <a:gd name="f28" fmla="val 2948304"/>
                <a:gd name="f29" fmla="val 18310"/>
                <a:gd name="f30" fmla="val 3878878"/>
                <a:gd name="f31" fmla="val 245747"/>
                <a:gd name="f32" fmla="val 4771217"/>
                <a:gd name="f33" fmla="val 543645"/>
                <a:gd name="f34" fmla="val 7236913"/>
                <a:gd name="f35" fmla="val 1366709"/>
                <a:gd name="f36" fmla="val 9199689"/>
                <a:gd name="f37" fmla="val 2357774"/>
                <a:gd name="f38" fmla="val 12007222"/>
                <a:gd name="f39" fmla="val 1856729"/>
                <a:gd name="f40" fmla="val 1820900"/>
                <a:gd name="f41" fmla="val 897073"/>
                <a:gd name="f42" fmla="val 12062517"/>
                <a:gd name="f43" fmla="val 950128"/>
                <a:gd name="f44" fmla="val 10950292"/>
                <a:gd name="f45" fmla="val 1376478"/>
                <a:gd name="f46" fmla="val 9595706"/>
                <a:gd name="f47" fmla="val 1466451"/>
                <a:gd name="f48" fmla="val 8435105"/>
                <a:gd name="f49" fmla="val 1266613"/>
                <a:gd name="f50" fmla="val 6618389"/>
                <a:gd name="f51" fmla="val 953715"/>
                <a:gd name="f52" fmla="val 4735222"/>
                <a:gd name="f53" fmla="val 130088"/>
                <a:gd name="f54" fmla="val 2948502"/>
                <a:gd name="f55" fmla="val 20548"/>
                <a:gd name="f56" fmla="+- 0 0 -90"/>
                <a:gd name="f57" fmla="*/ f3 1 12192000"/>
                <a:gd name="f58" fmla="*/ f4 1 1992138"/>
                <a:gd name="f59" fmla="+- f7 0 f5"/>
                <a:gd name="f60" fmla="+- f6 0 f5"/>
                <a:gd name="f61" fmla="*/ f56 f0 1"/>
                <a:gd name="f62" fmla="*/ f60 1 12192000"/>
                <a:gd name="f63" fmla="*/ f59 1 1992138"/>
                <a:gd name="f64" fmla="*/ 2724271 f60 1"/>
                <a:gd name="f65" fmla="*/ 0 f59 1"/>
                <a:gd name="f66" fmla="*/ 1788442 f60 1"/>
                <a:gd name="f67" fmla="*/ 1635403 f60 1"/>
                <a:gd name="f68" fmla="*/ 12925 f59 1"/>
                <a:gd name="f69" fmla="*/ 178220 f60 1"/>
                <a:gd name="f70" fmla="*/ 451207 f59 1"/>
                <a:gd name="f71" fmla="*/ 0 f60 1"/>
                <a:gd name="f72" fmla="*/ 552718 f59 1"/>
                <a:gd name="f73" fmla="*/ 570885 f59 1"/>
                <a:gd name="f74" fmla="*/ 195368 f60 1"/>
                <a:gd name="f75" fmla="*/ 467800 f59 1"/>
                <a:gd name="f76" fmla="*/ 1934073 f60 1"/>
                <a:gd name="f77" fmla="*/ 52850 f59 1"/>
                <a:gd name="f78" fmla="*/ 4771217 f60 1"/>
                <a:gd name="f79" fmla="*/ 543645 f59 1"/>
                <a:gd name="f80" fmla="*/ 12007222 f60 1"/>
                <a:gd name="f81" fmla="*/ 1856729 f59 1"/>
                <a:gd name="f82" fmla="*/ 12192000 f60 1"/>
                <a:gd name="f83" fmla="*/ 1820900 f59 1"/>
                <a:gd name="f84" fmla="*/ 897073 f59 1"/>
                <a:gd name="f85" fmla="*/ 12062517 f60 1"/>
                <a:gd name="f86" fmla="*/ 950128 f59 1"/>
                <a:gd name="f87" fmla="*/ 8435105 f60 1"/>
                <a:gd name="f88" fmla="*/ 1266613 f59 1"/>
                <a:gd name="f89" fmla="*/ 2948502 f60 1"/>
                <a:gd name="f90" fmla="*/ 20548 f59 1"/>
                <a:gd name="f91" fmla="*/ f61 1 f2"/>
                <a:gd name="f92" fmla="*/ f64 1 12192000"/>
                <a:gd name="f93" fmla="*/ f65 1 1992138"/>
                <a:gd name="f94" fmla="*/ f66 1 12192000"/>
                <a:gd name="f95" fmla="*/ f67 1 12192000"/>
                <a:gd name="f96" fmla="*/ f68 1 1992138"/>
                <a:gd name="f97" fmla="*/ f69 1 12192000"/>
                <a:gd name="f98" fmla="*/ f70 1 1992138"/>
                <a:gd name="f99" fmla="*/ f71 1 12192000"/>
                <a:gd name="f100" fmla="*/ f72 1 1992138"/>
                <a:gd name="f101" fmla="*/ f73 1 1992138"/>
                <a:gd name="f102" fmla="*/ f74 1 12192000"/>
                <a:gd name="f103" fmla="*/ f75 1 1992138"/>
                <a:gd name="f104" fmla="*/ f76 1 12192000"/>
                <a:gd name="f105" fmla="*/ f77 1 1992138"/>
                <a:gd name="f106" fmla="*/ f78 1 12192000"/>
                <a:gd name="f107" fmla="*/ f79 1 1992138"/>
                <a:gd name="f108" fmla="*/ f80 1 12192000"/>
                <a:gd name="f109" fmla="*/ f81 1 1992138"/>
                <a:gd name="f110" fmla="*/ f82 1 12192000"/>
                <a:gd name="f111" fmla="*/ f83 1 1992138"/>
                <a:gd name="f112" fmla="*/ f84 1 1992138"/>
                <a:gd name="f113" fmla="*/ f85 1 12192000"/>
                <a:gd name="f114" fmla="*/ f86 1 1992138"/>
                <a:gd name="f115" fmla="*/ f87 1 12192000"/>
                <a:gd name="f116" fmla="*/ f88 1 1992138"/>
                <a:gd name="f117" fmla="*/ f89 1 12192000"/>
                <a:gd name="f118" fmla="*/ f90 1 1992138"/>
                <a:gd name="f119" fmla="*/ f5 1 f62"/>
                <a:gd name="f120" fmla="*/ f6 1 f62"/>
                <a:gd name="f121" fmla="*/ f5 1 f63"/>
                <a:gd name="f122" fmla="*/ f7 1 f63"/>
                <a:gd name="f123" fmla="+- f91 0 f1"/>
                <a:gd name="f124" fmla="*/ f92 1 f62"/>
                <a:gd name="f125" fmla="*/ f93 1 f63"/>
                <a:gd name="f126" fmla="*/ f94 1 f62"/>
                <a:gd name="f127" fmla="*/ f95 1 f62"/>
                <a:gd name="f128" fmla="*/ f96 1 f63"/>
                <a:gd name="f129" fmla="*/ f97 1 f62"/>
                <a:gd name="f130" fmla="*/ f98 1 f63"/>
                <a:gd name="f131" fmla="*/ f99 1 f62"/>
                <a:gd name="f132" fmla="*/ f100 1 f63"/>
                <a:gd name="f133" fmla="*/ f101 1 f63"/>
                <a:gd name="f134" fmla="*/ f102 1 f62"/>
                <a:gd name="f135" fmla="*/ f103 1 f63"/>
                <a:gd name="f136" fmla="*/ f104 1 f62"/>
                <a:gd name="f137" fmla="*/ f105 1 f63"/>
                <a:gd name="f138" fmla="*/ f106 1 f62"/>
                <a:gd name="f139" fmla="*/ f107 1 f63"/>
                <a:gd name="f140" fmla="*/ f108 1 f62"/>
                <a:gd name="f141" fmla="*/ f109 1 f63"/>
                <a:gd name="f142" fmla="*/ f110 1 f62"/>
                <a:gd name="f143" fmla="*/ f111 1 f63"/>
                <a:gd name="f144" fmla="*/ f112 1 f63"/>
                <a:gd name="f145" fmla="*/ f113 1 f62"/>
                <a:gd name="f146" fmla="*/ f114 1 f63"/>
                <a:gd name="f147" fmla="*/ f115 1 f62"/>
                <a:gd name="f148" fmla="*/ f116 1 f63"/>
                <a:gd name="f149" fmla="*/ f117 1 f62"/>
                <a:gd name="f150" fmla="*/ f118 1 f63"/>
                <a:gd name="f151" fmla="*/ f119 f57 1"/>
                <a:gd name="f152" fmla="*/ f120 f57 1"/>
                <a:gd name="f153" fmla="*/ f122 f58 1"/>
                <a:gd name="f154" fmla="*/ f121 f58 1"/>
                <a:gd name="f155" fmla="*/ f124 f57 1"/>
                <a:gd name="f156" fmla="*/ f125 f58 1"/>
                <a:gd name="f157" fmla="*/ f126 f57 1"/>
                <a:gd name="f158" fmla="*/ f127 f57 1"/>
                <a:gd name="f159" fmla="*/ f128 f58 1"/>
                <a:gd name="f160" fmla="*/ f129 f57 1"/>
                <a:gd name="f161" fmla="*/ f130 f58 1"/>
                <a:gd name="f162" fmla="*/ f131 f57 1"/>
                <a:gd name="f163" fmla="*/ f132 f58 1"/>
                <a:gd name="f164" fmla="*/ f133 f58 1"/>
                <a:gd name="f165" fmla="*/ f134 f57 1"/>
                <a:gd name="f166" fmla="*/ f135 f58 1"/>
                <a:gd name="f167" fmla="*/ f136 f57 1"/>
                <a:gd name="f168" fmla="*/ f137 f58 1"/>
                <a:gd name="f169" fmla="*/ f138 f57 1"/>
                <a:gd name="f170" fmla="*/ f139 f58 1"/>
                <a:gd name="f171" fmla="*/ f140 f57 1"/>
                <a:gd name="f172" fmla="*/ f141 f58 1"/>
                <a:gd name="f173" fmla="*/ f142 f57 1"/>
                <a:gd name="f174" fmla="*/ f143 f58 1"/>
                <a:gd name="f175" fmla="*/ f144 f58 1"/>
                <a:gd name="f176" fmla="*/ f145 f57 1"/>
                <a:gd name="f177" fmla="*/ f146 f58 1"/>
                <a:gd name="f178" fmla="*/ f147 f57 1"/>
                <a:gd name="f179" fmla="*/ f148 f58 1"/>
                <a:gd name="f180" fmla="*/ f149 f57 1"/>
                <a:gd name="f181" fmla="*/ f150 f58 1"/>
              </a:gdLst>
              <a:ahLst/>
              <a:cxnLst>
                <a:cxn ang="3cd4">
                  <a:pos x="hc" y="t"/>
                </a:cxn>
                <a:cxn ang="0">
                  <a:pos x="r" y="vc"/>
                </a:cxn>
                <a:cxn ang="cd4">
                  <a:pos x="hc" y="b"/>
                </a:cxn>
                <a:cxn ang="cd2">
                  <a:pos x="l" y="vc"/>
                </a:cxn>
                <a:cxn ang="f123">
                  <a:pos x="f155" y="f156"/>
                </a:cxn>
                <a:cxn ang="f123">
                  <a:pos x="f157" y="f156"/>
                </a:cxn>
                <a:cxn ang="f123">
                  <a:pos x="f158" y="f159"/>
                </a:cxn>
                <a:cxn ang="f123">
                  <a:pos x="f160" y="f161"/>
                </a:cxn>
                <a:cxn ang="f123">
                  <a:pos x="f162" y="f163"/>
                </a:cxn>
                <a:cxn ang="f123">
                  <a:pos x="f162" y="f164"/>
                </a:cxn>
                <a:cxn ang="f123">
                  <a:pos x="f165" y="f166"/>
                </a:cxn>
                <a:cxn ang="f123">
                  <a:pos x="f167" y="f168"/>
                </a:cxn>
                <a:cxn ang="f123">
                  <a:pos x="f169" y="f170"/>
                </a:cxn>
                <a:cxn ang="f123">
                  <a:pos x="f171" y="f172"/>
                </a:cxn>
                <a:cxn ang="f123">
                  <a:pos x="f173" y="f174"/>
                </a:cxn>
                <a:cxn ang="f123">
                  <a:pos x="f173" y="f175"/>
                </a:cxn>
                <a:cxn ang="f123">
                  <a:pos x="f176" y="f177"/>
                </a:cxn>
                <a:cxn ang="f123">
                  <a:pos x="f178" y="f179"/>
                </a:cxn>
                <a:cxn ang="f123">
                  <a:pos x="f180" y="f181"/>
                </a:cxn>
              </a:cxnLst>
              <a:rect l="f151" t="f154" r="f152" b="f153"/>
              <a:pathLst>
                <a:path w="12192000" h="1992138">
                  <a:moveTo>
                    <a:pt x="f8" y="f5"/>
                  </a:moveTo>
                  <a:lnTo>
                    <a:pt x="f9" y="f5"/>
                  </a:lnTo>
                  <a:lnTo>
                    <a:pt x="f10" y="f11"/>
                  </a:lnTo>
                  <a:cubicBezTo>
                    <a:pt x="f12" y="f13"/>
                    <a:pt x="f14" y="f15"/>
                    <a:pt x="f16" y="f17"/>
                  </a:cubicBezTo>
                  <a:lnTo>
                    <a:pt x="f5" y="f18"/>
                  </a:lnTo>
                  <a:lnTo>
                    <a:pt x="f5" y="f19"/>
                  </a:lnTo>
                  <a:lnTo>
                    <a:pt x="f20" y="f21"/>
                  </a:lnTo>
                  <a:cubicBezTo>
                    <a:pt x="f22" y="f23"/>
                    <a:pt x="f24" y="f25"/>
                    <a:pt x="f26" y="f27"/>
                  </a:cubicBezTo>
                  <a:cubicBezTo>
                    <a:pt x="f28" y="f29"/>
                    <a:pt x="f30" y="f31"/>
                    <a:pt x="f32" y="f33"/>
                  </a:cubicBezTo>
                  <a:cubicBezTo>
                    <a:pt x="f34" y="f35"/>
                    <a:pt x="f36" y="f37"/>
                    <a:pt x="f38" y="f39"/>
                  </a:cubicBezTo>
                  <a:lnTo>
                    <a:pt x="f6" y="f40"/>
                  </a:lnTo>
                  <a:lnTo>
                    <a:pt x="f6" y="f41"/>
                  </a:lnTo>
                  <a:lnTo>
                    <a:pt x="f42" y="f43"/>
                  </a:lnTo>
                  <a:cubicBezTo>
                    <a:pt x="f44" y="f45"/>
                    <a:pt x="f46" y="f47"/>
                    <a:pt x="f48" y="f49"/>
                  </a:cubicBezTo>
                  <a:cubicBezTo>
                    <a:pt x="f50" y="f51"/>
                    <a:pt x="f52" y="f53"/>
                    <a:pt x="f54" y="f55"/>
                  </a:cubicBezTo>
                  <a:close/>
                </a:path>
              </a:pathLst>
            </a:custGeom>
            <a:solidFill>
              <a:srgbClr val="00498F"/>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sp>
        <p:nvSpPr>
          <p:cNvPr id="5" name="Rectangle 3">
            <a:extLst>
              <a:ext uri="{FF2B5EF4-FFF2-40B4-BE49-F238E27FC236}">
                <a16:creationId xmlns:a16="http://schemas.microsoft.com/office/drawing/2014/main" id="{B8710FBC-CD91-2219-2AA5-47D8C9D877F2}"/>
              </a:ext>
            </a:extLst>
          </p:cNvPr>
          <p:cNvSpPr/>
          <p:nvPr/>
        </p:nvSpPr>
        <p:spPr>
          <a:xfrm>
            <a:off x="902366" y="1517694"/>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Content Placeholder 2">
            <a:extLst>
              <a:ext uri="{FF2B5EF4-FFF2-40B4-BE49-F238E27FC236}">
                <a16:creationId xmlns:a16="http://schemas.microsoft.com/office/drawing/2014/main" id="{228D30D0-C148-2031-1F94-C6A9ADD8D980}"/>
              </a:ext>
            </a:extLst>
          </p:cNvPr>
          <p:cNvSpPr txBox="1">
            <a:spLocks noGrp="1"/>
          </p:cNvSpPr>
          <p:nvPr>
            <p:ph idx="4294967295"/>
          </p:nvPr>
        </p:nvSpPr>
        <p:spPr>
          <a:xfrm>
            <a:off x="1219197" y="3429001"/>
            <a:ext cx="5582649" cy="1413561"/>
          </a:xfrm>
        </p:spPr>
        <p:txBody>
          <a:bodyPr/>
          <a:lstStyle>
            <a:lvl1pPr marL="0" indent="0">
              <a:buNone/>
              <a:defRPr sz="2000"/>
            </a:lvl1pPr>
          </a:lstStyle>
          <a:p>
            <a:pPr lvl="0"/>
            <a:r>
              <a:rPr lang="en-US"/>
              <a:t>Click to edit Master text styles</a:t>
            </a:r>
          </a:p>
        </p:txBody>
      </p:sp>
      <p:sp>
        <p:nvSpPr>
          <p:cNvPr id="7" name="Title 11">
            <a:extLst>
              <a:ext uri="{FF2B5EF4-FFF2-40B4-BE49-F238E27FC236}">
                <a16:creationId xmlns:a16="http://schemas.microsoft.com/office/drawing/2014/main" id="{87CA1BFA-CCCA-CFAB-51EE-AEF37323E06F}"/>
              </a:ext>
            </a:extLst>
          </p:cNvPr>
          <p:cNvSpPr txBox="1">
            <a:spLocks noGrp="1"/>
          </p:cNvSpPr>
          <p:nvPr>
            <p:ph type="title"/>
          </p:nvPr>
        </p:nvSpPr>
        <p:spPr>
          <a:xfrm>
            <a:off x="1219197" y="1887486"/>
            <a:ext cx="5582649" cy="1078260"/>
          </a:xfrm>
        </p:spPr>
        <p:txBody>
          <a:bodyPr/>
          <a:lstStyle>
            <a:lvl1pPr>
              <a:defRPr sz="6000"/>
            </a:lvl1pPr>
          </a:lstStyle>
          <a:p>
            <a:pPr lvl="0"/>
            <a:r>
              <a:rPr lang="en-US"/>
              <a:t>Thank you</a:t>
            </a:r>
          </a:p>
        </p:txBody>
      </p:sp>
      <p:pic>
        <p:nvPicPr>
          <p:cNvPr id="8" name="Picture 32">
            <a:extLst>
              <a:ext uri="{FF2B5EF4-FFF2-40B4-BE49-F238E27FC236}">
                <a16:creationId xmlns:a16="http://schemas.microsoft.com/office/drawing/2014/main" id="{94097860-CF9F-AF96-AC4B-A4F0ADE814E4}"/>
              </a:ext>
            </a:extLst>
          </p:cNvPr>
          <p:cNvPicPr>
            <a:picLocks noChangeAspect="1"/>
          </p:cNvPicPr>
          <p:nvPr/>
        </p:nvPicPr>
        <p:blipFill>
          <a:blip r:embed="rId2"/>
          <a:srcRect/>
          <a:stretch>
            <a:fillRect/>
          </a:stretch>
        </p:blipFill>
        <p:spPr>
          <a:xfrm>
            <a:off x="902366" y="228371"/>
            <a:ext cx="2025313" cy="911940"/>
          </a:xfrm>
          <a:prstGeom prst="rect">
            <a:avLst/>
          </a:prstGeom>
          <a:noFill/>
          <a:ln cap="flat">
            <a:noFill/>
          </a:ln>
        </p:spPr>
      </p:pic>
      <p:sp>
        <p:nvSpPr>
          <p:cNvPr id="9" name="Picture Placeholder 16">
            <a:extLst>
              <a:ext uri="{FF2B5EF4-FFF2-40B4-BE49-F238E27FC236}">
                <a16:creationId xmlns:a16="http://schemas.microsoft.com/office/drawing/2014/main" id="{263A4CA2-0622-8B73-F844-4A3A6C7C0390}"/>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spTree>
    <p:extLst>
      <p:ext uri="{BB962C8B-B14F-4D97-AF65-F5344CB8AC3E}">
        <p14:creationId xmlns:p14="http://schemas.microsoft.com/office/powerpoint/2010/main" val="2129525647"/>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type="blank" preserve="1">
  <p:cSld name="21_Blank">
    <p:spTree>
      <p:nvGrpSpPr>
        <p:cNvPr id="1" name=""/>
        <p:cNvGrpSpPr/>
        <p:nvPr/>
      </p:nvGrpSpPr>
      <p:grpSpPr>
        <a:xfrm>
          <a:off x="0" y="0"/>
          <a:ext cx="0" cy="0"/>
          <a:chOff x="0" y="0"/>
          <a:chExt cx="0" cy="0"/>
        </a:xfrm>
      </p:grpSpPr>
      <p:sp>
        <p:nvSpPr>
          <p:cNvPr id="2" name="Slide Number Placeholder 4">
            <a:extLst>
              <a:ext uri="{FF2B5EF4-FFF2-40B4-BE49-F238E27FC236}">
                <a16:creationId xmlns:a16="http://schemas.microsoft.com/office/drawing/2014/main" id="{5B8DB973-E84B-F3B3-BC3F-46B4BDECB308}"/>
              </a:ext>
            </a:extLst>
          </p:cNvPr>
          <p:cNvSpPr txBox="1">
            <a:spLocks noGrp="1"/>
          </p:cNvSpPr>
          <p:nvPr>
            <p:ph type="sldNum" sz="quarter" idx="8"/>
          </p:nvPr>
        </p:nvSpPr>
        <p:spPr/>
        <p:txBody>
          <a:bodyPr/>
          <a:lstStyle>
            <a:lvl1pPr>
              <a:defRPr/>
            </a:lvl1pPr>
          </a:lstStyle>
          <a:p>
            <a:pPr lvl="0"/>
            <a:fld id="{6BB586E9-A7A0-4F59-BAB4-92B730DE520D}" type="slidenum">
              <a:t>‹#›</a:t>
            </a:fld>
            <a:endParaRPr lang="en-US"/>
          </a:p>
        </p:txBody>
      </p:sp>
      <p:cxnSp>
        <p:nvCxnSpPr>
          <p:cNvPr id="3" name="Straight Connector 3">
            <a:extLst>
              <a:ext uri="{FF2B5EF4-FFF2-40B4-BE49-F238E27FC236}">
                <a16:creationId xmlns:a16="http://schemas.microsoft.com/office/drawing/2014/main" id="{BF7EA65E-4FFE-CC54-405F-FD2D51C5EA5E}"/>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4" name="Footer Placeholder 1">
            <a:extLst>
              <a:ext uri="{FF2B5EF4-FFF2-40B4-BE49-F238E27FC236}">
                <a16:creationId xmlns:a16="http://schemas.microsoft.com/office/drawing/2014/main" id="{36B09711-2583-147A-38C4-42C4AAE64701}"/>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5" name="Group 5">
            <a:extLst>
              <a:ext uri="{FF2B5EF4-FFF2-40B4-BE49-F238E27FC236}">
                <a16:creationId xmlns:a16="http://schemas.microsoft.com/office/drawing/2014/main" id="{EE6ACA68-FE5C-9CDA-1336-F87576056862}"/>
              </a:ext>
            </a:extLst>
          </p:cNvPr>
          <p:cNvGrpSpPr/>
          <p:nvPr/>
        </p:nvGrpSpPr>
        <p:grpSpPr>
          <a:xfrm>
            <a:off x="7191545" y="0"/>
            <a:ext cx="5000460" cy="1425988"/>
            <a:chOff x="7191545" y="0"/>
            <a:chExt cx="5000460" cy="1425988"/>
          </a:xfrm>
        </p:grpSpPr>
        <p:pic>
          <p:nvPicPr>
            <p:cNvPr id="6" name="Picture 6">
              <a:extLst>
                <a:ext uri="{FF2B5EF4-FFF2-40B4-BE49-F238E27FC236}">
                  <a16:creationId xmlns:a16="http://schemas.microsoft.com/office/drawing/2014/main" id="{5CB20E88-79C7-AC87-73B7-60ADE67B4346}"/>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7" name="Group 7">
              <a:extLst>
                <a:ext uri="{FF2B5EF4-FFF2-40B4-BE49-F238E27FC236}">
                  <a16:creationId xmlns:a16="http://schemas.microsoft.com/office/drawing/2014/main" id="{14D81512-05EC-2CCF-1C4B-FB751B8D3F4F}"/>
                </a:ext>
              </a:extLst>
            </p:cNvPr>
            <p:cNvGrpSpPr/>
            <p:nvPr/>
          </p:nvGrpSpPr>
          <p:grpSpPr>
            <a:xfrm>
              <a:off x="7191545" y="0"/>
              <a:ext cx="5000460" cy="1425988"/>
              <a:chOff x="7191545" y="0"/>
              <a:chExt cx="5000460" cy="1425988"/>
            </a:xfrm>
          </p:grpSpPr>
          <p:sp>
            <p:nvSpPr>
              <p:cNvPr id="8" name="Freeform 8">
                <a:extLst>
                  <a:ext uri="{FF2B5EF4-FFF2-40B4-BE49-F238E27FC236}">
                    <a16:creationId xmlns:a16="http://schemas.microsoft.com/office/drawing/2014/main" id="{D532D8FE-FB8F-BED2-7897-10799F27D0DC}"/>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9" name="Freeform 9">
                <a:extLst>
                  <a:ext uri="{FF2B5EF4-FFF2-40B4-BE49-F238E27FC236}">
                    <a16:creationId xmlns:a16="http://schemas.microsoft.com/office/drawing/2014/main" id="{0F81DD99-55F6-4D90-A20C-4E21658A2E80}"/>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spTree>
    <p:extLst>
      <p:ext uri="{BB962C8B-B14F-4D97-AF65-F5344CB8AC3E}">
        <p14:creationId xmlns:p14="http://schemas.microsoft.com/office/powerpoint/2010/main" val="1563737713"/>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p:cSld name="6_Title Slide">
    <p:spTree>
      <p:nvGrpSpPr>
        <p:cNvPr id="1" name=""/>
        <p:cNvGrpSpPr/>
        <p:nvPr/>
      </p:nvGrpSpPr>
      <p:grpSpPr>
        <a:xfrm>
          <a:off x="0" y="0"/>
          <a:ext cx="0" cy="0"/>
          <a:chOff x="0" y="0"/>
          <a:chExt cx="0" cy="0"/>
        </a:xfrm>
      </p:grpSpPr>
      <p:pic>
        <p:nvPicPr>
          <p:cNvPr id="2" name="Picture 3">
            <a:extLst>
              <a:ext uri="{FF2B5EF4-FFF2-40B4-BE49-F238E27FC236}">
                <a16:creationId xmlns:a16="http://schemas.microsoft.com/office/drawing/2014/main" id="{B482065F-F8DC-A250-F21F-F78171E340C0}"/>
              </a:ext>
            </a:extLst>
          </p:cNvPr>
          <p:cNvPicPr>
            <a:picLocks noChangeAspect="1"/>
          </p:cNvPicPr>
          <p:nvPr/>
        </p:nvPicPr>
        <p:blipFill>
          <a:blip r:embed="rId2"/>
          <a:stretch>
            <a:fillRect/>
          </a:stretch>
        </p:blipFill>
        <p:spPr>
          <a:xfrm>
            <a:off x="1527" y="859"/>
            <a:ext cx="12188952" cy="6856280"/>
          </a:xfrm>
          <a:prstGeom prst="rect">
            <a:avLst/>
          </a:prstGeom>
          <a:noFill/>
          <a:ln cap="flat">
            <a:noFill/>
          </a:ln>
        </p:spPr>
      </p:pic>
      <p:pic>
        <p:nvPicPr>
          <p:cNvPr id="3" name="Picture 11">
            <a:extLst>
              <a:ext uri="{FF2B5EF4-FFF2-40B4-BE49-F238E27FC236}">
                <a16:creationId xmlns:a16="http://schemas.microsoft.com/office/drawing/2014/main" id="{EE96483C-A161-6A6E-5219-032C02106621}"/>
              </a:ext>
            </a:extLst>
          </p:cNvPr>
          <p:cNvPicPr>
            <a:picLocks noChangeAspect="1"/>
          </p:cNvPicPr>
          <p:nvPr/>
        </p:nvPicPr>
        <p:blipFill>
          <a:blip r:embed="rId3"/>
          <a:stretch>
            <a:fillRect/>
          </a:stretch>
        </p:blipFill>
        <p:spPr>
          <a:xfrm>
            <a:off x="10802521" y="5915006"/>
            <a:ext cx="938787" cy="493776"/>
          </a:xfrm>
          <a:prstGeom prst="rect">
            <a:avLst/>
          </a:prstGeom>
          <a:noFill/>
          <a:ln cap="flat">
            <a:noFill/>
          </a:ln>
        </p:spPr>
      </p:pic>
      <p:sp>
        <p:nvSpPr>
          <p:cNvPr id="4" name="Text Placeholder 8">
            <a:extLst>
              <a:ext uri="{FF2B5EF4-FFF2-40B4-BE49-F238E27FC236}">
                <a16:creationId xmlns:a16="http://schemas.microsoft.com/office/drawing/2014/main" id="{06153B48-63CA-C80E-1444-1EEA5955EA53}"/>
              </a:ext>
            </a:extLst>
          </p:cNvPr>
          <p:cNvSpPr txBox="1">
            <a:spLocks noGrp="1"/>
          </p:cNvSpPr>
          <p:nvPr>
            <p:ph type="body" idx="4294967295"/>
          </p:nvPr>
        </p:nvSpPr>
        <p:spPr>
          <a:xfrm>
            <a:off x="7459666" y="3429001"/>
            <a:ext cx="4180792" cy="1102857"/>
          </a:xfrm>
        </p:spPr>
        <p:txBody>
          <a:bodyPr/>
          <a:lstStyle>
            <a:lvl1pPr marL="0" indent="0">
              <a:spcBef>
                <a:spcPts val="0"/>
              </a:spcBef>
              <a:buNone/>
              <a:defRPr sz="4000">
                <a:solidFill>
                  <a:srgbClr val="79818A"/>
                </a:solidFill>
              </a:defRPr>
            </a:lvl1pPr>
            <a:lvl2pPr marL="0" lvl="0" indent="0">
              <a:spcBef>
                <a:spcPts val="0"/>
              </a:spcBef>
              <a:buNone/>
              <a:defRPr sz="4000">
                <a:solidFill>
                  <a:srgbClr val="79818A"/>
                </a:solidFill>
              </a:defRPr>
            </a:lvl2pPr>
          </a:lstStyle>
          <a:p>
            <a:pPr lvl="0"/>
            <a:r>
              <a:rPr lang="en-US"/>
              <a:t>Presentation </a:t>
            </a:r>
          </a:p>
          <a:p>
            <a:pPr lvl="0"/>
            <a:r>
              <a:rPr lang="en-US"/>
              <a:t>Title</a:t>
            </a:r>
          </a:p>
        </p:txBody>
      </p:sp>
      <p:sp>
        <p:nvSpPr>
          <p:cNvPr id="5" name="Text Placeholder 10">
            <a:extLst>
              <a:ext uri="{FF2B5EF4-FFF2-40B4-BE49-F238E27FC236}">
                <a16:creationId xmlns:a16="http://schemas.microsoft.com/office/drawing/2014/main" id="{8062651E-B857-8DF9-D358-7FEFAEAED843}"/>
              </a:ext>
            </a:extLst>
          </p:cNvPr>
          <p:cNvSpPr txBox="1">
            <a:spLocks noGrp="1"/>
          </p:cNvSpPr>
          <p:nvPr>
            <p:ph type="body" idx="4294967295"/>
          </p:nvPr>
        </p:nvSpPr>
        <p:spPr>
          <a:xfrm>
            <a:off x="7459656" y="4775655"/>
            <a:ext cx="4180792" cy="783320"/>
          </a:xfrm>
        </p:spPr>
        <p:txBody>
          <a:bodyPr>
            <a:normAutofit/>
          </a:bodyPr>
          <a:lstStyle>
            <a:lvl1pPr marL="0" indent="0">
              <a:buNone/>
              <a:defRPr sz="2000">
                <a:solidFill>
                  <a:srgbClr val="FFFFFF"/>
                </a:solidFill>
              </a:defRPr>
            </a:lvl1pPr>
            <a:lvl2pPr marL="0" lvl="0" indent="0">
              <a:spcBef>
                <a:spcPts val="1000"/>
              </a:spcBef>
              <a:buNone/>
              <a:defRPr>
                <a:solidFill>
                  <a:srgbClr val="FFFFFF"/>
                </a:solidFill>
              </a:defRPr>
            </a:lvl2pPr>
          </a:lstStyle>
          <a:p>
            <a:pPr lvl="0"/>
            <a:r>
              <a:rPr lang="en-US"/>
              <a:t>Presentation Subtitle</a:t>
            </a:r>
          </a:p>
          <a:p>
            <a:pPr lvl="0"/>
            <a:r>
              <a:rPr lang="en-US"/>
              <a:t>Presentation Date</a:t>
            </a:r>
          </a:p>
        </p:txBody>
      </p:sp>
    </p:spTree>
    <p:extLst>
      <p:ext uri="{BB962C8B-B14F-4D97-AF65-F5344CB8AC3E}">
        <p14:creationId xmlns:p14="http://schemas.microsoft.com/office/powerpoint/2010/main" val="545092236"/>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p:cSld name="1_Image Left">
    <p:spTree>
      <p:nvGrpSpPr>
        <p:cNvPr id="1" name=""/>
        <p:cNvGrpSpPr/>
        <p:nvPr/>
      </p:nvGrpSpPr>
      <p:grpSpPr>
        <a:xfrm>
          <a:off x="0" y="0"/>
          <a:ext cx="0" cy="0"/>
          <a:chOff x="0" y="0"/>
          <a:chExt cx="0" cy="0"/>
        </a:xfrm>
      </p:grpSpPr>
      <p:pic>
        <p:nvPicPr>
          <p:cNvPr id="2" name="Picture 4">
            <a:extLst>
              <a:ext uri="{FF2B5EF4-FFF2-40B4-BE49-F238E27FC236}">
                <a16:creationId xmlns:a16="http://schemas.microsoft.com/office/drawing/2014/main" id="{9045BC97-99E7-1B79-444E-ACB17F230094}"/>
              </a:ext>
            </a:extLst>
          </p:cNvPr>
          <p:cNvPicPr>
            <a:picLocks noChangeAspect="1"/>
          </p:cNvPicPr>
          <p:nvPr/>
        </p:nvPicPr>
        <p:blipFill>
          <a:blip r:embed="rId2"/>
          <a:stretch>
            <a:fillRect/>
          </a:stretch>
        </p:blipFill>
        <p:spPr>
          <a:xfrm>
            <a:off x="1527" y="859"/>
            <a:ext cx="12188952" cy="6856280"/>
          </a:xfrm>
          <a:prstGeom prst="rect">
            <a:avLst/>
          </a:prstGeom>
          <a:noFill/>
          <a:ln cap="flat">
            <a:noFill/>
          </a:ln>
        </p:spPr>
      </p:pic>
      <p:sp>
        <p:nvSpPr>
          <p:cNvPr id="3" name="Title 1">
            <a:extLst>
              <a:ext uri="{FF2B5EF4-FFF2-40B4-BE49-F238E27FC236}">
                <a16:creationId xmlns:a16="http://schemas.microsoft.com/office/drawing/2014/main" id="{60EA0B15-87E3-B57F-3031-BF59D302E6E2}"/>
              </a:ext>
            </a:extLst>
          </p:cNvPr>
          <p:cNvSpPr txBox="1">
            <a:spLocks noGrp="1"/>
          </p:cNvSpPr>
          <p:nvPr>
            <p:ph type="title"/>
          </p:nvPr>
        </p:nvSpPr>
        <p:spPr>
          <a:xfrm>
            <a:off x="6905174" y="365130"/>
            <a:ext cx="4927262" cy="1325559"/>
          </a:xfrm>
        </p:spPr>
        <p:txBody>
          <a:bodyPr/>
          <a:lstStyle>
            <a:lvl1pPr>
              <a:defRPr/>
            </a:lvl1pPr>
          </a:lstStyle>
          <a:p>
            <a:pPr lvl="0"/>
            <a:r>
              <a:rPr lang="en-US"/>
              <a:t>Slide Header</a:t>
            </a:r>
          </a:p>
        </p:txBody>
      </p:sp>
      <p:sp>
        <p:nvSpPr>
          <p:cNvPr id="4" name="Slide Number Placeholder 2">
            <a:extLst>
              <a:ext uri="{FF2B5EF4-FFF2-40B4-BE49-F238E27FC236}">
                <a16:creationId xmlns:a16="http://schemas.microsoft.com/office/drawing/2014/main" id="{FCDD6BC9-A1D5-A13B-5BB7-00CB4326456F}"/>
              </a:ext>
            </a:extLst>
          </p:cNvPr>
          <p:cNvSpPr txBox="1">
            <a:spLocks noGrp="1"/>
          </p:cNvSpPr>
          <p:nvPr>
            <p:ph type="sldNum" sz="quarter" idx="8"/>
          </p:nvPr>
        </p:nvSpPr>
        <p:spPr/>
        <p:txBody>
          <a:bodyPr/>
          <a:lstStyle>
            <a:lvl1pPr>
              <a:defRPr>
                <a:solidFill>
                  <a:srgbClr val="59CBE8"/>
                </a:solidFill>
              </a:defRPr>
            </a:lvl1pPr>
          </a:lstStyle>
          <a:p>
            <a:pPr lvl="0"/>
            <a:fld id="{B9CE9C45-F1F5-411C-80FE-A00930584D94}" type="slidenum">
              <a:t>‹#›</a:t>
            </a:fld>
            <a:endParaRPr lang="en-US"/>
          </a:p>
        </p:txBody>
      </p:sp>
      <p:sp>
        <p:nvSpPr>
          <p:cNvPr id="5" name="Text Placeholder 7">
            <a:extLst>
              <a:ext uri="{FF2B5EF4-FFF2-40B4-BE49-F238E27FC236}">
                <a16:creationId xmlns:a16="http://schemas.microsoft.com/office/drawing/2014/main" id="{A6D10D40-2B0C-A8B7-E20F-4B4DF8E31E28}"/>
              </a:ext>
            </a:extLst>
          </p:cNvPr>
          <p:cNvSpPr txBox="1">
            <a:spLocks noGrp="1"/>
          </p:cNvSpPr>
          <p:nvPr>
            <p:ph type="body" idx="4294967295"/>
          </p:nvPr>
        </p:nvSpPr>
        <p:spPr>
          <a:xfrm>
            <a:off x="6905174" y="1825628"/>
            <a:ext cx="4927262" cy="4016373"/>
          </a:xfr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7718642"/>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p:cSld name="3_Breaker 4">
    <p:spTree>
      <p:nvGrpSpPr>
        <p:cNvPr id="1" name=""/>
        <p:cNvGrpSpPr/>
        <p:nvPr/>
      </p:nvGrpSpPr>
      <p:grpSpPr>
        <a:xfrm>
          <a:off x="0" y="0"/>
          <a:ext cx="0" cy="0"/>
          <a:chOff x="0" y="0"/>
          <a:chExt cx="0" cy="0"/>
        </a:xfrm>
      </p:grpSpPr>
      <p:pic>
        <p:nvPicPr>
          <p:cNvPr id="2" name="Picture 7">
            <a:extLst>
              <a:ext uri="{FF2B5EF4-FFF2-40B4-BE49-F238E27FC236}">
                <a16:creationId xmlns:a16="http://schemas.microsoft.com/office/drawing/2014/main" id="{13627937-5F0A-D312-9276-2CA8239153F9}"/>
              </a:ext>
            </a:extLst>
          </p:cNvPr>
          <p:cNvPicPr>
            <a:picLocks noChangeAspect="1"/>
          </p:cNvPicPr>
          <p:nvPr/>
        </p:nvPicPr>
        <p:blipFill>
          <a:blip r:embed="rId2"/>
          <a:stretch>
            <a:fillRect/>
          </a:stretch>
        </p:blipFill>
        <p:spPr>
          <a:xfrm>
            <a:off x="1527" y="92"/>
            <a:ext cx="12188952" cy="6857807"/>
          </a:xfrm>
          <a:prstGeom prst="rect">
            <a:avLst/>
          </a:prstGeom>
          <a:noFill/>
          <a:ln cap="flat">
            <a:noFill/>
          </a:ln>
        </p:spPr>
      </p:pic>
      <p:pic>
        <p:nvPicPr>
          <p:cNvPr id="3" name="Picture 9">
            <a:extLst>
              <a:ext uri="{FF2B5EF4-FFF2-40B4-BE49-F238E27FC236}">
                <a16:creationId xmlns:a16="http://schemas.microsoft.com/office/drawing/2014/main" id="{3C043E35-79EA-6414-F351-47D79AEED5D1}"/>
              </a:ext>
            </a:extLst>
          </p:cNvPr>
          <p:cNvPicPr>
            <a:picLocks noChangeAspect="1"/>
          </p:cNvPicPr>
          <p:nvPr/>
        </p:nvPicPr>
        <p:blipFill>
          <a:blip r:embed="rId3"/>
          <a:srcRect l="44353" t="41308" r="41308" b="44537"/>
          <a:stretch>
            <a:fillRect/>
          </a:stretch>
        </p:blipFill>
        <p:spPr>
          <a:xfrm>
            <a:off x="10425147" y="5894634"/>
            <a:ext cx="1312776" cy="562273"/>
          </a:xfrm>
          <a:prstGeom prst="rect">
            <a:avLst/>
          </a:prstGeom>
          <a:noFill/>
          <a:ln cap="flat">
            <a:noFill/>
          </a:ln>
        </p:spPr>
      </p:pic>
      <p:sp>
        <p:nvSpPr>
          <p:cNvPr id="4" name="Text Placeholder 8">
            <a:extLst>
              <a:ext uri="{FF2B5EF4-FFF2-40B4-BE49-F238E27FC236}">
                <a16:creationId xmlns:a16="http://schemas.microsoft.com/office/drawing/2014/main" id="{2ED638F3-931C-BE83-2E8A-4546D1343FC3}"/>
              </a:ext>
            </a:extLst>
          </p:cNvPr>
          <p:cNvSpPr txBox="1">
            <a:spLocks noGrp="1"/>
          </p:cNvSpPr>
          <p:nvPr>
            <p:ph type="body" idx="4294967295"/>
          </p:nvPr>
        </p:nvSpPr>
        <p:spPr>
          <a:xfrm>
            <a:off x="7459666" y="3429001"/>
            <a:ext cx="4180792" cy="1102857"/>
          </a:xfrm>
        </p:spPr>
        <p:txBody>
          <a:bodyPr/>
          <a:lstStyle>
            <a:lvl1pPr marL="0" indent="0">
              <a:spcBef>
                <a:spcPts val="0"/>
              </a:spcBef>
              <a:buNone/>
              <a:defRPr sz="3600">
                <a:solidFill>
                  <a:srgbClr val="79818A"/>
                </a:solidFill>
              </a:defRPr>
            </a:lvl1pPr>
          </a:lstStyle>
          <a:p>
            <a:pPr lvl="0"/>
            <a:r>
              <a:rPr lang="en-US"/>
              <a:t>Section </a:t>
            </a:r>
            <a:br>
              <a:rPr lang="en-US"/>
            </a:br>
            <a:r>
              <a:rPr lang="en-US"/>
              <a:t>Heading</a:t>
            </a:r>
          </a:p>
        </p:txBody>
      </p:sp>
      <p:sp>
        <p:nvSpPr>
          <p:cNvPr id="5" name="Text Placeholder 10">
            <a:extLst>
              <a:ext uri="{FF2B5EF4-FFF2-40B4-BE49-F238E27FC236}">
                <a16:creationId xmlns:a16="http://schemas.microsoft.com/office/drawing/2014/main" id="{23FBBF0D-D9D1-71DE-B5DE-8C857670163E}"/>
              </a:ext>
            </a:extLst>
          </p:cNvPr>
          <p:cNvSpPr txBox="1">
            <a:spLocks noGrp="1"/>
          </p:cNvSpPr>
          <p:nvPr>
            <p:ph type="body" idx="4294967295"/>
          </p:nvPr>
        </p:nvSpPr>
        <p:spPr>
          <a:xfrm>
            <a:off x="7459656" y="4775655"/>
            <a:ext cx="4180792" cy="783320"/>
          </a:xfrm>
        </p:spPr>
        <p:txBody>
          <a:bodyPr>
            <a:normAutofit/>
          </a:bodyPr>
          <a:lstStyle>
            <a:lvl1pPr marL="0" indent="0" defTabSz="685780">
              <a:lnSpc>
                <a:spcPct val="90000"/>
              </a:lnSpc>
              <a:spcBef>
                <a:spcPts val="750"/>
              </a:spcBef>
              <a:spcAft>
                <a:spcPts val="0"/>
              </a:spcAft>
              <a:buNone/>
              <a:defRPr sz="1800">
                <a:solidFill>
                  <a:srgbClr val="F3F6FB"/>
                </a:solidFill>
              </a:defRPr>
            </a:lvl1pPr>
          </a:lstStyle>
          <a:p>
            <a:pPr lvl="0"/>
            <a:r>
              <a:rPr lang="en-US"/>
              <a:t>Section Subheading</a:t>
            </a:r>
          </a:p>
        </p:txBody>
      </p:sp>
    </p:spTree>
    <p:extLst>
      <p:ext uri="{BB962C8B-B14F-4D97-AF65-F5344CB8AC3E}">
        <p14:creationId xmlns:p14="http://schemas.microsoft.com/office/powerpoint/2010/main" val="2321113421"/>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p:cSld name="4_Breaker 4">
    <p:spTree>
      <p:nvGrpSpPr>
        <p:cNvPr id="1" name=""/>
        <p:cNvGrpSpPr/>
        <p:nvPr/>
      </p:nvGrpSpPr>
      <p:grpSpPr>
        <a:xfrm>
          <a:off x="0" y="0"/>
          <a:ext cx="0" cy="0"/>
          <a:chOff x="0" y="0"/>
          <a:chExt cx="0" cy="0"/>
        </a:xfrm>
      </p:grpSpPr>
      <p:pic>
        <p:nvPicPr>
          <p:cNvPr id="2" name="Picture 7">
            <a:extLst>
              <a:ext uri="{FF2B5EF4-FFF2-40B4-BE49-F238E27FC236}">
                <a16:creationId xmlns:a16="http://schemas.microsoft.com/office/drawing/2014/main" id="{587D5D7B-1FA6-0406-2CDB-D217207EAD61}"/>
              </a:ext>
            </a:extLst>
          </p:cNvPr>
          <p:cNvPicPr>
            <a:picLocks noChangeAspect="1"/>
          </p:cNvPicPr>
          <p:nvPr/>
        </p:nvPicPr>
        <p:blipFill>
          <a:blip r:embed="rId2"/>
          <a:stretch>
            <a:fillRect/>
          </a:stretch>
        </p:blipFill>
        <p:spPr>
          <a:xfrm>
            <a:off x="1527" y="92"/>
            <a:ext cx="12188952" cy="6857807"/>
          </a:xfrm>
          <a:prstGeom prst="rect">
            <a:avLst/>
          </a:prstGeom>
          <a:noFill/>
          <a:ln cap="flat">
            <a:noFill/>
          </a:ln>
        </p:spPr>
      </p:pic>
      <p:pic>
        <p:nvPicPr>
          <p:cNvPr id="3" name="Picture 9">
            <a:extLst>
              <a:ext uri="{FF2B5EF4-FFF2-40B4-BE49-F238E27FC236}">
                <a16:creationId xmlns:a16="http://schemas.microsoft.com/office/drawing/2014/main" id="{526B935A-7AD7-FF33-85C1-E0E79BF4D16D}"/>
              </a:ext>
            </a:extLst>
          </p:cNvPr>
          <p:cNvPicPr>
            <a:picLocks noChangeAspect="1"/>
          </p:cNvPicPr>
          <p:nvPr/>
        </p:nvPicPr>
        <p:blipFill>
          <a:blip r:embed="rId3"/>
          <a:srcRect/>
          <a:stretch>
            <a:fillRect/>
          </a:stretch>
        </p:blipFill>
        <p:spPr>
          <a:xfrm>
            <a:off x="10425147" y="5894634"/>
            <a:ext cx="1312776" cy="562273"/>
          </a:xfrm>
          <a:prstGeom prst="rect">
            <a:avLst/>
          </a:prstGeom>
          <a:noFill/>
          <a:ln cap="flat">
            <a:noFill/>
          </a:ln>
        </p:spPr>
      </p:pic>
      <p:sp>
        <p:nvSpPr>
          <p:cNvPr id="4" name="Text Placeholder 8">
            <a:extLst>
              <a:ext uri="{FF2B5EF4-FFF2-40B4-BE49-F238E27FC236}">
                <a16:creationId xmlns:a16="http://schemas.microsoft.com/office/drawing/2014/main" id="{E9FCF94D-8E64-4F23-CFBA-9B0B2855F2A1}"/>
              </a:ext>
            </a:extLst>
          </p:cNvPr>
          <p:cNvSpPr txBox="1">
            <a:spLocks noGrp="1"/>
          </p:cNvSpPr>
          <p:nvPr>
            <p:ph type="body" idx="4294967295"/>
          </p:nvPr>
        </p:nvSpPr>
        <p:spPr>
          <a:xfrm>
            <a:off x="7459666" y="3429001"/>
            <a:ext cx="4180792" cy="1102857"/>
          </a:xfrm>
        </p:spPr>
        <p:txBody>
          <a:bodyPr/>
          <a:lstStyle>
            <a:lvl1pPr marL="0" indent="0">
              <a:spcBef>
                <a:spcPts val="0"/>
              </a:spcBef>
              <a:buNone/>
              <a:defRPr sz="3600">
                <a:solidFill>
                  <a:srgbClr val="79818A"/>
                </a:solidFill>
              </a:defRPr>
            </a:lvl1pPr>
          </a:lstStyle>
          <a:p>
            <a:pPr lvl="0"/>
            <a:r>
              <a:rPr lang="en-US"/>
              <a:t>Section </a:t>
            </a:r>
            <a:br>
              <a:rPr lang="en-US"/>
            </a:br>
            <a:r>
              <a:rPr lang="en-US"/>
              <a:t>Heading</a:t>
            </a:r>
          </a:p>
        </p:txBody>
      </p:sp>
      <p:sp>
        <p:nvSpPr>
          <p:cNvPr id="5" name="Text Placeholder 10">
            <a:extLst>
              <a:ext uri="{FF2B5EF4-FFF2-40B4-BE49-F238E27FC236}">
                <a16:creationId xmlns:a16="http://schemas.microsoft.com/office/drawing/2014/main" id="{0A1D2C0A-1BB3-B970-7A3A-22FBD74B2F60}"/>
              </a:ext>
            </a:extLst>
          </p:cNvPr>
          <p:cNvSpPr txBox="1">
            <a:spLocks noGrp="1"/>
          </p:cNvSpPr>
          <p:nvPr>
            <p:ph type="body" idx="4294967295"/>
          </p:nvPr>
        </p:nvSpPr>
        <p:spPr>
          <a:xfrm>
            <a:off x="7459656" y="4775655"/>
            <a:ext cx="4180792" cy="783320"/>
          </a:xfrm>
        </p:spPr>
        <p:txBody>
          <a:bodyPr>
            <a:normAutofit/>
          </a:bodyPr>
          <a:lstStyle>
            <a:lvl1pPr marL="0" indent="0" defTabSz="685780">
              <a:lnSpc>
                <a:spcPct val="90000"/>
              </a:lnSpc>
              <a:spcBef>
                <a:spcPts val="750"/>
              </a:spcBef>
              <a:spcAft>
                <a:spcPts val="0"/>
              </a:spcAft>
              <a:buNone/>
              <a:defRPr sz="1800">
                <a:solidFill>
                  <a:srgbClr val="F3F6FB"/>
                </a:solidFill>
              </a:defRPr>
            </a:lvl1pPr>
          </a:lstStyle>
          <a:p>
            <a:pPr lvl="0"/>
            <a:r>
              <a:rPr lang="en-US"/>
              <a:t>Section Subheading</a:t>
            </a:r>
          </a:p>
        </p:txBody>
      </p:sp>
    </p:spTree>
    <p:extLst>
      <p:ext uri="{BB962C8B-B14F-4D97-AF65-F5344CB8AC3E}">
        <p14:creationId xmlns:p14="http://schemas.microsoft.com/office/powerpoint/2010/main" val="4825168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5/20/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9537"/>
        <p:cNvGrpSpPr/>
        <p:nvPr/>
      </p:nvGrpSpPr>
      <p:grpSpPr>
        <a:xfrm>
          <a:off x="0" y="0"/>
          <a:ext cx="0" cy="0"/>
          <a:chOff x="0" y="0"/>
          <a:chExt cx="0" cy="0"/>
        </a:xfrm>
      </p:grpSpPr>
      <p:sp>
        <p:nvSpPr>
          <p:cNvPr id="9538" name="Google Shape;9538;p136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539" name="Google Shape;9539;p136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540" name="Google Shape;9540;p136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541" name="Google Shape;9541;p13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542" name="Google Shape;9542;p13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543" name="Google Shape;9543;p13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544" name="Google Shape;9544;p1364"/>
          <p:cNvGrpSpPr/>
          <p:nvPr/>
        </p:nvGrpSpPr>
        <p:grpSpPr>
          <a:xfrm>
            <a:off x="7191542" y="1"/>
            <a:ext cx="5000459" cy="1425992"/>
            <a:chOff x="7191542" y="1"/>
            <a:chExt cx="5000459" cy="1425992"/>
          </a:xfrm>
        </p:grpSpPr>
        <p:pic>
          <p:nvPicPr>
            <p:cNvPr id="9545" name="Google Shape;9545;p13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546" name="Google Shape;9546;p1364"/>
            <p:cNvGrpSpPr/>
            <p:nvPr/>
          </p:nvGrpSpPr>
          <p:grpSpPr>
            <a:xfrm>
              <a:off x="7191542" y="1"/>
              <a:ext cx="5000459" cy="1425992"/>
              <a:chOff x="7186272" y="0"/>
              <a:chExt cx="5005729" cy="1427495"/>
            </a:xfrm>
          </p:grpSpPr>
          <p:sp>
            <p:nvSpPr>
              <p:cNvPr id="9547" name="Google Shape;9547;p13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548" name="Google Shape;9548;p13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549" name="Google Shape;9549;p136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p:cSld name="34_Title and Content">
    <p:spTree>
      <p:nvGrpSpPr>
        <p:cNvPr id="1" name=""/>
        <p:cNvGrpSpPr/>
        <p:nvPr/>
      </p:nvGrpSpPr>
      <p:grpSpPr>
        <a:xfrm>
          <a:off x="0" y="0"/>
          <a:ext cx="0" cy="0"/>
          <a:chOff x="0" y="0"/>
          <a:chExt cx="0" cy="0"/>
        </a:xfrm>
      </p:grpSpPr>
      <p:pic>
        <p:nvPicPr>
          <p:cNvPr id="2" name="Picture 8">
            <a:extLst>
              <a:ext uri="{FF2B5EF4-FFF2-40B4-BE49-F238E27FC236}">
                <a16:creationId xmlns:a16="http://schemas.microsoft.com/office/drawing/2014/main" id="{6FC682DB-494C-89C4-84BD-9BC68E5B8F3A}"/>
              </a:ext>
            </a:extLst>
          </p:cNvPr>
          <p:cNvPicPr>
            <a:picLocks noChangeAspect="1"/>
          </p:cNvPicPr>
          <p:nvPr/>
        </p:nvPicPr>
        <p:blipFill>
          <a:blip r:embed="rId2"/>
          <a:srcRect t="12181" r="12170"/>
          <a:stretch>
            <a:fillRect/>
          </a:stretch>
        </p:blipFill>
        <p:spPr>
          <a:xfrm>
            <a:off x="1528" y="0"/>
            <a:ext cx="12190479" cy="6858000"/>
          </a:xfrm>
          <a:prstGeom prst="rect">
            <a:avLst/>
          </a:prstGeom>
          <a:noFill/>
          <a:ln cap="flat">
            <a:noFill/>
          </a:ln>
        </p:spPr>
      </p:pic>
      <p:sp>
        <p:nvSpPr>
          <p:cNvPr id="3" name="Title 1">
            <a:extLst>
              <a:ext uri="{FF2B5EF4-FFF2-40B4-BE49-F238E27FC236}">
                <a16:creationId xmlns:a16="http://schemas.microsoft.com/office/drawing/2014/main" id="{5B43CCA5-BA83-4B64-B1A4-B7CB246D9461}"/>
              </a:ext>
            </a:extLst>
          </p:cNvPr>
          <p:cNvSpPr txBox="1">
            <a:spLocks noGrp="1"/>
          </p:cNvSpPr>
          <p:nvPr>
            <p:ph type="title"/>
          </p:nvPr>
        </p:nvSpPr>
        <p:spPr/>
        <p:txBody>
          <a:bodyPr/>
          <a:lstStyle>
            <a:lvl1pPr>
              <a:defRPr/>
            </a:lvl1pPr>
          </a:lstStyle>
          <a:p>
            <a:pPr lvl="0"/>
            <a:r>
              <a:rPr lang="en-US"/>
              <a:t>Click to edit Master title style</a:t>
            </a:r>
          </a:p>
        </p:txBody>
      </p:sp>
      <p:sp>
        <p:nvSpPr>
          <p:cNvPr id="4" name="Slide Number Placeholder 5">
            <a:extLst>
              <a:ext uri="{FF2B5EF4-FFF2-40B4-BE49-F238E27FC236}">
                <a16:creationId xmlns:a16="http://schemas.microsoft.com/office/drawing/2014/main" id="{0A896C22-6009-F63F-9ACC-7D861A5CF693}"/>
              </a:ext>
            </a:extLst>
          </p:cNvPr>
          <p:cNvSpPr txBox="1">
            <a:spLocks noGrp="1"/>
          </p:cNvSpPr>
          <p:nvPr>
            <p:ph type="sldNum" sz="quarter" idx="8"/>
          </p:nvPr>
        </p:nvSpPr>
        <p:spPr/>
        <p:txBody>
          <a:bodyPr/>
          <a:lstStyle>
            <a:lvl1pPr>
              <a:defRPr/>
            </a:lvl1pPr>
          </a:lstStyle>
          <a:p>
            <a:pPr lvl="0"/>
            <a:fld id="{E041DD0F-FBBB-4C9D-83E5-C145401C521C}" type="slidenum">
              <a:t>‹#›</a:t>
            </a:fld>
            <a:endParaRPr lang="en-US"/>
          </a:p>
        </p:txBody>
      </p:sp>
      <p:sp>
        <p:nvSpPr>
          <p:cNvPr id="5" name="Text Placeholder 10">
            <a:extLst>
              <a:ext uri="{FF2B5EF4-FFF2-40B4-BE49-F238E27FC236}">
                <a16:creationId xmlns:a16="http://schemas.microsoft.com/office/drawing/2014/main" id="{0DFA9FD6-1FE7-B228-4647-9DCD419F86B4}"/>
              </a:ext>
            </a:extLst>
          </p:cNvPr>
          <p:cNvSpPr txBox="1">
            <a:spLocks noGrp="1"/>
          </p:cNvSpPr>
          <p:nvPr>
            <p:ph type="body" idx="4294967295"/>
          </p:nvPr>
        </p:nvSpPr>
        <p:spPr>
          <a:xfrm>
            <a:off x="838203" y="1825628"/>
            <a:ext cx="10515600" cy="4016373"/>
          </a:xfr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0202412"/>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p:cSld name="1_Blue Graphic Right">
    <p:spTree>
      <p:nvGrpSpPr>
        <p:cNvPr id="1" name=""/>
        <p:cNvGrpSpPr/>
        <p:nvPr/>
      </p:nvGrpSpPr>
      <p:grpSpPr>
        <a:xfrm>
          <a:off x="0" y="0"/>
          <a:ext cx="0" cy="0"/>
          <a:chOff x="0" y="0"/>
          <a:chExt cx="0" cy="0"/>
        </a:xfrm>
      </p:grpSpPr>
      <p:pic>
        <p:nvPicPr>
          <p:cNvPr id="2" name="Picture 3">
            <a:extLst>
              <a:ext uri="{FF2B5EF4-FFF2-40B4-BE49-F238E27FC236}">
                <a16:creationId xmlns:a16="http://schemas.microsoft.com/office/drawing/2014/main" id="{E123E797-3427-81A9-E061-A2EE04F98E0C}"/>
              </a:ext>
            </a:extLst>
          </p:cNvPr>
          <p:cNvPicPr>
            <a:picLocks noChangeAspect="1"/>
          </p:cNvPicPr>
          <p:nvPr/>
        </p:nvPicPr>
        <p:blipFill>
          <a:blip r:embed="rId2"/>
          <a:stretch>
            <a:fillRect/>
          </a:stretch>
        </p:blipFill>
        <p:spPr>
          <a:xfrm>
            <a:off x="0" y="0"/>
            <a:ext cx="12188952" cy="6858000"/>
          </a:xfrm>
          <a:prstGeom prst="rect">
            <a:avLst/>
          </a:prstGeom>
          <a:noFill/>
          <a:ln cap="flat">
            <a:noFill/>
          </a:ln>
        </p:spPr>
      </p:pic>
      <p:sp>
        <p:nvSpPr>
          <p:cNvPr id="3" name="Title 1">
            <a:extLst>
              <a:ext uri="{FF2B5EF4-FFF2-40B4-BE49-F238E27FC236}">
                <a16:creationId xmlns:a16="http://schemas.microsoft.com/office/drawing/2014/main" id="{BC822BD5-DB43-8E52-7B38-4C2F5D997A9A}"/>
              </a:ext>
            </a:extLst>
          </p:cNvPr>
          <p:cNvSpPr txBox="1">
            <a:spLocks noGrp="1"/>
          </p:cNvSpPr>
          <p:nvPr>
            <p:ph type="title"/>
          </p:nvPr>
        </p:nvSpPr>
        <p:spPr>
          <a:xfrm>
            <a:off x="838203" y="365130"/>
            <a:ext cx="6085112" cy="1325559"/>
          </a:xfrm>
        </p:spPr>
        <p:txBody>
          <a:bodyPr/>
          <a:lstStyle>
            <a:lvl1pPr>
              <a:defRPr/>
            </a:lvl1pPr>
          </a:lstStyle>
          <a:p>
            <a:pPr lvl="0"/>
            <a:r>
              <a:rPr lang="en-US"/>
              <a:t>Click to edit Master title style</a:t>
            </a:r>
          </a:p>
        </p:txBody>
      </p:sp>
      <p:sp>
        <p:nvSpPr>
          <p:cNvPr id="4" name="Text Placeholder 8">
            <a:extLst>
              <a:ext uri="{FF2B5EF4-FFF2-40B4-BE49-F238E27FC236}">
                <a16:creationId xmlns:a16="http://schemas.microsoft.com/office/drawing/2014/main" id="{44840B64-779D-7133-D0C6-1EFBB690CD6A}"/>
              </a:ext>
            </a:extLst>
          </p:cNvPr>
          <p:cNvSpPr txBox="1">
            <a:spLocks noGrp="1"/>
          </p:cNvSpPr>
          <p:nvPr>
            <p:ph type="body" idx="4294967295"/>
          </p:nvPr>
        </p:nvSpPr>
        <p:spPr>
          <a:xfrm>
            <a:off x="838203" y="1825628"/>
            <a:ext cx="6085112" cy="4016373"/>
          </a:xfr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7386CAB4-7450-6010-BF37-2727A3E664E8}"/>
              </a:ext>
            </a:extLst>
          </p:cNvPr>
          <p:cNvSpPr txBox="1">
            <a:spLocks noGrp="1"/>
          </p:cNvSpPr>
          <p:nvPr>
            <p:ph type="sldNum" sz="quarter" idx="8"/>
          </p:nvPr>
        </p:nvSpPr>
        <p:spPr>
          <a:xfrm>
            <a:off x="9292773" y="6464296"/>
            <a:ext cx="2539663" cy="181801"/>
          </a:xfrm>
        </p:spPr>
        <p:txBody>
          <a:bodyPr/>
          <a:lstStyle>
            <a:lvl1pPr>
              <a:defRPr>
                <a:solidFill>
                  <a:srgbClr val="79818A"/>
                </a:solidFill>
              </a:defRPr>
            </a:lvl1pPr>
          </a:lstStyle>
          <a:p>
            <a:pPr lvl="0"/>
            <a:fld id="{559EE37A-FD8C-4769-8662-E0D743DBEA6E}" type="slidenum">
              <a:t>‹#›</a:t>
            </a:fld>
            <a:endParaRPr lang="en-US"/>
          </a:p>
        </p:txBody>
      </p:sp>
    </p:spTree>
    <p:extLst>
      <p:ext uri="{BB962C8B-B14F-4D97-AF65-F5344CB8AC3E}">
        <p14:creationId xmlns:p14="http://schemas.microsoft.com/office/powerpoint/2010/main" val="1098688213"/>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p:cSld name="1_3 Closing Slide">
    <p:spTree>
      <p:nvGrpSpPr>
        <p:cNvPr id="1" name=""/>
        <p:cNvGrpSpPr/>
        <p:nvPr/>
      </p:nvGrpSpPr>
      <p:grpSpPr>
        <a:xfrm>
          <a:off x="0" y="0"/>
          <a:ext cx="0" cy="0"/>
          <a:chOff x="0" y="0"/>
          <a:chExt cx="0" cy="0"/>
        </a:xfrm>
      </p:grpSpPr>
      <p:pic>
        <p:nvPicPr>
          <p:cNvPr id="2" name="Picture 13">
            <a:extLst>
              <a:ext uri="{FF2B5EF4-FFF2-40B4-BE49-F238E27FC236}">
                <a16:creationId xmlns:a16="http://schemas.microsoft.com/office/drawing/2014/main" id="{5DFFF88A-9AEA-B772-95AD-35DAB2325820}"/>
              </a:ext>
            </a:extLst>
          </p:cNvPr>
          <p:cNvPicPr>
            <a:picLocks noChangeAspect="1"/>
          </p:cNvPicPr>
          <p:nvPr/>
        </p:nvPicPr>
        <p:blipFill>
          <a:blip r:embed="rId2"/>
          <a:stretch>
            <a:fillRect/>
          </a:stretch>
        </p:blipFill>
        <p:spPr>
          <a:xfrm>
            <a:off x="1527" y="0"/>
            <a:ext cx="12188952" cy="6858000"/>
          </a:xfrm>
          <a:prstGeom prst="rect">
            <a:avLst/>
          </a:prstGeom>
          <a:noFill/>
          <a:ln cap="flat">
            <a:noFill/>
          </a:ln>
        </p:spPr>
      </p:pic>
      <p:pic>
        <p:nvPicPr>
          <p:cNvPr id="3" name="Picture 14">
            <a:extLst>
              <a:ext uri="{FF2B5EF4-FFF2-40B4-BE49-F238E27FC236}">
                <a16:creationId xmlns:a16="http://schemas.microsoft.com/office/drawing/2014/main" id="{0BBB59EC-7F7D-4478-6F2F-428D56B6EFC4}"/>
              </a:ext>
            </a:extLst>
          </p:cNvPr>
          <p:cNvPicPr>
            <a:picLocks noChangeAspect="1"/>
          </p:cNvPicPr>
          <p:nvPr/>
        </p:nvPicPr>
        <p:blipFill>
          <a:blip r:embed="rId3"/>
          <a:stretch>
            <a:fillRect/>
          </a:stretch>
        </p:blipFill>
        <p:spPr>
          <a:xfrm>
            <a:off x="5185224" y="2949954"/>
            <a:ext cx="1821548" cy="958090"/>
          </a:xfrm>
          <a:prstGeom prst="rect">
            <a:avLst/>
          </a:prstGeom>
          <a:noFill/>
          <a:ln cap="flat">
            <a:noFill/>
          </a:ln>
        </p:spPr>
      </p:pic>
    </p:spTree>
    <p:extLst>
      <p:ext uri="{BB962C8B-B14F-4D97-AF65-F5344CB8AC3E}">
        <p14:creationId xmlns:p14="http://schemas.microsoft.com/office/powerpoint/2010/main" val="2115333118"/>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p:cSld name="7_Title Slide">
    <p:spTree>
      <p:nvGrpSpPr>
        <p:cNvPr id="1" name=""/>
        <p:cNvGrpSpPr/>
        <p:nvPr/>
      </p:nvGrpSpPr>
      <p:grpSpPr>
        <a:xfrm>
          <a:off x="0" y="0"/>
          <a:ext cx="0" cy="0"/>
          <a:chOff x="0" y="0"/>
          <a:chExt cx="0" cy="0"/>
        </a:xfrm>
      </p:grpSpPr>
      <p:pic>
        <p:nvPicPr>
          <p:cNvPr id="2" name="Picture 3">
            <a:extLst>
              <a:ext uri="{FF2B5EF4-FFF2-40B4-BE49-F238E27FC236}">
                <a16:creationId xmlns:a16="http://schemas.microsoft.com/office/drawing/2014/main" id="{2249AA23-FCE6-A438-EFA1-E8981D44E883}"/>
              </a:ext>
            </a:extLst>
          </p:cNvPr>
          <p:cNvPicPr>
            <a:picLocks noChangeAspect="1"/>
          </p:cNvPicPr>
          <p:nvPr/>
        </p:nvPicPr>
        <p:blipFill>
          <a:blip r:embed="rId2"/>
          <a:stretch>
            <a:fillRect/>
          </a:stretch>
        </p:blipFill>
        <p:spPr>
          <a:xfrm>
            <a:off x="1527" y="859"/>
            <a:ext cx="12188952" cy="6856280"/>
          </a:xfrm>
          <a:prstGeom prst="rect">
            <a:avLst/>
          </a:prstGeom>
          <a:noFill/>
          <a:ln cap="flat">
            <a:noFill/>
          </a:ln>
        </p:spPr>
      </p:pic>
      <p:pic>
        <p:nvPicPr>
          <p:cNvPr id="3" name="Picture 11">
            <a:extLst>
              <a:ext uri="{FF2B5EF4-FFF2-40B4-BE49-F238E27FC236}">
                <a16:creationId xmlns:a16="http://schemas.microsoft.com/office/drawing/2014/main" id="{02B0A0AF-42E4-9220-04F8-9E9692C1472C}"/>
              </a:ext>
            </a:extLst>
          </p:cNvPr>
          <p:cNvPicPr>
            <a:picLocks noChangeAspect="1"/>
          </p:cNvPicPr>
          <p:nvPr/>
        </p:nvPicPr>
        <p:blipFill>
          <a:blip r:embed="rId3"/>
          <a:stretch>
            <a:fillRect/>
          </a:stretch>
        </p:blipFill>
        <p:spPr>
          <a:xfrm>
            <a:off x="10802521" y="5915006"/>
            <a:ext cx="938787" cy="493776"/>
          </a:xfrm>
          <a:prstGeom prst="rect">
            <a:avLst/>
          </a:prstGeom>
          <a:noFill/>
          <a:ln cap="flat">
            <a:noFill/>
          </a:ln>
        </p:spPr>
      </p:pic>
      <p:sp>
        <p:nvSpPr>
          <p:cNvPr id="4" name="Text Placeholder 8">
            <a:extLst>
              <a:ext uri="{FF2B5EF4-FFF2-40B4-BE49-F238E27FC236}">
                <a16:creationId xmlns:a16="http://schemas.microsoft.com/office/drawing/2014/main" id="{99B65051-3B7B-0321-A533-8507DED01787}"/>
              </a:ext>
            </a:extLst>
          </p:cNvPr>
          <p:cNvSpPr txBox="1">
            <a:spLocks noGrp="1"/>
          </p:cNvSpPr>
          <p:nvPr>
            <p:ph type="body" idx="4294967295"/>
          </p:nvPr>
        </p:nvSpPr>
        <p:spPr>
          <a:xfrm>
            <a:off x="7459666" y="3429001"/>
            <a:ext cx="4180792" cy="1102857"/>
          </a:xfrm>
        </p:spPr>
        <p:txBody>
          <a:bodyPr/>
          <a:lstStyle>
            <a:lvl1pPr marL="0" indent="0">
              <a:spcBef>
                <a:spcPts val="0"/>
              </a:spcBef>
              <a:buNone/>
              <a:defRPr sz="4000">
                <a:solidFill>
                  <a:srgbClr val="79818A"/>
                </a:solidFill>
              </a:defRPr>
            </a:lvl1pPr>
            <a:lvl2pPr marL="0" lvl="0" indent="0">
              <a:spcBef>
                <a:spcPts val="0"/>
              </a:spcBef>
              <a:buNone/>
              <a:defRPr sz="4000">
                <a:solidFill>
                  <a:srgbClr val="79818A"/>
                </a:solidFill>
              </a:defRPr>
            </a:lvl2pPr>
          </a:lstStyle>
          <a:p>
            <a:pPr lvl="0"/>
            <a:r>
              <a:rPr lang="en-US"/>
              <a:t>Presentation </a:t>
            </a:r>
          </a:p>
          <a:p>
            <a:pPr lvl="0"/>
            <a:r>
              <a:rPr lang="en-US"/>
              <a:t>Title</a:t>
            </a:r>
          </a:p>
        </p:txBody>
      </p:sp>
      <p:sp>
        <p:nvSpPr>
          <p:cNvPr id="5" name="Text Placeholder 10">
            <a:extLst>
              <a:ext uri="{FF2B5EF4-FFF2-40B4-BE49-F238E27FC236}">
                <a16:creationId xmlns:a16="http://schemas.microsoft.com/office/drawing/2014/main" id="{EFFB201F-FE6B-542B-9C27-126CAD5F717D}"/>
              </a:ext>
            </a:extLst>
          </p:cNvPr>
          <p:cNvSpPr txBox="1">
            <a:spLocks noGrp="1"/>
          </p:cNvSpPr>
          <p:nvPr>
            <p:ph type="body" idx="4294967295"/>
          </p:nvPr>
        </p:nvSpPr>
        <p:spPr>
          <a:xfrm>
            <a:off x="7459656" y="4775655"/>
            <a:ext cx="4180792" cy="783320"/>
          </a:xfrm>
        </p:spPr>
        <p:txBody>
          <a:bodyPr>
            <a:normAutofit/>
          </a:bodyPr>
          <a:lstStyle>
            <a:lvl1pPr marL="0" indent="0">
              <a:buNone/>
              <a:defRPr sz="2000">
                <a:solidFill>
                  <a:srgbClr val="FFFFFF"/>
                </a:solidFill>
              </a:defRPr>
            </a:lvl1pPr>
            <a:lvl2pPr marL="0" lvl="0" indent="0">
              <a:spcBef>
                <a:spcPts val="1000"/>
              </a:spcBef>
              <a:buNone/>
              <a:defRPr>
                <a:solidFill>
                  <a:srgbClr val="FFFFFF"/>
                </a:solidFill>
              </a:defRPr>
            </a:lvl2pPr>
          </a:lstStyle>
          <a:p>
            <a:pPr lvl="0"/>
            <a:r>
              <a:rPr lang="en-US"/>
              <a:t>Presentation Subtitle</a:t>
            </a:r>
          </a:p>
          <a:p>
            <a:pPr lvl="0"/>
            <a:r>
              <a:rPr lang="en-US"/>
              <a:t>Presentation Date</a:t>
            </a:r>
          </a:p>
        </p:txBody>
      </p:sp>
    </p:spTree>
    <p:extLst>
      <p:ext uri="{BB962C8B-B14F-4D97-AF65-F5344CB8AC3E}">
        <p14:creationId xmlns:p14="http://schemas.microsoft.com/office/powerpoint/2010/main" val="1742179820"/>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p:cSld name="5_Breaker 4">
    <p:spTree>
      <p:nvGrpSpPr>
        <p:cNvPr id="1" name=""/>
        <p:cNvGrpSpPr/>
        <p:nvPr/>
      </p:nvGrpSpPr>
      <p:grpSpPr>
        <a:xfrm>
          <a:off x="0" y="0"/>
          <a:ext cx="0" cy="0"/>
          <a:chOff x="0" y="0"/>
          <a:chExt cx="0" cy="0"/>
        </a:xfrm>
      </p:grpSpPr>
      <p:pic>
        <p:nvPicPr>
          <p:cNvPr id="2" name="Picture 7">
            <a:extLst>
              <a:ext uri="{FF2B5EF4-FFF2-40B4-BE49-F238E27FC236}">
                <a16:creationId xmlns:a16="http://schemas.microsoft.com/office/drawing/2014/main" id="{293473A5-F55D-E20C-6A02-97C3032BA3B4}"/>
              </a:ext>
            </a:extLst>
          </p:cNvPr>
          <p:cNvPicPr>
            <a:picLocks noChangeAspect="1"/>
          </p:cNvPicPr>
          <p:nvPr/>
        </p:nvPicPr>
        <p:blipFill>
          <a:blip r:embed="rId2"/>
          <a:stretch>
            <a:fillRect/>
          </a:stretch>
        </p:blipFill>
        <p:spPr>
          <a:xfrm>
            <a:off x="1527" y="92"/>
            <a:ext cx="12188952" cy="6857807"/>
          </a:xfrm>
          <a:prstGeom prst="rect">
            <a:avLst/>
          </a:prstGeom>
          <a:noFill/>
          <a:ln cap="flat">
            <a:noFill/>
          </a:ln>
        </p:spPr>
      </p:pic>
      <p:pic>
        <p:nvPicPr>
          <p:cNvPr id="3" name="Picture 9">
            <a:extLst>
              <a:ext uri="{FF2B5EF4-FFF2-40B4-BE49-F238E27FC236}">
                <a16:creationId xmlns:a16="http://schemas.microsoft.com/office/drawing/2014/main" id="{536751AA-A3B0-1387-BA51-CABDF11AAA27}"/>
              </a:ext>
            </a:extLst>
          </p:cNvPr>
          <p:cNvPicPr>
            <a:picLocks noChangeAspect="1"/>
          </p:cNvPicPr>
          <p:nvPr/>
        </p:nvPicPr>
        <p:blipFill>
          <a:blip r:embed="rId3"/>
          <a:srcRect l="44353" t="41308" r="41308" b="44537"/>
          <a:stretch>
            <a:fillRect/>
          </a:stretch>
        </p:blipFill>
        <p:spPr>
          <a:xfrm>
            <a:off x="10425147" y="5894634"/>
            <a:ext cx="1312776" cy="562273"/>
          </a:xfrm>
          <a:prstGeom prst="rect">
            <a:avLst/>
          </a:prstGeom>
          <a:noFill/>
          <a:ln cap="flat">
            <a:noFill/>
          </a:ln>
        </p:spPr>
      </p:pic>
      <p:sp>
        <p:nvSpPr>
          <p:cNvPr id="4" name="Text Placeholder 8">
            <a:extLst>
              <a:ext uri="{FF2B5EF4-FFF2-40B4-BE49-F238E27FC236}">
                <a16:creationId xmlns:a16="http://schemas.microsoft.com/office/drawing/2014/main" id="{424DFEA0-F496-F2BE-1FA2-409B69A0C6D0}"/>
              </a:ext>
            </a:extLst>
          </p:cNvPr>
          <p:cNvSpPr txBox="1">
            <a:spLocks noGrp="1"/>
          </p:cNvSpPr>
          <p:nvPr>
            <p:ph type="body" idx="4294967295"/>
          </p:nvPr>
        </p:nvSpPr>
        <p:spPr>
          <a:xfrm>
            <a:off x="7459666" y="3429001"/>
            <a:ext cx="4180792" cy="1102857"/>
          </a:xfrm>
        </p:spPr>
        <p:txBody>
          <a:bodyPr/>
          <a:lstStyle>
            <a:lvl1pPr marL="0" indent="0">
              <a:spcBef>
                <a:spcPts val="0"/>
              </a:spcBef>
              <a:buNone/>
              <a:defRPr sz="3600">
                <a:solidFill>
                  <a:srgbClr val="79818A"/>
                </a:solidFill>
              </a:defRPr>
            </a:lvl1pPr>
          </a:lstStyle>
          <a:p>
            <a:pPr lvl="0"/>
            <a:r>
              <a:rPr lang="en-US"/>
              <a:t>Section </a:t>
            </a:r>
            <a:br>
              <a:rPr lang="en-US"/>
            </a:br>
            <a:r>
              <a:rPr lang="en-US"/>
              <a:t>Heading</a:t>
            </a:r>
          </a:p>
        </p:txBody>
      </p:sp>
      <p:sp>
        <p:nvSpPr>
          <p:cNvPr id="5" name="Text Placeholder 10">
            <a:extLst>
              <a:ext uri="{FF2B5EF4-FFF2-40B4-BE49-F238E27FC236}">
                <a16:creationId xmlns:a16="http://schemas.microsoft.com/office/drawing/2014/main" id="{8B59AA8C-3E06-077E-7DF8-8FE18DEA71D3}"/>
              </a:ext>
            </a:extLst>
          </p:cNvPr>
          <p:cNvSpPr txBox="1">
            <a:spLocks noGrp="1"/>
          </p:cNvSpPr>
          <p:nvPr>
            <p:ph type="body" idx="4294967295"/>
          </p:nvPr>
        </p:nvSpPr>
        <p:spPr>
          <a:xfrm>
            <a:off x="7459656" y="4775655"/>
            <a:ext cx="4180792" cy="783320"/>
          </a:xfrm>
        </p:spPr>
        <p:txBody>
          <a:bodyPr>
            <a:normAutofit/>
          </a:bodyPr>
          <a:lstStyle>
            <a:lvl1pPr marL="0" indent="0" defTabSz="685780">
              <a:lnSpc>
                <a:spcPct val="90000"/>
              </a:lnSpc>
              <a:spcBef>
                <a:spcPts val="750"/>
              </a:spcBef>
              <a:spcAft>
                <a:spcPts val="0"/>
              </a:spcAft>
              <a:buNone/>
              <a:defRPr sz="1800">
                <a:solidFill>
                  <a:srgbClr val="F3F6FB"/>
                </a:solidFill>
              </a:defRPr>
            </a:lvl1pPr>
          </a:lstStyle>
          <a:p>
            <a:pPr lvl="0"/>
            <a:r>
              <a:rPr lang="en-US"/>
              <a:t>Section Subheading</a:t>
            </a:r>
          </a:p>
        </p:txBody>
      </p:sp>
    </p:spTree>
    <p:extLst>
      <p:ext uri="{BB962C8B-B14F-4D97-AF65-F5344CB8AC3E}">
        <p14:creationId xmlns:p14="http://schemas.microsoft.com/office/powerpoint/2010/main" val="1435197187"/>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p:cSld name="38_Title and Content">
    <p:spTree>
      <p:nvGrpSpPr>
        <p:cNvPr id="1" name=""/>
        <p:cNvGrpSpPr/>
        <p:nvPr/>
      </p:nvGrpSpPr>
      <p:grpSpPr>
        <a:xfrm>
          <a:off x="0" y="0"/>
          <a:ext cx="0" cy="0"/>
          <a:chOff x="0" y="0"/>
          <a:chExt cx="0" cy="0"/>
        </a:xfrm>
      </p:grpSpPr>
      <p:pic>
        <p:nvPicPr>
          <p:cNvPr id="2" name="Picture 8">
            <a:extLst>
              <a:ext uri="{FF2B5EF4-FFF2-40B4-BE49-F238E27FC236}">
                <a16:creationId xmlns:a16="http://schemas.microsoft.com/office/drawing/2014/main" id="{7890BB13-1449-5916-EF7B-4245DA108AFA}"/>
              </a:ext>
            </a:extLst>
          </p:cNvPr>
          <p:cNvPicPr>
            <a:picLocks noChangeAspect="1"/>
          </p:cNvPicPr>
          <p:nvPr/>
        </p:nvPicPr>
        <p:blipFill>
          <a:blip r:embed="rId2"/>
          <a:srcRect t="12181" r="12170"/>
          <a:stretch>
            <a:fillRect/>
          </a:stretch>
        </p:blipFill>
        <p:spPr>
          <a:xfrm>
            <a:off x="1528" y="0"/>
            <a:ext cx="12190479" cy="6858000"/>
          </a:xfrm>
          <a:prstGeom prst="rect">
            <a:avLst/>
          </a:prstGeom>
          <a:noFill/>
          <a:ln cap="flat">
            <a:noFill/>
          </a:ln>
        </p:spPr>
      </p:pic>
      <p:sp>
        <p:nvSpPr>
          <p:cNvPr id="3" name="Title 1">
            <a:extLst>
              <a:ext uri="{FF2B5EF4-FFF2-40B4-BE49-F238E27FC236}">
                <a16:creationId xmlns:a16="http://schemas.microsoft.com/office/drawing/2014/main" id="{51605336-057D-541E-C203-CC72EDB5705F}"/>
              </a:ext>
            </a:extLst>
          </p:cNvPr>
          <p:cNvSpPr txBox="1">
            <a:spLocks noGrp="1"/>
          </p:cNvSpPr>
          <p:nvPr>
            <p:ph type="title"/>
          </p:nvPr>
        </p:nvSpPr>
        <p:spPr/>
        <p:txBody>
          <a:bodyPr/>
          <a:lstStyle>
            <a:lvl1pPr>
              <a:defRPr/>
            </a:lvl1pPr>
          </a:lstStyle>
          <a:p>
            <a:pPr lvl="0"/>
            <a:r>
              <a:rPr lang="en-US"/>
              <a:t>Click to edit Master title style</a:t>
            </a:r>
          </a:p>
        </p:txBody>
      </p:sp>
      <p:sp>
        <p:nvSpPr>
          <p:cNvPr id="4" name="Slide Number Placeholder 5">
            <a:extLst>
              <a:ext uri="{FF2B5EF4-FFF2-40B4-BE49-F238E27FC236}">
                <a16:creationId xmlns:a16="http://schemas.microsoft.com/office/drawing/2014/main" id="{652348A3-008C-BCA1-AA1F-C76C496F9B61}"/>
              </a:ext>
            </a:extLst>
          </p:cNvPr>
          <p:cNvSpPr txBox="1">
            <a:spLocks noGrp="1"/>
          </p:cNvSpPr>
          <p:nvPr>
            <p:ph type="sldNum" sz="quarter" idx="8"/>
          </p:nvPr>
        </p:nvSpPr>
        <p:spPr/>
        <p:txBody>
          <a:bodyPr/>
          <a:lstStyle>
            <a:lvl1pPr>
              <a:defRPr/>
            </a:lvl1pPr>
          </a:lstStyle>
          <a:p>
            <a:pPr lvl="0"/>
            <a:fld id="{97C199C6-190F-4E04-B13C-A0CE01FFB5B5}" type="slidenum">
              <a:t>‹#›</a:t>
            </a:fld>
            <a:endParaRPr lang="en-US"/>
          </a:p>
        </p:txBody>
      </p:sp>
      <p:sp>
        <p:nvSpPr>
          <p:cNvPr id="5" name="Text Placeholder 10">
            <a:extLst>
              <a:ext uri="{FF2B5EF4-FFF2-40B4-BE49-F238E27FC236}">
                <a16:creationId xmlns:a16="http://schemas.microsoft.com/office/drawing/2014/main" id="{D12E5925-2646-2C6F-6ACA-E1EA90D95B5A}"/>
              </a:ext>
            </a:extLst>
          </p:cNvPr>
          <p:cNvSpPr txBox="1">
            <a:spLocks noGrp="1"/>
          </p:cNvSpPr>
          <p:nvPr>
            <p:ph type="body" idx="4294967295"/>
          </p:nvPr>
        </p:nvSpPr>
        <p:spPr>
          <a:xfrm>
            <a:off x="838203" y="1825628"/>
            <a:ext cx="10515600" cy="4016373"/>
          </a:xfr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6366073"/>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p:cSld name="20_Title Slide_Yale Blue">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D4B0FA93-9DB9-7893-15C3-312648571E6D}"/>
              </a:ext>
            </a:extLst>
          </p:cNvPr>
          <p:cNvSpPr txBox="1">
            <a:spLocks noGrp="1"/>
          </p:cNvSpPr>
          <p:nvPr>
            <p:ph type="body" idx="4294967295"/>
          </p:nvPr>
        </p:nvSpPr>
        <p:spPr>
          <a:xfrm>
            <a:off x="2826557" y="5400857"/>
            <a:ext cx="8178613" cy="379656"/>
          </a:xfrm>
        </p:spPr>
        <p:txBody>
          <a:bodyPr wrap="square">
            <a:spAutoFit/>
          </a:bodyPr>
          <a:lstStyle>
            <a:lvl1pPr marL="0" indent="0" algn="r">
              <a:buNone/>
              <a:defRPr sz="1867">
                <a:solidFill>
                  <a:srgbClr val="616364"/>
                </a:solidFill>
                <a:latin typeface="Verdana"/>
                <a:ea typeface="Verdana"/>
                <a:cs typeface="Verdana"/>
              </a:defRPr>
            </a:lvl1pPr>
          </a:lstStyle>
          <a:p>
            <a:pPr lvl="0"/>
            <a:r>
              <a:rPr lang="en-US"/>
              <a:t>Date | Presenter Information (14 pt)</a:t>
            </a:r>
          </a:p>
        </p:txBody>
      </p:sp>
      <p:sp>
        <p:nvSpPr>
          <p:cNvPr id="3" name="Title 1">
            <a:extLst>
              <a:ext uri="{FF2B5EF4-FFF2-40B4-BE49-F238E27FC236}">
                <a16:creationId xmlns:a16="http://schemas.microsoft.com/office/drawing/2014/main" id="{B39A462E-6BA7-91FD-487B-D93E00A2CF3C}"/>
              </a:ext>
            </a:extLst>
          </p:cNvPr>
          <p:cNvSpPr txBox="1">
            <a:spLocks noGrp="1"/>
          </p:cNvSpPr>
          <p:nvPr>
            <p:ph type="title"/>
          </p:nvPr>
        </p:nvSpPr>
        <p:spPr>
          <a:xfrm>
            <a:off x="2826557" y="1807147"/>
            <a:ext cx="8178613" cy="1629460"/>
          </a:xfrm>
        </p:spPr>
        <p:txBody>
          <a:bodyPr anchor="b"/>
          <a:lstStyle>
            <a:lvl1pPr>
              <a:defRPr sz="5334">
                <a:solidFill>
                  <a:srgbClr val="00314C"/>
                </a:solidFill>
                <a:latin typeface="Verdana"/>
                <a:ea typeface="Verdana"/>
                <a:cs typeface="Verdana"/>
              </a:defRPr>
            </a:lvl1pPr>
          </a:lstStyle>
          <a:p>
            <a:pPr lvl="0"/>
            <a:r>
              <a:rPr lang="en-US"/>
              <a:t>Presentation Title (40pt)</a:t>
            </a:r>
          </a:p>
        </p:txBody>
      </p:sp>
      <p:sp>
        <p:nvSpPr>
          <p:cNvPr id="4" name="Date Placeholder 3">
            <a:extLst>
              <a:ext uri="{FF2B5EF4-FFF2-40B4-BE49-F238E27FC236}">
                <a16:creationId xmlns:a16="http://schemas.microsoft.com/office/drawing/2014/main" id="{2E236468-B299-1F72-826E-1DFD5E50FC25}"/>
              </a:ext>
            </a:extLst>
          </p:cNvPr>
          <p:cNvSpPr txBox="1">
            <a:spLocks noGrp="1"/>
          </p:cNvSpPr>
          <p:nvPr>
            <p:ph type="dt" sz="quarter" idx="7"/>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914446"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defRPr>
            </a:lvl1pPr>
          </a:lstStyle>
          <a:p>
            <a:pPr lvl="0"/>
            <a:fld id="{5FABFAC5-256D-4392-88D1-E29A6A65A259}" type="datetime1">
              <a:rPr lang="en-US"/>
              <a:pPr lvl="0"/>
              <a:t>5/20/2026</a:t>
            </a:fld>
            <a:endParaRPr lang="en-US"/>
          </a:p>
        </p:txBody>
      </p:sp>
      <p:sp>
        <p:nvSpPr>
          <p:cNvPr id="5" name="Footer Placeholder 4">
            <a:extLst>
              <a:ext uri="{FF2B5EF4-FFF2-40B4-BE49-F238E27FC236}">
                <a16:creationId xmlns:a16="http://schemas.microsoft.com/office/drawing/2014/main" id="{8CB0B37A-06C9-1D5F-D205-CCD2BA73787B}"/>
              </a:ext>
            </a:extLst>
          </p:cNvPr>
          <p:cNvSpPr txBox="1">
            <a:spLocks noGrp="1"/>
          </p:cNvSpPr>
          <p:nvPr>
            <p:ph type="ftr" sz="quarter" idx="9"/>
          </p:nvPr>
        </p:nvSpPr>
        <p:spPr/>
        <p:txBody>
          <a:bodyPr anchorCtr="1"/>
          <a:lstStyle>
            <a:lvl1pPr algn="ctr">
              <a:defRPr/>
            </a:lvl1pPr>
          </a:lstStyle>
          <a:p>
            <a:pPr lvl="0"/>
            <a:endParaRPr lang="en-US"/>
          </a:p>
        </p:txBody>
      </p:sp>
      <p:sp>
        <p:nvSpPr>
          <p:cNvPr id="6" name="Slide Number Placeholder 5">
            <a:extLst>
              <a:ext uri="{FF2B5EF4-FFF2-40B4-BE49-F238E27FC236}">
                <a16:creationId xmlns:a16="http://schemas.microsoft.com/office/drawing/2014/main" id="{FD89DBDF-592A-F86C-5EB4-D0FD8E5EB174}"/>
              </a:ext>
            </a:extLst>
          </p:cNvPr>
          <p:cNvSpPr txBox="1">
            <a:spLocks noGrp="1"/>
          </p:cNvSpPr>
          <p:nvPr>
            <p:ph type="sldNum" sz="quarter" idx="8"/>
          </p:nvPr>
        </p:nvSpPr>
        <p:spPr/>
        <p:txBody>
          <a:bodyPr/>
          <a:lstStyle>
            <a:lvl1pPr>
              <a:defRPr/>
            </a:lvl1pPr>
          </a:lstStyle>
          <a:p>
            <a:pPr lvl="0"/>
            <a:fld id="{277275CE-E539-46CD-886A-C2C5E43AF838}" type="slidenum">
              <a:t>‹#›</a:t>
            </a:fld>
            <a:endParaRPr lang="en-US"/>
          </a:p>
        </p:txBody>
      </p:sp>
      <p:sp>
        <p:nvSpPr>
          <p:cNvPr id="7" name="Rectangle 12">
            <a:extLst>
              <a:ext uri="{FF2B5EF4-FFF2-40B4-BE49-F238E27FC236}">
                <a16:creationId xmlns:a16="http://schemas.microsoft.com/office/drawing/2014/main" id="{2E199E38-7AF5-31DC-EE3C-73C39F6EC5F2}"/>
              </a:ext>
            </a:extLst>
          </p:cNvPr>
          <p:cNvSpPr/>
          <p:nvPr/>
        </p:nvSpPr>
        <p:spPr>
          <a:xfrm rot="10799991">
            <a:off x="-28" y="2000224"/>
            <a:ext cx="2785070" cy="2042851"/>
          </a:xfrm>
          <a:custGeom>
            <a:avLst/>
            <a:gdLst>
              <a:gd name="f0" fmla="val 10800000"/>
              <a:gd name="f1" fmla="val 5400000"/>
              <a:gd name="f2" fmla="val 180"/>
              <a:gd name="f3" fmla="val w"/>
              <a:gd name="f4" fmla="val h"/>
              <a:gd name="f5" fmla="val 0"/>
              <a:gd name="f6" fmla="val 10293751"/>
              <a:gd name="f7" fmla="val 1031873"/>
              <a:gd name="f8" fmla="val 3579068"/>
              <a:gd name="f9" fmla="val 1"/>
              <a:gd name="f10" fmla="val 1031872"/>
              <a:gd name="f11" fmla="+- 0 0 -90"/>
              <a:gd name="f12" fmla="*/ f3 1 10293751"/>
              <a:gd name="f13" fmla="*/ f4 1 1031873"/>
              <a:gd name="f14" fmla="+- f7 0 f5"/>
              <a:gd name="f15" fmla="+- f6 0 f5"/>
              <a:gd name="f16" fmla="*/ f11 f0 1"/>
              <a:gd name="f17" fmla="*/ f15 1 10293751"/>
              <a:gd name="f18" fmla="*/ f14 1 1031873"/>
              <a:gd name="f19" fmla="*/ 10293751 f15 1"/>
              <a:gd name="f20" fmla="*/ 0 f15 1"/>
              <a:gd name="f21" fmla="*/ 0 f14 1"/>
              <a:gd name="f22" fmla="*/ 1 f14 1"/>
              <a:gd name="f23" fmla="*/ 1031873 f14 1"/>
              <a:gd name="f24" fmla="*/ 1031872 f14 1"/>
              <a:gd name="f25" fmla="*/ 3579068 f15 1"/>
              <a:gd name="f26" fmla="*/ f16 1 f2"/>
              <a:gd name="f27" fmla="*/ f19 1 10293751"/>
              <a:gd name="f28" fmla="*/ f20 1 10293751"/>
              <a:gd name="f29" fmla="*/ f21 1 1031873"/>
              <a:gd name="f30" fmla="*/ f22 1 1031873"/>
              <a:gd name="f31" fmla="*/ f23 1 1031873"/>
              <a:gd name="f32" fmla="*/ f24 1 1031873"/>
              <a:gd name="f33" fmla="*/ f25 1 10293751"/>
              <a:gd name="f34" fmla="*/ f5 1 f17"/>
              <a:gd name="f35" fmla="*/ f6 1 f17"/>
              <a:gd name="f36" fmla="*/ f5 1 f18"/>
              <a:gd name="f37" fmla="*/ f7 1 f18"/>
              <a:gd name="f38" fmla="+- f26 0 f1"/>
              <a:gd name="f39" fmla="*/ f33 1 f17"/>
              <a:gd name="f40" fmla="*/ f29 1 f18"/>
              <a:gd name="f41" fmla="*/ f27 1 f17"/>
              <a:gd name="f42" fmla="*/ f30 1 f18"/>
              <a:gd name="f43" fmla="*/ f31 1 f18"/>
              <a:gd name="f44" fmla="*/ f28 1 f17"/>
              <a:gd name="f45" fmla="*/ f32 1 f18"/>
              <a:gd name="f46" fmla="*/ f34 f12 1"/>
              <a:gd name="f47" fmla="*/ f35 f12 1"/>
              <a:gd name="f48" fmla="*/ f37 f13 1"/>
              <a:gd name="f49" fmla="*/ f36 f13 1"/>
              <a:gd name="f50" fmla="*/ f39 f12 1"/>
              <a:gd name="f51" fmla="*/ f40 f13 1"/>
              <a:gd name="f52" fmla="*/ f41 f12 1"/>
              <a:gd name="f53" fmla="*/ f42 f13 1"/>
              <a:gd name="f54" fmla="*/ f43 f13 1"/>
              <a:gd name="f55" fmla="*/ f44 f12 1"/>
              <a:gd name="f56" fmla="*/ f45 f13 1"/>
            </a:gdLst>
            <a:ahLst/>
            <a:cxnLst>
              <a:cxn ang="3cd4">
                <a:pos x="hc" y="t"/>
              </a:cxn>
              <a:cxn ang="0">
                <a:pos x="r" y="vc"/>
              </a:cxn>
              <a:cxn ang="cd4">
                <a:pos x="hc" y="b"/>
              </a:cxn>
              <a:cxn ang="cd2">
                <a:pos x="l" y="vc"/>
              </a:cxn>
              <a:cxn ang="f38">
                <a:pos x="f50" y="f51"/>
              </a:cxn>
              <a:cxn ang="f38">
                <a:pos x="f52" y="f53"/>
              </a:cxn>
              <a:cxn ang="f38">
                <a:pos x="f52" y="f54"/>
              </a:cxn>
              <a:cxn ang="f38">
                <a:pos x="f55" y="f56"/>
              </a:cxn>
              <a:cxn ang="f38">
                <a:pos x="f50" y="f51"/>
              </a:cxn>
            </a:cxnLst>
            <a:rect l="f46" t="f49" r="f47" b="f48"/>
            <a:pathLst>
              <a:path w="10293751" h="1031873">
                <a:moveTo>
                  <a:pt x="f8" y="f5"/>
                </a:moveTo>
                <a:lnTo>
                  <a:pt x="f6" y="f9"/>
                </a:lnTo>
                <a:lnTo>
                  <a:pt x="f6" y="f7"/>
                </a:lnTo>
                <a:lnTo>
                  <a:pt x="f5" y="f10"/>
                </a:lnTo>
                <a:lnTo>
                  <a:pt x="f8" y="f5"/>
                </a:lnTo>
                <a:close/>
              </a:path>
            </a:pathLst>
          </a:cu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8" name="Rectangle 8">
            <a:extLst>
              <a:ext uri="{FF2B5EF4-FFF2-40B4-BE49-F238E27FC236}">
                <a16:creationId xmlns:a16="http://schemas.microsoft.com/office/drawing/2014/main" id="{67C7AA61-9B26-16B4-D2F1-0B347E219C79}"/>
              </a:ext>
            </a:extLst>
          </p:cNvPr>
          <p:cNvSpPr/>
          <p:nvPr/>
        </p:nvSpPr>
        <p:spPr>
          <a:xfrm>
            <a:off x="0" y="6115050"/>
            <a:ext cx="12191996" cy="742950"/>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9" name="Text Placeholder 11">
            <a:extLst>
              <a:ext uri="{FF2B5EF4-FFF2-40B4-BE49-F238E27FC236}">
                <a16:creationId xmlns:a16="http://schemas.microsoft.com/office/drawing/2014/main" id="{B39BA29C-621C-5F97-58BD-6FCD19CCC218}"/>
              </a:ext>
            </a:extLst>
          </p:cNvPr>
          <p:cNvSpPr txBox="1">
            <a:spLocks noGrp="1"/>
          </p:cNvSpPr>
          <p:nvPr>
            <p:ph type="body" idx="4294967295"/>
          </p:nvPr>
        </p:nvSpPr>
        <p:spPr>
          <a:xfrm>
            <a:off x="2826557" y="3447397"/>
            <a:ext cx="8178613" cy="713314"/>
          </a:xfrm>
        </p:spPr>
        <p:txBody>
          <a:bodyPr/>
          <a:lstStyle>
            <a:lvl1pPr marL="0" indent="0">
              <a:buNone/>
              <a:defRPr sz="3200">
                <a:solidFill>
                  <a:srgbClr val="00314C"/>
                </a:solidFill>
                <a:latin typeface="Verdana"/>
                <a:ea typeface="Verdana"/>
                <a:cs typeface="Verdana"/>
              </a:defRPr>
            </a:lvl1pPr>
          </a:lstStyle>
          <a:p>
            <a:pPr lvl="0"/>
            <a:r>
              <a:rPr lang="en-US"/>
              <a:t>Subtitle (24)</a:t>
            </a:r>
          </a:p>
        </p:txBody>
      </p:sp>
      <p:pic>
        <p:nvPicPr>
          <p:cNvPr id="10" name="Picture 12">
            <a:extLst>
              <a:ext uri="{FF2B5EF4-FFF2-40B4-BE49-F238E27FC236}">
                <a16:creationId xmlns:a16="http://schemas.microsoft.com/office/drawing/2014/main" id="{29690D2E-5106-DE9D-EA91-F447805DE0C4}"/>
              </a:ext>
            </a:extLst>
          </p:cNvPr>
          <p:cNvPicPr>
            <a:picLocks noChangeAspect="1"/>
          </p:cNvPicPr>
          <p:nvPr/>
        </p:nvPicPr>
        <p:blipFill>
          <a:blip r:embed="rId2"/>
          <a:srcRect/>
          <a:stretch>
            <a:fillRect/>
          </a:stretch>
        </p:blipFill>
        <p:spPr>
          <a:xfrm>
            <a:off x="2829831" y="4178333"/>
            <a:ext cx="4395959" cy="1140165"/>
          </a:xfrm>
          <a:prstGeom prst="rect">
            <a:avLst/>
          </a:prstGeom>
          <a:noFill/>
          <a:ln cap="flat">
            <a:noFill/>
          </a:ln>
        </p:spPr>
      </p:pic>
    </p:spTree>
    <p:extLst>
      <p:ext uri="{BB962C8B-B14F-4D97-AF65-F5344CB8AC3E}">
        <p14:creationId xmlns:p14="http://schemas.microsoft.com/office/powerpoint/2010/main" val="1388789746"/>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p:cSld name="17_Title and Bullets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507B8F-48C5-661C-4581-00B2E911A923}"/>
              </a:ext>
            </a:extLst>
          </p:cNvPr>
          <p:cNvSpPr txBox="1">
            <a:spLocks noGrp="1"/>
          </p:cNvSpPr>
          <p:nvPr>
            <p:ph type="title"/>
          </p:nvPr>
        </p:nvSpPr>
        <p:spPr>
          <a:xfrm>
            <a:off x="848992" y="783842"/>
            <a:ext cx="10177756"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sp>
        <p:nvSpPr>
          <p:cNvPr id="3" name="Rectangle 9">
            <a:extLst>
              <a:ext uri="{FF2B5EF4-FFF2-40B4-BE49-F238E27FC236}">
                <a16:creationId xmlns:a16="http://schemas.microsoft.com/office/drawing/2014/main" id="{5F2ECF6B-F7E4-A578-C4C2-341553B4CB43}"/>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4" name="Rectangle 10">
            <a:extLst>
              <a:ext uri="{FF2B5EF4-FFF2-40B4-BE49-F238E27FC236}">
                <a16:creationId xmlns:a16="http://schemas.microsoft.com/office/drawing/2014/main" id="{852B5E20-C137-BD2B-F6D7-D11294BC2C6D}"/>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5" name="Text Placeholder 4">
            <a:extLst>
              <a:ext uri="{FF2B5EF4-FFF2-40B4-BE49-F238E27FC236}">
                <a16:creationId xmlns:a16="http://schemas.microsoft.com/office/drawing/2014/main" id="{8D4EBC29-2B9F-912E-2326-5D8F12E0AFC0}"/>
              </a:ext>
            </a:extLst>
          </p:cNvPr>
          <p:cNvSpPr txBox="1">
            <a:spLocks noGrp="1"/>
          </p:cNvSpPr>
          <p:nvPr>
            <p:ph type="body" idx="4294967295"/>
          </p:nvPr>
        </p:nvSpPr>
        <p:spPr>
          <a:xfrm>
            <a:off x="848783" y="1615023"/>
            <a:ext cx="10176933" cy="3812115"/>
          </a:xfrm>
        </p:spPr>
        <p:txBody>
          <a:bodyPr/>
          <a:lstStyle>
            <a:lvl1pPr marL="381012" indent="-381012">
              <a:defRPr sz="2133">
                <a:latin typeface="Verdana"/>
                <a:ea typeface="Verdana"/>
                <a:cs typeface="Verdana"/>
              </a:defRPr>
            </a:lvl1pPr>
            <a:lvl2pPr marL="381012" lvl="0" indent="-381012">
              <a:spcBef>
                <a:spcPts val="1000"/>
              </a:spcBef>
              <a:buClr>
                <a:srgbClr val="F5668F"/>
              </a:buClr>
              <a:defRPr sz="2133">
                <a:latin typeface="Verdana"/>
                <a:ea typeface="Verdana"/>
                <a:cs typeface="Verdana"/>
              </a:defRPr>
            </a:lvl2pPr>
          </a:lstStyle>
          <a:p>
            <a:pPr lvl="0"/>
            <a:r>
              <a:rPr lang="en-US"/>
              <a:t>Copy goes here</a:t>
            </a:r>
          </a:p>
          <a:p>
            <a:pPr lvl="0"/>
            <a:endParaRPr lang="en-US"/>
          </a:p>
        </p:txBody>
      </p:sp>
      <p:pic>
        <p:nvPicPr>
          <p:cNvPr id="6" name="Picture 6">
            <a:extLst>
              <a:ext uri="{FF2B5EF4-FFF2-40B4-BE49-F238E27FC236}">
                <a16:creationId xmlns:a16="http://schemas.microsoft.com/office/drawing/2014/main" id="{397DE6D6-7253-55D5-3466-D9BBF6E44C62}"/>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Tree>
    <p:extLst>
      <p:ext uri="{BB962C8B-B14F-4D97-AF65-F5344CB8AC3E}">
        <p14:creationId xmlns:p14="http://schemas.microsoft.com/office/powerpoint/2010/main" val="243917814"/>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p:cSld name="39_Title and Content">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59CD7C37-A5A1-C596-0E20-BA5138B27D35}"/>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pic>
        <p:nvPicPr>
          <p:cNvPr id="3" name="Picture 10">
            <a:extLst>
              <a:ext uri="{FF2B5EF4-FFF2-40B4-BE49-F238E27FC236}">
                <a16:creationId xmlns:a16="http://schemas.microsoft.com/office/drawing/2014/main" id="{64761DCF-A9AA-4C2D-1E99-C11F0E58C3CC}"/>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
        <p:nvSpPr>
          <p:cNvPr id="4" name="Rectangle 11">
            <a:extLst>
              <a:ext uri="{FF2B5EF4-FFF2-40B4-BE49-F238E27FC236}">
                <a16:creationId xmlns:a16="http://schemas.microsoft.com/office/drawing/2014/main" id="{59CBA9E9-503C-3C7F-CD7C-6B7CD9B81FA2}"/>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5" name="Title 1">
            <a:extLst>
              <a:ext uri="{FF2B5EF4-FFF2-40B4-BE49-F238E27FC236}">
                <a16:creationId xmlns:a16="http://schemas.microsoft.com/office/drawing/2014/main" id="{5C2B8597-A4BC-902D-BF4F-23DBC55EA3AD}"/>
              </a:ext>
            </a:extLst>
          </p:cNvPr>
          <p:cNvSpPr txBox="1">
            <a:spLocks noGrp="1"/>
          </p:cNvSpPr>
          <p:nvPr>
            <p:ph type="title"/>
          </p:nvPr>
        </p:nvSpPr>
        <p:spPr>
          <a:xfrm>
            <a:off x="848992" y="806858"/>
            <a:ext cx="10156176"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sp>
        <p:nvSpPr>
          <p:cNvPr id="6" name="Text Placeholder 15">
            <a:extLst>
              <a:ext uri="{FF2B5EF4-FFF2-40B4-BE49-F238E27FC236}">
                <a16:creationId xmlns:a16="http://schemas.microsoft.com/office/drawing/2014/main" id="{74859157-A22A-5AC4-BBDA-AF7659D5DB51}"/>
              </a:ext>
            </a:extLst>
          </p:cNvPr>
          <p:cNvSpPr txBox="1">
            <a:spLocks noGrp="1"/>
          </p:cNvSpPr>
          <p:nvPr>
            <p:ph type="body" idx="4294967295"/>
          </p:nvPr>
        </p:nvSpPr>
        <p:spPr>
          <a:xfrm>
            <a:off x="848992" y="1637855"/>
            <a:ext cx="10156176" cy="4117159"/>
          </a:xfrm>
        </p:spPr>
        <p:txBody>
          <a:bodyPr/>
          <a:lstStyle>
            <a:lvl1pPr marL="0" indent="0" defTabSz="914418">
              <a:lnSpc>
                <a:spcPct val="90000"/>
              </a:lnSpc>
              <a:spcAft>
                <a:spcPts val="0"/>
              </a:spcAft>
              <a:buNone/>
              <a:defRPr sz="2133">
                <a:latin typeface="Verdana"/>
                <a:ea typeface="Verdana"/>
                <a:cs typeface="Verdana"/>
              </a:defRPr>
            </a:lvl1pPr>
          </a:lstStyle>
          <a:p>
            <a:pPr lvl="0"/>
            <a:r>
              <a:rPr lang="en-US"/>
              <a:t>Copy goes here. </a:t>
            </a:r>
          </a:p>
        </p:txBody>
      </p:sp>
    </p:spTree>
    <p:extLst>
      <p:ext uri="{BB962C8B-B14F-4D97-AF65-F5344CB8AC3E}">
        <p14:creationId xmlns:p14="http://schemas.microsoft.com/office/powerpoint/2010/main" val="1116794211"/>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p:cSld name="17_Two Section | Picture and Copy Layout">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78D8DFBC-85BC-E9F4-5519-C3A415397837}"/>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3" name="Rectangle 11">
            <a:extLst>
              <a:ext uri="{FF2B5EF4-FFF2-40B4-BE49-F238E27FC236}">
                <a16:creationId xmlns:a16="http://schemas.microsoft.com/office/drawing/2014/main" id="{E92D0773-A73E-6088-38F3-6F95E378D300}"/>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4" name="Content Placeholder 2">
            <a:extLst>
              <a:ext uri="{FF2B5EF4-FFF2-40B4-BE49-F238E27FC236}">
                <a16:creationId xmlns:a16="http://schemas.microsoft.com/office/drawing/2014/main" id="{AED3992B-2639-B495-E385-BD23C4961B31}"/>
              </a:ext>
            </a:extLst>
          </p:cNvPr>
          <p:cNvSpPr txBox="1">
            <a:spLocks noGrp="1"/>
          </p:cNvSpPr>
          <p:nvPr>
            <p:ph idx="4294967295"/>
          </p:nvPr>
        </p:nvSpPr>
        <p:spPr>
          <a:xfrm>
            <a:off x="1186836" y="1294452"/>
            <a:ext cx="3983336" cy="3788084"/>
          </a:xfrm>
        </p:spPr>
        <p:txBody>
          <a:bodyPr/>
          <a:lstStyle>
            <a:lvl1pPr marL="0" indent="0">
              <a:buNone/>
              <a:defRPr sz="1200" i="1">
                <a:solidFill>
                  <a:srgbClr val="003B5C"/>
                </a:solidFill>
                <a:latin typeface="Verdana"/>
                <a:ea typeface="Verdana"/>
                <a:cs typeface="Verdana"/>
              </a:defRPr>
            </a:lvl1pPr>
          </a:lstStyle>
          <a:p>
            <a:pPr lvl="0"/>
            <a:r>
              <a:rPr lang="en-US"/>
              <a:t>*Insert Image Here</a:t>
            </a:r>
          </a:p>
        </p:txBody>
      </p:sp>
      <p:sp>
        <p:nvSpPr>
          <p:cNvPr id="5" name="Content Placeholder 3">
            <a:extLst>
              <a:ext uri="{FF2B5EF4-FFF2-40B4-BE49-F238E27FC236}">
                <a16:creationId xmlns:a16="http://schemas.microsoft.com/office/drawing/2014/main" id="{A2B079E3-BBBD-FCE3-6A32-4377B91A5B5C}"/>
              </a:ext>
            </a:extLst>
          </p:cNvPr>
          <p:cNvSpPr txBox="1">
            <a:spLocks noGrp="1"/>
          </p:cNvSpPr>
          <p:nvPr>
            <p:ph idx="4294967295"/>
          </p:nvPr>
        </p:nvSpPr>
        <p:spPr>
          <a:xfrm>
            <a:off x="5549394" y="1997122"/>
            <a:ext cx="5466557" cy="3085414"/>
          </a:xfrm>
        </p:spPr>
        <p:txBody>
          <a:bodyPr/>
          <a:lstStyle>
            <a:lvl1pPr marL="0" indent="0" defTabSz="914418">
              <a:lnSpc>
                <a:spcPct val="90000"/>
              </a:lnSpc>
              <a:spcAft>
                <a:spcPts val="0"/>
              </a:spcAft>
              <a:buNone/>
              <a:defRPr sz="2133">
                <a:latin typeface="Verdana"/>
                <a:ea typeface="Verdana"/>
                <a:cs typeface="Verdana"/>
              </a:defRPr>
            </a:lvl1pPr>
          </a:lstStyle>
          <a:p>
            <a:pPr lvl="0"/>
            <a:r>
              <a:rPr lang="en-US"/>
              <a:t>Copy goes here. </a:t>
            </a:r>
          </a:p>
        </p:txBody>
      </p:sp>
      <p:sp>
        <p:nvSpPr>
          <p:cNvPr id="6" name="Title 16">
            <a:extLst>
              <a:ext uri="{FF2B5EF4-FFF2-40B4-BE49-F238E27FC236}">
                <a16:creationId xmlns:a16="http://schemas.microsoft.com/office/drawing/2014/main" id="{F52BE883-475C-DC88-EDCF-467DD9D9A25C}"/>
              </a:ext>
            </a:extLst>
          </p:cNvPr>
          <p:cNvSpPr txBox="1">
            <a:spLocks noGrp="1"/>
          </p:cNvSpPr>
          <p:nvPr>
            <p:ph type="title"/>
          </p:nvPr>
        </p:nvSpPr>
        <p:spPr>
          <a:xfrm>
            <a:off x="5549394" y="1154522"/>
            <a:ext cx="5466557"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pic>
        <p:nvPicPr>
          <p:cNvPr id="7" name="Picture 7">
            <a:extLst>
              <a:ext uri="{FF2B5EF4-FFF2-40B4-BE49-F238E27FC236}">
                <a16:creationId xmlns:a16="http://schemas.microsoft.com/office/drawing/2014/main" id="{DF9A758B-F40F-7FF5-FEA1-344A5A069B61}"/>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Tree>
    <p:extLst>
      <p:ext uri="{BB962C8B-B14F-4D97-AF65-F5344CB8AC3E}">
        <p14:creationId xmlns:p14="http://schemas.microsoft.com/office/powerpoint/2010/main" val="119013319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2_Quotation">
  <p:cSld name="2_Quotation 2">
    <p:spTree>
      <p:nvGrpSpPr>
        <p:cNvPr id="1" name="Shape 9550"/>
        <p:cNvGrpSpPr/>
        <p:nvPr/>
      </p:nvGrpSpPr>
      <p:grpSpPr>
        <a:xfrm>
          <a:off x="0" y="0"/>
          <a:ext cx="0" cy="0"/>
          <a:chOff x="0" y="0"/>
          <a:chExt cx="0" cy="0"/>
        </a:xfrm>
      </p:grpSpPr>
      <p:sp>
        <p:nvSpPr>
          <p:cNvPr id="9551" name="Google Shape;9551;p136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552" name="Google Shape;9552;p136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553" name="Google Shape;9553;p136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554" name="Google Shape;9554;p13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555" name="Google Shape;9555;p13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556" name="Google Shape;9556;p13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557" name="Google Shape;9557;p1365"/>
          <p:cNvGrpSpPr/>
          <p:nvPr/>
        </p:nvGrpSpPr>
        <p:grpSpPr>
          <a:xfrm>
            <a:off x="7191542" y="1"/>
            <a:ext cx="5000459" cy="1425992"/>
            <a:chOff x="7191542" y="1"/>
            <a:chExt cx="5000459" cy="1425992"/>
          </a:xfrm>
        </p:grpSpPr>
        <p:pic>
          <p:nvPicPr>
            <p:cNvPr id="9558" name="Google Shape;9558;p13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559" name="Google Shape;9559;p1365"/>
            <p:cNvGrpSpPr/>
            <p:nvPr/>
          </p:nvGrpSpPr>
          <p:grpSpPr>
            <a:xfrm>
              <a:off x="7191542" y="1"/>
              <a:ext cx="5000459" cy="1425992"/>
              <a:chOff x="7186272" y="0"/>
              <a:chExt cx="5005729" cy="1427495"/>
            </a:xfrm>
          </p:grpSpPr>
          <p:sp>
            <p:nvSpPr>
              <p:cNvPr id="9560" name="Google Shape;9560;p13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561" name="Google Shape;9561;p13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562" name="Google Shape;9562;p136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p:cSld name="3_Table of Content">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12E6CB37-7DC8-4182-7057-C0A44201FDA4}"/>
              </a:ext>
            </a:extLst>
          </p:cNvPr>
          <p:cNvGraphicFramePr/>
          <p:nvPr/>
        </p:nvGraphicFramePr>
        <p:xfrm>
          <a:off x="2121" y="2121"/>
          <a:ext cx="2112" cy="2112"/>
        </p:xfrm>
        <a:graphic>
          <a:graphicData uri="http://schemas.openxmlformats.org/presentationml/2006/ole">
            <mc:AlternateContent xmlns:mc="http://schemas.openxmlformats.org/markup-compatibility/2006">
              <mc:Choice xmlns:v="urn:schemas-microsoft-com:vml" Requires="v">
                <p:oleObj r:id="rId2" imgW="12700" imgH="12700" progId="">
                  <p:embed/>
                </p:oleObj>
              </mc:Choice>
              <mc:Fallback>
                <p:oleObj r:id="rId2" imgW="12700" imgH="12700" progId="">
                  <p:embed/>
                  <p:pic>
                    <p:nvPicPr>
                      <p:cNvPr id="2" name="Object 2" hidden="1">
                        <a:extLst>
                          <a:ext uri="{FF2B5EF4-FFF2-40B4-BE49-F238E27FC236}">
                            <a16:creationId xmlns:a16="http://schemas.microsoft.com/office/drawing/2014/main" id="{12E6CB37-7DC8-4182-7057-C0A44201FDA4}"/>
                          </a:ext>
                        </a:extLst>
                      </p:cNvPr>
                      <p:cNvPicPr/>
                      <p:nvPr/>
                    </p:nvPicPr>
                    <p:blipFill>
                      <a:blip r:embed="rId3"/>
                      <a:stretch>
                        <a:fillRect/>
                      </a:stretch>
                    </p:blipFill>
                    <p:spPr>
                      <a:xfrm>
                        <a:off x="2121" y="2121"/>
                        <a:ext cx="2112" cy="2112"/>
                      </a:xfrm>
                      <a:prstGeom prst="rect">
                        <a:avLst/>
                      </a:prstGeom>
                    </p:spPr>
                  </p:pic>
                </p:oleObj>
              </mc:Fallback>
            </mc:AlternateContent>
          </a:graphicData>
        </a:graphic>
      </p:graphicFrame>
      <p:sp>
        <p:nvSpPr>
          <p:cNvPr id="3" name="Rectangle 7">
            <a:extLst>
              <a:ext uri="{FF2B5EF4-FFF2-40B4-BE49-F238E27FC236}">
                <a16:creationId xmlns:a16="http://schemas.microsoft.com/office/drawing/2014/main" id="{10C836F6-3DA9-CD0E-A6AB-9B32C5A77B6E}"/>
              </a:ext>
            </a:extLst>
          </p:cNvPr>
          <p:cNvSpPr/>
          <p:nvPr/>
        </p:nvSpPr>
        <p:spPr>
          <a:xfrm>
            <a:off x="-10579" y="6620933"/>
            <a:ext cx="12213165" cy="237067"/>
          </a:xfrm>
          <a:prstGeom prst="rect">
            <a:avLst/>
          </a:prstGeom>
          <a:solidFill>
            <a:srgbClr val="767676"/>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graphicFrame>
        <p:nvGraphicFramePr>
          <p:cNvPr id="4" name="Object 7" hidden="1">
            <a:extLst>
              <a:ext uri="{FF2B5EF4-FFF2-40B4-BE49-F238E27FC236}">
                <a16:creationId xmlns:a16="http://schemas.microsoft.com/office/drawing/2014/main" id="{190717E4-D0F9-6C3B-910C-C9F2866FD725}"/>
              </a:ext>
            </a:extLst>
          </p:cNvPr>
          <p:cNvGraphicFramePr/>
          <p:nvPr/>
        </p:nvGraphicFramePr>
        <p:xfrm>
          <a:off x="2121" y="2121"/>
          <a:ext cx="2112" cy="2112"/>
        </p:xfrm>
        <a:graphic>
          <a:graphicData uri="http://schemas.openxmlformats.org/presentationml/2006/ole">
            <mc:AlternateContent xmlns:mc="http://schemas.openxmlformats.org/markup-compatibility/2006">
              <mc:Choice xmlns:v="urn:schemas-microsoft-com:vml" Requires="v">
                <p:oleObj r:id="rId4" imgW="12700" imgH="12700" progId="">
                  <p:embed/>
                </p:oleObj>
              </mc:Choice>
              <mc:Fallback>
                <p:oleObj r:id="rId4" imgW="12700" imgH="12700" progId="">
                  <p:embed/>
                  <p:pic>
                    <p:nvPicPr>
                      <p:cNvPr id="4" name="Object 7" hidden="1">
                        <a:extLst>
                          <a:ext uri="{FF2B5EF4-FFF2-40B4-BE49-F238E27FC236}">
                            <a16:creationId xmlns:a16="http://schemas.microsoft.com/office/drawing/2014/main" id="{190717E4-D0F9-6C3B-910C-C9F2866FD725}"/>
                          </a:ext>
                        </a:extLst>
                      </p:cNvPr>
                      <p:cNvPicPr/>
                      <p:nvPr/>
                    </p:nvPicPr>
                    <p:blipFill>
                      <a:blip r:embed="rId3"/>
                      <a:stretch>
                        <a:fillRect/>
                      </a:stretch>
                    </p:blipFill>
                    <p:spPr>
                      <a:xfrm>
                        <a:off x="2121" y="2121"/>
                        <a:ext cx="2112" cy="2112"/>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CA92BFFC-DFA3-71CD-35DF-ABC6A31DEF9F}"/>
              </a:ext>
            </a:extLst>
          </p:cNvPr>
          <p:cNvSpPr txBox="1">
            <a:spLocks noGrp="1"/>
          </p:cNvSpPr>
          <p:nvPr>
            <p:ph type="title"/>
          </p:nvPr>
        </p:nvSpPr>
        <p:spPr>
          <a:xfrm>
            <a:off x="218112" y="224842"/>
            <a:ext cx="11715722" cy="569323"/>
          </a:xfrm>
        </p:spPr>
        <p:txBody>
          <a:bodyPr/>
          <a:lstStyle>
            <a:lvl1pPr>
              <a:defRPr sz="2933">
                <a:solidFill>
                  <a:srgbClr val="79818A"/>
                </a:solidFill>
              </a:defRPr>
            </a:lvl1pPr>
          </a:lstStyle>
          <a:p>
            <a:pPr lvl="0"/>
            <a:r>
              <a:rPr lang="en-US"/>
              <a:t>Click to edit Master title style</a:t>
            </a:r>
          </a:p>
        </p:txBody>
      </p:sp>
      <p:sp>
        <p:nvSpPr>
          <p:cNvPr id="6" name="Content Placeholder 2">
            <a:extLst>
              <a:ext uri="{FF2B5EF4-FFF2-40B4-BE49-F238E27FC236}">
                <a16:creationId xmlns:a16="http://schemas.microsoft.com/office/drawing/2014/main" id="{C4C5E024-3D4C-0B9F-EDF9-BD6C587B518A}"/>
              </a:ext>
            </a:extLst>
          </p:cNvPr>
          <p:cNvSpPr txBox="1">
            <a:spLocks noGrp="1"/>
          </p:cNvSpPr>
          <p:nvPr>
            <p:ph idx="4294967295"/>
          </p:nvPr>
        </p:nvSpPr>
        <p:spPr>
          <a:xfrm>
            <a:off x="218112" y="917198"/>
            <a:ext cx="11715722" cy="4958672"/>
          </a:xfrm>
        </p:spPr>
        <p:txBody>
          <a:bodyPr/>
          <a:lstStyle>
            <a:lvl1pPr marL="381012" indent="-381012">
              <a:buFont typeface="Wingdings" pitchFamily="2"/>
              <a:buChar char="§"/>
              <a:defRPr sz="1867" b="1"/>
            </a:lvl1pPr>
            <a:lvl2pPr marL="609614" indent="-296344">
              <a:buChar char="̶"/>
              <a:defRPr sz="1867"/>
            </a:lvl2pPr>
            <a:lvl3pPr marL="922885" indent="-313271">
              <a:defRPr sz="1867"/>
            </a:lvl3pPr>
            <a:lvl4pPr marL="1219230" indent="-296344">
              <a:buFont typeface="Wingdings" pitchFamily="2"/>
              <a:buChar char="ü"/>
              <a:defRPr sz="1867"/>
            </a:lvl4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EABE786D-38AE-8FB1-12FD-F9F3F297D319}"/>
              </a:ext>
            </a:extLst>
          </p:cNvPr>
          <p:cNvSpPr txBox="1">
            <a:spLocks noGrp="1"/>
          </p:cNvSpPr>
          <p:nvPr>
            <p:ph type="body" idx="4294967295"/>
          </p:nvPr>
        </p:nvSpPr>
        <p:spPr>
          <a:xfrm>
            <a:off x="3858933" y="5969002"/>
            <a:ext cx="8074901" cy="649818"/>
          </a:xfrm>
        </p:spPr>
        <p:txBody>
          <a:bodyPr anchor="b"/>
          <a:lstStyle>
            <a:lvl1pPr>
              <a:defRPr sz="1333"/>
            </a:lvl1pPr>
          </a:lstStyle>
          <a:p>
            <a:pPr lvl="0"/>
            <a:r>
              <a:rPr lang="en-US"/>
              <a:t>Edit Master text styles</a:t>
            </a:r>
          </a:p>
        </p:txBody>
      </p:sp>
      <p:sp>
        <p:nvSpPr>
          <p:cNvPr id="8" name="Slide Number Placeholder 3">
            <a:extLst>
              <a:ext uri="{FF2B5EF4-FFF2-40B4-BE49-F238E27FC236}">
                <a16:creationId xmlns:a16="http://schemas.microsoft.com/office/drawing/2014/main" id="{293335A5-2A55-8166-AFDA-159D91EBB8B6}"/>
              </a:ext>
            </a:extLst>
          </p:cNvPr>
          <p:cNvSpPr txBox="1">
            <a:spLocks noGrp="1"/>
          </p:cNvSpPr>
          <p:nvPr>
            <p:ph type="sldNum" sz="quarter" idx="8"/>
          </p:nvPr>
        </p:nvSpPr>
        <p:spPr/>
        <p:txBody>
          <a:bodyPr/>
          <a:lstStyle>
            <a:lvl1pPr>
              <a:defRPr sz="1467">
                <a:solidFill>
                  <a:srgbClr val="FFFFFF"/>
                </a:solidFill>
              </a:defRPr>
            </a:lvl1pPr>
          </a:lstStyle>
          <a:p>
            <a:pPr lvl="0"/>
            <a:fld id="{EBBDC9A0-33A4-437F-925C-FF618D579CC4}" type="slidenum">
              <a:t>‹#›</a:t>
            </a:fld>
            <a:endParaRPr lang="en-US"/>
          </a:p>
        </p:txBody>
      </p:sp>
      <p:pic>
        <p:nvPicPr>
          <p:cNvPr id="9" name="Picture 3" descr="M:\Marketing Communication and Referral Access\Luis\newbrand\UCM_logo\master\horizontal\UCM_Logo_Master_Brand_Horizontal_Tagline_rgb.jpg">
            <a:extLst>
              <a:ext uri="{FF2B5EF4-FFF2-40B4-BE49-F238E27FC236}">
                <a16:creationId xmlns:a16="http://schemas.microsoft.com/office/drawing/2014/main" id="{3AF19A92-230A-4810-C61F-2CF02AB056B4}"/>
              </a:ext>
            </a:extLst>
          </p:cNvPr>
          <p:cNvPicPr>
            <a:picLocks noChangeAspect="1"/>
          </p:cNvPicPr>
          <p:nvPr/>
        </p:nvPicPr>
        <p:blipFill>
          <a:blip r:embed="rId5"/>
          <a:srcRect/>
          <a:stretch>
            <a:fillRect/>
          </a:stretch>
        </p:blipFill>
        <p:spPr>
          <a:xfrm>
            <a:off x="101598" y="5969002"/>
            <a:ext cx="3704344" cy="651930"/>
          </a:xfrm>
          <a:prstGeom prst="rect">
            <a:avLst/>
          </a:prstGeom>
          <a:noFill/>
          <a:ln cap="flat">
            <a:noFill/>
          </a:ln>
        </p:spPr>
      </p:pic>
    </p:spTree>
    <p:extLst>
      <p:ext uri="{BB962C8B-B14F-4D97-AF65-F5344CB8AC3E}">
        <p14:creationId xmlns:p14="http://schemas.microsoft.com/office/powerpoint/2010/main" val="4113800031"/>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p:cSld name="40_Title and Content">
    <p:spTree>
      <p:nvGrpSpPr>
        <p:cNvPr id="1" name=""/>
        <p:cNvGrpSpPr/>
        <p:nvPr/>
      </p:nvGrpSpPr>
      <p:grpSpPr>
        <a:xfrm>
          <a:off x="0" y="0"/>
          <a:ext cx="0" cy="0"/>
          <a:chOff x="0" y="0"/>
          <a:chExt cx="0" cy="0"/>
        </a:xfrm>
      </p:grpSpPr>
      <p:grpSp>
        <p:nvGrpSpPr>
          <p:cNvPr id="2" name="Google Shape;76;p44">
            <a:extLst>
              <a:ext uri="{FF2B5EF4-FFF2-40B4-BE49-F238E27FC236}">
                <a16:creationId xmlns:a16="http://schemas.microsoft.com/office/drawing/2014/main" id="{3939729A-2AEB-906F-3DD8-67C3A253E1EA}"/>
              </a:ext>
            </a:extLst>
          </p:cNvPr>
          <p:cNvGrpSpPr/>
          <p:nvPr/>
        </p:nvGrpSpPr>
        <p:grpSpPr>
          <a:xfrm>
            <a:off x="7191545" y="0"/>
            <a:ext cx="5000460" cy="1425988"/>
            <a:chOff x="7191545" y="0"/>
            <a:chExt cx="5000460" cy="1425988"/>
          </a:xfrm>
        </p:grpSpPr>
        <p:pic>
          <p:nvPicPr>
            <p:cNvPr id="3" name="Google Shape;77;p44">
              <a:extLst>
                <a:ext uri="{FF2B5EF4-FFF2-40B4-BE49-F238E27FC236}">
                  <a16:creationId xmlns:a16="http://schemas.microsoft.com/office/drawing/2014/main" id="{9DD69BB5-3667-F514-4F69-E572F2D1FCAC}"/>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78;p44">
              <a:extLst>
                <a:ext uri="{FF2B5EF4-FFF2-40B4-BE49-F238E27FC236}">
                  <a16:creationId xmlns:a16="http://schemas.microsoft.com/office/drawing/2014/main" id="{7EECAE32-8FD0-399E-3D75-1C15627CC8BE}"/>
                </a:ext>
              </a:extLst>
            </p:cNvPr>
            <p:cNvGrpSpPr/>
            <p:nvPr/>
          </p:nvGrpSpPr>
          <p:grpSpPr>
            <a:xfrm>
              <a:off x="7191545" y="0"/>
              <a:ext cx="5000460" cy="1425988"/>
              <a:chOff x="7191545" y="0"/>
              <a:chExt cx="5000460" cy="1425988"/>
            </a:xfrm>
          </p:grpSpPr>
          <p:sp>
            <p:nvSpPr>
              <p:cNvPr id="5" name="Google Shape;79;p44">
                <a:extLst>
                  <a:ext uri="{FF2B5EF4-FFF2-40B4-BE49-F238E27FC236}">
                    <a16:creationId xmlns:a16="http://schemas.microsoft.com/office/drawing/2014/main" id="{36705804-DB1B-6292-CB6D-A69BC818906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80;p44">
                <a:extLst>
                  <a:ext uri="{FF2B5EF4-FFF2-40B4-BE49-F238E27FC236}">
                    <a16:creationId xmlns:a16="http://schemas.microsoft.com/office/drawing/2014/main" id="{10C9D784-2128-725B-5399-D2B2CC0F00BB}"/>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81;p44">
            <a:extLst>
              <a:ext uri="{FF2B5EF4-FFF2-40B4-BE49-F238E27FC236}">
                <a16:creationId xmlns:a16="http://schemas.microsoft.com/office/drawing/2014/main" id="{21485B3A-53C8-57EB-6851-DACF920C8D98}"/>
              </a:ext>
            </a:extLst>
          </p:cNvPr>
          <p:cNvSpPr txBox="1">
            <a:spLocks noGrp="1"/>
          </p:cNvSpPr>
          <p:nvPr>
            <p:ph type="title"/>
          </p:nvPr>
        </p:nvSpPr>
        <p:spPr/>
        <p:txBody>
          <a:bodyPr lIns="91421" tIns="45701" rIns="91421" bIns="45701"/>
          <a:lstStyle>
            <a:lvl1pPr>
              <a:defRPr/>
            </a:lvl1pPr>
          </a:lstStyle>
          <a:p>
            <a:pPr lvl="0"/>
            <a:endParaRPr lang="en-US"/>
          </a:p>
        </p:txBody>
      </p:sp>
      <p:sp>
        <p:nvSpPr>
          <p:cNvPr id="8" name="Google Shape;82;p44">
            <a:extLst>
              <a:ext uri="{FF2B5EF4-FFF2-40B4-BE49-F238E27FC236}">
                <a16:creationId xmlns:a16="http://schemas.microsoft.com/office/drawing/2014/main" id="{9D33EE54-F035-72B0-B33B-FAA6A73174CF}"/>
              </a:ext>
            </a:extLst>
          </p:cNvPr>
          <p:cNvSpPr txBox="1">
            <a:spLocks noGrp="1"/>
          </p:cNvSpPr>
          <p:nvPr>
            <p:ph type="body" idx="4294967295"/>
          </p:nvPr>
        </p:nvSpPr>
        <p:spPr/>
        <p:txBody>
          <a:bodyPr lIns="91421" tIns="45701" rIns="91421" bIns="45701"/>
          <a:lstStyle>
            <a:lvl1pPr marL="457223" indent="-342917">
              <a:spcAft>
                <a:spcPts val="0"/>
              </a:spcAft>
              <a:buSzPts val="1800"/>
              <a:defRPr/>
            </a:lvl1pPr>
          </a:lstStyle>
          <a:p>
            <a:pPr lvl="0"/>
            <a:endParaRPr lang="en-US"/>
          </a:p>
        </p:txBody>
      </p:sp>
      <p:sp>
        <p:nvSpPr>
          <p:cNvPr id="9" name="Google Shape;83;p44">
            <a:extLst>
              <a:ext uri="{FF2B5EF4-FFF2-40B4-BE49-F238E27FC236}">
                <a16:creationId xmlns:a16="http://schemas.microsoft.com/office/drawing/2014/main" id="{9F8FC54C-9018-8689-A647-50269E95B7A7}"/>
              </a:ext>
            </a:extLst>
          </p:cNvPr>
          <p:cNvSpPr txBox="1">
            <a:spLocks noGrp="1"/>
          </p:cNvSpPr>
          <p:nvPr>
            <p:ph type="sldNum" sz="quarter" idx="8"/>
          </p:nvPr>
        </p:nvSpPr>
        <p:spPr/>
        <p:txBody>
          <a:bodyPr lIns="91421" tIns="45701" rIns="91421" bIns="45701"/>
          <a:lstStyle>
            <a:lvl1pPr>
              <a:defRPr>
                <a:solidFill>
                  <a:srgbClr val="AEB3B7"/>
                </a:solidFill>
                <a:ea typeface="Calibri"/>
                <a:cs typeface="Calibri"/>
              </a:defRPr>
            </a:lvl1pPr>
          </a:lstStyle>
          <a:p>
            <a:pPr lvl="0"/>
            <a:fld id="{BF1C8FCA-88DC-4765-87F9-E93892CC751B}" type="slidenum">
              <a:t>‹#›</a:t>
            </a:fld>
            <a:endParaRPr lang="en-US"/>
          </a:p>
        </p:txBody>
      </p:sp>
      <p:cxnSp>
        <p:nvCxnSpPr>
          <p:cNvPr id="10" name="Google Shape;84;p44">
            <a:extLst>
              <a:ext uri="{FF2B5EF4-FFF2-40B4-BE49-F238E27FC236}">
                <a16:creationId xmlns:a16="http://schemas.microsoft.com/office/drawing/2014/main" id="{83EE5E9D-C83B-B482-5BFB-7C8ECAE8F17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85;p44">
            <a:extLst>
              <a:ext uri="{FF2B5EF4-FFF2-40B4-BE49-F238E27FC236}">
                <a16:creationId xmlns:a16="http://schemas.microsoft.com/office/drawing/2014/main" id="{84EA2640-18EB-35FB-B5BE-2B014B541FC9}"/>
              </a:ext>
            </a:extLst>
          </p:cNvPr>
          <p:cNvSpPr txBox="1">
            <a:spLocks noGrp="1"/>
          </p:cNvSpPr>
          <p:nvPr>
            <p:ph type="ftr" sz="quarter" idx="9"/>
          </p:nvPr>
        </p:nvSpPr>
        <p:spPr/>
        <p:txBody>
          <a:bodyPr lIns="91421" tIns="45701" rIns="91421" bIns="45701" anchorCtr="1"/>
          <a:lstStyle>
            <a:lvl1pPr algn="ctr">
              <a:defRPr/>
            </a:lvl1pPr>
          </a:lstStyle>
          <a:p>
            <a:pPr lvl="0"/>
            <a:endParaRPr lang="en-US"/>
          </a:p>
        </p:txBody>
      </p:sp>
    </p:spTree>
    <p:extLst>
      <p:ext uri="{BB962C8B-B14F-4D97-AF65-F5344CB8AC3E}">
        <p14:creationId xmlns:p14="http://schemas.microsoft.com/office/powerpoint/2010/main" val="3953817252"/>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p:cSld name="33_Photo Slide">
    <p:spTree>
      <p:nvGrpSpPr>
        <p:cNvPr id="1" name=""/>
        <p:cNvGrpSpPr/>
        <p:nvPr/>
      </p:nvGrpSpPr>
      <p:grpSpPr>
        <a:xfrm>
          <a:off x="0" y="0"/>
          <a:ext cx="0" cy="0"/>
          <a:chOff x="0" y="0"/>
          <a:chExt cx="0" cy="0"/>
        </a:xfrm>
      </p:grpSpPr>
      <p:sp>
        <p:nvSpPr>
          <p:cNvPr id="2" name="Google Shape;87;p41">
            <a:extLst>
              <a:ext uri="{FF2B5EF4-FFF2-40B4-BE49-F238E27FC236}">
                <a16:creationId xmlns:a16="http://schemas.microsoft.com/office/drawing/2014/main" id="{C1245C4C-C00C-FA8A-93D1-1EFDF9E45BB6}"/>
              </a:ext>
            </a:extLst>
          </p:cNvPr>
          <p:cNvSpPr txBox="1">
            <a:spLocks noGrp="1"/>
          </p:cNvSpPr>
          <p:nvPr>
            <p:ph type="body" idx="4294967295"/>
          </p:nvPr>
        </p:nvSpPr>
        <p:spPr>
          <a:xfrm>
            <a:off x="457200" y="1146255"/>
            <a:ext cx="2350172" cy="2971800"/>
          </a:xfrm>
        </p:spPr>
        <p:txBody>
          <a:bodyPr lIns="91421" tIns="45701" rIns="91421" bIns="45701"/>
          <a:lstStyle>
            <a:lvl1pPr marL="457223">
              <a:spcAft>
                <a:spcPts val="0"/>
              </a:spcAft>
              <a:buNone/>
              <a:defRPr/>
            </a:lvl1pPr>
          </a:lstStyle>
          <a:p>
            <a:pPr lvl="0"/>
            <a:endParaRPr lang="en-US"/>
          </a:p>
        </p:txBody>
      </p:sp>
      <p:cxnSp>
        <p:nvCxnSpPr>
          <p:cNvPr id="3" name="Google Shape;88;p41">
            <a:extLst>
              <a:ext uri="{FF2B5EF4-FFF2-40B4-BE49-F238E27FC236}">
                <a16:creationId xmlns:a16="http://schemas.microsoft.com/office/drawing/2014/main" id="{4C1C62CE-02EA-031F-7D6E-51146BC14A32}"/>
              </a:ext>
            </a:extLst>
          </p:cNvPr>
          <p:cNvCxnSpPr/>
          <p:nvPr/>
        </p:nvCxnSpPr>
        <p:spPr>
          <a:xfrm>
            <a:off x="457201" y="947985"/>
            <a:ext cx="2350163" cy="0"/>
          </a:xfrm>
          <a:prstGeom prst="straightConnector1">
            <a:avLst/>
          </a:prstGeom>
          <a:noFill/>
          <a:ln w="31747" cap="flat">
            <a:solidFill>
              <a:srgbClr val="F58366"/>
            </a:solidFill>
            <a:prstDash val="solid"/>
            <a:miter/>
          </a:ln>
        </p:spPr>
      </p:cxnSp>
      <p:grpSp>
        <p:nvGrpSpPr>
          <p:cNvPr id="4" name="Google Shape;89;p41">
            <a:extLst>
              <a:ext uri="{FF2B5EF4-FFF2-40B4-BE49-F238E27FC236}">
                <a16:creationId xmlns:a16="http://schemas.microsoft.com/office/drawing/2014/main" id="{0B1354E8-60A7-BEBF-9277-8ABB87C9AA5A}"/>
              </a:ext>
            </a:extLst>
          </p:cNvPr>
          <p:cNvGrpSpPr/>
          <p:nvPr/>
        </p:nvGrpSpPr>
        <p:grpSpPr>
          <a:xfrm>
            <a:off x="1" y="5379425"/>
            <a:ext cx="2807363" cy="753895"/>
            <a:chOff x="0" y="5379424"/>
            <a:chExt cx="2807363" cy="753895"/>
          </a:xfrm>
        </p:grpSpPr>
        <p:sp>
          <p:nvSpPr>
            <p:cNvPr id="5" name="Google Shape;90;p41">
              <a:extLst>
                <a:ext uri="{FF2B5EF4-FFF2-40B4-BE49-F238E27FC236}">
                  <a16:creationId xmlns:a16="http://schemas.microsoft.com/office/drawing/2014/main" id="{BEE9299D-7299-200B-2E3D-EF0A3BFE1DD9}"/>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91;p41">
              <a:extLst>
                <a:ext uri="{FF2B5EF4-FFF2-40B4-BE49-F238E27FC236}">
                  <a16:creationId xmlns:a16="http://schemas.microsoft.com/office/drawing/2014/main" id="{F44345D0-4087-FEDD-073B-B21031C2357B}"/>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93;p41">
            <a:extLst>
              <a:ext uri="{FF2B5EF4-FFF2-40B4-BE49-F238E27FC236}">
                <a16:creationId xmlns:a16="http://schemas.microsoft.com/office/drawing/2014/main" id="{B0A84E7E-9A15-C72B-6E6C-7497214F61C9}"/>
              </a:ext>
            </a:extLst>
          </p:cNvPr>
          <p:cNvPicPr>
            <a:picLocks noChangeAspect="1"/>
          </p:cNvPicPr>
          <p:nvPr/>
        </p:nvPicPr>
        <p:blipFill>
          <a:blip r:embed="rId2">
            <a:alphaModFix/>
          </a:blip>
          <a:srcRect/>
          <a:stretch>
            <a:fillRect/>
          </a:stretch>
        </p:blipFill>
        <p:spPr>
          <a:xfrm>
            <a:off x="513345" y="4385535"/>
            <a:ext cx="2025313" cy="911940"/>
          </a:xfrm>
          <a:prstGeom prst="rect">
            <a:avLst/>
          </a:prstGeom>
          <a:noFill/>
          <a:ln cap="flat">
            <a:noFill/>
          </a:ln>
        </p:spPr>
      </p:pic>
    </p:spTree>
    <p:extLst>
      <p:ext uri="{BB962C8B-B14F-4D97-AF65-F5344CB8AC3E}">
        <p14:creationId xmlns:p14="http://schemas.microsoft.com/office/powerpoint/2010/main" val="2515857368"/>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p:cSld name="34_Photo Slide">
    <p:spTree>
      <p:nvGrpSpPr>
        <p:cNvPr id="1" name=""/>
        <p:cNvGrpSpPr/>
        <p:nvPr/>
      </p:nvGrpSpPr>
      <p:grpSpPr>
        <a:xfrm>
          <a:off x="0" y="0"/>
          <a:ext cx="0" cy="0"/>
          <a:chOff x="0" y="0"/>
          <a:chExt cx="0" cy="0"/>
        </a:xfrm>
      </p:grpSpPr>
      <p:sp>
        <p:nvSpPr>
          <p:cNvPr id="2" name="Google Shape;87;p41">
            <a:extLst>
              <a:ext uri="{FF2B5EF4-FFF2-40B4-BE49-F238E27FC236}">
                <a16:creationId xmlns:a16="http://schemas.microsoft.com/office/drawing/2014/main" id="{56EA1F2C-F460-45C9-D986-8105032DA4B6}"/>
              </a:ext>
            </a:extLst>
          </p:cNvPr>
          <p:cNvSpPr txBox="1">
            <a:spLocks noGrp="1"/>
          </p:cNvSpPr>
          <p:nvPr>
            <p:ph type="body" idx="4294967295"/>
          </p:nvPr>
        </p:nvSpPr>
        <p:spPr>
          <a:xfrm>
            <a:off x="457200" y="1146255"/>
            <a:ext cx="2350172" cy="2971800"/>
          </a:xfrm>
        </p:spPr>
        <p:txBody>
          <a:bodyPr lIns="91421" tIns="45701" rIns="91421" bIns="45701"/>
          <a:lstStyle>
            <a:lvl1pPr marL="457223">
              <a:spcAft>
                <a:spcPts val="0"/>
              </a:spcAft>
              <a:buNone/>
              <a:defRPr/>
            </a:lvl1pPr>
          </a:lstStyle>
          <a:p>
            <a:pPr lvl="0"/>
            <a:endParaRPr lang="en-US"/>
          </a:p>
        </p:txBody>
      </p:sp>
      <p:cxnSp>
        <p:nvCxnSpPr>
          <p:cNvPr id="3" name="Google Shape;88;p41">
            <a:extLst>
              <a:ext uri="{FF2B5EF4-FFF2-40B4-BE49-F238E27FC236}">
                <a16:creationId xmlns:a16="http://schemas.microsoft.com/office/drawing/2014/main" id="{4E0F6830-C952-5BD8-5F7D-70EE4A3162D1}"/>
              </a:ext>
            </a:extLst>
          </p:cNvPr>
          <p:cNvCxnSpPr/>
          <p:nvPr/>
        </p:nvCxnSpPr>
        <p:spPr>
          <a:xfrm>
            <a:off x="457201" y="947985"/>
            <a:ext cx="2350163" cy="0"/>
          </a:xfrm>
          <a:prstGeom prst="straightConnector1">
            <a:avLst/>
          </a:prstGeom>
          <a:noFill/>
          <a:ln w="31747" cap="flat">
            <a:solidFill>
              <a:srgbClr val="F58366"/>
            </a:solidFill>
            <a:prstDash val="solid"/>
            <a:miter/>
          </a:ln>
        </p:spPr>
      </p:cxnSp>
      <p:grpSp>
        <p:nvGrpSpPr>
          <p:cNvPr id="4" name="Google Shape;89;p41">
            <a:extLst>
              <a:ext uri="{FF2B5EF4-FFF2-40B4-BE49-F238E27FC236}">
                <a16:creationId xmlns:a16="http://schemas.microsoft.com/office/drawing/2014/main" id="{5A34EF82-9CB8-016C-4F59-6E1873357013}"/>
              </a:ext>
            </a:extLst>
          </p:cNvPr>
          <p:cNvGrpSpPr/>
          <p:nvPr/>
        </p:nvGrpSpPr>
        <p:grpSpPr>
          <a:xfrm>
            <a:off x="1" y="5379425"/>
            <a:ext cx="2807363" cy="753895"/>
            <a:chOff x="0" y="5379424"/>
            <a:chExt cx="2807363" cy="753895"/>
          </a:xfrm>
        </p:grpSpPr>
        <p:sp>
          <p:nvSpPr>
            <p:cNvPr id="5" name="Google Shape;90;p41">
              <a:extLst>
                <a:ext uri="{FF2B5EF4-FFF2-40B4-BE49-F238E27FC236}">
                  <a16:creationId xmlns:a16="http://schemas.microsoft.com/office/drawing/2014/main" id="{BBEFD608-B951-AA7C-87BD-FE0410DBE667}"/>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91;p41">
              <a:extLst>
                <a:ext uri="{FF2B5EF4-FFF2-40B4-BE49-F238E27FC236}">
                  <a16:creationId xmlns:a16="http://schemas.microsoft.com/office/drawing/2014/main" id="{A932510B-3DBF-2D9F-78B3-952D86F902E3}"/>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93;p41">
            <a:extLst>
              <a:ext uri="{FF2B5EF4-FFF2-40B4-BE49-F238E27FC236}">
                <a16:creationId xmlns:a16="http://schemas.microsoft.com/office/drawing/2014/main" id="{0685F2F5-F06A-6ADC-3C92-F6BCFC8103ED}"/>
              </a:ext>
            </a:extLst>
          </p:cNvPr>
          <p:cNvPicPr>
            <a:picLocks noChangeAspect="1"/>
          </p:cNvPicPr>
          <p:nvPr/>
        </p:nvPicPr>
        <p:blipFill>
          <a:blip r:embed="rId2">
            <a:alphaModFix/>
          </a:blip>
          <a:srcRect/>
          <a:stretch>
            <a:fillRect/>
          </a:stretch>
        </p:blipFill>
        <p:spPr>
          <a:xfrm>
            <a:off x="513345" y="4385535"/>
            <a:ext cx="2025313" cy="911940"/>
          </a:xfrm>
          <a:prstGeom prst="rect">
            <a:avLst/>
          </a:prstGeom>
          <a:noFill/>
          <a:ln cap="flat">
            <a:noFill/>
          </a:ln>
        </p:spPr>
      </p:pic>
    </p:spTree>
    <p:extLst>
      <p:ext uri="{BB962C8B-B14F-4D97-AF65-F5344CB8AC3E}">
        <p14:creationId xmlns:p14="http://schemas.microsoft.com/office/powerpoint/2010/main" val="422714365"/>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p:cSld name="4_EVERYDAY CONTENT ONLY">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B7035621-A423-462A-2EC6-E688C90EB824}"/>
              </a:ext>
            </a:extLst>
          </p:cNvPr>
          <p:cNvSpPr/>
          <p:nvPr/>
        </p:nvSpPr>
        <p:spPr>
          <a:xfrm>
            <a:off x="0" y="0"/>
            <a:ext cx="12191996" cy="1313060"/>
          </a:xfrm>
          <a:prstGeom prst="rect">
            <a:avLst/>
          </a:prstGeom>
          <a:gradFill>
            <a:gsLst>
              <a:gs pos="0">
                <a:srgbClr val="1C498B"/>
              </a:gs>
              <a:gs pos="100000">
                <a:srgbClr val="79818A"/>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Shape">
            <a:extLst>
              <a:ext uri="{FF2B5EF4-FFF2-40B4-BE49-F238E27FC236}">
                <a16:creationId xmlns:a16="http://schemas.microsoft.com/office/drawing/2014/main" id="{62E00CBF-4753-19D1-73A0-E8321057F584}"/>
              </a:ext>
            </a:extLst>
          </p:cNvPr>
          <p:cNvSpPr/>
          <p:nvPr/>
        </p:nvSpPr>
        <p:spPr>
          <a:xfrm>
            <a:off x="6863642" y="16268"/>
            <a:ext cx="5328355" cy="812270"/>
          </a:xfrm>
          <a:custGeom>
            <a:avLst/>
            <a:gdLst>
              <a:gd name="f0" fmla="val 10800000"/>
              <a:gd name="f1" fmla="val 5400000"/>
              <a:gd name="f2" fmla="val 180"/>
              <a:gd name="f3" fmla="val w"/>
              <a:gd name="f4" fmla="val h"/>
              <a:gd name="f5" fmla="val 0"/>
              <a:gd name="f6" fmla="val 21600"/>
              <a:gd name="f7" fmla="val 20619"/>
              <a:gd name="f8" fmla="val 7043"/>
              <a:gd name="f9" fmla="val 1599"/>
              <a:gd name="f10" fmla="val 10431"/>
              <a:gd name="f11" fmla="val 3359"/>
              <a:gd name="f12" fmla="val 12009"/>
              <a:gd name="f13" fmla="val 5125"/>
              <a:gd name="f14" fmla="val 11638"/>
              <a:gd name="f15" fmla="val 8965"/>
              <a:gd name="f16" fmla="val 10834"/>
              <a:gd name="f17" fmla="val 12429"/>
              <a:gd name="f18" fmla="val 1037"/>
              <a:gd name="f19" fmla="val 16255"/>
              <a:gd name="f20" fmla="val 77"/>
              <a:gd name="f21" fmla="val 18093"/>
              <a:gd name="f22" fmla="+- 0 0 385"/>
              <a:gd name="f23" fmla="val 19927"/>
              <a:gd name="f24" fmla="val 1227"/>
              <a:gd name="f25" fmla="val 21590"/>
              <a:gd name="f26" fmla="val 4766"/>
              <a:gd name="f27" fmla="val 14041"/>
              <a:gd name="f28" fmla="val 19718"/>
              <a:gd name="f29" fmla="val 9870"/>
              <a:gd name="f30" fmla="val 17612"/>
              <a:gd name="f31" fmla="val 8157"/>
              <a:gd name="f32" fmla="val 15523"/>
              <a:gd name="f33" fmla="val 9097"/>
              <a:gd name="f34" fmla="val 12138"/>
              <a:gd name="f35" fmla="val 10620"/>
              <a:gd name="f36" fmla="val 9076"/>
              <a:gd name="f37" fmla="val 19001"/>
              <a:gd name="f38" fmla="val 5674"/>
              <a:gd name="f39" fmla="val 20410"/>
              <a:gd name="f40" fmla="val 3728"/>
              <a:gd name="f41" fmla="val 21215"/>
              <a:gd name="f42" fmla="val 1770"/>
              <a:gd name="f43" fmla="val 19679"/>
              <a:gd name="f44" fmla="val 15961"/>
              <a:gd name="f45" fmla="+- 0 0 -90"/>
              <a:gd name="f46" fmla="+- 0 0 -180"/>
              <a:gd name="f47" fmla="+- 0 0 -270"/>
              <a:gd name="f48" fmla="+- 0 0 -360"/>
              <a:gd name="f49" fmla="*/ f3 1 21600"/>
              <a:gd name="f50" fmla="*/ f4 1 20619"/>
              <a:gd name="f51" fmla="+- f7 0 f5"/>
              <a:gd name="f52" fmla="+- f6 0 f5"/>
              <a:gd name="f53" fmla="*/ f45 f0 1"/>
              <a:gd name="f54" fmla="*/ f46 f0 1"/>
              <a:gd name="f55" fmla="*/ f47 f0 1"/>
              <a:gd name="f56" fmla="*/ f48 f0 1"/>
              <a:gd name="f57" fmla="*/ f51 1 2"/>
              <a:gd name="f58" fmla="*/ f52 1 2"/>
              <a:gd name="f59" fmla="*/ f52 1 21600"/>
              <a:gd name="f60" fmla="*/ f51 1 20619"/>
              <a:gd name="f61" fmla="*/ f53 1 f2"/>
              <a:gd name="f62" fmla="*/ f54 1 f2"/>
              <a:gd name="f63" fmla="*/ f55 1 f2"/>
              <a:gd name="f64" fmla="*/ f56 1 f2"/>
              <a:gd name="f65" fmla="*/ f58 1 f59"/>
              <a:gd name="f66" fmla="*/ f57 1 f60"/>
              <a:gd name="f67" fmla="*/ 0 1 f59"/>
              <a:gd name="f68" fmla="*/ f6 1 f59"/>
              <a:gd name="f69" fmla="*/ 0 1 f60"/>
              <a:gd name="f70" fmla="*/ f7 1 f60"/>
              <a:gd name="f71" fmla="+- f61 0 f1"/>
              <a:gd name="f72" fmla="+- f62 0 f1"/>
              <a:gd name="f73" fmla="+- f63 0 f1"/>
              <a:gd name="f74" fmla="+- f64 0 f1"/>
              <a:gd name="f75" fmla="*/ f67 f49 1"/>
              <a:gd name="f76" fmla="*/ f68 f49 1"/>
              <a:gd name="f77" fmla="*/ f70 f50 1"/>
              <a:gd name="f78" fmla="*/ f69 f50 1"/>
              <a:gd name="f79" fmla="*/ f65 f49 1"/>
              <a:gd name="f80" fmla="*/ f66 f50 1"/>
            </a:gdLst>
            <a:ahLst/>
            <a:cxnLst>
              <a:cxn ang="3cd4">
                <a:pos x="hc" y="t"/>
              </a:cxn>
              <a:cxn ang="0">
                <a:pos x="r" y="vc"/>
              </a:cxn>
              <a:cxn ang="cd4">
                <a:pos x="hc" y="b"/>
              </a:cxn>
              <a:cxn ang="cd2">
                <a:pos x="l" y="vc"/>
              </a:cxn>
              <a:cxn ang="f71">
                <a:pos x="f79" y="f80"/>
              </a:cxn>
              <a:cxn ang="f72">
                <a:pos x="f79" y="f80"/>
              </a:cxn>
              <a:cxn ang="f73">
                <a:pos x="f79" y="f80"/>
              </a:cxn>
              <a:cxn ang="f74">
                <a:pos x="f79" y="f80"/>
              </a:cxn>
            </a:cxnLst>
            <a:rect l="f75" t="f78" r="f76" b="f77"/>
            <a:pathLst>
              <a:path w="21600" h="20619">
                <a:moveTo>
                  <a:pt x="f5" y="f8"/>
                </a:moveTo>
                <a:cubicBezTo>
                  <a:pt x="f9" y="f10"/>
                  <a:pt x="f11" y="f12"/>
                  <a:pt x="f13" y="f14"/>
                </a:cubicBezTo>
                <a:cubicBezTo>
                  <a:pt x="f15" y="f16"/>
                  <a:pt x="f17" y="f18"/>
                  <a:pt x="f19" y="f20"/>
                </a:cubicBezTo>
                <a:cubicBezTo>
                  <a:pt x="f21" y="f22"/>
                  <a:pt x="f23" y="f24"/>
                  <a:pt x="f25" y="f26"/>
                </a:cubicBezTo>
                <a:lnTo>
                  <a:pt x="f6" y="f27"/>
                </a:lnTo>
                <a:cubicBezTo>
                  <a:pt x="f28" y="f29"/>
                  <a:pt x="f30" y="f31"/>
                  <a:pt x="f32" y="f33"/>
                </a:cubicBezTo>
                <a:cubicBezTo>
                  <a:pt x="f34" y="f35"/>
                  <a:pt x="f36" y="f37"/>
                  <a:pt x="f38" y="f39"/>
                </a:cubicBezTo>
                <a:cubicBezTo>
                  <a:pt x="f40" y="f41"/>
                  <a:pt x="f42" y="f43"/>
                  <a:pt x="f5" y="f44"/>
                </a:cubicBezTo>
                <a:lnTo>
                  <a:pt x="f5" y="f8"/>
                </a:lnTo>
                <a:close/>
              </a:path>
            </a:pathLst>
          </a:custGeom>
          <a:gradFill>
            <a:gsLst>
              <a:gs pos="0">
                <a:srgbClr val="1C498B">
                  <a:alpha val="0"/>
                </a:srgbClr>
              </a:gs>
              <a:gs pos="100000">
                <a:srgbClr val="1C498B">
                  <a:alpha val="63000"/>
                </a:srgbClr>
              </a:gs>
            </a:gsLst>
            <a:lin ang="0"/>
          </a:gradFill>
          <a:ln cap="flat">
            <a:noFill/>
            <a:prstDash val="solid"/>
          </a:ln>
        </p:spPr>
        <p:txBody>
          <a:bodyPr vert="horz" wrap="square" lIns="0" tIns="0" rIns="0" bIns="0" anchor="ctr" anchorCtr="1" compatLnSpc="1">
            <a:noAutofit/>
          </a:bodyPr>
          <a:lstStyle/>
          <a:p>
            <a:pPr marL="0" marR="0" lvl="0" indent="0" algn="ctr" defTabSz="412772" rtl="0" fontAlgn="auto" hangingPunct="0">
              <a:lnSpc>
                <a:spcPct val="100000"/>
              </a:lnSpc>
              <a:spcBef>
                <a:spcPts val="0"/>
              </a:spcBef>
              <a:spcAft>
                <a:spcPts val="0"/>
              </a:spcAft>
              <a:buNone/>
              <a:tabLst/>
              <a:defRPr sz="2400" b="0" i="0" u="none" strike="noStrike" kern="0" cap="none" spc="0" baseline="0">
                <a:solidFill>
                  <a:srgbClr val="FFFFFF"/>
                </a:solidFill>
                <a:uFillTx/>
                <a:latin typeface="Helvetica Neue Medium"/>
                <a:ea typeface="Helvetica Neue Medium"/>
                <a:cs typeface="Helvetica Neue Medium"/>
              </a:defRPr>
            </a:pPr>
            <a:endParaRPr lang="en-US" sz="1525" b="0" i="0" u="none" strike="noStrike" kern="0" cap="none" spc="0" baseline="0">
              <a:solidFill>
                <a:srgbClr val="FFFFFF"/>
              </a:solidFill>
              <a:uFillTx/>
              <a:latin typeface="Helvetica Neue Medium"/>
              <a:ea typeface="Helvetica Neue Medium"/>
              <a:cs typeface="Helvetica Neue Medium"/>
            </a:endParaRPr>
          </a:p>
        </p:txBody>
      </p:sp>
      <p:sp>
        <p:nvSpPr>
          <p:cNvPr id="4" name="Content Placeholder 2">
            <a:extLst>
              <a:ext uri="{FF2B5EF4-FFF2-40B4-BE49-F238E27FC236}">
                <a16:creationId xmlns:a16="http://schemas.microsoft.com/office/drawing/2014/main" id="{322CE3DC-B122-3449-E8B0-1648103CFEA1}"/>
              </a:ext>
            </a:extLst>
          </p:cNvPr>
          <p:cNvSpPr txBox="1">
            <a:spLocks noGrp="1"/>
          </p:cNvSpPr>
          <p:nvPr>
            <p:ph idx="4294967295"/>
          </p:nvPr>
        </p:nvSpPr>
        <p:spPr>
          <a:xfrm>
            <a:off x="508544" y="1707789"/>
            <a:ext cx="11203667" cy="4648571"/>
          </a:xfrm>
        </p:spPr>
        <p:txBody>
          <a:bodyPr/>
          <a:lstStyle>
            <a:lvl1pPr>
              <a:defRPr>
                <a:solidFill>
                  <a:srgbClr val="4C555F"/>
                </a:solidFill>
              </a:defRPr>
            </a:lvl1pPr>
            <a:lvl2pPr>
              <a:defRPr>
                <a:solidFill>
                  <a:srgbClr val="4C555F"/>
                </a:solidFill>
              </a:defRPr>
            </a:lvl2pPr>
            <a:lvl3pPr>
              <a:defRPr>
                <a:solidFill>
                  <a:srgbClr val="4C555F"/>
                </a:solidFill>
              </a:defRPr>
            </a:lvl3pPr>
            <a:lvl4pPr>
              <a:defRPr>
                <a:solidFill>
                  <a:srgbClr val="4C555F"/>
                </a:solidFill>
              </a:defRPr>
            </a:lvl4pPr>
            <a:lvl5pPr>
              <a:defRPr>
                <a:solidFill>
                  <a:srgbClr val="4C555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hape">
            <a:extLst>
              <a:ext uri="{FF2B5EF4-FFF2-40B4-BE49-F238E27FC236}">
                <a16:creationId xmlns:a16="http://schemas.microsoft.com/office/drawing/2014/main" id="{3A1AD879-732B-9E81-E6FD-8DD49873A2AD}"/>
              </a:ext>
            </a:extLst>
          </p:cNvPr>
          <p:cNvSpPr/>
          <p:nvPr/>
        </p:nvSpPr>
        <p:spPr>
          <a:xfrm>
            <a:off x="6863642" y="519644"/>
            <a:ext cx="5328355" cy="812270"/>
          </a:xfrm>
          <a:custGeom>
            <a:avLst/>
            <a:gdLst>
              <a:gd name="f0" fmla="val 10800000"/>
              <a:gd name="f1" fmla="val 5400000"/>
              <a:gd name="f2" fmla="val 180"/>
              <a:gd name="f3" fmla="val w"/>
              <a:gd name="f4" fmla="val h"/>
              <a:gd name="f5" fmla="val 0"/>
              <a:gd name="f6" fmla="val 21600"/>
              <a:gd name="f7" fmla="val 20619"/>
              <a:gd name="f8" fmla="val 7043"/>
              <a:gd name="f9" fmla="val 1599"/>
              <a:gd name="f10" fmla="val 10431"/>
              <a:gd name="f11" fmla="val 3359"/>
              <a:gd name="f12" fmla="val 12009"/>
              <a:gd name="f13" fmla="val 5125"/>
              <a:gd name="f14" fmla="val 11638"/>
              <a:gd name="f15" fmla="val 8965"/>
              <a:gd name="f16" fmla="val 10834"/>
              <a:gd name="f17" fmla="val 12429"/>
              <a:gd name="f18" fmla="val 1037"/>
              <a:gd name="f19" fmla="val 16255"/>
              <a:gd name="f20" fmla="val 77"/>
              <a:gd name="f21" fmla="val 18093"/>
              <a:gd name="f22" fmla="+- 0 0 385"/>
              <a:gd name="f23" fmla="val 19927"/>
              <a:gd name="f24" fmla="val 1227"/>
              <a:gd name="f25" fmla="val 21590"/>
              <a:gd name="f26" fmla="val 4766"/>
              <a:gd name="f27" fmla="val 14041"/>
              <a:gd name="f28" fmla="val 19718"/>
              <a:gd name="f29" fmla="val 9870"/>
              <a:gd name="f30" fmla="val 17612"/>
              <a:gd name="f31" fmla="val 8157"/>
              <a:gd name="f32" fmla="val 15523"/>
              <a:gd name="f33" fmla="val 9097"/>
              <a:gd name="f34" fmla="val 12138"/>
              <a:gd name="f35" fmla="val 10620"/>
              <a:gd name="f36" fmla="val 9076"/>
              <a:gd name="f37" fmla="val 19001"/>
              <a:gd name="f38" fmla="val 5674"/>
              <a:gd name="f39" fmla="val 20410"/>
              <a:gd name="f40" fmla="val 3728"/>
              <a:gd name="f41" fmla="val 21215"/>
              <a:gd name="f42" fmla="val 1770"/>
              <a:gd name="f43" fmla="val 19679"/>
              <a:gd name="f44" fmla="val 15961"/>
              <a:gd name="f45" fmla="+- 0 0 -90"/>
              <a:gd name="f46" fmla="+- 0 0 -180"/>
              <a:gd name="f47" fmla="+- 0 0 -270"/>
              <a:gd name="f48" fmla="+- 0 0 -360"/>
              <a:gd name="f49" fmla="*/ f3 1 21600"/>
              <a:gd name="f50" fmla="*/ f4 1 20619"/>
              <a:gd name="f51" fmla="+- f7 0 f5"/>
              <a:gd name="f52" fmla="+- f6 0 f5"/>
              <a:gd name="f53" fmla="*/ f45 f0 1"/>
              <a:gd name="f54" fmla="*/ f46 f0 1"/>
              <a:gd name="f55" fmla="*/ f47 f0 1"/>
              <a:gd name="f56" fmla="*/ f48 f0 1"/>
              <a:gd name="f57" fmla="*/ f51 1 2"/>
              <a:gd name="f58" fmla="*/ f52 1 2"/>
              <a:gd name="f59" fmla="*/ f52 1 21600"/>
              <a:gd name="f60" fmla="*/ f51 1 20619"/>
              <a:gd name="f61" fmla="*/ f53 1 f2"/>
              <a:gd name="f62" fmla="*/ f54 1 f2"/>
              <a:gd name="f63" fmla="*/ f55 1 f2"/>
              <a:gd name="f64" fmla="*/ f56 1 f2"/>
              <a:gd name="f65" fmla="*/ f58 1 f59"/>
              <a:gd name="f66" fmla="*/ f57 1 f60"/>
              <a:gd name="f67" fmla="*/ 0 1 f59"/>
              <a:gd name="f68" fmla="*/ f6 1 f59"/>
              <a:gd name="f69" fmla="*/ 0 1 f60"/>
              <a:gd name="f70" fmla="*/ f7 1 f60"/>
              <a:gd name="f71" fmla="+- f61 0 f1"/>
              <a:gd name="f72" fmla="+- f62 0 f1"/>
              <a:gd name="f73" fmla="+- f63 0 f1"/>
              <a:gd name="f74" fmla="+- f64 0 f1"/>
              <a:gd name="f75" fmla="*/ f67 f49 1"/>
              <a:gd name="f76" fmla="*/ f68 f49 1"/>
              <a:gd name="f77" fmla="*/ f70 f50 1"/>
              <a:gd name="f78" fmla="*/ f69 f50 1"/>
              <a:gd name="f79" fmla="*/ f65 f49 1"/>
              <a:gd name="f80" fmla="*/ f66 f50 1"/>
            </a:gdLst>
            <a:ahLst/>
            <a:cxnLst>
              <a:cxn ang="3cd4">
                <a:pos x="hc" y="t"/>
              </a:cxn>
              <a:cxn ang="0">
                <a:pos x="r" y="vc"/>
              </a:cxn>
              <a:cxn ang="cd4">
                <a:pos x="hc" y="b"/>
              </a:cxn>
              <a:cxn ang="cd2">
                <a:pos x="l" y="vc"/>
              </a:cxn>
              <a:cxn ang="f71">
                <a:pos x="f79" y="f80"/>
              </a:cxn>
              <a:cxn ang="f72">
                <a:pos x="f79" y="f80"/>
              </a:cxn>
              <a:cxn ang="f73">
                <a:pos x="f79" y="f80"/>
              </a:cxn>
              <a:cxn ang="f74">
                <a:pos x="f79" y="f80"/>
              </a:cxn>
            </a:cxnLst>
            <a:rect l="f75" t="f78" r="f76" b="f77"/>
            <a:pathLst>
              <a:path w="21600" h="20619">
                <a:moveTo>
                  <a:pt x="f5" y="f8"/>
                </a:moveTo>
                <a:cubicBezTo>
                  <a:pt x="f9" y="f10"/>
                  <a:pt x="f11" y="f12"/>
                  <a:pt x="f13" y="f14"/>
                </a:cubicBezTo>
                <a:cubicBezTo>
                  <a:pt x="f15" y="f16"/>
                  <a:pt x="f17" y="f18"/>
                  <a:pt x="f19" y="f20"/>
                </a:cubicBezTo>
                <a:cubicBezTo>
                  <a:pt x="f21" y="f22"/>
                  <a:pt x="f23" y="f24"/>
                  <a:pt x="f25" y="f26"/>
                </a:cubicBezTo>
                <a:lnTo>
                  <a:pt x="f6" y="f27"/>
                </a:lnTo>
                <a:cubicBezTo>
                  <a:pt x="f28" y="f29"/>
                  <a:pt x="f30" y="f31"/>
                  <a:pt x="f32" y="f33"/>
                </a:cubicBezTo>
                <a:cubicBezTo>
                  <a:pt x="f34" y="f35"/>
                  <a:pt x="f36" y="f37"/>
                  <a:pt x="f38" y="f39"/>
                </a:cubicBezTo>
                <a:cubicBezTo>
                  <a:pt x="f40" y="f41"/>
                  <a:pt x="f42" y="f43"/>
                  <a:pt x="f5" y="f44"/>
                </a:cubicBezTo>
                <a:lnTo>
                  <a:pt x="f5" y="f8"/>
                </a:lnTo>
                <a:close/>
              </a:path>
            </a:pathLst>
          </a:custGeom>
          <a:gradFill>
            <a:gsLst>
              <a:gs pos="0">
                <a:srgbClr val="1C498B">
                  <a:alpha val="0"/>
                </a:srgbClr>
              </a:gs>
              <a:gs pos="100000">
                <a:srgbClr val="1C498B">
                  <a:alpha val="63000"/>
                </a:srgbClr>
              </a:gs>
            </a:gsLst>
            <a:lin ang="0"/>
          </a:gradFill>
          <a:ln cap="flat">
            <a:noFill/>
            <a:prstDash val="solid"/>
          </a:ln>
        </p:spPr>
        <p:txBody>
          <a:bodyPr vert="horz" wrap="square" lIns="0" tIns="0" rIns="0" bIns="0" anchor="ctr" anchorCtr="1" compatLnSpc="1">
            <a:noAutofit/>
          </a:bodyPr>
          <a:lstStyle/>
          <a:p>
            <a:pPr marL="0" marR="0" lvl="0" indent="0" algn="ctr" defTabSz="412772" rtl="0" fontAlgn="auto" hangingPunct="0">
              <a:lnSpc>
                <a:spcPct val="100000"/>
              </a:lnSpc>
              <a:spcBef>
                <a:spcPts val="0"/>
              </a:spcBef>
              <a:spcAft>
                <a:spcPts val="0"/>
              </a:spcAft>
              <a:buNone/>
              <a:tabLst/>
              <a:defRPr sz="2400" b="0" i="0" u="none" strike="noStrike" kern="0" cap="none" spc="0" baseline="0">
                <a:solidFill>
                  <a:srgbClr val="FFFFFF"/>
                </a:solidFill>
                <a:uFillTx/>
                <a:latin typeface="Helvetica Neue Medium"/>
                <a:ea typeface="Helvetica Neue Medium"/>
                <a:cs typeface="Helvetica Neue Medium"/>
              </a:defRPr>
            </a:pPr>
            <a:endParaRPr lang="en-US" sz="1525" b="0" i="0" u="none" strike="noStrike" kern="0" cap="none" spc="0" baseline="0">
              <a:solidFill>
                <a:srgbClr val="FFFFFF"/>
              </a:solidFill>
              <a:uFillTx/>
              <a:latin typeface="Helvetica Neue Medium"/>
              <a:ea typeface="Helvetica Neue Medium"/>
              <a:cs typeface="Helvetica Neue Medium"/>
            </a:endParaRPr>
          </a:p>
        </p:txBody>
      </p:sp>
      <p:sp>
        <p:nvSpPr>
          <p:cNvPr id="6" name="Title 1">
            <a:extLst>
              <a:ext uri="{FF2B5EF4-FFF2-40B4-BE49-F238E27FC236}">
                <a16:creationId xmlns:a16="http://schemas.microsoft.com/office/drawing/2014/main" id="{B2542141-5891-DAEB-DEEA-82CC0EC72C32}"/>
              </a:ext>
            </a:extLst>
          </p:cNvPr>
          <p:cNvSpPr txBox="1">
            <a:spLocks noGrp="1"/>
          </p:cNvSpPr>
          <p:nvPr>
            <p:ph type="title"/>
          </p:nvPr>
        </p:nvSpPr>
        <p:spPr>
          <a:xfrm>
            <a:off x="304796" y="170060"/>
            <a:ext cx="11430000" cy="1143000"/>
          </a:xfrm>
        </p:spPr>
        <p:txBody>
          <a:bodyPr/>
          <a:lstStyle>
            <a:lvl1pPr>
              <a:defRPr sz="3200">
                <a:solidFill>
                  <a:srgbClr val="FFFFFF"/>
                </a:solidFill>
              </a:defRPr>
            </a:lvl1pPr>
          </a:lstStyle>
          <a:p>
            <a:pPr lvl="0"/>
            <a:r>
              <a:rPr lang="en-US"/>
              <a:t>Click to edit Master title style</a:t>
            </a:r>
          </a:p>
        </p:txBody>
      </p:sp>
      <p:sp>
        <p:nvSpPr>
          <p:cNvPr id="7" name="Text Placeholder 4">
            <a:extLst>
              <a:ext uri="{FF2B5EF4-FFF2-40B4-BE49-F238E27FC236}">
                <a16:creationId xmlns:a16="http://schemas.microsoft.com/office/drawing/2014/main" id="{3F1B00D6-07A8-408D-AED6-9B4709024392}"/>
              </a:ext>
            </a:extLst>
          </p:cNvPr>
          <p:cNvSpPr txBox="1">
            <a:spLocks noGrp="1"/>
          </p:cNvSpPr>
          <p:nvPr>
            <p:ph type="body" idx="4294967295"/>
          </p:nvPr>
        </p:nvSpPr>
        <p:spPr>
          <a:xfrm>
            <a:off x="332184" y="953345"/>
            <a:ext cx="11430109" cy="415923"/>
          </a:xfrm>
        </p:spPr>
        <p:txBody>
          <a:bodyPr>
            <a:normAutofit/>
          </a:bodyPr>
          <a:lstStyle>
            <a:lvl1pPr marL="0" indent="0">
              <a:buNone/>
              <a:defRPr sz="1400">
                <a:solidFill>
                  <a:srgbClr val="FFFFFF"/>
                </a:solidFill>
              </a:defRPr>
            </a:lvl1pPr>
          </a:lstStyle>
          <a:p>
            <a:pPr lvl="0"/>
            <a:r>
              <a:rPr lang="en-US"/>
              <a:t>Subtitle</a:t>
            </a:r>
          </a:p>
        </p:txBody>
      </p:sp>
      <p:cxnSp>
        <p:nvCxnSpPr>
          <p:cNvPr id="8" name="Straight Connector 15">
            <a:extLst>
              <a:ext uri="{FF2B5EF4-FFF2-40B4-BE49-F238E27FC236}">
                <a16:creationId xmlns:a16="http://schemas.microsoft.com/office/drawing/2014/main" id="{5795D174-9DF7-8D26-CD1A-836C57B6F68B}"/>
              </a:ext>
            </a:extLst>
          </p:cNvPr>
          <p:cNvCxnSpPr/>
          <p:nvPr/>
        </p:nvCxnSpPr>
        <p:spPr>
          <a:xfrm>
            <a:off x="11311722" y="6447270"/>
            <a:ext cx="0" cy="267883"/>
          </a:xfrm>
          <a:prstGeom prst="straightConnector1">
            <a:avLst/>
          </a:prstGeom>
          <a:noFill/>
          <a:ln w="6345" cap="flat">
            <a:solidFill>
              <a:srgbClr val="7F7F7F"/>
            </a:solidFill>
            <a:prstDash val="solid"/>
            <a:miter/>
          </a:ln>
        </p:spPr>
      </p:cxnSp>
      <p:sp>
        <p:nvSpPr>
          <p:cNvPr id="9" name="Slide Number Placeholder 6">
            <a:extLst>
              <a:ext uri="{FF2B5EF4-FFF2-40B4-BE49-F238E27FC236}">
                <a16:creationId xmlns:a16="http://schemas.microsoft.com/office/drawing/2014/main" id="{6B4DCE9B-B236-9A8E-3060-BED935D0BAE9}"/>
              </a:ext>
            </a:extLst>
          </p:cNvPr>
          <p:cNvSpPr txBox="1">
            <a:spLocks noGrp="1"/>
          </p:cNvSpPr>
          <p:nvPr>
            <p:ph type="sldNum" sz="quarter" idx="8"/>
          </p:nvPr>
        </p:nvSpPr>
        <p:spPr>
          <a:xfrm>
            <a:off x="11202597" y="6454531"/>
            <a:ext cx="559704" cy="319171"/>
          </a:xfrm>
        </p:spPr>
        <p:txBody>
          <a:bodyPr/>
          <a:lstStyle>
            <a:lvl1pPr>
              <a:defRPr sz="1000">
                <a:solidFill>
                  <a:srgbClr val="7F7F7F"/>
                </a:solidFill>
              </a:defRPr>
            </a:lvl1pPr>
          </a:lstStyle>
          <a:p>
            <a:pPr lvl="0"/>
            <a:fld id="{84EC9C50-38B2-4063-A023-4D979E162C14}" type="slidenum">
              <a:t>‹#›</a:t>
            </a:fld>
            <a:endParaRPr lang="en-US"/>
          </a:p>
        </p:txBody>
      </p:sp>
      <p:pic>
        <p:nvPicPr>
          <p:cNvPr id="10" name="Picture 11">
            <a:extLst>
              <a:ext uri="{FF2B5EF4-FFF2-40B4-BE49-F238E27FC236}">
                <a16:creationId xmlns:a16="http://schemas.microsoft.com/office/drawing/2014/main" id="{A77CB6BC-1A8F-150B-411D-1D7AFD3C7964}"/>
              </a:ext>
            </a:extLst>
          </p:cNvPr>
          <p:cNvPicPr>
            <a:picLocks noChangeAspect="1"/>
          </p:cNvPicPr>
          <p:nvPr/>
        </p:nvPicPr>
        <p:blipFill>
          <a:blip r:embed="rId2"/>
          <a:stretch>
            <a:fillRect/>
          </a:stretch>
        </p:blipFill>
        <p:spPr>
          <a:xfrm>
            <a:off x="9596464" y="6492240"/>
            <a:ext cx="1606134" cy="229240"/>
          </a:xfrm>
          <a:prstGeom prst="rect">
            <a:avLst/>
          </a:prstGeom>
          <a:noFill/>
          <a:ln cap="flat">
            <a:noFill/>
          </a:ln>
        </p:spPr>
      </p:pic>
    </p:spTree>
    <p:extLst>
      <p:ext uri="{BB962C8B-B14F-4D97-AF65-F5344CB8AC3E}">
        <p14:creationId xmlns:p14="http://schemas.microsoft.com/office/powerpoint/2010/main" val="1269339305"/>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p:cSld name="5_EVERYDAY CONTENT ONLY">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8EA840E2-0E2F-2D07-E5AC-A2FBE174C879}"/>
              </a:ext>
            </a:extLst>
          </p:cNvPr>
          <p:cNvSpPr/>
          <p:nvPr/>
        </p:nvSpPr>
        <p:spPr>
          <a:xfrm>
            <a:off x="0" y="0"/>
            <a:ext cx="12191996" cy="1313060"/>
          </a:xfrm>
          <a:prstGeom prst="rect">
            <a:avLst/>
          </a:prstGeom>
          <a:gradFill>
            <a:gsLst>
              <a:gs pos="0">
                <a:srgbClr val="1C498B"/>
              </a:gs>
              <a:gs pos="100000">
                <a:srgbClr val="79818A"/>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Shape">
            <a:extLst>
              <a:ext uri="{FF2B5EF4-FFF2-40B4-BE49-F238E27FC236}">
                <a16:creationId xmlns:a16="http://schemas.microsoft.com/office/drawing/2014/main" id="{C7DC0113-F5B1-94E0-6D3F-A93377003EAC}"/>
              </a:ext>
            </a:extLst>
          </p:cNvPr>
          <p:cNvSpPr/>
          <p:nvPr/>
        </p:nvSpPr>
        <p:spPr>
          <a:xfrm>
            <a:off x="6863642" y="16268"/>
            <a:ext cx="5328355" cy="812270"/>
          </a:xfrm>
          <a:custGeom>
            <a:avLst/>
            <a:gdLst>
              <a:gd name="f0" fmla="val 10800000"/>
              <a:gd name="f1" fmla="val 5400000"/>
              <a:gd name="f2" fmla="val 180"/>
              <a:gd name="f3" fmla="val w"/>
              <a:gd name="f4" fmla="val h"/>
              <a:gd name="f5" fmla="val 0"/>
              <a:gd name="f6" fmla="val 21600"/>
              <a:gd name="f7" fmla="val 20619"/>
              <a:gd name="f8" fmla="val 7043"/>
              <a:gd name="f9" fmla="val 1599"/>
              <a:gd name="f10" fmla="val 10431"/>
              <a:gd name="f11" fmla="val 3359"/>
              <a:gd name="f12" fmla="val 12009"/>
              <a:gd name="f13" fmla="val 5125"/>
              <a:gd name="f14" fmla="val 11638"/>
              <a:gd name="f15" fmla="val 8965"/>
              <a:gd name="f16" fmla="val 10834"/>
              <a:gd name="f17" fmla="val 12429"/>
              <a:gd name="f18" fmla="val 1037"/>
              <a:gd name="f19" fmla="val 16255"/>
              <a:gd name="f20" fmla="val 77"/>
              <a:gd name="f21" fmla="val 18093"/>
              <a:gd name="f22" fmla="+- 0 0 385"/>
              <a:gd name="f23" fmla="val 19927"/>
              <a:gd name="f24" fmla="val 1227"/>
              <a:gd name="f25" fmla="val 21590"/>
              <a:gd name="f26" fmla="val 4766"/>
              <a:gd name="f27" fmla="val 14041"/>
              <a:gd name="f28" fmla="val 19718"/>
              <a:gd name="f29" fmla="val 9870"/>
              <a:gd name="f30" fmla="val 17612"/>
              <a:gd name="f31" fmla="val 8157"/>
              <a:gd name="f32" fmla="val 15523"/>
              <a:gd name="f33" fmla="val 9097"/>
              <a:gd name="f34" fmla="val 12138"/>
              <a:gd name="f35" fmla="val 10620"/>
              <a:gd name="f36" fmla="val 9076"/>
              <a:gd name="f37" fmla="val 19001"/>
              <a:gd name="f38" fmla="val 5674"/>
              <a:gd name="f39" fmla="val 20410"/>
              <a:gd name="f40" fmla="val 3728"/>
              <a:gd name="f41" fmla="val 21215"/>
              <a:gd name="f42" fmla="val 1770"/>
              <a:gd name="f43" fmla="val 19679"/>
              <a:gd name="f44" fmla="val 15961"/>
              <a:gd name="f45" fmla="+- 0 0 -90"/>
              <a:gd name="f46" fmla="+- 0 0 -180"/>
              <a:gd name="f47" fmla="+- 0 0 -270"/>
              <a:gd name="f48" fmla="+- 0 0 -360"/>
              <a:gd name="f49" fmla="*/ f3 1 21600"/>
              <a:gd name="f50" fmla="*/ f4 1 20619"/>
              <a:gd name="f51" fmla="+- f7 0 f5"/>
              <a:gd name="f52" fmla="+- f6 0 f5"/>
              <a:gd name="f53" fmla="*/ f45 f0 1"/>
              <a:gd name="f54" fmla="*/ f46 f0 1"/>
              <a:gd name="f55" fmla="*/ f47 f0 1"/>
              <a:gd name="f56" fmla="*/ f48 f0 1"/>
              <a:gd name="f57" fmla="*/ f51 1 2"/>
              <a:gd name="f58" fmla="*/ f52 1 2"/>
              <a:gd name="f59" fmla="*/ f52 1 21600"/>
              <a:gd name="f60" fmla="*/ f51 1 20619"/>
              <a:gd name="f61" fmla="*/ f53 1 f2"/>
              <a:gd name="f62" fmla="*/ f54 1 f2"/>
              <a:gd name="f63" fmla="*/ f55 1 f2"/>
              <a:gd name="f64" fmla="*/ f56 1 f2"/>
              <a:gd name="f65" fmla="*/ f58 1 f59"/>
              <a:gd name="f66" fmla="*/ f57 1 f60"/>
              <a:gd name="f67" fmla="*/ 0 1 f59"/>
              <a:gd name="f68" fmla="*/ f6 1 f59"/>
              <a:gd name="f69" fmla="*/ 0 1 f60"/>
              <a:gd name="f70" fmla="*/ f7 1 f60"/>
              <a:gd name="f71" fmla="+- f61 0 f1"/>
              <a:gd name="f72" fmla="+- f62 0 f1"/>
              <a:gd name="f73" fmla="+- f63 0 f1"/>
              <a:gd name="f74" fmla="+- f64 0 f1"/>
              <a:gd name="f75" fmla="*/ f67 f49 1"/>
              <a:gd name="f76" fmla="*/ f68 f49 1"/>
              <a:gd name="f77" fmla="*/ f70 f50 1"/>
              <a:gd name="f78" fmla="*/ f69 f50 1"/>
              <a:gd name="f79" fmla="*/ f65 f49 1"/>
              <a:gd name="f80" fmla="*/ f66 f50 1"/>
            </a:gdLst>
            <a:ahLst/>
            <a:cxnLst>
              <a:cxn ang="3cd4">
                <a:pos x="hc" y="t"/>
              </a:cxn>
              <a:cxn ang="0">
                <a:pos x="r" y="vc"/>
              </a:cxn>
              <a:cxn ang="cd4">
                <a:pos x="hc" y="b"/>
              </a:cxn>
              <a:cxn ang="cd2">
                <a:pos x="l" y="vc"/>
              </a:cxn>
              <a:cxn ang="f71">
                <a:pos x="f79" y="f80"/>
              </a:cxn>
              <a:cxn ang="f72">
                <a:pos x="f79" y="f80"/>
              </a:cxn>
              <a:cxn ang="f73">
                <a:pos x="f79" y="f80"/>
              </a:cxn>
              <a:cxn ang="f74">
                <a:pos x="f79" y="f80"/>
              </a:cxn>
            </a:cxnLst>
            <a:rect l="f75" t="f78" r="f76" b="f77"/>
            <a:pathLst>
              <a:path w="21600" h="20619">
                <a:moveTo>
                  <a:pt x="f5" y="f8"/>
                </a:moveTo>
                <a:cubicBezTo>
                  <a:pt x="f9" y="f10"/>
                  <a:pt x="f11" y="f12"/>
                  <a:pt x="f13" y="f14"/>
                </a:cubicBezTo>
                <a:cubicBezTo>
                  <a:pt x="f15" y="f16"/>
                  <a:pt x="f17" y="f18"/>
                  <a:pt x="f19" y="f20"/>
                </a:cubicBezTo>
                <a:cubicBezTo>
                  <a:pt x="f21" y="f22"/>
                  <a:pt x="f23" y="f24"/>
                  <a:pt x="f25" y="f26"/>
                </a:cubicBezTo>
                <a:lnTo>
                  <a:pt x="f6" y="f27"/>
                </a:lnTo>
                <a:cubicBezTo>
                  <a:pt x="f28" y="f29"/>
                  <a:pt x="f30" y="f31"/>
                  <a:pt x="f32" y="f33"/>
                </a:cubicBezTo>
                <a:cubicBezTo>
                  <a:pt x="f34" y="f35"/>
                  <a:pt x="f36" y="f37"/>
                  <a:pt x="f38" y="f39"/>
                </a:cubicBezTo>
                <a:cubicBezTo>
                  <a:pt x="f40" y="f41"/>
                  <a:pt x="f42" y="f43"/>
                  <a:pt x="f5" y="f44"/>
                </a:cubicBezTo>
                <a:lnTo>
                  <a:pt x="f5" y="f8"/>
                </a:lnTo>
                <a:close/>
              </a:path>
            </a:pathLst>
          </a:custGeom>
          <a:gradFill>
            <a:gsLst>
              <a:gs pos="0">
                <a:srgbClr val="1C498B">
                  <a:alpha val="0"/>
                </a:srgbClr>
              </a:gs>
              <a:gs pos="100000">
                <a:srgbClr val="1C498B">
                  <a:alpha val="63000"/>
                </a:srgbClr>
              </a:gs>
            </a:gsLst>
            <a:lin ang="0"/>
          </a:gradFill>
          <a:ln cap="flat">
            <a:noFill/>
            <a:prstDash val="solid"/>
          </a:ln>
        </p:spPr>
        <p:txBody>
          <a:bodyPr vert="horz" wrap="square" lIns="0" tIns="0" rIns="0" bIns="0" anchor="ctr" anchorCtr="1" compatLnSpc="1">
            <a:noAutofit/>
          </a:bodyPr>
          <a:lstStyle/>
          <a:p>
            <a:pPr marL="0" marR="0" lvl="0" indent="0" algn="ctr" defTabSz="412772" rtl="0" fontAlgn="auto" hangingPunct="0">
              <a:lnSpc>
                <a:spcPct val="100000"/>
              </a:lnSpc>
              <a:spcBef>
                <a:spcPts val="0"/>
              </a:spcBef>
              <a:spcAft>
                <a:spcPts val="0"/>
              </a:spcAft>
              <a:buNone/>
              <a:tabLst/>
              <a:defRPr sz="2400" b="0" i="0" u="none" strike="noStrike" kern="0" cap="none" spc="0" baseline="0">
                <a:solidFill>
                  <a:srgbClr val="FFFFFF"/>
                </a:solidFill>
                <a:uFillTx/>
                <a:latin typeface="Helvetica Neue Medium"/>
                <a:ea typeface="Helvetica Neue Medium"/>
                <a:cs typeface="Helvetica Neue Medium"/>
              </a:defRPr>
            </a:pPr>
            <a:endParaRPr lang="en-US" sz="1525" b="0" i="0" u="none" strike="noStrike" kern="0" cap="none" spc="0" baseline="0">
              <a:solidFill>
                <a:srgbClr val="FFFFFF"/>
              </a:solidFill>
              <a:uFillTx/>
              <a:latin typeface="Helvetica Neue Medium"/>
              <a:ea typeface="Helvetica Neue Medium"/>
              <a:cs typeface="Helvetica Neue Medium"/>
            </a:endParaRPr>
          </a:p>
        </p:txBody>
      </p:sp>
      <p:sp>
        <p:nvSpPr>
          <p:cNvPr id="4" name="Content Placeholder 2">
            <a:extLst>
              <a:ext uri="{FF2B5EF4-FFF2-40B4-BE49-F238E27FC236}">
                <a16:creationId xmlns:a16="http://schemas.microsoft.com/office/drawing/2014/main" id="{D6221C6C-24B7-8A56-4855-7A8F02E4CE4E}"/>
              </a:ext>
            </a:extLst>
          </p:cNvPr>
          <p:cNvSpPr txBox="1">
            <a:spLocks noGrp="1"/>
          </p:cNvSpPr>
          <p:nvPr>
            <p:ph idx="4294967295"/>
          </p:nvPr>
        </p:nvSpPr>
        <p:spPr>
          <a:xfrm>
            <a:off x="508544" y="1707789"/>
            <a:ext cx="11203667" cy="4648571"/>
          </a:xfrm>
        </p:spPr>
        <p:txBody>
          <a:bodyPr/>
          <a:lstStyle>
            <a:lvl1pPr>
              <a:defRPr>
                <a:solidFill>
                  <a:srgbClr val="4C555F"/>
                </a:solidFill>
              </a:defRPr>
            </a:lvl1pPr>
            <a:lvl2pPr>
              <a:defRPr>
                <a:solidFill>
                  <a:srgbClr val="4C555F"/>
                </a:solidFill>
              </a:defRPr>
            </a:lvl2pPr>
            <a:lvl3pPr>
              <a:defRPr>
                <a:solidFill>
                  <a:srgbClr val="4C555F"/>
                </a:solidFill>
              </a:defRPr>
            </a:lvl3pPr>
            <a:lvl4pPr>
              <a:defRPr>
                <a:solidFill>
                  <a:srgbClr val="4C555F"/>
                </a:solidFill>
              </a:defRPr>
            </a:lvl4pPr>
            <a:lvl5pPr>
              <a:defRPr>
                <a:solidFill>
                  <a:srgbClr val="4C555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hape">
            <a:extLst>
              <a:ext uri="{FF2B5EF4-FFF2-40B4-BE49-F238E27FC236}">
                <a16:creationId xmlns:a16="http://schemas.microsoft.com/office/drawing/2014/main" id="{B4E6A501-6944-B263-B648-6188C7863CAF}"/>
              </a:ext>
            </a:extLst>
          </p:cNvPr>
          <p:cNvSpPr/>
          <p:nvPr/>
        </p:nvSpPr>
        <p:spPr>
          <a:xfrm>
            <a:off x="6863642" y="519644"/>
            <a:ext cx="5328355" cy="812270"/>
          </a:xfrm>
          <a:custGeom>
            <a:avLst/>
            <a:gdLst>
              <a:gd name="f0" fmla="val 10800000"/>
              <a:gd name="f1" fmla="val 5400000"/>
              <a:gd name="f2" fmla="val 180"/>
              <a:gd name="f3" fmla="val w"/>
              <a:gd name="f4" fmla="val h"/>
              <a:gd name="f5" fmla="val 0"/>
              <a:gd name="f6" fmla="val 21600"/>
              <a:gd name="f7" fmla="val 20619"/>
              <a:gd name="f8" fmla="val 7043"/>
              <a:gd name="f9" fmla="val 1599"/>
              <a:gd name="f10" fmla="val 10431"/>
              <a:gd name="f11" fmla="val 3359"/>
              <a:gd name="f12" fmla="val 12009"/>
              <a:gd name="f13" fmla="val 5125"/>
              <a:gd name="f14" fmla="val 11638"/>
              <a:gd name="f15" fmla="val 8965"/>
              <a:gd name="f16" fmla="val 10834"/>
              <a:gd name="f17" fmla="val 12429"/>
              <a:gd name="f18" fmla="val 1037"/>
              <a:gd name="f19" fmla="val 16255"/>
              <a:gd name="f20" fmla="val 77"/>
              <a:gd name="f21" fmla="val 18093"/>
              <a:gd name="f22" fmla="+- 0 0 385"/>
              <a:gd name="f23" fmla="val 19927"/>
              <a:gd name="f24" fmla="val 1227"/>
              <a:gd name="f25" fmla="val 21590"/>
              <a:gd name="f26" fmla="val 4766"/>
              <a:gd name="f27" fmla="val 14041"/>
              <a:gd name="f28" fmla="val 19718"/>
              <a:gd name="f29" fmla="val 9870"/>
              <a:gd name="f30" fmla="val 17612"/>
              <a:gd name="f31" fmla="val 8157"/>
              <a:gd name="f32" fmla="val 15523"/>
              <a:gd name="f33" fmla="val 9097"/>
              <a:gd name="f34" fmla="val 12138"/>
              <a:gd name="f35" fmla="val 10620"/>
              <a:gd name="f36" fmla="val 9076"/>
              <a:gd name="f37" fmla="val 19001"/>
              <a:gd name="f38" fmla="val 5674"/>
              <a:gd name="f39" fmla="val 20410"/>
              <a:gd name="f40" fmla="val 3728"/>
              <a:gd name="f41" fmla="val 21215"/>
              <a:gd name="f42" fmla="val 1770"/>
              <a:gd name="f43" fmla="val 19679"/>
              <a:gd name="f44" fmla="val 15961"/>
              <a:gd name="f45" fmla="+- 0 0 -90"/>
              <a:gd name="f46" fmla="+- 0 0 -180"/>
              <a:gd name="f47" fmla="+- 0 0 -270"/>
              <a:gd name="f48" fmla="+- 0 0 -360"/>
              <a:gd name="f49" fmla="*/ f3 1 21600"/>
              <a:gd name="f50" fmla="*/ f4 1 20619"/>
              <a:gd name="f51" fmla="+- f7 0 f5"/>
              <a:gd name="f52" fmla="+- f6 0 f5"/>
              <a:gd name="f53" fmla="*/ f45 f0 1"/>
              <a:gd name="f54" fmla="*/ f46 f0 1"/>
              <a:gd name="f55" fmla="*/ f47 f0 1"/>
              <a:gd name="f56" fmla="*/ f48 f0 1"/>
              <a:gd name="f57" fmla="*/ f51 1 2"/>
              <a:gd name="f58" fmla="*/ f52 1 2"/>
              <a:gd name="f59" fmla="*/ f52 1 21600"/>
              <a:gd name="f60" fmla="*/ f51 1 20619"/>
              <a:gd name="f61" fmla="*/ f53 1 f2"/>
              <a:gd name="f62" fmla="*/ f54 1 f2"/>
              <a:gd name="f63" fmla="*/ f55 1 f2"/>
              <a:gd name="f64" fmla="*/ f56 1 f2"/>
              <a:gd name="f65" fmla="*/ f58 1 f59"/>
              <a:gd name="f66" fmla="*/ f57 1 f60"/>
              <a:gd name="f67" fmla="*/ 0 1 f59"/>
              <a:gd name="f68" fmla="*/ f6 1 f59"/>
              <a:gd name="f69" fmla="*/ 0 1 f60"/>
              <a:gd name="f70" fmla="*/ f7 1 f60"/>
              <a:gd name="f71" fmla="+- f61 0 f1"/>
              <a:gd name="f72" fmla="+- f62 0 f1"/>
              <a:gd name="f73" fmla="+- f63 0 f1"/>
              <a:gd name="f74" fmla="+- f64 0 f1"/>
              <a:gd name="f75" fmla="*/ f67 f49 1"/>
              <a:gd name="f76" fmla="*/ f68 f49 1"/>
              <a:gd name="f77" fmla="*/ f70 f50 1"/>
              <a:gd name="f78" fmla="*/ f69 f50 1"/>
              <a:gd name="f79" fmla="*/ f65 f49 1"/>
              <a:gd name="f80" fmla="*/ f66 f50 1"/>
            </a:gdLst>
            <a:ahLst/>
            <a:cxnLst>
              <a:cxn ang="3cd4">
                <a:pos x="hc" y="t"/>
              </a:cxn>
              <a:cxn ang="0">
                <a:pos x="r" y="vc"/>
              </a:cxn>
              <a:cxn ang="cd4">
                <a:pos x="hc" y="b"/>
              </a:cxn>
              <a:cxn ang="cd2">
                <a:pos x="l" y="vc"/>
              </a:cxn>
              <a:cxn ang="f71">
                <a:pos x="f79" y="f80"/>
              </a:cxn>
              <a:cxn ang="f72">
                <a:pos x="f79" y="f80"/>
              </a:cxn>
              <a:cxn ang="f73">
                <a:pos x="f79" y="f80"/>
              </a:cxn>
              <a:cxn ang="f74">
                <a:pos x="f79" y="f80"/>
              </a:cxn>
            </a:cxnLst>
            <a:rect l="f75" t="f78" r="f76" b="f77"/>
            <a:pathLst>
              <a:path w="21600" h="20619">
                <a:moveTo>
                  <a:pt x="f5" y="f8"/>
                </a:moveTo>
                <a:cubicBezTo>
                  <a:pt x="f9" y="f10"/>
                  <a:pt x="f11" y="f12"/>
                  <a:pt x="f13" y="f14"/>
                </a:cubicBezTo>
                <a:cubicBezTo>
                  <a:pt x="f15" y="f16"/>
                  <a:pt x="f17" y="f18"/>
                  <a:pt x="f19" y="f20"/>
                </a:cubicBezTo>
                <a:cubicBezTo>
                  <a:pt x="f21" y="f22"/>
                  <a:pt x="f23" y="f24"/>
                  <a:pt x="f25" y="f26"/>
                </a:cubicBezTo>
                <a:lnTo>
                  <a:pt x="f6" y="f27"/>
                </a:lnTo>
                <a:cubicBezTo>
                  <a:pt x="f28" y="f29"/>
                  <a:pt x="f30" y="f31"/>
                  <a:pt x="f32" y="f33"/>
                </a:cubicBezTo>
                <a:cubicBezTo>
                  <a:pt x="f34" y="f35"/>
                  <a:pt x="f36" y="f37"/>
                  <a:pt x="f38" y="f39"/>
                </a:cubicBezTo>
                <a:cubicBezTo>
                  <a:pt x="f40" y="f41"/>
                  <a:pt x="f42" y="f43"/>
                  <a:pt x="f5" y="f44"/>
                </a:cubicBezTo>
                <a:lnTo>
                  <a:pt x="f5" y="f8"/>
                </a:lnTo>
                <a:close/>
              </a:path>
            </a:pathLst>
          </a:custGeom>
          <a:gradFill>
            <a:gsLst>
              <a:gs pos="0">
                <a:srgbClr val="1C498B">
                  <a:alpha val="0"/>
                </a:srgbClr>
              </a:gs>
              <a:gs pos="100000">
                <a:srgbClr val="1C498B">
                  <a:alpha val="63000"/>
                </a:srgbClr>
              </a:gs>
            </a:gsLst>
            <a:lin ang="0"/>
          </a:gradFill>
          <a:ln cap="flat">
            <a:noFill/>
            <a:prstDash val="solid"/>
          </a:ln>
        </p:spPr>
        <p:txBody>
          <a:bodyPr vert="horz" wrap="square" lIns="0" tIns="0" rIns="0" bIns="0" anchor="ctr" anchorCtr="1" compatLnSpc="1">
            <a:noAutofit/>
          </a:bodyPr>
          <a:lstStyle/>
          <a:p>
            <a:pPr marL="0" marR="0" lvl="0" indent="0" algn="ctr" defTabSz="412772" rtl="0" fontAlgn="auto" hangingPunct="0">
              <a:lnSpc>
                <a:spcPct val="100000"/>
              </a:lnSpc>
              <a:spcBef>
                <a:spcPts val="0"/>
              </a:spcBef>
              <a:spcAft>
                <a:spcPts val="0"/>
              </a:spcAft>
              <a:buNone/>
              <a:tabLst/>
              <a:defRPr sz="2400" b="0" i="0" u="none" strike="noStrike" kern="0" cap="none" spc="0" baseline="0">
                <a:solidFill>
                  <a:srgbClr val="FFFFFF"/>
                </a:solidFill>
                <a:uFillTx/>
                <a:latin typeface="Helvetica Neue Medium"/>
                <a:ea typeface="Helvetica Neue Medium"/>
                <a:cs typeface="Helvetica Neue Medium"/>
              </a:defRPr>
            </a:pPr>
            <a:endParaRPr lang="en-US" sz="1525" b="0" i="0" u="none" strike="noStrike" kern="0" cap="none" spc="0" baseline="0">
              <a:solidFill>
                <a:srgbClr val="FFFFFF"/>
              </a:solidFill>
              <a:uFillTx/>
              <a:latin typeface="Helvetica Neue Medium"/>
              <a:ea typeface="Helvetica Neue Medium"/>
              <a:cs typeface="Helvetica Neue Medium"/>
            </a:endParaRPr>
          </a:p>
        </p:txBody>
      </p:sp>
      <p:sp>
        <p:nvSpPr>
          <p:cNvPr id="6" name="Title 1">
            <a:extLst>
              <a:ext uri="{FF2B5EF4-FFF2-40B4-BE49-F238E27FC236}">
                <a16:creationId xmlns:a16="http://schemas.microsoft.com/office/drawing/2014/main" id="{DCBD1BD9-AAF8-CAFB-1D78-503A5F464CF4}"/>
              </a:ext>
            </a:extLst>
          </p:cNvPr>
          <p:cNvSpPr txBox="1">
            <a:spLocks noGrp="1"/>
          </p:cNvSpPr>
          <p:nvPr>
            <p:ph type="title"/>
          </p:nvPr>
        </p:nvSpPr>
        <p:spPr>
          <a:xfrm>
            <a:off x="304796" y="170060"/>
            <a:ext cx="11430000" cy="1143000"/>
          </a:xfrm>
        </p:spPr>
        <p:txBody>
          <a:bodyPr/>
          <a:lstStyle>
            <a:lvl1pPr>
              <a:defRPr sz="3200">
                <a:solidFill>
                  <a:srgbClr val="FFFFFF"/>
                </a:solidFill>
              </a:defRPr>
            </a:lvl1pPr>
          </a:lstStyle>
          <a:p>
            <a:pPr lvl="0"/>
            <a:r>
              <a:rPr lang="en-US"/>
              <a:t>Click to edit Master title style</a:t>
            </a:r>
          </a:p>
        </p:txBody>
      </p:sp>
      <p:sp>
        <p:nvSpPr>
          <p:cNvPr id="7" name="Text Placeholder 4">
            <a:extLst>
              <a:ext uri="{FF2B5EF4-FFF2-40B4-BE49-F238E27FC236}">
                <a16:creationId xmlns:a16="http://schemas.microsoft.com/office/drawing/2014/main" id="{C2ADA102-AE96-53A3-357A-2223590697F2}"/>
              </a:ext>
            </a:extLst>
          </p:cNvPr>
          <p:cNvSpPr txBox="1">
            <a:spLocks noGrp="1"/>
          </p:cNvSpPr>
          <p:nvPr>
            <p:ph type="body" idx="4294967295"/>
          </p:nvPr>
        </p:nvSpPr>
        <p:spPr>
          <a:xfrm>
            <a:off x="332184" y="953345"/>
            <a:ext cx="11430109" cy="415923"/>
          </a:xfrm>
        </p:spPr>
        <p:txBody>
          <a:bodyPr>
            <a:normAutofit/>
          </a:bodyPr>
          <a:lstStyle>
            <a:lvl1pPr marL="0" indent="0">
              <a:buNone/>
              <a:defRPr sz="1400">
                <a:solidFill>
                  <a:srgbClr val="FFFFFF"/>
                </a:solidFill>
              </a:defRPr>
            </a:lvl1pPr>
          </a:lstStyle>
          <a:p>
            <a:pPr lvl="0"/>
            <a:r>
              <a:rPr lang="en-US"/>
              <a:t>Subtitle</a:t>
            </a:r>
          </a:p>
        </p:txBody>
      </p:sp>
      <p:cxnSp>
        <p:nvCxnSpPr>
          <p:cNvPr id="8" name="Straight Connector 15">
            <a:extLst>
              <a:ext uri="{FF2B5EF4-FFF2-40B4-BE49-F238E27FC236}">
                <a16:creationId xmlns:a16="http://schemas.microsoft.com/office/drawing/2014/main" id="{E51CA074-08DF-6C6D-0FEE-75AEADB9BB57}"/>
              </a:ext>
            </a:extLst>
          </p:cNvPr>
          <p:cNvCxnSpPr/>
          <p:nvPr/>
        </p:nvCxnSpPr>
        <p:spPr>
          <a:xfrm>
            <a:off x="11311722" y="6447270"/>
            <a:ext cx="0" cy="267883"/>
          </a:xfrm>
          <a:prstGeom prst="straightConnector1">
            <a:avLst/>
          </a:prstGeom>
          <a:noFill/>
          <a:ln w="6345" cap="flat">
            <a:solidFill>
              <a:srgbClr val="7F7F7F"/>
            </a:solidFill>
            <a:prstDash val="solid"/>
            <a:miter/>
          </a:ln>
        </p:spPr>
      </p:cxnSp>
      <p:sp>
        <p:nvSpPr>
          <p:cNvPr id="9" name="Slide Number Placeholder 6">
            <a:extLst>
              <a:ext uri="{FF2B5EF4-FFF2-40B4-BE49-F238E27FC236}">
                <a16:creationId xmlns:a16="http://schemas.microsoft.com/office/drawing/2014/main" id="{2AFF0EF8-0392-242D-3A46-4941FB3C73A7}"/>
              </a:ext>
            </a:extLst>
          </p:cNvPr>
          <p:cNvSpPr txBox="1">
            <a:spLocks noGrp="1"/>
          </p:cNvSpPr>
          <p:nvPr>
            <p:ph type="sldNum" sz="quarter" idx="8"/>
          </p:nvPr>
        </p:nvSpPr>
        <p:spPr>
          <a:xfrm>
            <a:off x="11202597" y="6454531"/>
            <a:ext cx="559704" cy="319171"/>
          </a:xfrm>
        </p:spPr>
        <p:txBody>
          <a:bodyPr/>
          <a:lstStyle>
            <a:lvl1pPr>
              <a:defRPr sz="1000">
                <a:solidFill>
                  <a:srgbClr val="7F7F7F"/>
                </a:solidFill>
              </a:defRPr>
            </a:lvl1pPr>
          </a:lstStyle>
          <a:p>
            <a:pPr lvl="0"/>
            <a:fld id="{C950BABB-6878-4F5B-BE64-F65338823EFE}" type="slidenum">
              <a:t>‹#›</a:t>
            </a:fld>
            <a:endParaRPr lang="en-US"/>
          </a:p>
        </p:txBody>
      </p:sp>
      <p:pic>
        <p:nvPicPr>
          <p:cNvPr id="10" name="Picture 11">
            <a:extLst>
              <a:ext uri="{FF2B5EF4-FFF2-40B4-BE49-F238E27FC236}">
                <a16:creationId xmlns:a16="http://schemas.microsoft.com/office/drawing/2014/main" id="{8640718B-EF89-D6BE-2E40-A2CECB361F59}"/>
              </a:ext>
            </a:extLst>
          </p:cNvPr>
          <p:cNvPicPr>
            <a:picLocks noChangeAspect="1"/>
          </p:cNvPicPr>
          <p:nvPr/>
        </p:nvPicPr>
        <p:blipFill>
          <a:blip r:embed="rId2"/>
          <a:stretch>
            <a:fillRect/>
          </a:stretch>
        </p:blipFill>
        <p:spPr>
          <a:xfrm>
            <a:off x="9596464" y="6492240"/>
            <a:ext cx="1606134" cy="229240"/>
          </a:xfrm>
          <a:prstGeom prst="rect">
            <a:avLst/>
          </a:prstGeom>
          <a:noFill/>
          <a:ln cap="flat">
            <a:noFill/>
          </a:ln>
        </p:spPr>
      </p:pic>
    </p:spTree>
    <p:extLst>
      <p:ext uri="{BB962C8B-B14F-4D97-AF65-F5344CB8AC3E}">
        <p14:creationId xmlns:p14="http://schemas.microsoft.com/office/powerpoint/2010/main" val="1415572467"/>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p:cSld name="29_Cover">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2A3D8FB6-ED9D-DC25-69E7-CE11AEFDF367}"/>
              </a:ext>
            </a:extLst>
          </p:cNvPr>
          <p:cNvSpPr/>
          <p:nvPr/>
        </p:nvSpPr>
        <p:spPr>
          <a:xfrm>
            <a:off x="902366" y="1294416"/>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3F25C900-C0AB-C147-807C-E565F7DB48D0}"/>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r>
              <a:rPr lang="en-US"/>
              <a:t>Click to edit Master title style</a:t>
            </a:r>
          </a:p>
        </p:txBody>
      </p:sp>
      <p:sp>
        <p:nvSpPr>
          <p:cNvPr id="4" name="Subtitle 2">
            <a:extLst>
              <a:ext uri="{FF2B5EF4-FFF2-40B4-BE49-F238E27FC236}">
                <a16:creationId xmlns:a16="http://schemas.microsoft.com/office/drawing/2014/main" id="{15737BF0-D8F2-3F0A-B902-B620541D9DFF}"/>
              </a:ext>
            </a:extLst>
          </p:cNvPr>
          <p:cNvSpPr txBox="1">
            <a:spLocks noGrp="1"/>
          </p:cNvSpPr>
          <p:nvPr>
            <p:ph type="subTitle" idx="4294967295"/>
          </p:nvPr>
        </p:nvSpPr>
        <p:spPr>
          <a:xfrm>
            <a:off x="1413305" y="3766861"/>
            <a:ext cx="5194432" cy="986564"/>
          </a:xfrm>
        </p:spPr>
        <p:txBody>
          <a:bodyPr/>
          <a:lstStyle>
            <a:lvl1pPr marL="0" indent="0">
              <a:buNone/>
              <a:defRPr/>
            </a:lvl1pPr>
          </a:lstStyle>
          <a:p>
            <a:pPr lvl="0"/>
            <a:r>
              <a:rPr lang="en-US"/>
              <a:t>Click to edit Master subtitle style</a:t>
            </a:r>
          </a:p>
        </p:txBody>
      </p:sp>
      <p:sp>
        <p:nvSpPr>
          <p:cNvPr id="5" name="Picture Placeholder 21">
            <a:extLst>
              <a:ext uri="{FF2B5EF4-FFF2-40B4-BE49-F238E27FC236}">
                <a16:creationId xmlns:a16="http://schemas.microsoft.com/office/drawing/2014/main" id="{3EF61451-A164-A489-83B4-E48375023376}"/>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grpSp>
        <p:nvGrpSpPr>
          <p:cNvPr id="6" name="Group 26">
            <a:extLst>
              <a:ext uri="{FF2B5EF4-FFF2-40B4-BE49-F238E27FC236}">
                <a16:creationId xmlns:a16="http://schemas.microsoft.com/office/drawing/2014/main" id="{499D96B4-F95B-7A1C-2122-3A820DA6D88D}"/>
              </a:ext>
            </a:extLst>
          </p:cNvPr>
          <p:cNvGrpSpPr/>
          <p:nvPr/>
        </p:nvGrpSpPr>
        <p:grpSpPr>
          <a:xfrm>
            <a:off x="0" y="5020349"/>
            <a:ext cx="12191996" cy="1837651"/>
            <a:chOff x="0" y="5020348"/>
            <a:chExt cx="12191996" cy="1837651"/>
          </a:xfrm>
        </p:grpSpPr>
        <p:sp>
          <p:nvSpPr>
            <p:cNvPr id="7" name="Freeform 27">
              <a:extLst>
                <a:ext uri="{FF2B5EF4-FFF2-40B4-BE49-F238E27FC236}">
                  <a16:creationId xmlns:a16="http://schemas.microsoft.com/office/drawing/2014/main" id="{3A400AB0-A959-3D88-A8BD-6814E06A631E}"/>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8" name="Freeform 28">
              <a:extLst>
                <a:ext uri="{FF2B5EF4-FFF2-40B4-BE49-F238E27FC236}">
                  <a16:creationId xmlns:a16="http://schemas.microsoft.com/office/drawing/2014/main" id="{B6112D7E-805B-CA18-72B3-B5FF8467FBA8}"/>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9" name="Picture 29">
              <a:extLst>
                <a:ext uri="{FF2B5EF4-FFF2-40B4-BE49-F238E27FC236}">
                  <a16:creationId xmlns:a16="http://schemas.microsoft.com/office/drawing/2014/main" id="{D9D6D43B-AB01-F058-B9AE-64E41E27CA1F}"/>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3883023122"/>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p:cSld name="35_Photo Slide">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15DD48EF-A013-E034-4F3E-AA3A772228BE}"/>
              </a:ext>
            </a:extLst>
          </p:cNvPr>
          <p:cNvSpPr txBox="1">
            <a:spLocks noGrp="1"/>
          </p:cNvSpPr>
          <p:nvPr>
            <p:ph type="body" idx="4294967295"/>
          </p:nvPr>
        </p:nvSpPr>
        <p:spPr>
          <a:xfrm>
            <a:off x="457200" y="1146255"/>
            <a:ext cx="2350172" cy="2971800"/>
          </a:xfrm>
        </p:spPr>
        <p:txBody>
          <a:bodyPr/>
          <a:lstStyle>
            <a:lvl1pPr marL="0" indent="0">
              <a:buNone/>
              <a:defRPr/>
            </a:lvl1pPr>
          </a:lstStyle>
          <a:p>
            <a:pPr lvl="0"/>
            <a:r>
              <a:rPr lang="en-US"/>
              <a:t>Click to edit Master text styles</a:t>
            </a:r>
          </a:p>
        </p:txBody>
      </p:sp>
      <p:cxnSp>
        <p:nvCxnSpPr>
          <p:cNvPr id="3" name="Straight Connector 5">
            <a:extLst>
              <a:ext uri="{FF2B5EF4-FFF2-40B4-BE49-F238E27FC236}">
                <a16:creationId xmlns:a16="http://schemas.microsoft.com/office/drawing/2014/main" id="{07259C27-D306-D9E6-21A9-FADB24362B19}"/>
              </a:ext>
            </a:extLst>
          </p:cNvPr>
          <p:cNvCxnSpPr/>
          <p:nvPr/>
        </p:nvCxnSpPr>
        <p:spPr>
          <a:xfrm>
            <a:off x="457201" y="947985"/>
            <a:ext cx="2350163" cy="0"/>
          </a:xfrm>
          <a:prstGeom prst="straightConnector1">
            <a:avLst/>
          </a:prstGeom>
          <a:noFill/>
          <a:ln w="31747" cap="flat">
            <a:solidFill>
              <a:srgbClr val="F58366"/>
            </a:solidFill>
            <a:prstDash val="solid"/>
            <a:miter/>
          </a:ln>
        </p:spPr>
      </p:cxnSp>
      <p:grpSp>
        <p:nvGrpSpPr>
          <p:cNvPr id="4" name="Group 2">
            <a:extLst>
              <a:ext uri="{FF2B5EF4-FFF2-40B4-BE49-F238E27FC236}">
                <a16:creationId xmlns:a16="http://schemas.microsoft.com/office/drawing/2014/main" id="{2C3DF07D-6DD1-2121-8563-45BA959AC69B}"/>
              </a:ext>
            </a:extLst>
          </p:cNvPr>
          <p:cNvGrpSpPr/>
          <p:nvPr/>
        </p:nvGrpSpPr>
        <p:grpSpPr>
          <a:xfrm>
            <a:off x="1" y="5379425"/>
            <a:ext cx="2807363" cy="753895"/>
            <a:chOff x="0" y="5379424"/>
            <a:chExt cx="2807363" cy="753895"/>
          </a:xfrm>
        </p:grpSpPr>
        <p:sp>
          <p:nvSpPr>
            <p:cNvPr id="5" name="Freeform 21">
              <a:extLst>
                <a:ext uri="{FF2B5EF4-FFF2-40B4-BE49-F238E27FC236}">
                  <a16:creationId xmlns:a16="http://schemas.microsoft.com/office/drawing/2014/main" id="{0CFDDC1F-C179-C69D-9707-FDF9D9115C52}"/>
                </a:ext>
              </a:extLst>
            </p:cNvPr>
            <p:cNvSpPr/>
            <p:nvPr/>
          </p:nvSpPr>
          <p:spPr>
            <a:xfrm>
              <a:off x="0" y="5532513"/>
              <a:ext cx="2807363" cy="600806"/>
            </a:xfrm>
            <a:custGeom>
              <a:avLst/>
              <a:gdLst>
                <a:gd name="f0" fmla="val 10800000"/>
                <a:gd name="f1" fmla="val 5400000"/>
                <a:gd name="f2" fmla="val 180"/>
                <a:gd name="f3" fmla="val w"/>
                <a:gd name="f4" fmla="val h"/>
                <a:gd name="f5" fmla="val 0"/>
                <a:gd name="f6" fmla="val 2807368"/>
                <a:gd name="f7" fmla="val 600807"/>
                <a:gd name="f8" fmla="val 429971"/>
                <a:gd name="f9" fmla="val 123998"/>
                <a:gd name="f10" fmla="val 1184765"/>
                <a:gd name="f11" fmla="val 325331"/>
                <a:gd name="f12" fmla="val 2014184"/>
                <a:gd name="f13" fmla="val 392492"/>
                <a:gd name="f14" fmla="val 2790212"/>
                <a:gd name="f15" fmla="val 235402"/>
                <a:gd name="f16" fmla="val 231522"/>
                <a:gd name="f17" fmla="val 566106"/>
                <a:gd name="f18" fmla="val 2593885"/>
                <a:gd name="f19" fmla="val 587498"/>
                <a:gd name="f20" fmla="val 1673646"/>
                <a:gd name="f21" fmla="val 651184"/>
                <a:gd name="f22" fmla="val 884869"/>
                <a:gd name="f23" fmla="val 479260"/>
                <a:gd name="f24" fmla="val 100844"/>
                <a:gd name="f25" fmla="val 222653"/>
                <a:gd name="f26" fmla="val 188389"/>
                <a:gd name="f27" fmla="+- 0 0 -90"/>
                <a:gd name="f28" fmla="*/ f3 1 2807368"/>
                <a:gd name="f29" fmla="*/ f4 1 600807"/>
                <a:gd name="f30" fmla="+- f7 0 f5"/>
                <a:gd name="f31" fmla="+- f6 0 f5"/>
                <a:gd name="f32" fmla="*/ f27 f0 1"/>
                <a:gd name="f33" fmla="*/ f31 1 2807368"/>
                <a:gd name="f34" fmla="*/ f30 1 600807"/>
                <a:gd name="f35" fmla="*/ 0 f31 1"/>
                <a:gd name="f36" fmla="*/ 0 f30 1"/>
                <a:gd name="f37" fmla="*/ 429971 f31 1"/>
                <a:gd name="f38" fmla="*/ 123998 f30 1"/>
                <a:gd name="f39" fmla="*/ 2790212 f31 1"/>
                <a:gd name="f40" fmla="*/ 235402 f30 1"/>
                <a:gd name="f41" fmla="*/ 2807368 f31 1"/>
                <a:gd name="f42" fmla="*/ 231522 f30 1"/>
                <a:gd name="f43" fmla="*/ 566106 f30 1"/>
                <a:gd name="f44" fmla="*/ 2593885 f31 1"/>
                <a:gd name="f45" fmla="*/ 587498 f30 1"/>
                <a:gd name="f46" fmla="*/ 100844 f31 1"/>
                <a:gd name="f47" fmla="*/ 222653 f30 1"/>
                <a:gd name="f48" fmla="*/ 188389 f30 1"/>
                <a:gd name="f49" fmla="*/ f32 1 f2"/>
                <a:gd name="f50" fmla="*/ f35 1 2807368"/>
                <a:gd name="f51" fmla="*/ f36 1 600807"/>
                <a:gd name="f52" fmla="*/ f37 1 2807368"/>
                <a:gd name="f53" fmla="*/ f38 1 600807"/>
                <a:gd name="f54" fmla="*/ f39 1 2807368"/>
                <a:gd name="f55" fmla="*/ f40 1 600807"/>
                <a:gd name="f56" fmla="*/ f41 1 2807368"/>
                <a:gd name="f57" fmla="*/ f42 1 600807"/>
                <a:gd name="f58" fmla="*/ f43 1 600807"/>
                <a:gd name="f59" fmla="*/ f44 1 2807368"/>
                <a:gd name="f60" fmla="*/ f45 1 600807"/>
                <a:gd name="f61" fmla="*/ f46 1 2807368"/>
                <a:gd name="f62" fmla="*/ f47 1 600807"/>
                <a:gd name="f63" fmla="*/ f48 1 600807"/>
                <a:gd name="f64" fmla="*/ f5 1 f33"/>
                <a:gd name="f65" fmla="*/ f6 1 f33"/>
                <a:gd name="f66" fmla="*/ f5 1 f34"/>
                <a:gd name="f67" fmla="*/ f7 1 f34"/>
                <a:gd name="f68" fmla="+- f49 0 f1"/>
                <a:gd name="f69" fmla="*/ f50 1 f33"/>
                <a:gd name="f70" fmla="*/ f51 1 f34"/>
                <a:gd name="f71" fmla="*/ f52 1 f33"/>
                <a:gd name="f72" fmla="*/ f53 1 f34"/>
                <a:gd name="f73" fmla="*/ f54 1 f33"/>
                <a:gd name="f74" fmla="*/ f55 1 f34"/>
                <a:gd name="f75" fmla="*/ f56 1 f33"/>
                <a:gd name="f76" fmla="*/ f57 1 f34"/>
                <a:gd name="f77" fmla="*/ f58 1 f34"/>
                <a:gd name="f78" fmla="*/ f59 1 f33"/>
                <a:gd name="f79" fmla="*/ f60 1 f34"/>
                <a:gd name="f80" fmla="*/ f61 1 f33"/>
                <a:gd name="f81" fmla="*/ f62 1 f34"/>
                <a:gd name="f82" fmla="*/ f63 1 f34"/>
                <a:gd name="f83" fmla="*/ f64 f28 1"/>
                <a:gd name="f84" fmla="*/ f65 f28 1"/>
                <a:gd name="f85" fmla="*/ f67 f29 1"/>
                <a:gd name="f86" fmla="*/ f66 f29 1"/>
                <a:gd name="f87" fmla="*/ f69 f28 1"/>
                <a:gd name="f88" fmla="*/ f70 f29 1"/>
                <a:gd name="f89" fmla="*/ f71 f28 1"/>
                <a:gd name="f90" fmla="*/ f72 f29 1"/>
                <a:gd name="f91" fmla="*/ f73 f28 1"/>
                <a:gd name="f92" fmla="*/ f74 f29 1"/>
                <a:gd name="f93" fmla="*/ f75 f28 1"/>
                <a:gd name="f94" fmla="*/ f76 f29 1"/>
                <a:gd name="f95" fmla="*/ f77 f29 1"/>
                <a:gd name="f96" fmla="*/ f78 f28 1"/>
                <a:gd name="f97" fmla="*/ f79 f29 1"/>
                <a:gd name="f98" fmla="*/ f80 f28 1"/>
                <a:gd name="f99" fmla="*/ f81 f29 1"/>
                <a:gd name="f100" fmla="*/ f82 f29 1"/>
              </a:gdLst>
              <a:ahLst/>
              <a:cxnLst>
                <a:cxn ang="3cd4">
                  <a:pos x="hc" y="t"/>
                </a:cxn>
                <a:cxn ang="0">
                  <a:pos x="r" y="vc"/>
                </a:cxn>
                <a:cxn ang="cd4">
                  <a:pos x="hc" y="b"/>
                </a:cxn>
                <a:cxn ang="cd2">
                  <a:pos x="l" y="vc"/>
                </a:cxn>
                <a:cxn ang="f68">
                  <a:pos x="f87" y="f88"/>
                </a:cxn>
                <a:cxn ang="f68">
                  <a:pos x="f89" y="f90"/>
                </a:cxn>
                <a:cxn ang="f68">
                  <a:pos x="f91" y="f92"/>
                </a:cxn>
                <a:cxn ang="f68">
                  <a:pos x="f93" y="f94"/>
                </a:cxn>
                <a:cxn ang="f68">
                  <a:pos x="f93" y="f95"/>
                </a:cxn>
                <a:cxn ang="f68">
                  <a:pos x="f96" y="f97"/>
                </a:cxn>
                <a:cxn ang="f68">
                  <a:pos x="f98" y="f99"/>
                </a:cxn>
                <a:cxn ang="f68">
                  <a:pos x="f87" y="f100"/>
                </a:cxn>
              </a:cxnLst>
              <a:rect l="f83" t="f86" r="f84" b="f85"/>
              <a:pathLst>
                <a:path w="2807368" h="600807">
                  <a:moveTo>
                    <a:pt x="f5" y="f5"/>
                  </a:moveTo>
                  <a:lnTo>
                    <a:pt x="f8" y="f9"/>
                  </a:lnTo>
                  <a:cubicBezTo>
                    <a:pt x="f10" y="f11"/>
                    <a:pt x="f12" y="f13"/>
                    <a:pt x="f14" y="f15"/>
                  </a:cubicBezTo>
                  <a:lnTo>
                    <a:pt x="f6" y="f16"/>
                  </a:lnTo>
                  <a:lnTo>
                    <a:pt x="f6" y="f17"/>
                  </a:lnTo>
                  <a:lnTo>
                    <a:pt x="f18" y="f19"/>
                  </a:lnTo>
                  <a:cubicBezTo>
                    <a:pt x="f20" y="f21"/>
                    <a:pt x="f22" y="f23"/>
                    <a:pt x="f24" y="f25"/>
                  </a:cubicBezTo>
                  <a:lnTo>
                    <a:pt x="f5" y="f26"/>
                  </a:ln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Freeform 19">
              <a:extLst>
                <a:ext uri="{FF2B5EF4-FFF2-40B4-BE49-F238E27FC236}">
                  <a16:creationId xmlns:a16="http://schemas.microsoft.com/office/drawing/2014/main" id="{85C038DD-ABE2-BC8B-6635-C75ABE30D050}"/>
                </a:ext>
              </a:extLst>
            </p:cNvPr>
            <p:cNvSpPr/>
            <p:nvPr/>
          </p:nvSpPr>
          <p:spPr>
            <a:xfrm>
              <a:off x="0" y="5379424"/>
              <a:ext cx="2807363" cy="649800"/>
            </a:xfrm>
            <a:custGeom>
              <a:avLst/>
              <a:gdLst>
                <a:gd name="f0" fmla="val 10800000"/>
                <a:gd name="f1" fmla="val 5400000"/>
                <a:gd name="f2" fmla="val 180"/>
                <a:gd name="f3" fmla="val w"/>
                <a:gd name="f4" fmla="val h"/>
                <a:gd name="f5" fmla="val 0"/>
                <a:gd name="f6" fmla="val 2807368"/>
                <a:gd name="f7" fmla="val 649803"/>
                <a:gd name="f8" fmla="val 282676"/>
                <a:gd name="f9" fmla="val 70799"/>
                <a:gd name="f10" fmla="val 435964"/>
                <a:gd name="f11" fmla="val 106085"/>
                <a:gd name="f12" fmla="val 588770"/>
                <a:gd name="f13" fmla="val 137629"/>
                <a:gd name="f14" fmla="val 740881"/>
                <a:gd name="f15" fmla="val 163828"/>
                <a:gd name="f16" fmla="val 1362800"/>
                <a:gd name="f17" fmla="val 270912"/>
                <a:gd name="f18" fmla="val 2067879"/>
                <a:gd name="f19" fmla="val 253759"/>
                <a:gd name="f20" fmla="val 2706471"/>
                <a:gd name="f21" fmla="val 96397"/>
                <a:gd name="f22" fmla="val 67250"/>
                <a:gd name="f23" fmla="val 605551"/>
                <a:gd name="f24" fmla="val 2602685"/>
                <a:gd name="f25" fmla="val 629466"/>
                <a:gd name="f26" fmla="val 1684237"/>
                <a:gd name="f27" fmla="val 708219"/>
                <a:gd name="f28" fmla="val 893252"/>
                <a:gd name="f29" fmla="val 549395"/>
                <a:gd name="f30" fmla="val 105614"/>
                <a:gd name="f31" fmla="val 305882"/>
                <a:gd name="f32" fmla="val 271926"/>
                <a:gd name="f33" fmla="+- 0 0 -90"/>
                <a:gd name="f34" fmla="*/ f3 1 2807368"/>
                <a:gd name="f35" fmla="*/ f4 1 649803"/>
                <a:gd name="f36" fmla="+- f7 0 f5"/>
                <a:gd name="f37" fmla="+- f6 0 f5"/>
                <a:gd name="f38" fmla="*/ f33 f0 1"/>
                <a:gd name="f39" fmla="*/ f37 1 2807368"/>
                <a:gd name="f40" fmla="*/ f36 1 649803"/>
                <a:gd name="f41" fmla="*/ 0 f37 1"/>
                <a:gd name="f42" fmla="*/ 0 f36 1"/>
                <a:gd name="f43" fmla="*/ 282676 f37 1"/>
                <a:gd name="f44" fmla="*/ 70799 f36 1"/>
                <a:gd name="f45" fmla="*/ 740881 f37 1"/>
                <a:gd name="f46" fmla="*/ 163828 f36 1"/>
                <a:gd name="f47" fmla="*/ 2706471 f37 1"/>
                <a:gd name="f48" fmla="*/ 96397 f36 1"/>
                <a:gd name="f49" fmla="*/ 2807368 f37 1"/>
                <a:gd name="f50" fmla="*/ 67250 f36 1"/>
                <a:gd name="f51" fmla="*/ 605551 f36 1"/>
                <a:gd name="f52" fmla="*/ 2602685 f37 1"/>
                <a:gd name="f53" fmla="*/ 629466 f36 1"/>
                <a:gd name="f54" fmla="*/ 105614 f37 1"/>
                <a:gd name="f55" fmla="*/ 305882 f36 1"/>
                <a:gd name="f56" fmla="*/ 271926 f36 1"/>
                <a:gd name="f57" fmla="*/ f38 1 f2"/>
                <a:gd name="f58" fmla="*/ f41 1 2807368"/>
                <a:gd name="f59" fmla="*/ f42 1 649803"/>
                <a:gd name="f60" fmla="*/ f43 1 2807368"/>
                <a:gd name="f61" fmla="*/ f44 1 649803"/>
                <a:gd name="f62" fmla="*/ f45 1 2807368"/>
                <a:gd name="f63" fmla="*/ f46 1 649803"/>
                <a:gd name="f64" fmla="*/ f47 1 2807368"/>
                <a:gd name="f65" fmla="*/ f48 1 649803"/>
                <a:gd name="f66" fmla="*/ f49 1 2807368"/>
                <a:gd name="f67" fmla="*/ f50 1 649803"/>
                <a:gd name="f68" fmla="*/ f51 1 649803"/>
                <a:gd name="f69" fmla="*/ f52 1 2807368"/>
                <a:gd name="f70" fmla="*/ f53 1 649803"/>
                <a:gd name="f71" fmla="*/ f54 1 2807368"/>
                <a:gd name="f72" fmla="*/ f55 1 649803"/>
                <a:gd name="f73" fmla="*/ f56 1 649803"/>
                <a:gd name="f74" fmla="*/ f5 1 f39"/>
                <a:gd name="f75" fmla="*/ f6 1 f39"/>
                <a:gd name="f76" fmla="*/ f5 1 f40"/>
                <a:gd name="f77" fmla="*/ f7 1 f40"/>
                <a:gd name="f78" fmla="+- f57 0 f1"/>
                <a:gd name="f79" fmla="*/ f58 1 f39"/>
                <a:gd name="f80" fmla="*/ f59 1 f40"/>
                <a:gd name="f81" fmla="*/ f60 1 f39"/>
                <a:gd name="f82" fmla="*/ f61 1 f40"/>
                <a:gd name="f83" fmla="*/ f62 1 f39"/>
                <a:gd name="f84" fmla="*/ f63 1 f40"/>
                <a:gd name="f85" fmla="*/ f64 1 f39"/>
                <a:gd name="f86" fmla="*/ f65 1 f40"/>
                <a:gd name="f87" fmla="*/ f66 1 f39"/>
                <a:gd name="f88" fmla="*/ f67 1 f40"/>
                <a:gd name="f89" fmla="*/ f68 1 f40"/>
                <a:gd name="f90" fmla="*/ f69 1 f39"/>
                <a:gd name="f91" fmla="*/ f70 1 f40"/>
                <a:gd name="f92" fmla="*/ f71 1 f39"/>
                <a:gd name="f93" fmla="*/ f72 1 f40"/>
                <a:gd name="f94" fmla="*/ f73 1 f40"/>
                <a:gd name="f95" fmla="*/ f74 f34 1"/>
                <a:gd name="f96" fmla="*/ f75 f34 1"/>
                <a:gd name="f97" fmla="*/ f77 f35 1"/>
                <a:gd name="f98" fmla="*/ f76 f35 1"/>
                <a:gd name="f99" fmla="*/ f79 f34 1"/>
                <a:gd name="f100" fmla="*/ f80 f35 1"/>
                <a:gd name="f101" fmla="*/ f81 f34 1"/>
                <a:gd name="f102" fmla="*/ f82 f35 1"/>
                <a:gd name="f103" fmla="*/ f83 f34 1"/>
                <a:gd name="f104" fmla="*/ f84 f35 1"/>
                <a:gd name="f105" fmla="*/ f85 f34 1"/>
                <a:gd name="f106" fmla="*/ f86 f35 1"/>
                <a:gd name="f107" fmla="*/ f87 f34 1"/>
                <a:gd name="f108" fmla="*/ f88 f35 1"/>
                <a:gd name="f109" fmla="*/ f89 f35 1"/>
                <a:gd name="f110" fmla="*/ f90 f34 1"/>
                <a:gd name="f111" fmla="*/ f91 f35 1"/>
                <a:gd name="f112" fmla="*/ f92 f34 1"/>
                <a:gd name="f113" fmla="*/ f93 f35 1"/>
                <a:gd name="f114" fmla="*/ f94 f35 1"/>
              </a:gdLst>
              <a:ahLst/>
              <a:cxnLst>
                <a:cxn ang="3cd4">
                  <a:pos x="hc" y="t"/>
                </a:cxn>
                <a:cxn ang="0">
                  <a:pos x="r" y="vc"/>
                </a:cxn>
                <a:cxn ang="cd4">
                  <a:pos x="hc" y="b"/>
                </a:cxn>
                <a:cxn ang="cd2">
                  <a:pos x="l" y="vc"/>
                </a:cxn>
                <a:cxn ang="f78">
                  <a:pos x="f99" y="f100"/>
                </a:cxn>
                <a:cxn ang="f78">
                  <a:pos x="f101" y="f102"/>
                </a:cxn>
                <a:cxn ang="f78">
                  <a:pos x="f103" y="f104"/>
                </a:cxn>
                <a:cxn ang="f78">
                  <a:pos x="f105" y="f106"/>
                </a:cxn>
                <a:cxn ang="f78">
                  <a:pos x="f107" y="f108"/>
                </a:cxn>
                <a:cxn ang="f78">
                  <a:pos x="f107" y="f109"/>
                </a:cxn>
                <a:cxn ang="f78">
                  <a:pos x="f110" y="f111"/>
                </a:cxn>
                <a:cxn ang="f78">
                  <a:pos x="f112" y="f113"/>
                </a:cxn>
                <a:cxn ang="f78">
                  <a:pos x="f99" y="f114"/>
                </a:cxn>
              </a:cxnLst>
              <a:rect l="f95" t="f98" r="f96" b="f97"/>
              <a:pathLst>
                <a:path w="2807368" h="649803">
                  <a:moveTo>
                    <a:pt x="f5" y="f5"/>
                  </a:moveTo>
                  <a:lnTo>
                    <a:pt x="f8" y="f9"/>
                  </a:lnTo>
                  <a:cubicBezTo>
                    <a:pt x="f10" y="f11"/>
                    <a:pt x="f12" y="f13"/>
                    <a:pt x="f14" y="f15"/>
                  </a:cubicBezTo>
                  <a:cubicBezTo>
                    <a:pt x="f16" y="f17"/>
                    <a:pt x="f18" y="f19"/>
                    <a:pt x="f20" y="f21"/>
                  </a:cubicBezTo>
                  <a:lnTo>
                    <a:pt x="f6" y="f22"/>
                  </a:lnTo>
                  <a:lnTo>
                    <a:pt x="f6" y="f23"/>
                  </a:lnTo>
                  <a:lnTo>
                    <a:pt x="f24" y="f25"/>
                  </a:lnTo>
                  <a:cubicBezTo>
                    <a:pt x="f26" y="f27"/>
                    <a:pt x="f28" y="f29"/>
                    <a:pt x="f30" y="f31"/>
                  </a:cubicBezTo>
                  <a:lnTo>
                    <a:pt x="f5" y="f32"/>
                  </a:ln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grpSp>
      <p:sp>
        <p:nvSpPr>
          <p:cNvPr id="7" name="Picture Placeholder 6">
            <a:extLst>
              <a:ext uri="{FF2B5EF4-FFF2-40B4-BE49-F238E27FC236}">
                <a16:creationId xmlns:a16="http://schemas.microsoft.com/office/drawing/2014/main" id="{5EAFC453-0318-A933-78EC-CCE51E9EB93A}"/>
              </a:ext>
            </a:extLst>
          </p:cNvPr>
          <p:cNvSpPr txBox="1">
            <a:spLocks noGrp="1"/>
          </p:cNvSpPr>
          <p:nvPr>
            <p:ph type="pic" idx="4294967295"/>
          </p:nvPr>
        </p:nvSpPr>
        <p:spPr>
          <a:xfrm>
            <a:off x="2807363" y="457200"/>
            <a:ext cx="8915400" cy="5943600"/>
          </a:xfrm>
        </p:spPr>
        <p:txBody>
          <a:bodyPr/>
          <a:lstStyle>
            <a:lvl1pPr>
              <a:defRPr/>
            </a:lvl1pPr>
          </a:lstStyle>
          <a:p>
            <a:pPr lvl="0"/>
            <a:endParaRPr lang="en-US"/>
          </a:p>
        </p:txBody>
      </p:sp>
      <p:pic>
        <p:nvPicPr>
          <p:cNvPr id="8" name="Picture 14">
            <a:extLst>
              <a:ext uri="{FF2B5EF4-FFF2-40B4-BE49-F238E27FC236}">
                <a16:creationId xmlns:a16="http://schemas.microsoft.com/office/drawing/2014/main" id="{883ACD17-57B9-F611-E690-61A8745815A4}"/>
              </a:ext>
            </a:extLst>
          </p:cNvPr>
          <p:cNvPicPr>
            <a:picLocks noChangeAspect="1"/>
          </p:cNvPicPr>
          <p:nvPr/>
        </p:nvPicPr>
        <p:blipFill>
          <a:blip r:embed="rId2"/>
          <a:srcRect/>
          <a:stretch>
            <a:fillRect/>
          </a:stretch>
        </p:blipFill>
        <p:spPr>
          <a:xfrm>
            <a:off x="513345" y="4385535"/>
            <a:ext cx="2025313" cy="911940"/>
          </a:xfrm>
          <a:prstGeom prst="rect">
            <a:avLst/>
          </a:prstGeom>
          <a:noFill/>
          <a:ln cap="flat">
            <a:noFill/>
          </a:ln>
        </p:spPr>
      </p:pic>
    </p:spTree>
    <p:extLst>
      <p:ext uri="{BB962C8B-B14F-4D97-AF65-F5344CB8AC3E}">
        <p14:creationId xmlns:p14="http://schemas.microsoft.com/office/powerpoint/2010/main" val="482393481"/>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p:cSld name="18_Title and Bullets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83FB7-D635-6625-1457-0DBE8E0E4E40}"/>
              </a:ext>
            </a:extLst>
          </p:cNvPr>
          <p:cNvSpPr txBox="1">
            <a:spLocks noGrp="1"/>
          </p:cNvSpPr>
          <p:nvPr>
            <p:ph type="title"/>
          </p:nvPr>
        </p:nvSpPr>
        <p:spPr>
          <a:xfrm>
            <a:off x="848992" y="783842"/>
            <a:ext cx="10177756"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sp>
        <p:nvSpPr>
          <p:cNvPr id="3" name="Rectangle 9">
            <a:extLst>
              <a:ext uri="{FF2B5EF4-FFF2-40B4-BE49-F238E27FC236}">
                <a16:creationId xmlns:a16="http://schemas.microsoft.com/office/drawing/2014/main" id="{63B507D9-7F0B-42D2-B360-46A903AE4767}"/>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4" name="Rectangle 10">
            <a:extLst>
              <a:ext uri="{FF2B5EF4-FFF2-40B4-BE49-F238E27FC236}">
                <a16:creationId xmlns:a16="http://schemas.microsoft.com/office/drawing/2014/main" id="{27A921E3-A981-D855-C1ED-1EB9E713AE44}"/>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5" name="Text Placeholder 4">
            <a:extLst>
              <a:ext uri="{FF2B5EF4-FFF2-40B4-BE49-F238E27FC236}">
                <a16:creationId xmlns:a16="http://schemas.microsoft.com/office/drawing/2014/main" id="{81A0F8E0-B99A-DF2E-BC8A-12A1308BEAB4}"/>
              </a:ext>
            </a:extLst>
          </p:cNvPr>
          <p:cNvSpPr txBox="1">
            <a:spLocks noGrp="1"/>
          </p:cNvSpPr>
          <p:nvPr>
            <p:ph type="body" idx="4294967295"/>
          </p:nvPr>
        </p:nvSpPr>
        <p:spPr>
          <a:xfrm>
            <a:off x="848783" y="1615023"/>
            <a:ext cx="10176933" cy="3812115"/>
          </a:xfrm>
        </p:spPr>
        <p:txBody>
          <a:bodyPr/>
          <a:lstStyle>
            <a:lvl1pPr marL="381012" indent="-381012">
              <a:defRPr sz="2133">
                <a:latin typeface="Verdana"/>
                <a:ea typeface="Verdana"/>
                <a:cs typeface="Verdana"/>
              </a:defRPr>
            </a:lvl1pPr>
            <a:lvl2pPr marL="381012" lvl="0" indent="-381012">
              <a:spcBef>
                <a:spcPts val="1000"/>
              </a:spcBef>
              <a:buClr>
                <a:srgbClr val="F5668F"/>
              </a:buClr>
              <a:defRPr sz="2133">
                <a:latin typeface="Verdana"/>
                <a:ea typeface="Verdana"/>
                <a:cs typeface="Verdana"/>
              </a:defRPr>
            </a:lvl2pPr>
          </a:lstStyle>
          <a:p>
            <a:pPr lvl="0"/>
            <a:r>
              <a:rPr lang="en-US"/>
              <a:t>Copy goes here</a:t>
            </a:r>
          </a:p>
          <a:p>
            <a:pPr lvl="0"/>
            <a:endParaRPr lang="en-US"/>
          </a:p>
        </p:txBody>
      </p:sp>
      <p:pic>
        <p:nvPicPr>
          <p:cNvPr id="6" name="Picture 6">
            <a:extLst>
              <a:ext uri="{FF2B5EF4-FFF2-40B4-BE49-F238E27FC236}">
                <a16:creationId xmlns:a16="http://schemas.microsoft.com/office/drawing/2014/main" id="{CCD376BC-B40E-8D52-E045-2EBE7CC0651B}"/>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Tree>
    <p:extLst>
      <p:ext uri="{BB962C8B-B14F-4D97-AF65-F5344CB8AC3E}">
        <p14:creationId xmlns:p14="http://schemas.microsoft.com/office/powerpoint/2010/main" val="1421942353"/>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p:cSld name="43_Title and Content">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D75CF159-BB3E-6563-55A3-F231BE283093}"/>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pic>
        <p:nvPicPr>
          <p:cNvPr id="3" name="Picture 10">
            <a:extLst>
              <a:ext uri="{FF2B5EF4-FFF2-40B4-BE49-F238E27FC236}">
                <a16:creationId xmlns:a16="http://schemas.microsoft.com/office/drawing/2014/main" id="{28B89D8B-F1E1-8251-C422-10FF1D961CF0}"/>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
        <p:nvSpPr>
          <p:cNvPr id="4" name="Rectangle 11">
            <a:extLst>
              <a:ext uri="{FF2B5EF4-FFF2-40B4-BE49-F238E27FC236}">
                <a16:creationId xmlns:a16="http://schemas.microsoft.com/office/drawing/2014/main" id="{64277D68-37D8-C1E2-AC32-AC79A0DE005D}"/>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5" name="Title 1">
            <a:extLst>
              <a:ext uri="{FF2B5EF4-FFF2-40B4-BE49-F238E27FC236}">
                <a16:creationId xmlns:a16="http://schemas.microsoft.com/office/drawing/2014/main" id="{02216E86-BA75-C3DC-61BA-7FDE542CE479}"/>
              </a:ext>
            </a:extLst>
          </p:cNvPr>
          <p:cNvSpPr txBox="1">
            <a:spLocks noGrp="1"/>
          </p:cNvSpPr>
          <p:nvPr>
            <p:ph type="title"/>
          </p:nvPr>
        </p:nvSpPr>
        <p:spPr>
          <a:xfrm>
            <a:off x="848992" y="806858"/>
            <a:ext cx="10156176"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sp>
        <p:nvSpPr>
          <p:cNvPr id="6" name="Text Placeholder 15">
            <a:extLst>
              <a:ext uri="{FF2B5EF4-FFF2-40B4-BE49-F238E27FC236}">
                <a16:creationId xmlns:a16="http://schemas.microsoft.com/office/drawing/2014/main" id="{A017A3D7-B5A0-795A-BCB9-D5125AE9F73C}"/>
              </a:ext>
            </a:extLst>
          </p:cNvPr>
          <p:cNvSpPr txBox="1">
            <a:spLocks noGrp="1"/>
          </p:cNvSpPr>
          <p:nvPr>
            <p:ph type="body" idx="4294967295"/>
          </p:nvPr>
        </p:nvSpPr>
        <p:spPr>
          <a:xfrm>
            <a:off x="848992" y="1637855"/>
            <a:ext cx="10156176" cy="4117159"/>
          </a:xfrm>
        </p:spPr>
        <p:txBody>
          <a:bodyPr/>
          <a:lstStyle>
            <a:lvl1pPr marL="0" indent="0" defTabSz="914418">
              <a:lnSpc>
                <a:spcPct val="90000"/>
              </a:lnSpc>
              <a:spcAft>
                <a:spcPts val="0"/>
              </a:spcAft>
              <a:buNone/>
              <a:defRPr sz="2133">
                <a:latin typeface="Verdana"/>
                <a:ea typeface="Verdana"/>
                <a:cs typeface="Verdana"/>
              </a:defRPr>
            </a:lvl1pPr>
          </a:lstStyle>
          <a:p>
            <a:pPr lvl="0"/>
            <a:r>
              <a:rPr lang="en-US"/>
              <a:t>Copy goes here. </a:t>
            </a:r>
          </a:p>
        </p:txBody>
      </p:sp>
    </p:spTree>
    <p:extLst>
      <p:ext uri="{BB962C8B-B14F-4D97-AF65-F5344CB8AC3E}">
        <p14:creationId xmlns:p14="http://schemas.microsoft.com/office/powerpoint/2010/main" val="189081442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3_Quotation">
  <p:cSld name="3_Quotation 2">
    <p:spTree>
      <p:nvGrpSpPr>
        <p:cNvPr id="1" name="Shape 9563"/>
        <p:cNvGrpSpPr/>
        <p:nvPr/>
      </p:nvGrpSpPr>
      <p:grpSpPr>
        <a:xfrm>
          <a:off x="0" y="0"/>
          <a:ext cx="0" cy="0"/>
          <a:chOff x="0" y="0"/>
          <a:chExt cx="0" cy="0"/>
        </a:xfrm>
      </p:grpSpPr>
      <p:sp>
        <p:nvSpPr>
          <p:cNvPr id="9564" name="Google Shape;9564;p136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565" name="Google Shape;9565;p136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566" name="Google Shape;9566;p13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567" name="Google Shape;9567;p13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568" name="Google Shape;9568;p13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569" name="Google Shape;9569;p13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570" name="Google Shape;9570;p1366"/>
          <p:cNvGrpSpPr/>
          <p:nvPr/>
        </p:nvGrpSpPr>
        <p:grpSpPr>
          <a:xfrm>
            <a:off x="7191542" y="1"/>
            <a:ext cx="5000459" cy="1425992"/>
            <a:chOff x="7191542" y="1"/>
            <a:chExt cx="5000459" cy="1425992"/>
          </a:xfrm>
        </p:grpSpPr>
        <p:pic>
          <p:nvPicPr>
            <p:cNvPr id="9571" name="Google Shape;9571;p13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572" name="Google Shape;9572;p1366"/>
            <p:cNvGrpSpPr/>
            <p:nvPr/>
          </p:nvGrpSpPr>
          <p:grpSpPr>
            <a:xfrm>
              <a:off x="7191542" y="1"/>
              <a:ext cx="5000459" cy="1425992"/>
              <a:chOff x="7186272" y="0"/>
              <a:chExt cx="5005729" cy="1427495"/>
            </a:xfrm>
          </p:grpSpPr>
          <p:sp>
            <p:nvSpPr>
              <p:cNvPr id="9573" name="Google Shape;9573;p13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574" name="Google Shape;9574;p13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575" name="Google Shape;9575;p136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p:cSld name="18_Two Section | Picture and Copy Layout">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1E3AD4A8-0D87-4544-16B4-27CFAF80C387}"/>
              </a:ext>
            </a:extLst>
          </p:cNvPr>
          <p:cNvSpPr/>
          <p:nvPr/>
        </p:nvSpPr>
        <p:spPr>
          <a:xfrm>
            <a:off x="0" y="6313119"/>
            <a:ext cx="12191996" cy="544881"/>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3" name="Rectangle 11">
            <a:extLst>
              <a:ext uri="{FF2B5EF4-FFF2-40B4-BE49-F238E27FC236}">
                <a16:creationId xmlns:a16="http://schemas.microsoft.com/office/drawing/2014/main" id="{62846F1F-AF6A-7937-75BA-545F845F3B0A}"/>
              </a:ext>
            </a:extLst>
          </p:cNvPr>
          <p:cNvSpPr/>
          <p:nvPr/>
        </p:nvSpPr>
        <p:spPr>
          <a:xfrm>
            <a:off x="0" y="6301514"/>
            <a:ext cx="12191996" cy="45720"/>
          </a:xfrm>
          <a:prstGeom prst="rect">
            <a:avLst/>
          </a:prstGeom>
          <a:solidFill>
            <a:srgbClr val="A4D65E"/>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ndParaRPr>
          </a:p>
        </p:txBody>
      </p:sp>
      <p:sp>
        <p:nvSpPr>
          <p:cNvPr id="4" name="Content Placeholder 2">
            <a:extLst>
              <a:ext uri="{FF2B5EF4-FFF2-40B4-BE49-F238E27FC236}">
                <a16:creationId xmlns:a16="http://schemas.microsoft.com/office/drawing/2014/main" id="{CE7755C8-1D22-9C00-8C16-393184966B53}"/>
              </a:ext>
            </a:extLst>
          </p:cNvPr>
          <p:cNvSpPr txBox="1">
            <a:spLocks noGrp="1"/>
          </p:cNvSpPr>
          <p:nvPr>
            <p:ph idx="4294967295"/>
          </p:nvPr>
        </p:nvSpPr>
        <p:spPr>
          <a:xfrm>
            <a:off x="1186836" y="1294452"/>
            <a:ext cx="3983336" cy="3788084"/>
          </a:xfrm>
        </p:spPr>
        <p:txBody>
          <a:bodyPr/>
          <a:lstStyle>
            <a:lvl1pPr marL="0" indent="0">
              <a:buNone/>
              <a:defRPr sz="1200" i="1">
                <a:solidFill>
                  <a:srgbClr val="003B5C"/>
                </a:solidFill>
                <a:latin typeface="Verdana"/>
                <a:ea typeface="Verdana"/>
                <a:cs typeface="Verdana"/>
              </a:defRPr>
            </a:lvl1pPr>
          </a:lstStyle>
          <a:p>
            <a:pPr lvl="0"/>
            <a:r>
              <a:rPr lang="en-US"/>
              <a:t>*Insert Image Here</a:t>
            </a:r>
          </a:p>
        </p:txBody>
      </p:sp>
      <p:sp>
        <p:nvSpPr>
          <p:cNvPr id="5" name="Content Placeholder 3">
            <a:extLst>
              <a:ext uri="{FF2B5EF4-FFF2-40B4-BE49-F238E27FC236}">
                <a16:creationId xmlns:a16="http://schemas.microsoft.com/office/drawing/2014/main" id="{84C12714-1948-EC00-629B-9F65DA62DDAC}"/>
              </a:ext>
            </a:extLst>
          </p:cNvPr>
          <p:cNvSpPr txBox="1">
            <a:spLocks noGrp="1"/>
          </p:cNvSpPr>
          <p:nvPr>
            <p:ph idx="4294967295"/>
          </p:nvPr>
        </p:nvSpPr>
        <p:spPr>
          <a:xfrm>
            <a:off x="5549394" y="1997122"/>
            <a:ext cx="5466557" cy="3085414"/>
          </a:xfrm>
        </p:spPr>
        <p:txBody>
          <a:bodyPr/>
          <a:lstStyle>
            <a:lvl1pPr marL="0" indent="0" defTabSz="914418">
              <a:lnSpc>
                <a:spcPct val="90000"/>
              </a:lnSpc>
              <a:spcAft>
                <a:spcPts val="0"/>
              </a:spcAft>
              <a:buNone/>
              <a:defRPr sz="2133">
                <a:latin typeface="Verdana"/>
                <a:ea typeface="Verdana"/>
                <a:cs typeface="Verdana"/>
              </a:defRPr>
            </a:lvl1pPr>
          </a:lstStyle>
          <a:p>
            <a:pPr lvl="0"/>
            <a:r>
              <a:rPr lang="en-US"/>
              <a:t>Copy goes here. </a:t>
            </a:r>
          </a:p>
        </p:txBody>
      </p:sp>
      <p:sp>
        <p:nvSpPr>
          <p:cNvPr id="6" name="Title 16">
            <a:extLst>
              <a:ext uri="{FF2B5EF4-FFF2-40B4-BE49-F238E27FC236}">
                <a16:creationId xmlns:a16="http://schemas.microsoft.com/office/drawing/2014/main" id="{D05D5AB3-3472-5778-21C8-9404466D28C5}"/>
              </a:ext>
            </a:extLst>
          </p:cNvPr>
          <p:cNvSpPr txBox="1">
            <a:spLocks noGrp="1"/>
          </p:cNvSpPr>
          <p:nvPr>
            <p:ph type="title"/>
          </p:nvPr>
        </p:nvSpPr>
        <p:spPr>
          <a:xfrm>
            <a:off x="5549394" y="1154522"/>
            <a:ext cx="5466557" cy="830997"/>
          </a:xfrm>
        </p:spPr>
        <p:txBody>
          <a:bodyPr wrap="square" anchor="b">
            <a:spAutoFit/>
          </a:bodyPr>
          <a:lstStyle>
            <a:lvl1pPr>
              <a:defRPr sz="4800">
                <a:solidFill>
                  <a:srgbClr val="003B5C"/>
                </a:solidFill>
                <a:latin typeface="Verdana"/>
                <a:ea typeface="Verdana"/>
                <a:cs typeface="Verdana"/>
              </a:defRPr>
            </a:lvl1pPr>
          </a:lstStyle>
          <a:p>
            <a:pPr lvl="0"/>
            <a:r>
              <a:rPr lang="en-US"/>
              <a:t>Headline</a:t>
            </a:r>
          </a:p>
        </p:txBody>
      </p:sp>
      <p:pic>
        <p:nvPicPr>
          <p:cNvPr id="7" name="Picture 7">
            <a:extLst>
              <a:ext uri="{FF2B5EF4-FFF2-40B4-BE49-F238E27FC236}">
                <a16:creationId xmlns:a16="http://schemas.microsoft.com/office/drawing/2014/main" id="{6BB95E2D-108E-B1C2-7B0E-0E311AB1EADB}"/>
              </a:ext>
            </a:extLst>
          </p:cNvPr>
          <p:cNvPicPr>
            <a:picLocks noChangeAspect="1"/>
          </p:cNvPicPr>
          <p:nvPr/>
        </p:nvPicPr>
        <p:blipFill>
          <a:blip r:embed="rId2"/>
          <a:srcRect/>
          <a:stretch>
            <a:fillRect/>
          </a:stretch>
        </p:blipFill>
        <p:spPr>
          <a:xfrm>
            <a:off x="7132668" y="6364407"/>
            <a:ext cx="5059329" cy="493593"/>
          </a:xfrm>
          <a:prstGeom prst="rect">
            <a:avLst/>
          </a:prstGeom>
          <a:noFill/>
          <a:ln cap="flat">
            <a:noFill/>
          </a:ln>
        </p:spPr>
      </p:pic>
    </p:spTree>
    <p:extLst>
      <p:ext uri="{BB962C8B-B14F-4D97-AF65-F5344CB8AC3E}">
        <p14:creationId xmlns:p14="http://schemas.microsoft.com/office/powerpoint/2010/main" val="1308298929"/>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type="obj" preserve="1">
  <p:cSld name="72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B50C1DEC-936B-D3FA-7C99-CAFFEE9771EE}"/>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982A47D3-2550-43D3-44C9-8CAAD267B5F4}"/>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72D81BCF-4EC0-9A63-0628-72F7FD6A4704}"/>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EB5F48F9-4022-16EE-C65F-22D9C14B6E72}"/>
              </a:ext>
            </a:extLst>
          </p:cNvPr>
          <p:cNvSpPr txBox="1">
            <a:spLocks noGrp="1"/>
          </p:cNvSpPr>
          <p:nvPr>
            <p:ph type="sldNum" sz="quarter" idx="8"/>
          </p:nvPr>
        </p:nvSpPr>
        <p:spPr/>
        <p:txBody>
          <a:bodyPr/>
          <a:lstStyle>
            <a:lvl1pPr>
              <a:defRPr>
                <a:solidFill>
                  <a:srgbClr val="AFB3B9"/>
                </a:solidFill>
              </a:defRPr>
            </a:lvl1pPr>
          </a:lstStyle>
          <a:p>
            <a:pPr lvl="0"/>
            <a:fld id="{51B833CF-067C-454F-A73E-BC80A8A16D3B}" type="slidenum">
              <a:t>‹#›</a:t>
            </a:fld>
            <a:endParaRPr lang="en-US"/>
          </a:p>
        </p:txBody>
      </p:sp>
      <p:cxnSp>
        <p:nvCxnSpPr>
          <p:cNvPr id="6" name="Straight Connector 7">
            <a:extLst>
              <a:ext uri="{FF2B5EF4-FFF2-40B4-BE49-F238E27FC236}">
                <a16:creationId xmlns:a16="http://schemas.microsoft.com/office/drawing/2014/main" id="{6E55CC60-B12B-B89D-D2B5-15E0B3CBE962}"/>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F070431B-5B41-18EA-3D27-B81643C8501C}"/>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D6359A07-0202-DBDE-7A6F-430424777B22}"/>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CA355E0A-D53F-795A-2545-F4FEF8F55A57}"/>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FDCC6C0F-192E-5FE0-ECA5-7DC31171BFC4}"/>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4D70E7FF-7F99-72C1-35F7-50B45E5C2EC5}"/>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019C7182-7485-329A-2D2E-06B9A35CA7AA}"/>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AA087476-3B52-30B6-876D-B64432317B9B}"/>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2309027674"/>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p:cSld name="45_End">
    <p:spTree>
      <p:nvGrpSpPr>
        <p:cNvPr id="1" name=""/>
        <p:cNvGrpSpPr/>
        <p:nvPr/>
      </p:nvGrpSpPr>
      <p:grpSpPr>
        <a:xfrm>
          <a:off x="0" y="0"/>
          <a:ext cx="0" cy="0"/>
          <a:chOff x="0" y="0"/>
          <a:chExt cx="0" cy="0"/>
        </a:xfrm>
      </p:grpSpPr>
      <p:grpSp>
        <p:nvGrpSpPr>
          <p:cNvPr id="2" name="Group 41">
            <a:extLst>
              <a:ext uri="{FF2B5EF4-FFF2-40B4-BE49-F238E27FC236}">
                <a16:creationId xmlns:a16="http://schemas.microsoft.com/office/drawing/2014/main" id="{9DA267EA-504B-DD83-8612-2B2660104F76}"/>
              </a:ext>
            </a:extLst>
          </p:cNvPr>
          <p:cNvGrpSpPr/>
          <p:nvPr/>
        </p:nvGrpSpPr>
        <p:grpSpPr>
          <a:xfrm>
            <a:off x="0" y="0"/>
            <a:ext cx="12191996" cy="2148830"/>
            <a:chOff x="0" y="0"/>
            <a:chExt cx="12191996" cy="2148830"/>
          </a:xfrm>
        </p:grpSpPr>
        <p:sp>
          <p:nvSpPr>
            <p:cNvPr id="3" name="Freeform 40">
              <a:extLst>
                <a:ext uri="{FF2B5EF4-FFF2-40B4-BE49-F238E27FC236}">
                  <a16:creationId xmlns:a16="http://schemas.microsoft.com/office/drawing/2014/main" id="{384584EA-4047-27F4-4E4C-B61325099260}"/>
                </a:ext>
              </a:extLst>
            </p:cNvPr>
            <p:cNvSpPr/>
            <p:nvPr/>
          </p:nvSpPr>
          <p:spPr>
            <a:xfrm flipH="1">
              <a:off x="0" y="0"/>
              <a:ext cx="12191996" cy="2148830"/>
            </a:xfrm>
            <a:custGeom>
              <a:avLst/>
              <a:gdLst>
                <a:gd name="f0" fmla="val 10800000"/>
                <a:gd name="f1" fmla="val 5400000"/>
                <a:gd name="f2" fmla="val 180"/>
                <a:gd name="f3" fmla="val w"/>
                <a:gd name="f4" fmla="val h"/>
                <a:gd name="f5" fmla="val 0"/>
                <a:gd name="f6" fmla="val 12192000"/>
                <a:gd name="f7" fmla="val 2148830"/>
                <a:gd name="f8" fmla="val 2318293"/>
                <a:gd name="f9" fmla="val 2110341"/>
                <a:gd name="f10" fmla="val 1952334"/>
                <a:gd name="f11" fmla="val 920"/>
                <a:gd name="f12" fmla="val 1343499"/>
                <a:gd name="f13" fmla="val 23864"/>
                <a:gd name="f14" fmla="val 752130"/>
                <a:gd name="f15" fmla="val 152982"/>
                <a:gd name="f16" fmla="val 184205"/>
                <a:gd name="f17" fmla="val 435928"/>
                <a:gd name="f18" fmla="val 536864"/>
                <a:gd name="f19" fmla="val 554713"/>
                <a:gd name="f20" fmla="val 201115"/>
                <a:gd name="f21" fmla="val 452796"/>
                <a:gd name="f22" fmla="val 776357"/>
                <a:gd name="f23" fmla="val 187336"/>
                <a:gd name="f24" fmla="val 1349828"/>
                <a:gd name="f25" fmla="val 76760"/>
                <a:gd name="f26" fmla="val 1947588"/>
                <a:gd name="f27" fmla="val 66249"/>
                <a:gd name="f28" fmla="val 2962940"/>
                <a:gd name="f29" fmla="val 48421"/>
                <a:gd name="f30" fmla="val 3890218"/>
                <a:gd name="f31" fmla="val 291317"/>
                <a:gd name="f32" fmla="val 4778140"/>
                <a:gd name="f33" fmla="val 604018"/>
                <a:gd name="f34" fmla="val 7231510"/>
                <a:gd name="f35" fmla="val 1468126"/>
                <a:gd name="f36" fmla="val 9178927"/>
                <a:gd name="f37" fmla="val 2492024"/>
                <a:gd name="f38" fmla="val 11996242"/>
                <a:gd name="f39" fmla="val 2036894"/>
                <a:gd name="f40" fmla="val 2002266"/>
                <a:gd name="f41" fmla="val 1415250"/>
                <a:gd name="f42" fmla="val 12022971"/>
                <a:gd name="f43" fmla="val 1470801"/>
                <a:gd name="f44" fmla="val 10719696"/>
                <a:gd name="f45" fmla="val 1863939"/>
                <a:gd name="f46" fmla="val 9271154"/>
                <a:gd name="f47" fmla="val 1783804"/>
                <a:gd name="f48" fmla="val 7970940"/>
                <a:gd name="f49" fmla="val 1436986"/>
                <a:gd name="f50" fmla="val 6890984"/>
                <a:gd name="f51" fmla="val 1148958"/>
                <a:gd name="f52" fmla="val 5866930"/>
                <a:gd name="f53" fmla="val 767309"/>
                <a:gd name="f54" fmla="val 4800356"/>
                <a:gd name="f55" fmla="val 456582"/>
                <a:gd name="f56" fmla="val 4068903"/>
                <a:gd name="f57" fmla="val 243471"/>
                <a:gd name="f58" fmla="val 3348204"/>
                <a:gd name="f59" fmla="val 74251"/>
                <a:gd name="f60" fmla="val 2646880"/>
                <a:gd name="f61" fmla="val 17560"/>
                <a:gd name="f62" fmla="+- 0 0 -90"/>
                <a:gd name="f63" fmla="*/ f3 1 12192000"/>
                <a:gd name="f64" fmla="*/ f4 1 2148830"/>
                <a:gd name="f65" fmla="+- f7 0 f5"/>
                <a:gd name="f66" fmla="+- f6 0 f5"/>
                <a:gd name="f67" fmla="*/ f62 f0 1"/>
                <a:gd name="f68" fmla="*/ f66 1 12192000"/>
                <a:gd name="f69" fmla="*/ f65 1 2148830"/>
                <a:gd name="f70" fmla="*/ 2318293 f66 1"/>
                <a:gd name="f71" fmla="*/ 0 f65 1"/>
                <a:gd name="f72" fmla="*/ 2110341 f66 1"/>
                <a:gd name="f73" fmla="*/ 1952334 f66 1"/>
                <a:gd name="f74" fmla="*/ 920 f65 1"/>
                <a:gd name="f75" fmla="*/ 184205 f66 1"/>
                <a:gd name="f76" fmla="*/ 435928 f65 1"/>
                <a:gd name="f77" fmla="*/ 0 f66 1"/>
                <a:gd name="f78" fmla="*/ 536864 f65 1"/>
                <a:gd name="f79" fmla="*/ 554713 f65 1"/>
                <a:gd name="f80" fmla="*/ 201115 f66 1"/>
                <a:gd name="f81" fmla="*/ 452796 f65 1"/>
                <a:gd name="f82" fmla="*/ 1947588 f66 1"/>
                <a:gd name="f83" fmla="*/ 66249 f65 1"/>
                <a:gd name="f84" fmla="*/ 4778140 f66 1"/>
                <a:gd name="f85" fmla="*/ 604018 f65 1"/>
                <a:gd name="f86" fmla="*/ 11996242 f66 1"/>
                <a:gd name="f87" fmla="*/ 2036894 f65 1"/>
                <a:gd name="f88" fmla="*/ 12192000 f66 1"/>
                <a:gd name="f89" fmla="*/ 2002266 f65 1"/>
                <a:gd name="f90" fmla="*/ 1415250 f65 1"/>
                <a:gd name="f91" fmla="*/ 12022971 f66 1"/>
                <a:gd name="f92" fmla="*/ 1470801 f65 1"/>
                <a:gd name="f93" fmla="*/ 7970940 f66 1"/>
                <a:gd name="f94" fmla="*/ 1436986 f65 1"/>
                <a:gd name="f95" fmla="*/ 4800356 f66 1"/>
                <a:gd name="f96" fmla="*/ 456582 f65 1"/>
                <a:gd name="f97" fmla="*/ 2646880 f66 1"/>
                <a:gd name="f98" fmla="*/ 17560 f65 1"/>
                <a:gd name="f99" fmla="*/ f67 1 f2"/>
                <a:gd name="f100" fmla="*/ f70 1 12192000"/>
                <a:gd name="f101" fmla="*/ f71 1 2148830"/>
                <a:gd name="f102" fmla="*/ f72 1 12192000"/>
                <a:gd name="f103" fmla="*/ f73 1 12192000"/>
                <a:gd name="f104" fmla="*/ f74 1 2148830"/>
                <a:gd name="f105" fmla="*/ f75 1 12192000"/>
                <a:gd name="f106" fmla="*/ f76 1 2148830"/>
                <a:gd name="f107" fmla="*/ f77 1 12192000"/>
                <a:gd name="f108" fmla="*/ f78 1 2148830"/>
                <a:gd name="f109" fmla="*/ f79 1 2148830"/>
                <a:gd name="f110" fmla="*/ f80 1 12192000"/>
                <a:gd name="f111" fmla="*/ f81 1 2148830"/>
                <a:gd name="f112" fmla="*/ f82 1 12192000"/>
                <a:gd name="f113" fmla="*/ f83 1 2148830"/>
                <a:gd name="f114" fmla="*/ f84 1 12192000"/>
                <a:gd name="f115" fmla="*/ f85 1 2148830"/>
                <a:gd name="f116" fmla="*/ f86 1 12192000"/>
                <a:gd name="f117" fmla="*/ f87 1 2148830"/>
                <a:gd name="f118" fmla="*/ f88 1 12192000"/>
                <a:gd name="f119" fmla="*/ f89 1 2148830"/>
                <a:gd name="f120" fmla="*/ f90 1 2148830"/>
                <a:gd name="f121" fmla="*/ f91 1 12192000"/>
                <a:gd name="f122" fmla="*/ f92 1 2148830"/>
                <a:gd name="f123" fmla="*/ f93 1 12192000"/>
                <a:gd name="f124" fmla="*/ f94 1 2148830"/>
                <a:gd name="f125" fmla="*/ f95 1 12192000"/>
                <a:gd name="f126" fmla="*/ f96 1 2148830"/>
                <a:gd name="f127" fmla="*/ f97 1 12192000"/>
                <a:gd name="f128" fmla="*/ f98 1 2148830"/>
                <a:gd name="f129" fmla="*/ f5 1 f68"/>
                <a:gd name="f130" fmla="*/ f6 1 f68"/>
                <a:gd name="f131" fmla="*/ f5 1 f69"/>
                <a:gd name="f132" fmla="*/ f7 1 f69"/>
                <a:gd name="f133" fmla="+- f99 0 f1"/>
                <a:gd name="f134" fmla="*/ f100 1 f68"/>
                <a:gd name="f135" fmla="*/ f101 1 f69"/>
                <a:gd name="f136" fmla="*/ f102 1 f68"/>
                <a:gd name="f137" fmla="*/ f103 1 f68"/>
                <a:gd name="f138" fmla="*/ f104 1 f69"/>
                <a:gd name="f139" fmla="*/ f105 1 f68"/>
                <a:gd name="f140" fmla="*/ f106 1 f69"/>
                <a:gd name="f141" fmla="*/ f107 1 f68"/>
                <a:gd name="f142" fmla="*/ f108 1 f69"/>
                <a:gd name="f143" fmla="*/ f109 1 f69"/>
                <a:gd name="f144" fmla="*/ f110 1 f68"/>
                <a:gd name="f145" fmla="*/ f111 1 f69"/>
                <a:gd name="f146" fmla="*/ f112 1 f68"/>
                <a:gd name="f147" fmla="*/ f113 1 f69"/>
                <a:gd name="f148" fmla="*/ f114 1 f68"/>
                <a:gd name="f149" fmla="*/ f115 1 f69"/>
                <a:gd name="f150" fmla="*/ f116 1 f68"/>
                <a:gd name="f151" fmla="*/ f117 1 f69"/>
                <a:gd name="f152" fmla="*/ f118 1 f68"/>
                <a:gd name="f153" fmla="*/ f119 1 f69"/>
                <a:gd name="f154" fmla="*/ f120 1 f69"/>
                <a:gd name="f155" fmla="*/ f121 1 f68"/>
                <a:gd name="f156" fmla="*/ f122 1 f69"/>
                <a:gd name="f157" fmla="*/ f123 1 f68"/>
                <a:gd name="f158" fmla="*/ f124 1 f69"/>
                <a:gd name="f159" fmla="*/ f125 1 f68"/>
                <a:gd name="f160" fmla="*/ f126 1 f69"/>
                <a:gd name="f161" fmla="*/ f127 1 f68"/>
                <a:gd name="f162" fmla="*/ f128 1 f69"/>
                <a:gd name="f163" fmla="*/ f129 f63 1"/>
                <a:gd name="f164" fmla="*/ f130 f63 1"/>
                <a:gd name="f165" fmla="*/ f132 f64 1"/>
                <a:gd name="f166" fmla="*/ f131 f64 1"/>
                <a:gd name="f167" fmla="*/ f134 f63 1"/>
                <a:gd name="f168" fmla="*/ f135 f64 1"/>
                <a:gd name="f169" fmla="*/ f136 f63 1"/>
                <a:gd name="f170" fmla="*/ f137 f63 1"/>
                <a:gd name="f171" fmla="*/ f138 f64 1"/>
                <a:gd name="f172" fmla="*/ f139 f63 1"/>
                <a:gd name="f173" fmla="*/ f140 f64 1"/>
                <a:gd name="f174" fmla="*/ f141 f63 1"/>
                <a:gd name="f175" fmla="*/ f142 f64 1"/>
                <a:gd name="f176" fmla="*/ f143 f64 1"/>
                <a:gd name="f177" fmla="*/ f144 f63 1"/>
                <a:gd name="f178" fmla="*/ f145 f64 1"/>
                <a:gd name="f179" fmla="*/ f146 f63 1"/>
                <a:gd name="f180" fmla="*/ f147 f64 1"/>
                <a:gd name="f181" fmla="*/ f148 f63 1"/>
                <a:gd name="f182" fmla="*/ f149 f64 1"/>
                <a:gd name="f183" fmla="*/ f150 f63 1"/>
                <a:gd name="f184" fmla="*/ f151 f64 1"/>
                <a:gd name="f185" fmla="*/ f152 f63 1"/>
                <a:gd name="f186" fmla="*/ f153 f64 1"/>
                <a:gd name="f187" fmla="*/ f154 f64 1"/>
                <a:gd name="f188" fmla="*/ f155 f63 1"/>
                <a:gd name="f189" fmla="*/ f156 f64 1"/>
                <a:gd name="f190" fmla="*/ f157 f63 1"/>
                <a:gd name="f191" fmla="*/ f158 f64 1"/>
                <a:gd name="f192" fmla="*/ f159 f63 1"/>
                <a:gd name="f193" fmla="*/ f160 f64 1"/>
                <a:gd name="f194" fmla="*/ f161 f63 1"/>
                <a:gd name="f195" fmla="*/ f162 f64 1"/>
              </a:gdLst>
              <a:ahLst/>
              <a:cxnLst>
                <a:cxn ang="3cd4">
                  <a:pos x="hc" y="t"/>
                </a:cxn>
                <a:cxn ang="0">
                  <a:pos x="r" y="vc"/>
                </a:cxn>
                <a:cxn ang="cd4">
                  <a:pos x="hc" y="b"/>
                </a:cxn>
                <a:cxn ang="cd2">
                  <a:pos x="l" y="vc"/>
                </a:cxn>
                <a:cxn ang="f133">
                  <a:pos x="f167" y="f168"/>
                </a:cxn>
                <a:cxn ang="f133">
                  <a:pos x="f169" y="f168"/>
                </a:cxn>
                <a:cxn ang="f133">
                  <a:pos x="f170" y="f171"/>
                </a:cxn>
                <a:cxn ang="f133">
                  <a:pos x="f172" y="f173"/>
                </a:cxn>
                <a:cxn ang="f133">
                  <a:pos x="f174" y="f175"/>
                </a:cxn>
                <a:cxn ang="f133">
                  <a:pos x="f174" y="f176"/>
                </a:cxn>
                <a:cxn ang="f133">
                  <a:pos x="f177" y="f178"/>
                </a:cxn>
                <a:cxn ang="f133">
                  <a:pos x="f179" y="f180"/>
                </a:cxn>
                <a:cxn ang="f133">
                  <a:pos x="f181" y="f182"/>
                </a:cxn>
                <a:cxn ang="f133">
                  <a:pos x="f183" y="f184"/>
                </a:cxn>
                <a:cxn ang="f133">
                  <a:pos x="f185" y="f186"/>
                </a:cxn>
                <a:cxn ang="f133">
                  <a:pos x="f185" y="f187"/>
                </a:cxn>
                <a:cxn ang="f133">
                  <a:pos x="f188" y="f189"/>
                </a:cxn>
                <a:cxn ang="f133">
                  <a:pos x="f190" y="f191"/>
                </a:cxn>
                <a:cxn ang="f133">
                  <a:pos x="f192" y="f193"/>
                </a:cxn>
                <a:cxn ang="f133">
                  <a:pos x="f194" y="f195"/>
                </a:cxn>
              </a:cxnLst>
              <a:rect l="f163" t="f166" r="f164" b="f165"/>
              <a:pathLst>
                <a:path w="12192000" h="2148830">
                  <a:moveTo>
                    <a:pt x="f8" y="f5"/>
                  </a:moveTo>
                  <a:lnTo>
                    <a:pt x="f9" y="f5"/>
                  </a:lnTo>
                  <a:lnTo>
                    <a:pt x="f10" y="f11"/>
                  </a:lnTo>
                  <a:cubicBezTo>
                    <a:pt x="f12" y="f13"/>
                    <a:pt x="f14" y="f15"/>
                    <a:pt x="f16" y="f17"/>
                  </a:cubicBezTo>
                  <a:lnTo>
                    <a:pt x="f5" y="f18"/>
                  </a:lnTo>
                  <a:lnTo>
                    <a:pt x="f5" y="f19"/>
                  </a:lnTo>
                  <a:lnTo>
                    <a:pt x="f20" y="f21"/>
                  </a:lnTo>
                  <a:cubicBezTo>
                    <a:pt x="f22" y="f23"/>
                    <a:pt x="f24" y="f25"/>
                    <a:pt x="f26" y="f27"/>
                  </a:cubicBezTo>
                  <a:cubicBezTo>
                    <a:pt x="f28" y="f29"/>
                    <a:pt x="f30" y="f31"/>
                    <a:pt x="f32" y="f33"/>
                  </a:cubicBezTo>
                  <a:cubicBezTo>
                    <a:pt x="f34" y="f35"/>
                    <a:pt x="f36" y="f37"/>
                    <a:pt x="f38" y="f39"/>
                  </a:cubicBezTo>
                  <a:lnTo>
                    <a:pt x="f6" y="f40"/>
                  </a:lnTo>
                  <a:lnTo>
                    <a:pt x="f6" y="f41"/>
                  </a:lnTo>
                  <a:lnTo>
                    <a:pt x="f42" y="f43"/>
                  </a:lnTo>
                  <a:cubicBezTo>
                    <a:pt x="f44" y="f45"/>
                    <a:pt x="f46" y="f47"/>
                    <a:pt x="f48" y="f49"/>
                  </a:cubicBezTo>
                  <a:cubicBezTo>
                    <a:pt x="f50" y="f51"/>
                    <a:pt x="f52" y="f53"/>
                    <a:pt x="f54" y="f55"/>
                  </a:cubicBezTo>
                  <a:cubicBezTo>
                    <a:pt x="f56" y="f57"/>
                    <a:pt x="f58" y="f59"/>
                    <a:pt x="f60" y="f61"/>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4" name="Freeform 38">
              <a:extLst>
                <a:ext uri="{FF2B5EF4-FFF2-40B4-BE49-F238E27FC236}">
                  <a16:creationId xmlns:a16="http://schemas.microsoft.com/office/drawing/2014/main" id="{66950E67-C082-3C7C-C33E-CEB213AADA13}"/>
                </a:ext>
              </a:extLst>
            </p:cNvPr>
            <p:cNvSpPr/>
            <p:nvPr/>
          </p:nvSpPr>
          <p:spPr>
            <a:xfrm flipH="1">
              <a:off x="0" y="0"/>
              <a:ext cx="12191996" cy="1992139"/>
            </a:xfrm>
            <a:custGeom>
              <a:avLst/>
              <a:gdLst>
                <a:gd name="f0" fmla="val 10800000"/>
                <a:gd name="f1" fmla="val 5400000"/>
                <a:gd name="f2" fmla="val 180"/>
                <a:gd name="f3" fmla="val w"/>
                <a:gd name="f4" fmla="val h"/>
                <a:gd name="f5" fmla="val 0"/>
                <a:gd name="f6" fmla="val 12192000"/>
                <a:gd name="f7" fmla="val 1992138"/>
                <a:gd name="f8" fmla="val 2724271"/>
                <a:gd name="f9" fmla="val 1788442"/>
                <a:gd name="f10" fmla="val 1635403"/>
                <a:gd name="f11" fmla="val 12925"/>
                <a:gd name="f12" fmla="val 1134241"/>
                <a:gd name="f13" fmla="val 70905"/>
                <a:gd name="f14" fmla="val 647221"/>
                <a:gd name="f15" fmla="val 207817"/>
                <a:gd name="f16" fmla="val 178220"/>
                <a:gd name="f17" fmla="val 451207"/>
                <a:gd name="f18" fmla="val 552718"/>
                <a:gd name="f19" fmla="val 570885"/>
                <a:gd name="f20" fmla="val 195368"/>
                <a:gd name="f21" fmla="val 467800"/>
                <a:gd name="f22" fmla="val 765758"/>
                <a:gd name="f23" fmla="val 193094"/>
                <a:gd name="f24" fmla="val 1336955"/>
                <a:gd name="f25" fmla="val 73179"/>
                <a:gd name="f26" fmla="val 1934073"/>
                <a:gd name="f27" fmla="val 52850"/>
                <a:gd name="f28" fmla="val 2948304"/>
                <a:gd name="f29" fmla="val 18310"/>
                <a:gd name="f30" fmla="val 3878878"/>
                <a:gd name="f31" fmla="val 245747"/>
                <a:gd name="f32" fmla="val 4771217"/>
                <a:gd name="f33" fmla="val 543645"/>
                <a:gd name="f34" fmla="val 7236913"/>
                <a:gd name="f35" fmla="val 1366709"/>
                <a:gd name="f36" fmla="val 9199689"/>
                <a:gd name="f37" fmla="val 2357774"/>
                <a:gd name="f38" fmla="val 12007222"/>
                <a:gd name="f39" fmla="val 1856729"/>
                <a:gd name="f40" fmla="val 1820900"/>
                <a:gd name="f41" fmla="val 897073"/>
                <a:gd name="f42" fmla="val 12062517"/>
                <a:gd name="f43" fmla="val 950128"/>
                <a:gd name="f44" fmla="val 10950292"/>
                <a:gd name="f45" fmla="val 1376478"/>
                <a:gd name="f46" fmla="val 9595706"/>
                <a:gd name="f47" fmla="val 1466451"/>
                <a:gd name="f48" fmla="val 8435105"/>
                <a:gd name="f49" fmla="val 1266613"/>
                <a:gd name="f50" fmla="val 6618389"/>
                <a:gd name="f51" fmla="val 953715"/>
                <a:gd name="f52" fmla="val 4735222"/>
                <a:gd name="f53" fmla="val 130088"/>
                <a:gd name="f54" fmla="val 2948502"/>
                <a:gd name="f55" fmla="val 20548"/>
                <a:gd name="f56" fmla="+- 0 0 -90"/>
                <a:gd name="f57" fmla="*/ f3 1 12192000"/>
                <a:gd name="f58" fmla="*/ f4 1 1992138"/>
                <a:gd name="f59" fmla="+- f7 0 f5"/>
                <a:gd name="f60" fmla="+- f6 0 f5"/>
                <a:gd name="f61" fmla="*/ f56 f0 1"/>
                <a:gd name="f62" fmla="*/ f60 1 12192000"/>
                <a:gd name="f63" fmla="*/ f59 1 1992138"/>
                <a:gd name="f64" fmla="*/ 2724271 f60 1"/>
                <a:gd name="f65" fmla="*/ 0 f59 1"/>
                <a:gd name="f66" fmla="*/ 1788442 f60 1"/>
                <a:gd name="f67" fmla="*/ 1635403 f60 1"/>
                <a:gd name="f68" fmla="*/ 12925 f59 1"/>
                <a:gd name="f69" fmla="*/ 178220 f60 1"/>
                <a:gd name="f70" fmla="*/ 451207 f59 1"/>
                <a:gd name="f71" fmla="*/ 0 f60 1"/>
                <a:gd name="f72" fmla="*/ 552718 f59 1"/>
                <a:gd name="f73" fmla="*/ 570885 f59 1"/>
                <a:gd name="f74" fmla="*/ 195368 f60 1"/>
                <a:gd name="f75" fmla="*/ 467800 f59 1"/>
                <a:gd name="f76" fmla="*/ 1934073 f60 1"/>
                <a:gd name="f77" fmla="*/ 52850 f59 1"/>
                <a:gd name="f78" fmla="*/ 4771217 f60 1"/>
                <a:gd name="f79" fmla="*/ 543645 f59 1"/>
                <a:gd name="f80" fmla="*/ 12007222 f60 1"/>
                <a:gd name="f81" fmla="*/ 1856729 f59 1"/>
                <a:gd name="f82" fmla="*/ 12192000 f60 1"/>
                <a:gd name="f83" fmla="*/ 1820900 f59 1"/>
                <a:gd name="f84" fmla="*/ 897073 f59 1"/>
                <a:gd name="f85" fmla="*/ 12062517 f60 1"/>
                <a:gd name="f86" fmla="*/ 950128 f59 1"/>
                <a:gd name="f87" fmla="*/ 8435105 f60 1"/>
                <a:gd name="f88" fmla="*/ 1266613 f59 1"/>
                <a:gd name="f89" fmla="*/ 2948502 f60 1"/>
                <a:gd name="f90" fmla="*/ 20548 f59 1"/>
                <a:gd name="f91" fmla="*/ f61 1 f2"/>
                <a:gd name="f92" fmla="*/ f64 1 12192000"/>
                <a:gd name="f93" fmla="*/ f65 1 1992138"/>
                <a:gd name="f94" fmla="*/ f66 1 12192000"/>
                <a:gd name="f95" fmla="*/ f67 1 12192000"/>
                <a:gd name="f96" fmla="*/ f68 1 1992138"/>
                <a:gd name="f97" fmla="*/ f69 1 12192000"/>
                <a:gd name="f98" fmla="*/ f70 1 1992138"/>
                <a:gd name="f99" fmla="*/ f71 1 12192000"/>
                <a:gd name="f100" fmla="*/ f72 1 1992138"/>
                <a:gd name="f101" fmla="*/ f73 1 1992138"/>
                <a:gd name="f102" fmla="*/ f74 1 12192000"/>
                <a:gd name="f103" fmla="*/ f75 1 1992138"/>
                <a:gd name="f104" fmla="*/ f76 1 12192000"/>
                <a:gd name="f105" fmla="*/ f77 1 1992138"/>
                <a:gd name="f106" fmla="*/ f78 1 12192000"/>
                <a:gd name="f107" fmla="*/ f79 1 1992138"/>
                <a:gd name="f108" fmla="*/ f80 1 12192000"/>
                <a:gd name="f109" fmla="*/ f81 1 1992138"/>
                <a:gd name="f110" fmla="*/ f82 1 12192000"/>
                <a:gd name="f111" fmla="*/ f83 1 1992138"/>
                <a:gd name="f112" fmla="*/ f84 1 1992138"/>
                <a:gd name="f113" fmla="*/ f85 1 12192000"/>
                <a:gd name="f114" fmla="*/ f86 1 1992138"/>
                <a:gd name="f115" fmla="*/ f87 1 12192000"/>
                <a:gd name="f116" fmla="*/ f88 1 1992138"/>
                <a:gd name="f117" fmla="*/ f89 1 12192000"/>
                <a:gd name="f118" fmla="*/ f90 1 1992138"/>
                <a:gd name="f119" fmla="*/ f5 1 f62"/>
                <a:gd name="f120" fmla="*/ f6 1 f62"/>
                <a:gd name="f121" fmla="*/ f5 1 f63"/>
                <a:gd name="f122" fmla="*/ f7 1 f63"/>
                <a:gd name="f123" fmla="+- f91 0 f1"/>
                <a:gd name="f124" fmla="*/ f92 1 f62"/>
                <a:gd name="f125" fmla="*/ f93 1 f63"/>
                <a:gd name="f126" fmla="*/ f94 1 f62"/>
                <a:gd name="f127" fmla="*/ f95 1 f62"/>
                <a:gd name="f128" fmla="*/ f96 1 f63"/>
                <a:gd name="f129" fmla="*/ f97 1 f62"/>
                <a:gd name="f130" fmla="*/ f98 1 f63"/>
                <a:gd name="f131" fmla="*/ f99 1 f62"/>
                <a:gd name="f132" fmla="*/ f100 1 f63"/>
                <a:gd name="f133" fmla="*/ f101 1 f63"/>
                <a:gd name="f134" fmla="*/ f102 1 f62"/>
                <a:gd name="f135" fmla="*/ f103 1 f63"/>
                <a:gd name="f136" fmla="*/ f104 1 f62"/>
                <a:gd name="f137" fmla="*/ f105 1 f63"/>
                <a:gd name="f138" fmla="*/ f106 1 f62"/>
                <a:gd name="f139" fmla="*/ f107 1 f63"/>
                <a:gd name="f140" fmla="*/ f108 1 f62"/>
                <a:gd name="f141" fmla="*/ f109 1 f63"/>
                <a:gd name="f142" fmla="*/ f110 1 f62"/>
                <a:gd name="f143" fmla="*/ f111 1 f63"/>
                <a:gd name="f144" fmla="*/ f112 1 f63"/>
                <a:gd name="f145" fmla="*/ f113 1 f62"/>
                <a:gd name="f146" fmla="*/ f114 1 f63"/>
                <a:gd name="f147" fmla="*/ f115 1 f62"/>
                <a:gd name="f148" fmla="*/ f116 1 f63"/>
                <a:gd name="f149" fmla="*/ f117 1 f62"/>
                <a:gd name="f150" fmla="*/ f118 1 f63"/>
                <a:gd name="f151" fmla="*/ f119 f57 1"/>
                <a:gd name="f152" fmla="*/ f120 f57 1"/>
                <a:gd name="f153" fmla="*/ f122 f58 1"/>
                <a:gd name="f154" fmla="*/ f121 f58 1"/>
                <a:gd name="f155" fmla="*/ f124 f57 1"/>
                <a:gd name="f156" fmla="*/ f125 f58 1"/>
                <a:gd name="f157" fmla="*/ f126 f57 1"/>
                <a:gd name="f158" fmla="*/ f127 f57 1"/>
                <a:gd name="f159" fmla="*/ f128 f58 1"/>
                <a:gd name="f160" fmla="*/ f129 f57 1"/>
                <a:gd name="f161" fmla="*/ f130 f58 1"/>
                <a:gd name="f162" fmla="*/ f131 f57 1"/>
                <a:gd name="f163" fmla="*/ f132 f58 1"/>
                <a:gd name="f164" fmla="*/ f133 f58 1"/>
                <a:gd name="f165" fmla="*/ f134 f57 1"/>
                <a:gd name="f166" fmla="*/ f135 f58 1"/>
                <a:gd name="f167" fmla="*/ f136 f57 1"/>
                <a:gd name="f168" fmla="*/ f137 f58 1"/>
                <a:gd name="f169" fmla="*/ f138 f57 1"/>
                <a:gd name="f170" fmla="*/ f139 f58 1"/>
                <a:gd name="f171" fmla="*/ f140 f57 1"/>
                <a:gd name="f172" fmla="*/ f141 f58 1"/>
                <a:gd name="f173" fmla="*/ f142 f57 1"/>
                <a:gd name="f174" fmla="*/ f143 f58 1"/>
                <a:gd name="f175" fmla="*/ f144 f58 1"/>
                <a:gd name="f176" fmla="*/ f145 f57 1"/>
                <a:gd name="f177" fmla="*/ f146 f58 1"/>
                <a:gd name="f178" fmla="*/ f147 f57 1"/>
                <a:gd name="f179" fmla="*/ f148 f58 1"/>
                <a:gd name="f180" fmla="*/ f149 f57 1"/>
                <a:gd name="f181" fmla="*/ f150 f58 1"/>
              </a:gdLst>
              <a:ahLst/>
              <a:cxnLst>
                <a:cxn ang="3cd4">
                  <a:pos x="hc" y="t"/>
                </a:cxn>
                <a:cxn ang="0">
                  <a:pos x="r" y="vc"/>
                </a:cxn>
                <a:cxn ang="cd4">
                  <a:pos x="hc" y="b"/>
                </a:cxn>
                <a:cxn ang="cd2">
                  <a:pos x="l" y="vc"/>
                </a:cxn>
                <a:cxn ang="f123">
                  <a:pos x="f155" y="f156"/>
                </a:cxn>
                <a:cxn ang="f123">
                  <a:pos x="f157" y="f156"/>
                </a:cxn>
                <a:cxn ang="f123">
                  <a:pos x="f158" y="f159"/>
                </a:cxn>
                <a:cxn ang="f123">
                  <a:pos x="f160" y="f161"/>
                </a:cxn>
                <a:cxn ang="f123">
                  <a:pos x="f162" y="f163"/>
                </a:cxn>
                <a:cxn ang="f123">
                  <a:pos x="f162" y="f164"/>
                </a:cxn>
                <a:cxn ang="f123">
                  <a:pos x="f165" y="f166"/>
                </a:cxn>
                <a:cxn ang="f123">
                  <a:pos x="f167" y="f168"/>
                </a:cxn>
                <a:cxn ang="f123">
                  <a:pos x="f169" y="f170"/>
                </a:cxn>
                <a:cxn ang="f123">
                  <a:pos x="f171" y="f172"/>
                </a:cxn>
                <a:cxn ang="f123">
                  <a:pos x="f173" y="f174"/>
                </a:cxn>
                <a:cxn ang="f123">
                  <a:pos x="f173" y="f175"/>
                </a:cxn>
                <a:cxn ang="f123">
                  <a:pos x="f176" y="f177"/>
                </a:cxn>
                <a:cxn ang="f123">
                  <a:pos x="f178" y="f179"/>
                </a:cxn>
                <a:cxn ang="f123">
                  <a:pos x="f180" y="f181"/>
                </a:cxn>
              </a:cxnLst>
              <a:rect l="f151" t="f154" r="f152" b="f153"/>
              <a:pathLst>
                <a:path w="12192000" h="1992138">
                  <a:moveTo>
                    <a:pt x="f8" y="f5"/>
                  </a:moveTo>
                  <a:lnTo>
                    <a:pt x="f9" y="f5"/>
                  </a:lnTo>
                  <a:lnTo>
                    <a:pt x="f10" y="f11"/>
                  </a:lnTo>
                  <a:cubicBezTo>
                    <a:pt x="f12" y="f13"/>
                    <a:pt x="f14" y="f15"/>
                    <a:pt x="f16" y="f17"/>
                  </a:cubicBezTo>
                  <a:lnTo>
                    <a:pt x="f5" y="f18"/>
                  </a:lnTo>
                  <a:lnTo>
                    <a:pt x="f5" y="f19"/>
                  </a:lnTo>
                  <a:lnTo>
                    <a:pt x="f20" y="f21"/>
                  </a:lnTo>
                  <a:cubicBezTo>
                    <a:pt x="f22" y="f23"/>
                    <a:pt x="f24" y="f25"/>
                    <a:pt x="f26" y="f27"/>
                  </a:cubicBezTo>
                  <a:cubicBezTo>
                    <a:pt x="f28" y="f29"/>
                    <a:pt x="f30" y="f31"/>
                    <a:pt x="f32" y="f33"/>
                  </a:cubicBezTo>
                  <a:cubicBezTo>
                    <a:pt x="f34" y="f35"/>
                    <a:pt x="f36" y="f37"/>
                    <a:pt x="f38" y="f39"/>
                  </a:cubicBezTo>
                  <a:lnTo>
                    <a:pt x="f6" y="f40"/>
                  </a:lnTo>
                  <a:lnTo>
                    <a:pt x="f6" y="f41"/>
                  </a:lnTo>
                  <a:lnTo>
                    <a:pt x="f42" y="f43"/>
                  </a:lnTo>
                  <a:cubicBezTo>
                    <a:pt x="f44" y="f45"/>
                    <a:pt x="f46" y="f47"/>
                    <a:pt x="f48" y="f49"/>
                  </a:cubicBezTo>
                  <a:cubicBezTo>
                    <a:pt x="f50" y="f51"/>
                    <a:pt x="f52" y="f53"/>
                    <a:pt x="f54" y="f55"/>
                  </a:cubicBezTo>
                  <a:close/>
                </a:path>
              </a:pathLst>
            </a:custGeom>
            <a:solidFill>
              <a:srgbClr val="00498F"/>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sp>
        <p:nvSpPr>
          <p:cNvPr id="5" name="Rectangle 3">
            <a:extLst>
              <a:ext uri="{FF2B5EF4-FFF2-40B4-BE49-F238E27FC236}">
                <a16:creationId xmlns:a16="http://schemas.microsoft.com/office/drawing/2014/main" id="{2CC115E2-DE19-A7FB-5748-409957499D47}"/>
              </a:ext>
            </a:extLst>
          </p:cNvPr>
          <p:cNvSpPr/>
          <p:nvPr/>
        </p:nvSpPr>
        <p:spPr>
          <a:xfrm>
            <a:off x="902366" y="1517694"/>
            <a:ext cx="11289630" cy="3822603"/>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6" name="Content Placeholder 2">
            <a:extLst>
              <a:ext uri="{FF2B5EF4-FFF2-40B4-BE49-F238E27FC236}">
                <a16:creationId xmlns:a16="http://schemas.microsoft.com/office/drawing/2014/main" id="{C6B6CBB9-5A13-15B8-0351-53A52703D2AC}"/>
              </a:ext>
            </a:extLst>
          </p:cNvPr>
          <p:cNvSpPr txBox="1">
            <a:spLocks noGrp="1"/>
          </p:cNvSpPr>
          <p:nvPr>
            <p:ph idx="4294967295"/>
          </p:nvPr>
        </p:nvSpPr>
        <p:spPr>
          <a:xfrm>
            <a:off x="1219197" y="3429001"/>
            <a:ext cx="5582649" cy="1413561"/>
          </a:xfrm>
        </p:spPr>
        <p:txBody>
          <a:bodyPr/>
          <a:lstStyle>
            <a:lvl1pPr marL="0" indent="0">
              <a:buNone/>
              <a:defRPr sz="2000"/>
            </a:lvl1pPr>
          </a:lstStyle>
          <a:p>
            <a:pPr lvl="0"/>
            <a:r>
              <a:rPr lang="en-US"/>
              <a:t>Click to edit Master text styles</a:t>
            </a:r>
          </a:p>
        </p:txBody>
      </p:sp>
      <p:sp>
        <p:nvSpPr>
          <p:cNvPr id="7" name="Title 11">
            <a:extLst>
              <a:ext uri="{FF2B5EF4-FFF2-40B4-BE49-F238E27FC236}">
                <a16:creationId xmlns:a16="http://schemas.microsoft.com/office/drawing/2014/main" id="{74E828B7-98B1-8BD8-BF95-1DA721A0FD41}"/>
              </a:ext>
            </a:extLst>
          </p:cNvPr>
          <p:cNvSpPr txBox="1">
            <a:spLocks noGrp="1"/>
          </p:cNvSpPr>
          <p:nvPr>
            <p:ph type="title"/>
          </p:nvPr>
        </p:nvSpPr>
        <p:spPr>
          <a:xfrm>
            <a:off x="1219197" y="1887486"/>
            <a:ext cx="5582649" cy="1078260"/>
          </a:xfrm>
        </p:spPr>
        <p:txBody>
          <a:bodyPr/>
          <a:lstStyle>
            <a:lvl1pPr>
              <a:defRPr sz="6000"/>
            </a:lvl1pPr>
          </a:lstStyle>
          <a:p>
            <a:pPr lvl="0"/>
            <a:r>
              <a:rPr lang="en-US"/>
              <a:t>Thank you</a:t>
            </a:r>
          </a:p>
        </p:txBody>
      </p:sp>
      <p:pic>
        <p:nvPicPr>
          <p:cNvPr id="8" name="Picture 32">
            <a:extLst>
              <a:ext uri="{FF2B5EF4-FFF2-40B4-BE49-F238E27FC236}">
                <a16:creationId xmlns:a16="http://schemas.microsoft.com/office/drawing/2014/main" id="{C3CBD0FB-2AEB-42D7-15BD-181400E668EE}"/>
              </a:ext>
            </a:extLst>
          </p:cNvPr>
          <p:cNvPicPr>
            <a:picLocks noChangeAspect="1"/>
          </p:cNvPicPr>
          <p:nvPr/>
        </p:nvPicPr>
        <p:blipFill>
          <a:blip r:embed="rId2"/>
          <a:srcRect/>
          <a:stretch>
            <a:fillRect/>
          </a:stretch>
        </p:blipFill>
        <p:spPr>
          <a:xfrm>
            <a:off x="902366" y="228371"/>
            <a:ext cx="2025313" cy="911940"/>
          </a:xfrm>
          <a:prstGeom prst="rect">
            <a:avLst/>
          </a:prstGeom>
          <a:noFill/>
          <a:ln cap="flat">
            <a:noFill/>
          </a:ln>
        </p:spPr>
      </p:pic>
      <p:sp>
        <p:nvSpPr>
          <p:cNvPr id="9" name="Picture Placeholder 16">
            <a:extLst>
              <a:ext uri="{FF2B5EF4-FFF2-40B4-BE49-F238E27FC236}">
                <a16:creationId xmlns:a16="http://schemas.microsoft.com/office/drawing/2014/main" id="{CD60AB36-4113-3CF3-D716-AC73389996A3}"/>
              </a:ext>
            </a:extLst>
          </p:cNvPr>
          <p:cNvSpPr txBox="1">
            <a:spLocks noGrp="1"/>
          </p:cNvSpPr>
          <p:nvPr>
            <p:ph type="pic" idx="4294967295"/>
          </p:nvPr>
        </p:nvSpPr>
        <p:spPr>
          <a:xfrm>
            <a:off x="7118687" y="233912"/>
            <a:ext cx="5073319" cy="5943600"/>
          </a:xfrm>
        </p:spPr>
        <p:txBody>
          <a:bodyPr/>
          <a:lstStyle>
            <a:lvl1pPr>
              <a:defRPr/>
            </a:lvl1pPr>
          </a:lstStyle>
          <a:p>
            <a:pPr lvl="0"/>
            <a:endParaRPr lang="en-US"/>
          </a:p>
        </p:txBody>
      </p:sp>
    </p:spTree>
    <p:extLst>
      <p:ext uri="{BB962C8B-B14F-4D97-AF65-F5344CB8AC3E}">
        <p14:creationId xmlns:p14="http://schemas.microsoft.com/office/powerpoint/2010/main" val="2181832088"/>
      </p:ext>
    </p:extLst>
  </p:cSld>
  <p:clrMapOvr>
    <a:masterClrMapping/>
  </p:clrMapOvr>
  <p:hf sldNum="0" hdr="0" ftr="0" dt="0"/>
</p:sldLayout>
</file>

<file path=ppt/slideLayouts/slideLayout623.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08E737DC-ED48-A154-54A2-F488C318DD06}"/>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65DA9E6D-B2C3-55C3-377F-C2FC75382AB0}"/>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7B6F9A26-8A56-9A97-4AE2-8AAABE675DE9}"/>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D6D27F50-91FE-9B6F-F685-49B39117ACDC}"/>
              </a:ext>
            </a:extLst>
          </p:cNvPr>
          <p:cNvSpPr txBox="1">
            <a:spLocks noGrp="1"/>
          </p:cNvSpPr>
          <p:nvPr>
            <p:ph type="sldNum" sz="quarter" idx="8"/>
          </p:nvPr>
        </p:nvSpPr>
        <p:spPr/>
        <p:txBody>
          <a:bodyPr/>
          <a:lstStyle>
            <a:lvl1pPr>
              <a:defRPr>
                <a:solidFill>
                  <a:srgbClr val="AFB3B9"/>
                </a:solidFill>
              </a:defRPr>
            </a:lvl1pPr>
          </a:lstStyle>
          <a:p>
            <a:pPr lvl="0"/>
            <a:fld id="{F152CB2D-7850-40AD-B31A-569447D7CBD7}" type="slidenum">
              <a:t>‹#›</a:t>
            </a:fld>
            <a:endParaRPr lang="en-US"/>
          </a:p>
        </p:txBody>
      </p:sp>
      <p:cxnSp>
        <p:nvCxnSpPr>
          <p:cNvPr id="6" name="Straight Connector 7">
            <a:extLst>
              <a:ext uri="{FF2B5EF4-FFF2-40B4-BE49-F238E27FC236}">
                <a16:creationId xmlns:a16="http://schemas.microsoft.com/office/drawing/2014/main" id="{322B8F6E-B542-487B-6FA5-33C5CF7176C1}"/>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E9C26AB3-8682-C814-1E92-DE436CB8EC57}"/>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EBC7CFCD-DC56-5037-F9FB-DA5A6A66A5EA}"/>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67268308-CE08-6B8E-57EF-39453AFA12B3}"/>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6094412F-7B17-3983-0DE7-615CAF57D06F}"/>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0154EDA8-201A-8FBA-CAD1-31E827931CB1}"/>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514D47EF-19FF-9215-81FE-0597C5E80712}"/>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2A58924A-6E47-C1ED-C09E-85017FE1CD2D}"/>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158452680"/>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type="obj" preserve="1">
  <p:cSld name="68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AE2F88C5-A4DC-16FA-74B8-7CF6B5E72614}"/>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06241290-AE4A-BBB5-7745-6BF79BDAF5BA}"/>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9A754BBE-8550-24C9-FAB1-52ED00CA25DF}"/>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3C0B9AEC-CBF6-A64D-CF8C-348FD8E3EFA3}"/>
              </a:ext>
            </a:extLst>
          </p:cNvPr>
          <p:cNvSpPr txBox="1">
            <a:spLocks noGrp="1"/>
          </p:cNvSpPr>
          <p:nvPr>
            <p:ph type="sldNum" sz="quarter" idx="8"/>
          </p:nvPr>
        </p:nvSpPr>
        <p:spPr/>
        <p:txBody>
          <a:bodyPr/>
          <a:lstStyle>
            <a:lvl1pPr>
              <a:defRPr>
                <a:solidFill>
                  <a:srgbClr val="AFB3B9"/>
                </a:solidFill>
              </a:defRPr>
            </a:lvl1pPr>
          </a:lstStyle>
          <a:p>
            <a:pPr lvl="0"/>
            <a:fld id="{AC711EE1-CD2C-4519-B2CB-BD72A83604AC}" type="slidenum">
              <a:t>‹#›</a:t>
            </a:fld>
            <a:endParaRPr lang="en-US"/>
          </a:p>
        </p:txBody>
      </p:sp>
      <p:cxnSp>
        <p:nvCxnSpPr>
          <p:cNvPr id="6" name="Straight Connector 7">
            <a:extLst>
              <a:ext uri="{FF2B5EF4-FFF2-40B4-BE49-F238E27FC236}">
                <a16:creationId xmlns:a16="http://schemas.microsoft.com/office/drawing/2014/main" id="{F83D4E68-DE99-19E6-40DE-C9AD8851299B}"/>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BAD79EE7-4F8D-7F46-5B8B-B1F204F8E214}"/>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0C997D5A-60C4-AE4C-5983-52FC63AC7660}"/>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8DEE5863-BA81-4A82-75BB-5CF4DC964417}"/>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34AD1F9F-2ED0-673F-5A03-35452E775C12}"/>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545F887E-1E04-967F-3844-8898E193DDB6}"/>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6355662D-08EA-34B3-E761-B3EC57312E9D}"/>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074E9006-1FDF-FBB7-3C50-A8571BDAAC19}"/>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2589360974"/>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type="obj" preserve="1">
  <p:cSld name="63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D2D1BB60-5A08-5E91-8EF3-E100291C4FF4}"/>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DCE604EB-23CE-7068-C6CB-F51E3FABA7E3}"/>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6D6D2F94-4F6B-07C8-462F-41BDD8862FA7}"/>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F6D63015-8C7A-42C9-DC39-869AFDFCE81D}"/>
              </a:ext>
            </a:extLst>
          </p:cNvPr>
          <p:cNvSpPr txBox="1">
            <a:spLocks noGrp="1"/>
          </p:cNvSpPr>
          <p:nvPr>
            <p:ph type="sldNum" sz="quarter" idx="8"/>
          </p:nvPr>
        </p:nvSpPr>
        <p:spPr/>
        <p:txBody>
          <a:bodyPr/>
          <a:lstStyle>
            <a:lvl1pPr>
              <a:defRPr>
                <a:solidFill>
                  <a:srgbClr val="AFB3B9"/>
                </a:solidFill>
              </a:defRPr>
            </a:lvl1pPr>
          </a:lstStyle>
          <a:p>
            <a:pPr lvl="0"/>
            <a:fld id="{6D588EAF-8620-483A-BED1-CE4029949A61}" type="slidenum">
              <a:t>‹#›</a:t>
            </a:fld>
            <a:endParaRPr lang="en-US"/>
          </a:p>
        </p:txBody>
      </p:sp>
      <p:cxnSp>
        <p:nvCxnSpPr>
          <p:cNvPr id="6" name="Straight Connector 7">
            <a:extLst>
              <a:ext uri="{FF2B5EF4-FFF2-40B4-BE49-F238E27FC236}">
                <a16:creationId xmlns:a16="http://schemas.microsoft.com/office/drawing/2014/main" id="{6FD82185-3118-E124-AD72-BA12885E94D3}"/>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01496055-0293-A235-3667-C3A07A3559E8}"/>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BCFA7A52-908B-4A5C-E949-A6206ECE3713}"/>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9B839108-0623-B8ED-1AF8-F7F4C085C201}"/>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884DBB91-FB91-87B0-2E8B-4EB29D4CB17A}"/>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417C5331-F4B5-FC19-1FB9-6B49A11BEA21}"/>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62D19D46-3557-7ECD-3846-DB7C61825A7B}"/>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48BB9954-CB5C-06D3-7C80-4B3F20CD38C2}"/>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692408275"/>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type="obj" preserve="1">
  <p:cSld name="43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CEA0F121-343C-06B4-C1E7-D6B552174CBB}"/>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7DD01B46-5E9F-E0C5-9A33-62BA9A319F0E}"/>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AE913C14-CEFD-D012-365E-0DC84D176CC5}"/>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3CAD3F9A-ED73-890E-A15F-CF8C7CAA045F}"/>
              </a:ext>
            </a:extLst>
          </p:cNvPr>
          <p:cNvSpPr txBox="1">
            <a:spLocks noGrp="1"/>
          </p:cNvSpPr>
          <p:nvPr>
            <p:ph type="sldNum" sz="quarter" idx="8"/>
          </p:nvPr>
        </p:nvSpPr>
        <p:spPr/>
        <p:txBody>
          <a:bodyPr/>
          <a:lstStyle>
            <a:lvl1pPr>
              <a:defRPr>
                <a:solidFill>
                  <a:srgbClr val="AFB3B9"/>
                </a:solidFill>
              </a:defRPr>
            </a:lvl1pPr>
          </a:lstStyle>
          <a:p>
            <a:pPr lvl="0"/>
            <a:fld id="{06F3D172-DE04-4B63-82A6-755E1AFFCA20}" type="slidenum">
              <a:t>‹#›</a:t>
            </a:fld>
            <a:endParaRPr lang="en-US"/>
          </a:p>
        </p:txBody>
      </p:sp>
      <p:cxnSp>
        <p:nvCxnSpPr>
          <p:cNvPr id="6" name="Straight Connector 7">
            <a:extLst>
              <a:ext uri="{FF2B5EF4-FFF2-40B4-BE49-F238E27FC236}">
                <a16:creationId xmlns:a16="http://schemas.microsoft.com/office/drawing/2014/main" id="{52A40D50-303F-8687-E979-7ED6A2F1C0AF}"/>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91FD71F2-D6B1-52C5-54AC-B86D939454E9}"/>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2B8DD4F0-3AEF-B2CD-D02F-CF6B1C6B3054}"/>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EA2B064E-9224-2B3C-1624-2918C252CD01}"/>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52FE5851-1E59-1616-FFDD-94A7F175007C}"/>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4483BD81-D43F-88EB-D292-651DC9656E36}"/>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B6C95264-C072-6988-035F-2BEF7EC09DB0}"/>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A1617742-66C2-7756-B3C4-756BD17FFD2D}"/>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450466391"/>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type="obj" preserve="1">
  <p:cSld name="39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0F3147EA-EC96-EF31-26C9-AEF6F2A59C7B}"/>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7CF7FC8B-3A82-5035-F416-3C1920BB3844}"/>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EC352930-38D9-1015-FA6A-39A2698A50ED}"/>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3AE58F1F-2D44-0B40-5430-2D7E2652C5BC}"/>
              </a:ext>
            </a:extLst>
          </p:cNvPr>
          <p:cNvSpPr txBox="1">
            <a:spLocks noGrp="1"/>
          </p:cNvSpPr>
          <p:nvPr>
            <p:ph type="sldNum" sz="quarter" idx="8"/>
          </p:nvPr>
        </p:nvSpPr>
        <p:spPr/>
        <p:txBody>
          <a:bodyPr/>
          <a:lstStyle>
            <a:lvl1pPr>
              <a:defRPr>
                <a:solidFill>
                  <a:srgbClr val="AFB3B9"/>
                </a:solidFill>
              </a:defRPr>
            </a:lvl1pPr>
          </a:lstStyle>
          <a:p>
            <a:pPr lvl="0"/>
            <a:fld id="{B392A416-6F04-473B-AF21-F3105CFF1702}" type="slidenum">
              <a:t>‹#›</a:t>
            </a:fld>
            <a:endParaRPr lang="en-US"/>
          </a:p>
        </p:txBody>
      </p:sp>
      <p:cxnSp>
        <p:nvCxnSpPr>
          <p:cNvPr id="6" name="Straight Connector 7">
            <a:extLst>
              <a:ext uri="{FF2B5EF4-FFF2-40B4-BE49-F238E27FC236}">
                <a16:creationId xmlns:a16="http://schemas.microsoft.com/office/drawing/2014/main" id="{9BEDD3B5-8E06-4165-C00E-077CCB3A77CA}"/>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C8E465FC-FBD3-2B6C-61C3-EDF68B669BBD}"/>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6A839AAD-50B4-B3B1-0233-08AA415BFAEB}"/>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AC48DDA7-99A5-862A-1948-AFAE65D8063A}"/>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458EB5BE-A03B-7DB2-8416-61CFD47EDEC5}"/>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2B9086DE-5D14-185F-894F-22E37B56CCC0}"/>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C6D9EDFA-DB45-9AD2-BA0C-1E45C709D4D3}"/>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E909624D-F8AF-2DEC-682C-1AFEE2AF7508}"/>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2121180689"/>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type="obj" preserve="1">
  <p:cSld name="47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D79DBC50-9336-006A-A991-C665F363715A}"/>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1CAB93BF-6F90-B598-EE9F-8238FB2DA7B0}"/>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0E0487E2-A97E-34BC-65BF-8101D266E6DA}"/>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AB8015ED-5ECB-ABB9-8F2C-3BE2851D655C}"/>
              </a:ext>
            </a:extLst>
          </p:cNvPr>
          <p:cNvSpPr txBox="1">
            <a:spLocks noGrp="1"/>
          </p:cNvSpPr>
          <p:nvPr>
            <p:ph type="sldNum" sz="quarter" idx="8"/>
          </p:nvPr>
        </p:nvSpPr>
        <p:spPr/>
        <p:txBody>
          <a:bodyPr/>
          <a:lstStyle>
            <a:lvl1pPr>
              <a:defRPr>
                <a:solidFill>
                  <a:srgbClr val="AFB3B9"/>
                </a:solidFill>
              </a:defRPr>
            </a:lvl1pPr>
          </a:lstStyle>
          <a:p>
            <a:pPr lvl="0"/>
            <a:fld id="{D4040E66-AB20-46AA-BBC1-3BBAFE584E5E}" type="slidenum">
              <a:t>‹#›</a:t>
            </a:fld>
            <a:endParaRPr lang="en-US"/>
          </a:p>
        </p:txBody>
      </p:sp>
      <p:cxnSp>
        <p:nvCxnSpPr>
          <p:cNvPr id="6" name="Straight Connector 7">
            <a:extLst>
              <a:ext uri="{FF2B5EF4-FFF2-40B4-BE49-F238E27FC236}">
                <a16:creationId xmlns:a16="http://schemas.microsoft.com/office/drawing/2014/main" id="{5ABA962F-BC7B-9C78-9629-92BC6E651871}"/>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6E27016F-5C52-C53D-BFB6-958174A3EEA9}"/>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4A54F753-CFCE-6DB4-4237-390BD0B5ECAD}"/>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50A8F5A3-3856-E2EA-EF01-42FE79E19463}"/>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6D81D5C3-8329-B70F-C4AB-778DA335E84A}"/>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6DF9016B-9FBB-41FE-6E01-724F781334E8}"/>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E034C0D3-65A4-D395-0194-80460052D0CE}"/>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8C3C6B38-DAE2-80A4-88A8-4221E46F635A}"/>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2304286237"/>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type="obj" preserve="1">
  <p:cSld name="62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307D7180-7203-D522-E32B-BAED810C3B57}"/>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2752FC81-F86E-6671-FF32-3EF24521B3B0}"/>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0CF2AB81-7F5B-7517-F0AA-09FD89789A60}"/>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41FFC96F-7D8F-611E-54AC-A00C0974962D}"/>
              </a:ext>
            </a:extLst>
          </p:cNvPr>
          <p:cNvSpPr txBox="1">
            <a:spLocks noGrp="1"/>
          </p:cNvSpPr>
          <p:nvPr>
            <p:ph type="sldNum" sz="quarter" idx="8"/>
          </p:nvPr>
        </p:nvSpPr>
        <p:spPr/>
        <p:txBody>
          <a:bodyPr/>
          <a:lstStyle>
            <a:lvl1pPr>
              <a:defRPr>
                <a:solidFill>
                  <a:srgbClr val="AFB3B9"/>
                </a:solidFill>
              </a:defRPr>
            </a:lvl1pPr>
          </a:lstStyle>
          <a:p>
            <a:pPr lvl="0"/>
            <a:fld id="{CD9EBC15-D7C0-475C-A377-62C11E1694FA}" type="slidenum">
              <a:t>‹#›</a:t>
            </a:fld>
            <a:endParaRPr lang="en-US"/>
          </a:p>
        </p:txBody>
      </p:sp>
      <p:cxnSp>
        <p:nvCxnSpPr>
          <p:cNvPr id="6" name="Straight Connector 7">
            <a:extLst>
              <a:ext uri="{FF2B5EF4-FFF2-40B4-BE49-F238E27FC236}">
                <a16:creationId xmlns:a16="http://schemas.microsoft.com/office/drawing/2014/main" id="{645046B9-CF98-349E-D813-C7ED13799E53}"/>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AD470C3C-FAC5-B975-F706-16DE46B18C37}"/>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5D923441-2159-677D-53BB-5D5DD7C6E50A}"/>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B21B13F7-5D16-C83F-2DA7-17D06378EF14}"/>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B45B641E-6A09-4461-CFDF-8BE065BF9B46}"/>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912667AE-3262-D2AF-6FE6-F484C7CE7875}"/>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5A290426-D8CB-7FB7-C57A-CCB14BE19312}"/>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68C48F05-B318-827C-B7E2-8CD978BAC933}"/>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145439395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Cover">
  <p:cSld name="Cover 4">
    <p:spTree>
      <p:nvGrpSpPr>
        <p:cNvPr id="1" name="Shape 9576"/>
        <p:cNvGrpSpPr/>
        <p:nvPr/>
      </p:nvGrpSpPr>
      <p:grpSpPr>
        <a:xfrm>
          <a:off x="0" y="0"/>
          <a:ext cx="0" cy="0"/>
          <a:chOff x="0" y="0"/>
          <a:chExt cx="0" cy="0"/>
        </a:xfrm>
      </p:grpSpPr>
      <p:sp>
        <p:nvSpPr>
          <p:cNvPr id="9577" name="Google Shape;9577;p136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578" name="Google Shape;9578;p136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579" name="Google Shape;9579;p136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580" name="Google Shape;9580;p1367"/>
          <p:cNvSpPr>
            <a:spLocks noGrp="1"/>
          </p:cNvSpPr>
          <p:nvPr>
            <p:ph type="pic" idx="2"/>
          </p:nvPr>
        </p:nvSpPr>
        <p:spPr>
          <a:xfrm>
            <a:off x="7118684" y="233915"/>
            <a:ext cx="5073316" cy="5943600"/>
          </a:xfrm>
          <a:prstGeom prst="rect">
            <a:avLst/>
          </a:prstGeom>
          <a:noFill/>
          <a:ln>
            <a:noFill/>
          </a:ln>
        </p:spPr>
      </p:sp>
      <p:grpSp>
        <p:nvGrpSpPr>
          <p:cNvPr id="9581" name="Google Shape;9581;p1367"/>
          <p:cNvGrpSpPr/>
          <p:nvPr/>
        </p:nvGrpSpPr>
        <p:grpSpPr>
          <a:xfrm>
            <a:off x="0" y="5020348"/>
            <a:ext cx="12192000" cy="1837653"/>
            <a:chOff x="0" y="5020348"/>
            <a:chExt cx="12192000" cy="1837653"/>
          </a:xfrm>
        </p:grpSpPr>
        <p:sp>
          <p:nvSpPr>
            <p:cNvPr id="9582" name="Google Shape;9582;p136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583" name="Google Shape;9583;p136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584" name="Google Shape;9584;p136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p:cSld name="29_Divider">
    <p:bg>
      <p:bgPr>
        <a:solidFill>
          <a:srgbClr val="F3F6FB"/>
        </a:solidFill>
        <a:effectLst/>
      </p:bgPr>
    </p:bg>
    <p:spTree>
      <p:nvGrpSpPr>
        <p:cNvPr id="1" name=""/>
        <p:cNvGrpSpPr/>
        <p:nvPr/>
      </p:nvGrpSpPr>
      <p:grpSpPr>
        <a:xfrm>
          <a:off x="0" y="0"/>
          <a:ext cx="0" cy="0"/>
          <a:chOff x="0" y="0"/>
          <a:chExt cx="0" cy="0"/>
        </a:xfrm>
      </p:grpSpPr>
      <p:grpSp>
        <p:nvGrpSpPr>
          <p:cNvPr id="2" name="Group 9">
            <a:extLst>
              <a:ext uri="{FF2B5EF4-FFF2-40B4-BE49-F238E27FC236}">
                <a16:creationId xmlns:a16="http://schemas.microsoft.com/office/drawing/2014/main" id="{05194569-4CEE-BEB8-331C-CFC097E8E1A9}"/>
              </a:ext>
            </a:extLst>
          </p:cNvPr>
          <p:cNvGrpSpPr/>
          <p:nvPr/>
        </p:nvGrpSpPr>
        <p:grpSpPr>
          <a:xfrm>
            <a:off x="0" y="5020349"/>
            <a:ext cx="12191996" cy="1837651"/>
            <a:chOff x="0" y="5020348"/>
            <a:chExt cx="12191996" cy="1837651"/>
          </a:xfrm>
        </p:grpSpPr>
        <p:sp>
          <p:nvSpPr>
            <p:cNvPr id="3" name="Freeform 25">
              <a:extLst>
                <a:ext uri="{FF2B5EF4-FFF2-40B4-BE49-F238E27FC236}">
                  <a16:creationId xmlns:a16="http://schemas.microsoft.com/office/drawing/2014/main" id="{96538787-F248-8524-91BD-2C294C8A3D9E}"/>
                </a:ext>
              </a:extLst>
            </p:cNvPr>
            <p:cNvSpPr/>
            <p:nvPr/>
          </p:nvSpPr>
          <p:spPr>
            <a:xfrm>
              <a:off x="0" y="5100267"/>
              <a:ext cx="7111371" cy="1757732"/>
            </a:xfrm>
            <a:custGeom>
              <a:avLst/>
              <a:gdLst>
                <a:gd name="f0" fmla="val 10800000"/>
                <a:gd name="f1" fmla="val 5400000"/>
                <a:gd name="f2" fmla="val 180"/>
                <a:gd name="f3" fmla="val w"/>
                <a:gd name="f4" fmla="val h"/>
                <a:gd name="f5" fmla="val 0"/>
                <a:gd name="f6" fmla="val 7111369"/>
                <a:gd name="f7" fmla="val 1757730"/>
                <a:gd name="f8" fmla="val 772954"/>
                <a:gd name="f9" fmla="val 2778"/>
                <a:gd name="f10" fmla="val 1769038"/>
                <a:gd name="f11" fmla="val 30799"/>
                <a:gd name="f12" fmla="val 2696750"/>
                <a:gd name="f13" fmla="val 267531"/>
                <a:gd name="f14" fmla="val 3590934"/>
                <a:gd name="f15" fmla="val 566046"/>
                <a:gd name="f16" fmla="val 4684008"/>
                <a:gd name="f17" fmla="val 930921"/>
                <a:gd name="f18" fmla="val 5690778"/>
                <a:gd name="f19" fmla="val 1324625"/>
                <a:gd name="f20" fmla="val 6700767"/>
                <a:gd name="f21" fmla="val 1636882"/>
                <a:gd name="f22" fmla="val 25690"/>
                <a:gd name="f23" fmla="val 2197"/>
                <a:gd name="f24" fmla="val 25414"/>
                <a:gd name="f25" fmla="val 114653"/>
                <a:gd name="f26" fmla="val 14905"/>
                <a:gd name="f27" fmla="val 227801"/>
                <a:gd name="f28" fmla="val 7857"/>
                <a:gd name="f29" fmla="val 341773"/>
                <a:gd name="f30" fmla="val 3976"/>
                <a:gd name="f31" fmla="val 486963"/>
                <a:gd name="f32" fmla="+- 0 0 968"/>
                <a:gd name="f33" fmla="val 630656"/>
                <a:gd name="f34" fmla="+- 0 0 1224"/>
                <a:gd name="f35" fmla="+- 0 0 -90"/>
                <a:gd name="f36" fmla="*/ f3 1 7111369"/>
                <a:gd name="f37" fmla="*/ f4 1 1757730"/>
                <a:gd name="f38" fmla="+- f7 0 f5"/>
                <a:gd name="f39" fmla="+- f6 0 f5"/>
                <a:gd name="f40" fmla="*/ f35 f0 1"/>
                <a:gd name="f41" fmla="*/ f39 1 7111369"/>
                <a:gd name="f42" fmla="*/ f38 1 1757730"/>
                <a:gd name="f43" fmla="*/ 772954 f39 1"/>
                <a:gd name="f44" fmla="*/ 2778 f38 1"/>
                <a:gd name="f45" fmla="*/ 3590934 f39 1"/>
                <a:gd name="f46" fmla="*/ 566046 f38 1"/>
                <a:gd name="f47" fmla="*/ 6700767 f39 1"/>
                <a:gd name="f48" fmla="*/ 1636882 f38 1"/>
                <a:gd name="f49" fmla="*/ 7111369 f39 1"/>
                <a:gd name="f50" fmla="*/ 1757730 f38 1"/>
                <a:gd name="f51" fmla="*/ 0 f39 1"/>
                <a:gd name="f52" fmla="*/ 25690 f38 1"/>
                <a:gd name="f53" fmla="*/ 2197 f39 1"/>
                <a:gd name="f54" fmla="*/ 25414 f38 1"/>
                <a:gd name="f55" fmla="*/ 341773 f39 1"/>
                <a:gd name="f56" fmla="*/ 3976 f38 1"/>
                <a:gd name="f57" fmla="*/ f40 1 f2"/>
                <a:gd name="f58" fmla="*/ f43 1 7111369"/>
                <a:gd name="f59" fmla="*/ f44 1 1757730"/>
                <a:gd name="f60" fmla="*/ f45 1 7111369"/>
                <a:gd name="f61" fmla="*/ f46 1 1757730"/>
                <a:gd name="f62" fmla="*/ f47 1 7111369"/>
                <a:gd name="f63" fmla="*/ f48 1 1757730"/>
                <a:gd name="f64" fmla="*/ f49 1 7111369"/>
                <a:gd name="f65" fmla="*/ f50 1 1757730"/>
                <a:gd name="f66" fmla="*/ f51 1 7111369"/>
                <a:gd name="f67" fmla="*/ f52 1 1757730"/>
                <a:gd name="f68" fmla="*/ f53 1 7111369"/>
                <a:gd name="f69" fmla="*/ f54 1 1757730"/>
                <a:gd name="f70" fmla="*/ f55 1 7111369"/>
                <a:gd name="f71" fmla="*/ f56 1 1757730"/>
                <a:gd name="f72" fmla="*/ f5 1 f41"/>
                <a:gd name="f73" fmla="*/ f6 1 f41"/>
                <a:gd name="f74" fmla="*/ f5 1 f42"/>
                <a:gd name="f75" fmla="*/ f7 1 f42"/>
                <a:gd name="f76" fmla="+- f57 0 f1"/>
                <a:gd name="f77" fmla="*/ f58 1 f41"/>
                <a:gd name="f78" fmla="*/ f59 1 f42"/>
                <a:gd name="f79" fmla="*/ f60 1 f41"/>
                <a:gd name="f80" fmla="*/ f61 1 f42"/>
                <a:gd name="f81" fmla="*/ f62 1 f41"/>
                <a:gd name="f82" fmla="*/ f63 1 f42"/>
                <a:gd name="f83" fmla="*/ f64 1 f41"/>
                <a:gd name="f84" fmla="*/ f65 1 f42"/>
                <a:gd name="f85" fmla="*/ f66 1 f41"/>
                <a:gd name="f86" fmla="*/ f67 1 f42"/>
                <a:gd name="f87" fmla="*/ f68 1 f41"/>
                <a:gd name="f88" fmla="*/ f69 1 f42"/>
                <a:gd name="f89" fmla="*/ f70 1 f41"/>
                <a:gd name="f90" fmla="*/ f71 1 f42"/>
                <a:gd name="f91" fmla="*/ f72 f36 1"/>
                <a:gd name="f92" fmla="*/ f73 f36 1"/>
                <a:gd name="f93" fmla="*/ f75 f37 1"/>
                <a:gd name="f94" fmla="*/ f74 f37 1"/>
                <a:gd name="f95" fmla="*/ f77 f36 1"/>
                <a:gd name="f96" fmla="*/ f78 f37 1"/>
                <a:gd name="f97" fmla="*/ f79 f36 1"/>
                <a:gd name="f98" fmla="*/ f80 f37 1"/>
                <a:gd name="f99" fmla="*/ f81 f36 1"/>
                <a:gd name="f100" fmla="*/ f82 f37 1"/>
                <a:gd name="f101" fmla="*/ f83 f36 1"/>
                <a:gd name="f102" fmla="*/ f84 f37 1"/>
                <a:gd name="f103" fmla="*/ f85 f36 1"/>
                <a:gd name="f104" fmla="*/ f86 f37 1"/>
                <a:gd name="f105" fmla="*/ f87 f36 1"/>
                <a:gd name="f106" fmla="*/ f88 f37 1"/>
                <a:gd name="f107" fmla="*/ f89 f36 1"/>
                <a:gd name="f108" fmla="*/ f90 f37 1"/>
              </a:gdLst>
              <a:ahLst/>
              <a:cxnLst>
                <a:cxn ang="3cd4">
                  <a:pos x="hc" y="t"/>
                </a:cxn>
                <a:cxn ang="0">
                  <a:pos x="r" y="vc"/>
                </a:cxn>
                <a:cxn ang="cd4">
                  <a:pos x="hc" y="b"/>
                </a:cxn>
                <a:cxn ang="cd2">
                  <a:pos x="l" y="vc"/>
                </a:cxn>
                <a:cxn ang="f76">
                  <a:pos x="f95" y="f96"/>
                </a:cxn>
                <a:cxn ang="f76">
                  <a:pos x="f97" y="f98"/>
                </a:cxn>
                <a:cxn ang="f76">
                  <a:pos x="f99" y="f100"/>
                </a:cxn>
                <a:cxn ang="f76">
                  <a:pos x="f101" y="f102"/>
                </a:cxn>
                <a:cxn ang="f76">
                  <a:pos x="f103" y="f102"/>
                </a:cxn>
                <a:cxn ang="f76">
                  <a:pos x="f103" y="f104"/>
                </a:cxn>
                <a:cxn ang="f76">
                  <a:pos x="f105" y="f106"/>
                </a:cxn>
                <a:cxn ang="f76">
                  <a:pos x="f107" y="f108"/>
                </a:cxn>
                <a:cxn ang="f76">
                  <a:pos x="f95" y="f96"/>
                </a:cxn>
              </a:cxnLst>
              <a:rect l="f91" t="f94" r="f92" b="f93"/>
              <a:pathLst>
                <a:path w="7111369" h="1757730">
                  <a:moveTo>
                    <a:pt x="f8" y="f9"/>
                  </a:moveTo>
                  <a:cubicBezTo>
                    <a:pt x="f10" y="f11"/>
                    <a:pt x="f12" y="f13"/>
                    <a:pt x="f14" y="f15"/>
                  </a:cubicBezTo>
                  <a:cubicBezTo>
                    <a:pt x="f16" y="f17"/>
                    <a:pt x="f18" y="f19"/>
                    <a:pt x="f20" y="f21"/>
                  </a:cubicBezTo>
                  <a:lnTo>
                    <a:pt x="f6" y="f7"/>
                  </a:lnTo>
                  <a:lnTo>
                    <a:pt x="f5" y="f7"/>
                  </a:lnTo>
                  <a:lnTo>
                    <a:pt x="f5" y="f22"/>
                  </a:lnTo>
                  <a:lnTo>
                    <a:pt x="f23" y="f24"/>
                  </a:lnTo>
                  <a:cubicBezTo>
                    <a:pt x="f25" y="f26"/>
                    <a:pt x="f27" y="f28"/>
                    <a:pt x="f29" y="f30"/>
                  </a:cubicBezTo>
                  <a:cubicBezTo>
                    <a:pt x="f31" y="f32"/>
                    <a:pt x="f33" y="f34"/>
                    <a:pt x="f8" y="f9"/>
                  </a:cubicBezTo>
                  <a:close/>
                </a:path>
              </a:pathLst>
            </a:cu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4" name="Freeform 19">
              <a:extLst>
                <a:ext uri="{FF2B5EF4-FFF2-40B4-BE49-F238E27FC236}">
                  <a16:creationId xmlns:a16="http://schemas.microsoft.com/office/drawing/2014/main" id="{F94E4017-D348-B9BD-B1A5-FDE24CB657B3}"/>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5" name="Freeform 14">
              <a:extLst>
                <a:ext uri="{FF2B5EF4-FFF2-40B4-BE49-F238E27FC236}">
                  <a16:creationId xmlns:a16="http://schemas.microsoft.com/office/drawing/2014/main" id="{8ECA4858-9CE0-7290-2F8A-47D0CC035C6C}"/>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6" name="Picture 20">
              <a:extLst>
                <a:ext uri="{FF2B5EF4-FFF2-40B4-BE49-F238E27FC236}">
                  <a16:creationId xmlns:a16="http://schemas.microsoft.com/office/drawing/2014/main" id="{AAEEAE57-D15E-D21D-BF65-3C934EC3E9E6}"/>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
        <p:nvSpPr>
          <p:cNvPr id="7" name="Title 10">
            <a:extLst>
              <a:ext uri="{FF2B5EF4-FFF2-40B4-BE49-F238E27FC236}">
                <a16:creationId xmlns:a16="http://schemas.microsoft.com/office/drawing/2014/main" id="{29709D32-313E-E5D9-05EE-EFE0A031EEC5}"/>
              </a:ext>
            </a:extLst>
          </p:cNvPr>
          <p:cNvSpPr txBox="1">
            <a:spLocks noGrp="1"/>
          </p:cNvSpPr>
          <p:nvPr>
            <p:ph type="title"/>
          </p:nvPr>
        </p:nvSpPr>
        <p:spPr>
          <a:xfrm>
            <a:off x="1413305" y="701748"/>
            <a:ext cx="9365376" cy="2014679"/>
          </a:xfrm>
        </p:spPr>
        <p:txBody>
          <a:bodyPr anchor="b"/>
          <a:lstStyle>
            <a:lvl1pPr>
              <a:defRPr/>
            </a:lvl1pPr>
          </a:lstStyle>
          <a:p>
            <a:pPr lvl="0"/>
            <a:r>
              <a:rPr lang="en-US"/>
              <a:t>Click to edit Master title style</a:t>
            </a:r>
          </a:p>
        </p:txBody>
      </p:sp>
      <p:sp>
        <p:nvSpPr>
          <p:cNvPr id="8" name="Subtitle 2">
            <a:extLst>
              <a:ext uri="{FF2B5EF4-FFF2-40B4-BE49-F238E27FC236}">
                <a16:creationId xmlns:a16="http://schemas.microsoft.com/office/drawing/2014/main" id="{AC3C20E1-80C0-20CB-72EA-F56244CEECB0}"/>
              </a:ext>
            </a:extLst>
          </p:cNvPr>
          <p:cNvSpPr txBox="1">
            <a:spLocks noGrp="1"/>
          </p:cNvSpPr>
          <p:nvPr>
            <p:ph type="subTitle" idx="4294967295"/>
          </p:nvPr>
        </p:nvSpPr>
        <p:spPr>
          <a:xfrm>
            <a:off x="1413305" y="3081637"/>
            <a:ext cx="9365376" cy="986564"/>
          </a:xfrm>
        </p:spPr>
        <p:txBody>
          <a:bodyPr/>
          <a:lstStyle>
            <a:lvl1pPr marL="0" indent="0">
              <a:buNone/>
              <a:defRPr/>
            </a:lvl1pPr>
          </a:lstStyle>
          <a:p>
            <a:pPr lvl="0"/>
            <a:r>
              <a:rPr lang="en-US"/>
              <a:t>Click to edit Master subtitle style</a:t>
            </a:r>
          </a:p>
        </p:txBody>
      </p:sp>
    </p:spTree>
    <p:extLst>
      <p:ext uri="{BB962C8B-B14F-4D97-AF65-F5344CB8AC3E}">
        <p14:creationId xmlns:p14="http://schemas.microsoft.com/office/powerpoint/2010/main" val="2584421923"/>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p:cSld name="27_Divider">
    <p:bg>
      <p:bgPr>
        <a:solidFill>
          <a:srgbClr val="F3F6FB"/>
        </a:solidFill>
        <a:effectLst/>
      </p:bgPr>
    </p:bg>
    <p:spTree>
      <p:nvGrpSpPr>
        <p:cNvPr id="1" name=""/>
        <p:cNvGrpSpPr/>
        <p:nvPr/>
      </p:nvGrpSpPr>
      <p:grpSpPr>
        <a:xfrm>
          <a:off x="0" y="0"/>
          <a:ext cx="0" cy="0"/>
          <a:chOff x="0" y="0"/>
          <a:chExt cx="0" cy="0"/>
        </a:xfrm>
      </p:grpSpPr>
      <p:grpSp>
        <p:nvGrpSpPr>
          <p:cNvPr id="2" name="Group 9">
            <a:extLst>
              <a:ext uri="{FF2B5EF4-FFF2-40B4-BE49-F238E27FC236}">
                <a16:creationId xmlns:a16="http://schemas.microsoft.com/office/drawing/2014/main" id="{76624A68-0FFE-2EF3-B4FC-C868627E8B5D}"/>
              </a:ext>
            </a:extLst>
          </p:cNvPr>
          <p:cNvGrpSpPr/>
          <p:nvPr/>
        </p:nvGrpSpPr>
        <p:grpSpPr>
          <a:xfrm>
            <a:off x="0" y="5020349"/>
            <a:ext cx="12191996" cy="1837651"/>
            <a:chOff x="0" y="5020348"/>
            <a:chExt cx="12191996" cy="1837651"/>
          </a:xfrm>
        </p:grpSpPr>
        <p:sp>
          <p:nvSpPr>
            <p:cNvPr id="3" name="Freeform 25">
              <a:extLst>
                <a:ext uri="{FF2B5EF4-FFF2-40B4-BE49-F238E27FC236}">
                  <a16:creationId xmlns:a16="http://schemas.microsoft.com/office/drawing/2014/main" id="{72C27395-EE46-3CD5-32C9-AC9409C9696A}"/>
                </a:ext>
              </a:extLst>
            </p:cNvPr>
            <p:cNvSpPr/>
            <p:nvPr/>
          </p:nvSpPr>
          <p:spPr>
            <a:xfrm>
              <a:off x="0" y="5100267"/>
              <a:ext cx="7111371" cy="1757732"/>
            </a:xfrm>
            <a:custGeom>
              <a:avLst/>
              <a:gdLst>
                <a:gd name="f0" fmla="val 10800000"/>
                <a:gd name="f1" fmla="val 5400000"/>
                <a:gd name="f2" fmla="val 180"/>
                <a:gd name="f3" fmla="val w"/>
                <a:gd name="f4" fmla="val h"/>
                <a:gd name="f5" fmla="val 0"/>
                <a:gd name="f6" fmla="val 7111369"/>
                <a:gd name="f7" fmla="val 1757730"/>
                <a:gd name="f8" fmla="val 772954"/>
                <a:gd name="f9" fmla="val 2778"/>
                <a:gd name="f10" fmla="val 1769038"/>
                <a:gd name="f11" fmla="val 30799"/>
                <a:gd name="f12" fmla="val 2696750"/>
                <a:gd name="f13" fmla="val 267531"/>
                <a:gd name="f14" fmla="val 3590934"/>
                <a:gd name="f15" fmla="val 566046"/>
                <a:gd name="f16" fmla="val 4684008"/>
                <a:gd name="f17" fmla="val 930921"/>
                <a:gd name="f18" fmla="val 5690778"/>
                <a:gd name="f19" fmla="val 1324625"/>
                <a:gd name="f20" fmla="val 6700767"/>
                <a:gd name="f21" fmla="val 1636882"/>
                <a:gd name="f22" fmla="val 25690"/>
                <a:gd name="f23" fmla="val 2197"/>
                <a:gd name="f24" fmla="val 25414"/>
                <a:gd name="f25" fmla="val 114653"/>
                <a:gd name="f26" fmla="val 14905"/>
                <a:gd name="f27" fmla="val 227801"/>
                <a:gd name="f28" fmla="val 7857"/>
                <a:gd name="f29" fmla="val 341773"/>
                <a:gd name="f30" fmla="val 3976"/>
                <a:gd name="f31" fmla="val 486963"/>
                <a:gd name="f32" fmla="+- 0 0 968"/>
                <a:gd name="f33" fmla="val 630656"/>
                <a:gd name="f34" fmla="+- 0 0 1224"/>
                <a:gd name="f35" fmla="+- 0 0 -90"/>
                <a:gd name="f36" fmla="*/ f3 1 7111369"/>
                <a:gd name="f37" fmla="*/ f4 1 1757730"/>
                <a:gd name="f38" fmla="+- f7 0 f5"/>
                <a:gd name="f39" fmla="+- f6 0 f5"/>
                <a:gd name="f40" fmla="*/ f35 f0 1"/>
                <a:gd name="f41" fmla="*/ f39 1 7111369"/>
                <a:gd name="f42" fmla="*/ f38 1 1757730"/>
                <a:gd name="f43" fmla="*/ 772954 f39 1"/>
                <a:gd name="f44" fmla="*/ 2778 f38 1"/>
                <a:gd name="f45" fmla="*/ 3590934 f39 1"/>
                <a:gd name="f46" fmla="*/ 566046 f38 1"/>
                <a:gd name="f47" fmla="*/ 6700767 f39 1"/>
                <a:gd name="f48" fmla="*/ 1636882 f38 1"/>
                <a:gd name="f49" fmla="*/ 7111369 f39 1"/>
                <a:gd name="f50" fmla="*/ 1757730 f38 1"/>
                <a:gd name="f51" fmla="*/ 0 f39 1"/>
                <a:gd name="f52" fmla="*/ 25690 f38 1"/>
                <a:gd name="f53" fmla="*/ 2197 f39 1"/>
                <a:gd name="f54" fmla="*/ 25414 f38 1"/>
                <a:gd name="f55" fmla="*/ 341773 f39 1"/>
                <a:gd name="f56" fmla="*/ 3976 f38 1"/>
                <a:gd name="f57" fmla="*/ f40 1 f2"/>
                <a:gd name="f58" fmla="*/ f43 1 7111369"/>
                <a:gd name="f59" fmla="*/ f44 1 1757730"/>
                <a:gd name="f60" fmla="*/ f45 1 7111369"/>
                <a:gd name="f61" fmla="*/ f46 1 1757730"/>
                <a:gd name="f62" fmla="*/ f47 1 7111369"/>
                <a:gd name="f63" fmla="*/ f48 1 1757730"/>
                <a:gd name="f64" fmla="*/ f49 1 7111369"/>
                <a:gd name="f65" fmla="*/ f50 1 1757730"/>
                <a:gd name="f66" fmla="*/ f51 1 7111369"/>
                <a:gd name="f67" fmla="*/ f52 1 1757730"/>
                <a:gd name="f68" fmla="*/ f53 1 7111369"/>
                <a:gd name="f69" fmla="*/ f54 1 1757730"/>
                <a:gd name="f70" fmla="*/ f55 1 7111369"/>
                <a:gd name="f71" fmla="*/ f56 1 1757730"/>
                <a:gd name="f72" fmla="*/ f5 1 f41"/>
                <a:gd name="f73" fmla="*/ f6 1 f41"/>
                <a:gd name="f74" fmla="*/ f5 1 f42"/>
                <a:gd name="f75" fmla="*/ f7 1 f42"/>
                <a:gd name="f76" fmla="+- f57 0 f1"/>
                <a:gd name="f77" fmla="*/ f58 1 f41"/>
                <a:gd name="f78" fmla="*/ f59 1 f42"/>
                <a:gd name="f79" fmla="*/ f60 1 f41"/>
                <a:gd name="f80" fmla="*/ f61 1 f42"/>
                <a:gd name="f81" fmla="*/ f62 1 f41"/>
                <a:gd name="f82" fmla="*/ f63 1 f42"/>
                <a:gd name="f83" fmla="*/ f64 1 f41"/>
                <a:gd name="f84" fmla="*/ f65 1 f42"/>
                <a:gd name="f85" fmla="*/ f66 1 f41"/>
                <a:gd name="f86" fmla="*/ f67 1 f42"/>
                <a:gd name="f87" fmla="*/ f68 1 f41"/>
                <a:gd name="f88" fmla="*/ f69 1 f42"/>
                <a:gd name="f89" fmla="*/ f70 1 f41"/>
                <a:gd name="f90" fmla="*/ f71 1 f42"/>
                <a:gd name="f91" fmla="*/ f72 f36 1"/>
                <a:gd name="f92" fmla="*/ f73 f36 1"/>
                <a:gd name="f93" fmla="*/ f75 f37 1"/>
                <a:gd name="f94" fmla="*/ f74 f37 1"/>
                <a:gd name="f95" fmla="*/ f77 f36 1"/>
                <a:gd name="f96" fmla="*/ f78 f37 1"/>
                <a:gd name="f97" fmla="*/ f79 f36 1"/>
                <a:gd name="f98" fmla="*/ f80 f37 1"/>
                <a:gd name="f99" fmla="*/ f81 f36 1"/>
                <a:gd name="f100" fmla="*/ f82 f37 1"/>
                <a:gd name="f101" fmla="*/ f83 f36 1"/>
                <a:gd name="f102" fmla="*/ f84 f37 1"/>
                <a:gd name="f103" fmla="*/ f85 f36 1"/>
                <a:gd name="f104" fmla="*/ f86 f37 1"/>
                <a:gd name="f105" fmla="*/ f87 f36 1"/>
                <a:gd name="f106" fmla="*/ f88 f37 1"/>
                <a:gd name="f107" fmla="*/ f89 f36 1"/>
                <a:gd name="f108" fmla="*/ f90 f37 1"/>
              </a:gdLst>
              <a:ahLst/>
              <a:cxnLst>
                <a:cxn ang="3cd4">
                  <a:pos x="hc" y="t"/>
                </a:cxn>
                <a:cxn ang="0">
                  <a:pos x="r" y="vc"/>
                </a:cxn>
                <a:cxn ang="cd4">
                  <a:pos x="hc" y="b"/>
                </a:cxn>
                <a:cxn ang="cd2">
                  <a:pos x="l" y="vc"/>
                </a:cxn>
                <a:cxn ang="f76">
                  <a:pos x="f95" y="f96"/>
                </a:cxn>
                <a:cxn ang="f76">
                  <a:pos x="f97" y="f98"/>
                </a:cxn>
                <a:cxn ang="f76">
                  <a:pos x="f99" y="f100"/>
                </a:cxn>
                <a:cxn ang="f76">
                  <a:pos x="f101" y="f102"/>
                </a:cxn>
                <a:cxn ang="f76">
                  <a:pos x="f103" y="f102"/>
                </a:cxn>
                <a:cxn ang="f76">
                  <a:pos x="f103" y="f104"/>
                </a:cxn>
                <a:cxn ang="f76">
                  <a:pos x="f105" y="f106"/>
                </a:cxn>
                <a:cxn ang="f76">
                  <a:pos x="f107" y="f108"/>
                </a:cxn>
                <a:cxn ang="f76">
                  <a:pos x="f95" y="f96"/>
                </a:cxn>
              </a:cxnLst>
              <a:rect l="f91" t="f94" r="f92" b="f93"/>
              <a:pathLst>
                <a:path w="7111369" h="1757730">
                  <a:moveTo>
                    <a:pt x="f8" y="f9"/>
                  </a:moveTo>
                  <a:cubicBezTo>
                    <a:pt x="f10" y="f11"/>
                    <a:pt x="f12" y="f13"/>
                    <a:pt x="f14" y="f15"/>
                  </a:cubicBezTo>
                  <a:cubicBezTo>
                    <a:pt x="f16" y="f17"/>
                    <a:pt x="f18" y="f19"/>
                    <a:pt x="f20" y="f21"/>
                  </a:cubicBezTo>
                  <a:lnTo>
                    <a:pt x="f6" y="f7"/>
                  </a:lnTo>
                  <a:lnTo>
                    <a:pt x="f5" y="f7"/>
                  </a:lnTo>
                  <a:lnTo>
                    <a:pt x="f5" y="f22"/>
                  </a:lnTo>
                  <a:lnTo>
                    <a:pt x="f23" y="f24"/>
                  </a:lnTo>
                  <a:cubicBezTo>
                    <a:pt x="f25" y="f26"/>
                    <a:pt x="f27" y="f28"/>
                    <a:pt x="f29" y="f30"/>
                  </a:cubicBezTo>
                  <a:cubicBezTo>
                    <a:pt x="f31" y="f32"/>
                    <a:pt x="f33" y="f34"/>
                    <a:pt x="f8" y="f9"/>
                  </a:cubicBezTo>
                  <a:close/>
                </a:path>
              </a:pathLst>
            </a:cu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4" name="Freeform 19">
              <a:extLst>
                <a:ext uri="{FF2B5EF4-FFF2-40B4-BE49-F238E27FC236}">
                  <a16:creationId xmlns:a16="http://schemas.microsoft.com/office/drawing/2014/main" id="{D265C062-4A31-F4E4-A32F-56D48AC2299E}"/>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5" name="Freeform 14">
              <a:extLst>
                <a:ext uri="{FF2B5EF4-FFF2-40B4-BE49-F238E27FC236}">
                  <a16:creationId xmlns:a16="http://schemas.microsoft.com/office/drawing/2014/main" id="{039FB473-4B33-A047-968D-81B79D9FD4CA}"/>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6" name="Picture 20">
              <a:extLst>
                <a:ext uri="{FF2B5EF4-FFF2-40B4-BE49-F238E27FC236}">
                  <a16:creationId xmlns:a16="http://schemas.microsoft.com/office/drawing/2014/main" id="{030799C2-C3D2-ECE0-1CD8-4B4D21F04818}"/>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
        <p:nvSpPr>
          <p:cNvPr id="7" name="Title 10">
            <a:extLst>
              <a:ext uri="{FF2B5EF4-FFF2-40B4-BE49-F238E27FC236}">
                <a16:creationId xmlns:a16="http://schemas.microsoft.com/office/drawing/2014/main" id="{C13405EE-012F-D1D1-EDD3-BB4AED88250C}"/>
              </a:ext>
            </a:extLst>
          </p:cNvPr>
          <p:cNvSpPr txBox="1">
            <a:spLocks noGrp="1"/>
          </p:cNvSpPr>
          <p:nvPr>
            <p:ph type="title"/>
          </p:nvPr>
        </p:nvSpPr>
        <p:spPr>
          <a:xfrm>
            <a:off x="1413305" y="701748"/>
            <a:ext cx="9365376" cy="2014679"/>
          </a:xfrm>
        </p:spPr>
        <p:txBody>
          <a:bodyPr anchor="b"/>
          <a:lstStyle>
            <a:lvl1pPr>
              <a:defRPr/>
            </a:lvl1pPr>
          </a:lstStyle>
          <a:p>
            <a:pPr lvl="0"/>
            <a:r>
              <a:rPr lang="en-US"/>
              <a:t>Click to edit Master title style</a:t>
            </a:r>
          </a:p>
        </p:txBody>
      </p:sp>
      <p:sp>
        <p:nvSpPr>
          <p:cNvPr id="8" name="Subtitle 2">
            <a:extLst>
              <a:ext uri="{FF2B5EF4-FFF2-40B4-BE49-F238E27FC236}">
                <a16:creationId xmlns:a16="http://schemas.microsoft.com/office/drawing/2014/main" id="{84A46EC7-BADB-CF4A-6C0F-069EBBFB217B}"/>
              </a:ext>
            </a:extLst>
          </p:cNvPr>
          <p:cNvSpPr txBox="1">
            <a:spLocks noGrp="1"/>
          </p:cNvSpPr>
          <p:nvPr>
            <p:ph type="subTitle" idx="4294967295"/>
          </p:nvPr>
        </p:nvSpPr>
        <p:spPr>
          <a:xfrm>
            <a:off x="1413305" y="3081637"/>
            <a:ext cx="9365376" cy="986564"/>
          </a:xfrm>
        </p:spPr>
        <p:txBody>
          <a:bodyPr/>
          <a:lstStyle>
            <a:lvl1pPr marL="0" indent="0">
              <a:buNone/>
              <a:defRPr/>
            </a:lvl1pPr>
          </a:lstStyle>
          <a:p>
            <a:pPr lvl="0"/>
            <a:r>
              <a:rPr lang="en-US"/>
              <a:t>Click to edit Master subtitle style</a:t>
            </a:r>
          </a:p>
        </p:txBody>
      </p:sp>
    </p:spTree>
    <p:extLst>
      <p:ext uri="{BB962C8B-B14F-4D97-AF65-F5344CB8AC3E}">
        <p14:creationId xmlns:p14="http://schemas.microsoft.com/office/powerpoint/2010/main" val="203463828"/>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type="obj" preserve="1">
  <p:cSld name="51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CF2E509F-3083-AE62-8D07-A28B6B6996B6}"/>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F9E74664-7A0D-9862-F5B2-D283A36DDBA6}"/>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031E5987-A4B6-4E12-99D5-BA55B2D69685}"/>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4B5F68A9-8AD2-A835-1F0B-005C34CF42D3}"/>
              </a:ext>
            </a:extLst>
          </p:cNvPr>
          <p:cNvSpPr txBox="1">
            <a:spLocks noGrp="1"/>
          </p:cNvSpPr>
          <p:nvPr>
            <p:ph type="sldNum" sz="quarter" idx="8"/>
          </p:nvPr>
        </p:nvSpPr>
        <p:spPr/>
        <p:txBody>
          <a:bodyPr/>
          <a:lstStyle>
            <a:lvl1pPr>
              <a:defRPr>
                <a:solidFill>
                  <a:srgbClr val="AFB3B9"/>
                </a:solidFill>
              </a:defRPr>
            </a:lvl1pPr>
          </a:lstStyle>
          <a:p>
            <a:pPr lvl="0"/>
            <a:fld id="{9B6666BA-4DE7-4CD7-B1FB-C783A41A34AB}" type="slidenum">
              <a:t>‹#›</a:t>
            </a:fld>
            <a:endParaRPr lang="en-US"/>
          </a:p>
        </p:txBody>
      </p:sp>
      <p:cxnSp>
        <p:nvCxnSpPr>
          <p:cNvPr id="6" name="Straight Connector 7">
            <a:extLst>
              <a:ext uri="{FF2B5EF4-FFF2-40B4-BE49-F238E27FC236}">
                <a16:creationId xmlns:a16="http://schemas.microsoft.com/office/drawing/2014/main" id="{FA9EDA16-EB4E-933E-C9D3-C056838F6155}"/>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AE9DE37D-D02D-B0DF-FCB6-BBB9F826AD5B}"/>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3C45304D-ED2D-48A0-8C06-326967089EE6}"/>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776AF916-F692-7BC3-4AC7-FF06EF61B5AF}"/>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B2081069-4752-3E12-F5C0-9C4677C00187}"/>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19048F9A-FCAB-53CE-DA3A-B0B5125CBF90}"/>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E908E6B7-0EFA-2F64-96C5-ED5D33065977}"/>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EC906266-D845-DC3C-38A6-8C3606AF7D38}"/>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3861481636"/>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p:cSld name="26_Divider">
    <p:bg>
      <p:bgPr>
        <a:solidFill>
          <a:srgbClr val="F3F6FB"/>
        </a:solidFill>
        <a:effectLst/>
      </p:bgPr>
    </p:bg>
    <p:spTree>
      <p:nvGrpSpPr>
        <p:cNvPr id="1" name=""/>
        <p:cNvGrpSpPr/>
        <p:nvPr/>
      </p:nvGrpSpPr>
      <p:grpSpPr>
        <a:xfrm>
          <a:off x="0" y="0"/>
          <a:ext cx="0" cy="0"/>
          <a:chOff x="0" y="0"/>
          <a:chExt cx="0" cy="0"/>
        </a:xfrm>
      </p:grpSpPr>
      <p:grpSp>
        <p:nvGrpSpPr>
          <p:cNvPr id="2" name="Group 9">
            <a:extLst>
              <a:ext uri="{FF2B5EF4-FFF2-40B4-BE49-F238E27FC236}">
                <a16:creationId xmlns:a16="http://schemas.microsoft.com/office/drawing/2014/main" id="{E272F5CC-F61F-3778-D9E1-9F11CD217B80}"/>
              </a:ext>
            </a:extLst>
          </p:cNvPr>
          <p:cNvGrpSpPr/>
          <p:nvPr/>
        </p:nvGrpSpPr>
        <p:grpSpPr>
          <a:xfrm>
            <a:off x="0" y="5020349"/>
            <a:ext cx="12191996" cy="1837651"/>
            <a:chOff x="0" y="5020348"/>
            <a:chExt cx="12191996" cy="1837651"/>
          </a:xfrm>
        </p:grpSpPr>
        <p:sp>
          <p:nvSpPr>
            <p:cNvPr id="3" name="Freeform 25">
              <a:extLst>
                <a:ext uri="{FF2B5EF4-FFF2-40B4-BE49-F238E27FC236}">
                  <a16:creationId xmlns:a16="http://schemas.microsoft.com/office/drawing/2014/main" id="{2E633848-9E3A-636A-43C5-8ED3F847E289}"/>
                </a:ext>
              </a:extLst>
            </p:cNvPr>
            <p:cNvSpPr/>
            <p:nvPr/>
          </p:nvSpPr>
          <p:spPr>
            <a:xfrm>
              <a:off x="0" y="5100267"/>
              <a:ext cx="7111371" cy="1757732"/>
            </a:xfrm>
            <a:custGeom>
              <a:avLst/>
              <a:gdLst>
                <a:gd name="f0" fmla="val 10800000"/>
                <a:gd name="f1" fmla="val 5400000"/>
                <a:gd name="f2" fmla="val 180"/>
                <a:gd name="f3" fmla="val w"/>
                <a:gd name="f4" fmla="val h"/>
                <a:gd name="f5" fmla="val 0"/>
                <a:gd name="f6" fmla="val 7111369"/>
                <a:gd name="f7" fmla="val 1757730"/>
                <a:gd name="f8" fmla="val 772954"/>
                <a:gd name="f9" fmla="val 2778"/>
                <a:gd name="f10" fmla="val 1769038"/>
                <a:gd name="f11" fmla="val 30799"/>
                <a:gd name="f12" fmla="val 2696750"/>
                <a:gd name="f13" fmla="val 267531"/>
                <a:gd name="f14" fmla="val 3590934"/>
                <a:gd name="f15" fmla="val 566046"/>
                <a:gd name="f16" fmla="val 4684008"/>
                <a:gd name="f17" fmla="val 930921"/>
                <a:gd name="f18" fmla="val 5690778"/>
                <a:gd name="f19" fmla="val 1324625"/>
                <a:gd name="f20" fmla="val 6700767"/>
                <a:gd name="f21" fmla="val 1636882"/>
                <a:gd name="f22" fmla="val 25690"/>
                <a:gd name="f23" fmla="val 2197"/>
                <a:gd name="f24" fmla="val 25414"/>
                <a:gd name="f25" fmla="val 114653"/>
                <a:gd name="f26" fmla="val 14905"/>
                <a:gd name="f27" fmla="val 227801"/>
                <a:gd name="f28" fmla="val 7857"/>
                <a:gd name="f29" fmla="val 341773"/>
                <a:gd name="f30" fmla="val 3976"/>
                <a:gd name="f31" fmla="val 486963"/>
                <a:gd name="f32" fmla="+- 0 0 968"/>
                <a:gd name="f33" fmla="val 630656"/>
                <a:gd name="f34" fmla="+- 0 0 1224"/>
                <a:gd name="f35" fmla="+- 0 0 -90"/>
                <a:gd name="f36" fmla="*/ f3 1 7111369"/>
                <a:gd name="f37" fmla="*/ f4 1 1757730"/>
                <a:gd name="f38" fmla="+- f7 0 f5"/>
                <a:gd name="f39" fmla="+- f6 0 f5"/>
                <a:gd name="f40" fmla="*/ f35 f0 1"/>
                <a:gd name="f41" fmla="*/ f39 1 7111369"/>
                <a:gd name="f42" fmla="*/ f38 1 1757730"/>
                <a:gd name="f43" fmla="*/ 772954 f39 1"/>
                <a:gd name="f44" fmla="*/ 2778 f38 1"/>
                <a:gd name="f45" fmla="*/ 3590934 f39 1"/>
                <a:gd name="f46" fmla="*/ 566046 f38 1"/>
                <a:gd name="f47" fmla="*/ 6700767 f39 1"/>
                <a:gd name="f48" fmla="*/ 1636882 f38 1"/>
                <a:gd name="f49" fmla="*/ 7111369 f39 1"/>
                <a:gd name="f50" fmla="*/ 1757730 f38 1"/>
                <a:gd name="f51" fmla="*/ 0 f39 1"/>
                <a:gd name="f52" fmla="*/ 25690 f38 1"/>
                <a:gd name="f53" fmla="*/ 2197 f39 1"/>
                <a:gd name="f54" fmla="*/ 25414 f38 1"/>
                <a:gd name="f55" fmla="*/ 341773 f39 1"/>
                <a:gd name="f56" fmla="*/ 3976 f38 1"/>
                <a:gd name="f57" fmla="*/ f40 1 f2"/>
                <a:gd name="f58" fmla="*/ f43 1 7111369"/>
                <a:gd name="f59" fmla="*/ f44 1 1757730"/>
                <a:gd name="f60" fmla="*/ f45 1 7111369"/>
                <a:gd name="f61" fmla="*/ f46 1 1757730"/>
                <a:gd name="f62" fmla="*/ f47 1 7111369"/>
                <a:gd name="f63" fmla="*/ f48 1 1757730"/>
                <a:gd name="f64" fmla="*/ f49 1 7111369"/>
                <a:gd name="f65" fmla="*/ f50 1 1757730"/>
                <a:gd name="f66" fmla="*/ f51 1 7111369"/>
                <a:gd name="f67" fmla="*/ f52 1 1757730"/>
                <a:gd name="f68" fmla="*/ f53 1 7111369"/>
                <a:gd name="f69" fmla="*/ f54 1 1757730"/>
                <a:gd name="f70" fmla="*/ f55 1 7111369"/>
                <a:gd name="f71" fmla="*/ f56 1 1757730"/>
                <a:gd name="f72" fmla="*/ f5 1 f41"/>
                <a:gd name="f73" fmla="*/ f6 1 f41"/>
                <a:gd name="f74" fmla="*/ f5 1 f42"/>
                <a:gd name="f75" fmla="*/ f7 1 f42"/>
                <a:gd name="f76" fmla="+- f57 0 f1"/>
                <a:gd name="f77" fmla="*/ f58 1 f41"/>
                <a:gd name="f78" fmla="*/ f59 1 f42"/>
                <a:gd name="f79" fmla="*/ f60 1 f41"/>
                <a:gd name="f80" fmla="*/ f61 1 f42"/>
                <a:gd name="f81" fmla="*/ f62 1 f41"/>
                <a:gd name="f82" fmla="*/ f63 1 f42"/>
                <a:gd name="f83" fmla="*/ f64 1 f41"/>
                <a:gd name="f84" fmla="*/ f65 1 f42"/>
                <a:gd name="f85" fmla="*/ f66 1 f41"/>
                <a:gd name="f86" fmla="*/ f67 1 f42"/>
                <a:gd name="f87" fmla="*/ f68 1 f41"/>
                <a:gd name="f88" fmla="*/ f69 1 f42"/>
                <a:gd name="f89" fmla="*/ f70 1 f41"/>
                <a:gd name="f90" fmla="*/ f71 1 f42"/>
                <a:gd name="f91" fmla="*/ f72 f36 1"/>
                <a:gd name="f92" fmla="*/ f73 f36 1"/>
                <a:gd name="f93" fmla="*/ f75 f37 1"/>
                <a:gd name="f94" fmla="*/ f74 f37 1"/>
                <a:gd name="f95" fmla="*/ f77 f36 1"/>
                <a:gd name="f96" fmla="*/ f78 f37 1"/>
                <a:gd name="f97" fmla="*/ f79 f36 1"/>
                <a:gd name="f98" fmla="*/ f80 f37 1"/>
                <a:gd name="f99" fmla="*/ f81 f36 1"/>
                <a:gd name="f100" fmla="*/ f82 f37 1"/>
                <a:gd name="f101" fmla="*/ f83 f36 1"/>
                <a:gd name="f102" fmla="*/ f84 f37 1"/>
                <a:gd name="f103" fmla="*/ f85 f36 1"/>
                <a:gd name="f104" fmla="*/ f86 f37 1"/>
                <a:gd name="f105" fmla="*/ f87 f36 1"/>
                <a:gd name="f106" fmla="*/ f88 f37 1"/>
                <a:gd name="f107" fmla="*/ f89 f36 1"/>
                <a:gd name="f108" fmla="*/ f90 f37 1"/>
              </a:gdLst>
              <a:ahLst/>
              <a:cxnLst>
                <a:cxn ang="3cd4">
                  <a:pos x="hc" y="t"/>
                </a:cxn>
                <a:cxn ang="0">
                  <a:pos x="r" y="vc"/>
                </a:cxn>
                <a:cxn ang="cd4">
                  <a:pos x="hc" y="b"/>
                </a:cxn>
                <a:cxn ang="cd2">
                  <a:pos x="l" y="vc"/>
                </a:cxn>
                <a:cxn ang="f76">
                  <a:pos x="f95" y="f96"/>
                </a:cxn>
                <a:cxn ang="f76">
                  <a:pos x="f97" y="f98"/>
                </a:cxn>
                <a:cxn ang="f76">
                  <a:pos x="f99" y="f100"/>
                </a:cxn>
                <a:cxn ang="f76">
                  <a:pos x="f101" y="f102"/>
                </a:cxn>
                <a:cxn ang="f76">
                  <a:pos x="f103" y="f102"/>
                </a:cxn>
                <a:cxn ang="f76">
                  <a:pos x="f103" y="f104"/>
                </a:cxn>
                <a:cxn ang="f76">
                  <a:pos x="f105" y="f106"/>
                </a:cxn>
                <a:cxn ang="f76">
                  <a:pos x="f107" y="f108"/>
                </a:cxn>
                <a:cxn ang="f76">
                  <a:pos x="f95" y="f96"/>
                </a:cxn>
              </a:cxnLst>
              <a:rect l="f91" t="f94" r="f92" b="f93"/>
              <a:pathLst>
                <a:path w="7111369" h="1757730">
                  <a:moveTo>
                    <a:pt x="f8" y="f9"/>
                  </a:moveTo>
                  <a:cubicBezTo>
                    <a:pt x="f10" y="f11"/>
                    <a:pt x="f12" y="f13"/>
                    <a:pt x="f14" y="f15"/>
                  </a:cubicBezTo>
                  <a:cubicBezTo>
                    <a:pt x="f16" y="f17"/>
                    <a:pt x="f18" y="f19"/>
                    <a:pt x="f20" y="f21"/>
                  </a:cubicBezTo>
                  <a:lnTo>
                    <a:pt x="f6" y="f7"/>
                  </a:lnTo>
                  <a:lnTo>
                    <a:pt x="f5" y="f7"/>
                  </a:lnTo>
                  <a:lnTo>
                    <a:pt x="f5" y="f22"/>
                  </a:lnTo>
                  <a:lnTo>
                    <a:pt x="f23" y="f24"/>
                  </a:lnTo>
                  <a:cubicBezTo>
                    <a:pt x="f25" y="f26"/>
                    <a:pt x="f27" y="f28"/>
                    <a:pt x="f29" y="f30"/>
                  </a:cubicBezTo>
                  <a:cubicBezTo>
                    <a:pt x="f31" y="f32"/>
                    <a:pt x="f33" y="f34"/>
                    <a:pt x="f8" y="f9"/>
                  </a:cubicBezTo>
                  <a:close/>
                </a:path>
              </a:pathLst>
            </a:cu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4" name="Freeform 19">
              <a:extLst>
                <a:ext uri="{FF2B5EF4-FFF2-40B4-BE49-F238E27FC236}">
                  <a16:creationId xmlns:a16="http://schemas.microsoft.com/office/drawing/2014/main" id="{F322860B-A8AF-4FDF-2AC6-319E3B333E51}"/>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5" name="Freeform 14">
              <a:extLst>
                <a:ext uri="{FF2B5EF4-FFF2-40B4-BE49-F238E27FC236}">
                  <a16:creationId xmlns:a16="http://schemas.microsoft.com/office/drawing/2014/main" id="{C894690D-948B-E0CD-3DC1-4074BB19C009}"/>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6" name="Picture 20">
              <a:extLst>
                <a:ext uri="{FF2B5EF4-FFF2-40B4-BE49-F238E27FC236}">
                  <a16:creationId xmlns:a16="http://schemas.microsoft.com/office/drawing/2014/main" id="{78225BFE-97DA-EDC1-8E64-4D524CCB542D}"/>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
        <p:nvSpPr>
          <p:cNvPr id="7" name="Title 10">
            <a:extLst>
              <a:ext uri="{FF2B5EF4-FFF2-40B4-BE49-F238E27FC236}">
                <a16:creationId xmlns:a16="http://schemas.microsoft.com/office/drawing/2014/main" id="{2ED69710-AB2F-E305-7203-301FEC0FE06E}"/>
              </a:ext>
            </a:extLst>
          </p:cNvPr>
          <p:cNvSpPr txBox="1">
            <a:spLocks noGrp="1"/>
          </p:cNvSpPr>
          <p:nvPr>
            <p:ph type="title"/>
          </p:nvPr>
        </p:nvSpPr>
        <p:spPr>
          <a:xfrm>
            <a:off x="1413305" y="701748"/>
            <a:ext cx="9365376" cy="2014679"/>
          </a:xfrm>
        </p:spPr>
        <p:txBody>
          <a:bodyPr anchor="b"/>
          <a:lstStyle>
            <a:lvl1pPr>
              <a:defRPr/>
            </a:lvl1pPr>
          </a:lstStyle>
          <a:p>
            <a:pPr lvl="0"/>
            <a:r>
              <a:rPr lang="en-US"/>
              <a:t>Click to edit Master title style</a:t>
            </a:r>
          </a:p>
        </p:txBody>
      </p:sp>
      <p:sp>
        <p:nvSpPr>
          <p:cNvPr id="8" name="Subtitle 2">
            <a:extLst>
              <a:ext uri="{FF2B5EF4-FFF2-40B4-BE49-F238E27FC236}">
                <a16:creationId xmlns:a16="http://schemas.microsoft.com/office/drawing/2014/main" id="{F21F0B40-E994-B5BB-93C7-18397A9D1E2D}"/>
              </a:ext>
            </a:extLst>
          </p:cNvPr>
          <p:cNvSpPr txBox="1">
            <a:spLocks noGrp="1"/>
          </p:cNvSpPr>
          <p:nvPr>
            <p:ph type="subTitle" idx="4294967295"/>
          </p:nvPr>
        </p:nvSpPr>
        <p:spPr>
          <a:xfrm>
            <a:off x="1413305" y="3081637"/>
            <a:ext cx="9365376" cy="986564"/>
          </a:xfrm>
        </p:spPr>
        <p:txBody>
          <a:bodyPr/>
          <a:lstStyle>
            <a:lvl1pPr marL="0" indent="0">
              <a:buNone/>
              <a:defRPr/>
            </a:lvl1pPr>
          </a:lstStyle>
          <a:p>
            <a:pPr lvl="0"/>
            <a:r>
              <a:rPr lang="en-US"/>
              <a:t>Click to edit Master subtitle style</a:t>
            </a:r>
          </a:p>
        </p:txBody>
      </p:sp>
    </p:spTree>
    <p:extLst>
      <p:ext uri="{BB962C8B-B14F-4D97-AF65-F5344CB8AC3E}">
        <p14:creationId xmlns:p14="http://schemas.microsoft.com/office/powerpoint/2010/main" val="156702846"/>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p:cSld name="25_Divider">
    <p:bg>
      <p:bgPr>
        <a:solidFill>
          <a:srgbClr val="F3F6FB"/>
        </a:solidFill>
        <a:effectLst/>
      </p:bgPr>
    </p:bg>
    <p:spTree>
      <p:nvGrpSpPr>
        <p:cNvPr id="1" name=""/>
        <p:cNvGrpSpPr/>
        <p:nvPr/>
      </p:nvGrpSpPr>
      <p:grpSpPr>
        <a:xfrm>
          <a:off x="0" y="0"/>
          <a:ext cx="0" cy="0"/>
          <a:chOff x="0" y="0"/>
          <a:chExt cx="0" cy="0"/>
        </a:xfrm>
      </p:grpSpPr>
      <p:grpSp>
        <p:nvGrpSpPr>
          <p:cNvPr id="2" name="Group 9">
            <a:extLst>
              <a:ext uri="{FF2B5EF4-FFF2-40B4-BE49-F238E27FC236}">
                <a16:creationId xmlns:a16="http://schemas.microsoft.com/office/drawing/2014/main" id="{E8C12095-A0C4-B825-6FAE-5D2B8E38133C}"/>
              </a:ext>
            </a:extLst>
          </p:cNvPr>
          <p:cNvGrpSpPr/>
          <p:nvPr/>
        </p:nvGrpSpPr>
        <p:grpSpPr>
          <a:xfrm>
            <a:off x="0" y="5020349"/>
            <a:ext cx="12191996" cy="1837651"/>
            <a:chOff x="0" y="5020348"/>
            <a:chExt cx="12191996" cy="1837651"/>
          </a:xfrm>
        </p:grpSpPr>
        <p:sp>
          <p:nvSpPr>
            <p:cNvPr id="3" name="Freeform 25">
              <a:extLst>
                <a:ext uri="{FF2B5EF4-FFF2-40B4-BE49-F238E27FC236}">
                  <a16:creationId xmlns:a16="http://schemas.microsoft.com/office/drawing/2014/main" id="{D54A0314-3187-F0E1-98F5-2460A0258A0C}"/>
                </a:ext>
              </a:extLst>
            </p:cNvPr>
            <p:cNvSpPr/>
            <p:nvPr/>
          </p:nvSpPr>
          <p:spPr>
            <a:xfrm>
              <a:off x="0" y="5100267"/>
              <a:ext cx="7111371" cy="1757732"/>
            </a:xfrm>
            <a:custGeom>
              <a:avLst/>
              <a:gdLst>
                <a:gd name="f0" fmla="val 10800000"/>
                <a:gd name="f1" fmla="val 5400000"/>
                <a:gd name="f2" fmla="val 180"/>
                <a:gd name="f3" fmla="val w"/>
                <a:gd name="f4" fmla="val h"/>
                <a:gd name="f5" fmla="val 0"/>
                <a:gd name="f6" fmla="val 7111369"/>
                <a:gd name="f7" fmla="val 1757730"/>
                <a:gd name="f8" fmla="val 772954"/>
                <a:gd name="f9" fmla="val 2778"/>
                <a:gd name="f10" fmla="val 1769038"/>
                <a:gd name="f11" fmla="val 30799"/>
                <a:gd name="f12" fmla="val 2696750"/>
                <a:gd name="f13" fmla="val 267531"/>
                <a:gd name="f14" fmla="val 3590934"/>
                <a:gd name="f15" fmla="val 566046"/>
                <a:gd name="f16" fmla="val 4684008"/>
                <a:gd name="f17" fmla="val 930921"/>
                <a:gd name="f18" fmla="val 5690778"/>
                <a:gd name="f19" fmla="val 1324625"/>
                <a:gd name="f20" fmla="val 6700767"/>
                <a:gd name="f21" fmla="val 1636882"/>
                <a:gd name="f22" fmla="val 25690"/>
                <a:gd name="f23" fmla="val 2197"/>
                <a:gd name="f24" fmla="val 25414"/>
                <a:gd name="f25" fmla="val 114653"/>
                <a:gd name="f26" fmla="val 14905"/>
                <a:gd name="f27" fmla="val 227801"/>
                <a:gd name="f28" fmla="val 7857"/>
                <a:gd name="f29" fmla="val 341773"/>
                <a:gd name="f30" fmla="val 3976"/>
                <a:gd name="f31" fmla="val 486963"/>
                <a:gd name="f32" fmla="+- 0 0 968"/>
                <a:gd name="f33" fmla="val 630656"/>
                <a:gd name="f34" fmla="+- 0 0 1224"/>
                <a:gd name="f35" fmla="+- 0 0 -90"/>
                <a:gd name="f36" fmla="*/ f3 1 7111369"/>
                <a:gd name="f37" fmla="*/ f4 1 1757730"/>
                <a:gd name="f38" fmla="+- f7 0 f5"/>
                <a:gd name="f39" fmla="+- f6 0 f5"/>
                <a:gd name="f40" fmla="*/ f35 f0 1"/>
                <a:gd name="f41" fmla="*/ f39 1 7111369"/>
                <a:gd name="f42" fmla="*/ f38 1 1757730"/>
                <a:gd name="f43" fmla="*/ 772954 f39 1"/>
                <a:gd name="f44" fmla="*/ 2778 f38 1"/>
                <a:gd name="f45" fmla="*/ 3590934 f39 1"/>
                <a:gd name="f46" fmla="*/ 566046 f38 1"/>
                <a:gd name="f47" fmla="*/ 6700767 f39 1"/>
                <a:gd name="f48" fmla="*/ 1636882 f38 1"/>
                <a:gd name="f49" fmla="*/ 7111369 f39 1"/>
                <a:gd name="f50" fmla="*/ 1757730 f38 1"/>
                <a:gd name="f51" fmla="*/ 0 f39 1"/>
                <a:gd name="f52" fmla="*/ 25690 f38 1"/>
                <a:gd name="f53" fmla="*/ 2197 f39 1"/>
                <a:gd name="f54" fmla="*/ 25414 f38 1"/>
                <a:gd name="f55" fmla="*/ 341773 f39 1"/>
                <a:gd name="f56" fmla="*/ 3976 f38 1"/>
                <a:gd name="f57" fmla="*/ f40 1 f2"/>
                <a:gd name="f58" fmla="*/ f43 1 7111369"/>
                <a:gd name="f59" fmla="*/ f44 1 1757730"/>
                <a:gd name="f60" fmla="*/ f45 1 7111369"/>
                <a:gd name="f61" fmla="*/ f46 1 1757730"/>
                <a:gd name="f62" fmla="*/ f47 1 7111369"/>
                <a:gd name="f63" fmla="*/ f48 1 1757730"/>
                <a:gd name="f64" fmla="*/ f49 1 7111369"/>
                <a:gd name="f65" fmla="*/ f50 1 1757730"/>
                <a:gd name="f66" fmla="*/ f51 1 7111369"/>
                <a:gd name="f67" fmla="*/ f52 1 1757730"/>
                <a:gd name="f68" fmla="*/ f53 1 7111369"/>
                <a:gd name="f69" fmla="*/ f54 1 1757730"/>
                <a:gd name="f70" fmla="*/ f55 1 7111369"/>
                <a:gd name="f71" fmla="*/ f56 1 1757730"/>
                <a:gd name="f72" fmla="*/ f5 1 f41"/>
                <a:gd name="f73" fmla="*/ f6 1 f41"/>
                <a:gd name="f74" fmla="*/ f5 1 f42"/>
                <a:gd name="f75" fmla="*/ f7 1 f42"/>
                <a:gd name="f76" fmla="+- f57 0 f1"/>
                <a:gd name="f77" fmla="*/ f58 1 f41"/>
                <a:gd name="f78" fmla="*/ f59 1 f42"/>
                <a:gd name="f79" fmla="*/ f60 1 f41"/>
                <a:gd name="f80" fmla="*/ f61 1 f42"/>
                <a:gd name="f81" fmla="*/ f62 1 f41"/>
                <a:gd name="f82" fmla="*/ f63 1 f42"/>
                <a:gd name="f83" fmla="*/ f64 1 f41"/>
                <a:gd name="f84" fmla="*/ f65 1 f42"/>
                <a:gd name="f85" fmla="*/ f66 1 f41"/>
                <a:gd name="f86" fmla="*/ f67 1 f42"/>
                <a:gd name="f87" fmla="*/ f68 1 f41"/>
                <a:gd name="f88" fmla="*/ f69 1 f42"/>
                <a:gd name="f89" fmla="*/ f70 1 f41"/>
                <a:gd name="f90" fmla="*/ f71 1 f42"/>
                <a:gd name="f91" fmla="*/ f72 f36 1"/>
                <a:gd name="f92" fmla="*/ f73 f36 1"/>
                <a:gd name="f93" fmla="*/ f75 f37 1"/>
                <a:gd name="f94" fmla="*/ f74 f37 1"/>
                <a:gd name="f95" fmla="*/ f77 f36 1"/>
                <a:gd name="f96" fmla="*/ f78 f37 1"/>
                <a:gd name="f97" fmla="*/ f79 f36 1"/>
                <a:gd name="f98" fmla="*/ f80 f37 1"/>
                <a:gd name="f99" fmla="*/ f81 f36 1"/>
                <a:gd name="f100" fmla="*/ f82 f37 1"/>
                <a:gd name="f101" fmla="*/ f83 f36 1"/>
                <a:gd name="f102" fmla="*/ f84 f37 1"/>
                <a:gd name="f103" fmla="*/ f85 f36 1"/>
                <a:gd name="f104" fmla="*/ f86 f37 1"/>
                <a:gd name="f105" fmla="*/ f87 f36 1"/>
                <a:gd name="f106" fmla="*/ f88 f37 1"/>
                <a:gd name="f107" fmla="*/ f89 f36 1"/>
                <a:gd name="f108" fmla="*/ f90 f37 1"/>
              </a:gdLst>
              <a:ahLst/>
              <a:cxnLst>
                <a:cxn ang="3cd4">
                  <a:pos x="hc" y="t"/>
                </a:cxn>
                <a:cxn ang="0">
                  <a:pos x="r" y="vc"/>
                </a:cxn>
                <a:cxn ang="cd4">
                  <a:pos x="hc" y="b"/>
                </a:cxn>
                <a:cxn ang="cd2">
                  <a:pos x="l" y="vc"/>
                </a:cxn>
                <a:cxn ang="f76">
                  <a:pos x="f95" y="f96"/>
                </a:cxn>
                <a:cxn ang="f76">
                  <a:pos x="f97" y="f98"/>
                </a:cxn>
                <a:cxn ang="f76">
                  <a:pos x="f99" y="f100"/>
                </a:cxn>
                <a:cxn ang="f76">
                  <a:pos x="f101" y="f102"/>
                </a:cxn>
                <a:cxn ang="f76">
                  <a:pos x="f103" y="f102"/>
                </a:cxn>
                <a:cxn ang="f76">
                  <a:pos x="f103" y="f104"/>
                </a:cxn>
                <a:cxn ang="f76">
                  <a:pos x="f105" y="f106"/>
                </a:cxn>
                <a:cxn ang="f76">
                  <a:pos x="f107" y="f108"/>
                </a:cxn>
                <a:cxn ang="f76">
                  <a:pos x="f95" y="f96"/>
                </a:cxn>
              </a:cxnLst>
              <a:rect l="f91" t="f94" r="f92" b="f93"/>
              <a:pathLst>
                <a:path w="7111369" h="1757730">
                  <a:moveTo>
                    <a:pt x="f8" y="f9"/>
                  </a:moveTo>
                  <a:cubicBezTo>
                    <a:pt x="f10" y="f11"/>
                    <a:pt x="f12" y="f13"/>
                    <a:pt x="f14" y="f15"/>
                  </a:cubicBezTo>
                  <a:cubicBezTo>
                    <a:pt x="f16" y="f17"/>
                    <a:pt x="f18" y="f19"/>
                    <a:pt x="f20" y="f21"/>
                  </a:cubicBezTo>
                  <a:lnTo>
                    <a:pt x="f6" y="f7"/>
                  </a:lnTo>
                  <a:lnTo>
                    <a:pt x="f5" y="f7"/>
                  </a:lnTo>
                  <a:lnTo>
                    <a:pt x="f5" y="f22"/>
                  </a:lnTo>
                  <a:lnTo>
                    <a:pt x="f23" y="f24"/>
                  </a:lnTo>
                  <a:cubicBezTo>
                    <a:pt x="f25" y="f26"/>
                    <a:pt x="f27" y="f28"/>
                    <a:pt x="f29" y="f30"/>
                  </a:cubicBezTo>
                  <a:cubicBezTo>
                    <a:pt x="f31" y="f32"/>
                    <a:pt x="f33" y="f34"/>
                    <a:pt x="f8" y="f9"/>
                  </a:cubicBezTo>
                  <a:close/>
                </a:path>
              </a:pathLst>
            </a:cu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4" name="Freeform 19">
              <a:extLst>
                <a:ext uri="{FF2B5EF4-FFF2-40B4-BE49-F238E27FC236}">
                  <a16:creationId xmlns:a16="http://schemas.microsoft.com/office/drawing/2014/main" id="{B95AE5B5-4FD6-FC56-0573-F367DE5EE342}"/>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5" name="Freeform 14">
              <a:extLst>
                <a:ext uri="{FF2B5EF4-FFF2-40B4-BE49-F238E27FC236}">
                  <a16:creationId xmlns:a16="http://schemas.microsoft.com/office/drawing/2014/main" id="{3C723A86-7D2A-B658-201B-379FF0D6F008}"/>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6" name="Picture 20">
              <a:extLst>
                <a:ext uri="{FF2B5EF4-FFF2-40B4-BE49-F238E27FC236}">
                  <a16:creationId xmlns:a16="http://schemas.microsoft.com/office/drawing/2014/main" id="{2EB161B7-0BE1-397D-32BD-B63B81A86153}"/>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
        <p:nvSpPr>
          <p:cNvPr id="7" name="Title 10">
            <a:extLst>
              <a:ext uri="{FF2B5EF4-FFF2-40B4-BE49-F238E27FC236}">
                <a16:creationId xmlns:a16="http://schemas.microsoft.com/office/drawing/2014/main" id="{3A77D380-9D82-DCF3-E91B-93064B03F4F2}"/>
              </a:ext>
            </a:extLst>
          </p:cNvPr>
          <p:cNvSpPr txBox="1">
            <a:spLocks noGrp="1"/>
          </p:cNvSpPr>
          <p:nvPr>
            <p:ph type="title"/>
          </p:nvPr>
        </p:nvSpPr>
        <p:spPr>
          <a:xfrm>
            <a:off x="1413305" y="701748"/>
            <a:ext cx="9365376" cy="2014679"/>
          </a:xfrm>
        </p:spPr>
        <p:txBody>
          <a:bodyPr anchor="b"/>
          <a:lstStyle>
            <a:lvl1pPr>
              <a:defRPr/>
            </a:lvl1pPr>
          </a:lstStyle>
          <a:p>
            <a:pPr lvl="0"/>
            <a:r>
              <a:rPr lang="en-US"/>
              <a:t>Click to edit Master title style</a:t>
            </a:r>
          </a:p>
        </p:txBody>
      </p:sp>
      <p:sp>
        <p:nvSpPr>
          <p:cNvPr id="8" name="Subtitle 2">
            <a:extLst>
              <a:ext uri="{FF2B5EF4-FFF2-40B4-BE49-F238E27FC236}">
                <a16:creationId xmlns:a16="http://schemas.microsoft.com/office/drawing/2014/main" id="{AC7D83E7-FB0C-84FF-A8F5-CF93CF6C8710}"/>
              </a:ext>
            </a:extLst>
          </p:cNvPr>
          <p:cNvSpPr txBox="1">
            <a:spLocks noGrp="1"/>
          </p:cNvSpPr>
          <p:nvPr>
            <p:ph type="subTitle" idx="4294967295"/>
          </p:nvPr>
        </p:nvSpPr>
        <p:spPr>
          <a:xfrm>
            <a:off x="1413305" y="3081637"/>
            <a:ext cx="9365376" cy="986564"/>
          </a:xfrm>
        </p:spPr>
        <p:txBody>
          <a:bodyPr/>
          <a:lstStyle>
            <a:lvl1pPr marL="0" indent="0">
              <a:buNone/>
              <a:defRPr/>
            </a:lvl1pPr>
          </a:lstStyle>
          <a:p>
            <a:pPr lvl="0"/>
            <a:r>
              <a:rPr lang="en-US"/>
              <a:t>Click to edit Master subtitle style</a:t>
            </a:r>
          </a:p>
        </p:txBody>
      </p:sp>
    </p:spTree>
    <p:extLst>
      <p:ext uri="{BB962C8B-B14F-4D97-AF65-F5344CB8AC3E}">
        <p14:creationId xmlns:p14="http://schemas.microsoft.com/office/powerpoint/2010/main" val="1605395198"/>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type="obj" preserve="1">
  <p:cSld name="25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586775DC-942A-C81E-5A0C-AA10B9BF8D2A}"/>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B6976F0D-636A-DE1C-8A20-C7F812284BB3}"/>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B6572DC6-5790-7FE6-4BEB-9FF801AB9D11}"/>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747BC69C-6260-FF32-F540-6589BF47F461}"/>
              </a:ext>
            </a:extLst>
          </p:cNvPr>
          <p:cNvSpPr txBox="1">
            <a:spLocks noGrp="1"/>
          </p:cNvSpPr>
          <p:nvPr>
            <p:ph type="sldNum" sz="quarter" idx="8"/>
          </p:nvPr>
        </p:nvSpPr>
        <p:spPr/>
        <p:txBody>
          <a:bodyPr/>
          <a:lstStyle>
            <a:lvl1pPr>
              <a:defRPr>
                <a:solidFill>
                  <a:srgbClr val="AFB3B9"/>
                </a:solidFill>
              </a:defRPr>
            </a:lvl1pPr>
          </a:lstStyle>
          <a:p>
            <a:pPr lvl="0"/>
            <a:fld id="{60601C6C-DCEE-48CD-9CEB-2D9469B245DD}" type="slidenum">
              <a:t>‹#›</a:t>
            </a:fld>
            <a:endParaRPr lang="en-US"/>
          </a:p>
        </p:txBody>
      </p:sp>
      <p:cxnSp>
        <p:nvCxnSpPr>
          <p:cNvPr id="6" name="Straight Connector 7">
            <a:extLst>
              <a:ext uri="{FF2B5EF4-FFF2-40B4-BE49-F238E27FC236}">
                <a16:creationId xmlns:a16="http://schemas.microsoft.com/office/drawing/2014/main" id="{AE604FE3-C621-4A99-B3E3-B79C8C217C13}"/>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ADA5CE0F-FFA3-209F-E733-45C99968D5B3}"/>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703E961E-9192-3301-E539-F9F47941A7B5}"/>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11619816-5DE5-1224-7D47-3C1D58D6960F}"/>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A88B5F89-D343-2783-E164-11AA24C2DAEA}"/>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9629E7FC-C099-9F5A-0B46-FCD515755747}"/>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638C3940-E0A1-0838-4083-8EFB7C68FD66}"/>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39AF44CD-AC7B-6EBB-CF7B-871867866F72}"/>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3714472654"/>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showMasterSp="0" type="obj" preserve="1">
  <p:cSld name="11_Title Slide">
    <p:bg>
      <p:bgPr>
        <a:solidFill>
          <a:srgbClr val="FFFFFF"/>
        </a:solidFill>
        <a:effectLst/>
      </p:bgPr>
    </p:bg>
    <p:spTree>
      <p:nvGrpSpPr>
        <p:cNvPr id="1" name=""/>
        <p:cNvGrpSpPr/>
        <p:nvPr/>
      </p:nvGrpSpPr>
      <p:grpSpPr>
        <a:xfrm>
          <a:off x="0" y="0"/>
          <a:ext cx="0" cy="0"/>
          <a:chOff x="0" y="0"/>
          <a:chExt cx="0" cy="0"/>
        </a:xfrm>
      </p:grpSpPr>
      <p:sp>
        <p:nvSpPr>
          <p:cNvPr id="2" name="bg object 16">
            <a:extLst>
              <a:ext uri="{FF2B5EF4-FFF2-40B4-BE49-F238E27FC236}">
                <a16:creationId xmlns:a16="http://schemas.microsoft.com/office/drawing/2014/main" id="{EBF519AA-104A-4652-0826-9A8B4AC03A1C}"/>
              </a:ext>
            </a:extLst>
          </p:cNvPr>
          <p:cNvSpPr/>
          <p:nvPr/>
        </p:nvSpPr>
        <p:spPr>
          <a:xfrm>
            <a:off x="0" y="0"/>
            <a:ext cx="12191996" cy="6858000"/>
          </a:xfrm>
          <a:custGeom>
            <a:avLst/>
            <a:gdLst>
              <a:gd name="f0" fmla="val w"/>
              <a:gd name="f1" fmla="val h"/>
              <a:gd name="f2" fmla="val 0"/>
              <a:gd name="f3" fmla="val 12192000"/>
              <a:gd name="f4" fmla="val 6858000"/>
              <a:gd name="f5" fmla="*/ f0 1 12192000"/>
              <a:gd name="f6" fmla="*/ f1 1 6858000"/>
              <a:gd name="f7" fmla="+- f4 0 f2"/>
              <a:gd name="f8" fmla="+- f3 0 f2"/>
              <a:gd name="f9" fmla="*/ f8 1 12192000"/>
              <a:gd name="f10" fmla="*/ f7 1 6858000"/>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12192000" h="6858000">
                <a:moveTo>
                  <a:pt x="f3" y="f2"/>
                </a:moveTo>
                <a:lnTo>
                  <a:pt x="f2" y="f2"/>
                </a:lnTo>
                <a:lnTo>
                  <a:pt x="f2" y="f4"/>
                </a:lnTo>
                <a:lnTo>
                  <a:pt x="f3" y="f4"/>
                </a:lnTo>
                <a:lnTo>
                  <a:pt x="f3" y="f2"/>
                </a:lnTo>
                <a:close/>
              </a:path>
            </a:pathLst>
          </a:custGeom>
          <a:solidFill>
            <a:srgbClr val="F3F6FA"/>
          </a:solidFill>
          <a:ln cap="flat">
            <a:noFill/>
            <a:prstDash val="solid"/>
          </a:ln>
        </p:spPr>
        <p:txBody>
          <a:bodyPr vert="horz" wrap="square" lIns="0" tIns="0" rIns="0" bIns="0" anchor="t"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3" name="bg object 17">
            <a:extLst>
              <a:ext uri="{FF2B5EF4-FFF2-40B4-BE49-F238E27FC236}">
                <a16:creationId xmlns:a16="http://schemas.microsoft.com/office/drawing/2014/main" id="{332A5F2C-F0EE-F8A3-F86F-9FB1EFA62608}"/>
              </a:ext>
            </a:extLst>
          </p:cNvPr>
          <p:cNvSpPr/>
          <p:nvPr/>
        </p:nvSpPr>
        <p:spPr>
          <a:xfrm>
            <a:off x="1" y="5100853"/>
            <a:ext cx="7111361" cy="1757677"/>
          </a:xfrm>
          <a:custGeom>
            <a:avLst/>
            <a:gdLst>
              <a:gd name="f0" fmla="val w"/>
              <a:gd name="f1" fmla="val h"/>
              <a:gd name="f2" fmla="val 0"/>
              <a:gd name="f3" fmla="val 7111365"/>
              <a:gd name="f4" fmla="val 1757679"/>
              <a:gd name="f5" fmla="val 612238"/>
              <a:gd name="f6" fmla="val 72"/>
              <a:gd name="f7" fmla="val 558414"/>
              <a:gd name="f8" fmla="val 504455"/>
              <a:gd name="f9" fmla="val 346"/>
              <a:gd name="f10" fmla="val 450360"/>
              <a:gd name="f11" fmla="val 1116"/>
              <a:gd name="f12" fmla="val 396127"/>
              <a:gd name="f13" fmla="val 2315"/>
              <a:gd name="f14" fmla="val 341757"/>
              <a:gd name="f15" fmla="val 3949"/>
              <a:gd name="f16" fmla="val 292962"/>
              <a:gd name="f17" fmla="val 5809"/>
              <a:gd name="f18" fmla="val 244267"/>
              <a:gd name="f19" fmla="val 8061"/>
              <a:gd name="f20" fmla="val 195669"/>
              <a:gd name="f21" fmla="val 10711"/>
              <a:gd name="f22" fmla="val 147165"/>
              <a:gd name="f23" fmla="val 13764"/>
              <a:gd name="f24" fmla="val 98753"/>
              <a:gd name="f25" fmla="val 17223"/>
              <a:gd name="f26" fmla="val 50431"/>
              <a:gd name="f27" fmla="val 21096"/>
              <a:gd name="f28" fmla="val 25666"/>
              <a:gd name="f29" fmla="val 1757146"/>
              <a:gd name="f30" fmla="val 7110983"/>
              <a:gd name="f31" fmla="val 6700405"/>
              <a:gd name="f32" fmla="val 1636344"/>
              <a:gd name="f33" fmla="val 6607186"/>
              <a:gd name="f34" fmla="val 1607300"/>
              <a:gd name="f35" fmla="val 6467358"/>
              <a:gd name="f36" fmla="val 1562910"/>
              <a:gd name="f37" fmla="val 6327483"/>
              <a:gd name="f38" fmla="val 1517588"/>
              <a:gd name="f39" fmla="val 6187509"/>
              <a:gd name="f40" fmla="val 1471399"/>
              <a:gd name="f41" fmla="val 6000630"/>
              <a:gd name="f42" fmla="val 1408578"/>
              <a:gd name="f43" fmla="val 5766459"/>
              <a:gd name="f44" fmla="val 1328280"/>
              <a:gd name="f45" fmla="val 5484294"/>
              <a:gd name="f46" fmla="val 1229723"/>
              <a:gd name="f47" fmla="val 4285873"/>
              <a:gd name="f48" fmla="val 804446"/>
              <a:gd name="f49" fmla="val 3990553"/>
              <a:gd name="f50" fmla="val 701631"/>
              <a:gd name="f51" fmla="val 3741532"/>
              <a:gd name="f52" fmla="val 616526"/>
              <a:gd name="f53" fmla="val 3543643"/>
              <a:gd name="f54" fmla="val 550199"/>
              <a:gd name="f55" fmla="val 3449272"/>
              <a:gd name="f56" fmla="val 519263"/>
              <a:gd name="f57" fmla="val 3354639"/>
              <a:gd name="f58" fmla="val 488840"/>
              <a:gd name="f59" fmla="val 3259736"/>
              <a:gd name="f60" fmla="val 458969"/>
              <a:gd name="f61" fmla="val 3164554"/>
              <a:gd name="f62" fmla="val 429687"/>
              <a:gd name="f63" fmla="val 3069083"/>
              <a:gd name="f64" fmla="val 401033"/>
              <a:gd name="f65" fmla="val 2973315"/>
              <a:gd name="f66" fmla="val 373045"/>
              <a:gd name="f67" fmla="val 2877241"/>
              <a:gd name="f68" fmla="val 345760"/>
              <a:gd name="f69" fmla="val 2780851"/>
              <a:gd name="f70" fmla="val 319217"/>
              <a:gd name="f71" fmla="val 2684137"/>
              <a:gd name="f72" fmla="val 293454"/>
              <a:gd name="f73" fmla="val 2587089"/>
              <a:gd name="f74" fmla="val 268509"/>
              <a:gd name="f75" fmla="val 2489699"/>
              <a:gd name="f76" fmla="val 244419"/>
              <a:gd name="f77" fmla="val 2391957"/>
              <a:gd name="f78" fmla="val 221224"/>
              <a:gd name="f79" fmla="val 2293855"/>
              <a:gd name="f80" fmla="val 198961"/>
              <a:gd name="f81" fmla="val 2244665"/>
              <a:gd name="f82" fmla="val 188191"/>
              <a:gd name="f83" fmla="val 2195383"/>
              <a:gd name="f84" fmla="val 177668"/>
              <a:gd name="f85" fmla="val 2146005"/>
              <a:gd name="f86" fmla="val 167398"/>
              <a:gd name="f87" fmla="val 2096532"/>
              <a:gd name="f88" fmla="val 157384"/>
              <a:gd name="f89" fmla="val 2046962"/>
              <a:gd name="f90" fmla="val 147632"/>
              <a:gd name="f91" fmla="val 1997294"/>
              <a:gd name="f92" fmla="val 138146"/>
              <a:gd name="f93" fmla="val 1947526"/>
              <a:gd name="f94" fmla="val 128931"/>
              <a:gd name="f95" fmla="val 1897659"/>
              <a:gd name="f96" fmla="val 119992"/>
              <a:gd name="f97" fmla="val 1847690"/>
              <a:gd name="f98" fmla="val 111333"/>
              <a:gd name="f99" fmla="val 1797618"/>
              <a:gd name="f100" fmla="val 102960"/>
              <a:gd name="f101" fmla="val 1747443"/>
              <a:gd name="f102" fmla="val 94877"/>
              <a:gd name="f103" fmla="val 1697163"/>
              <a:gd name="f104" fmla="val 87089"/>
              <a:gd name="f105" fmla="val 1646777"/>
              <a:gd name="f106" fmla="val 79601"/>
              <a:gd name="f107" fmla="val 1596283"/>
              <a:gd name="f108" fmla="val 72417"/>
              <a:gd name="f109" fmla="val 1545682"/>
              <a:gd name="f110" fmla="val 65542"/>
              <a:gd name="f111" fmla="val 1494971"/>
              <a:gd name="f112" fmla="val 58981"/>
              <a:gd name="f113" fmla="val 1444150"/>
              <a:gd name="f114" fmla="val 52739"/>
              <a:gd name="f115" fmla="val 1393217"/>
              <a:gd name="f116" fmla="val 46821"/>
              <a:gd name="f117" fmla="val 1342172"/>
              <a:gd name="f118" fmla="val 41230"/>
              <a:gd name="f119" fmla="val 1291013"/>
              <a:gd name="f120" fmla="val 35972"/>
              <a:gd name="f121" fmla="val 1239738"/>
              <a:gd name="f122" fmla="val 31052"/>
              <a:gd name="f123" fmla="val 1188348"/>
              <a:gd name="f124" fmla="val 26475"/>
              <a:gd name="f125" fmla="val 1136840"/>
              <a:gd name="f126" fmla="val 22245"/>
              <a:gd name="f127" fmla="val 1085214"/>
              <a:gd name="f128" fmla="val 18367"/>
              <a:gd name="f129" fmla="val 1033469"/>
              <a:gd name="f130" fmla="val 14845"/>
              <a:gd name="f131" fmla="val 981602"/>
              <a:gd name="f132" fmla="val 11685"/>
              <a:gd name="f133" fmla="val 929614"/>
              <a:gd name="f134" fmla="val 8891"/>
              <a:gd name="f135" fmla="val 877504"/>
              <a:gd name="f136" fmla="val 6469"/>
              <a:gd name="f137" fmla="val 825269"/>
              <a:gd name="f138" fmla="val 4422"/>
              <a:gd name="f139" fmla="val 772909"/>
              <a:gd name="f140" fmla="val 2755"/>
              <a:gd name="f141" fmla="val 719484"/>
              <a:gd name="f142" fmla="val 1455"/>
              <a:gd name="f143" fmla="val 665927"/>
              <a:gd name="f144" fmla="val 559"/>
              <a:gd name="f145" fmla="*/ f0 1 7111365"/>
              <a:gd name="f146" fmla="*/ f1 1 1757679"/>
              <a:gd name="f147" fmla="+- f4 0 f2"/>
              <a:gd name="f148" fmla="+- f3 0 f2"/>
              <a:gd name="f149" fmla="*/ f148 1 7111365"/>
              <a:gd name="f150" fmla="*/ f147 1 1757679"/>
              <a:gd name="f151" fmla="*/ f2 1 f149"/>
              <a:gd name="f152" fmla="*/ f3 1 f149"/>
              <a:gd name="f153" fmla="*/ f2 1 f150"/>
              <a:gd name="f154" fmla="*/ f4 1 f150"/>
              <a:gd name="f155" fmla="*/ f151 f145 1"/>
              <a:gd name="f156" fmla="*/ f152 f145 1"/>
              <a:gd name="f157" fmla="*/ f154 f146 1"/>
              <a:gd name="f158" fmla="*/ f153 f146 1"/>
            </a:gdLst>
            <a:ahLst/>
            <a:cxnLst>
              <a:cxn ang="3cd4">
                <a:pos x="hc" y="t"/>
              </a:cxn>
              <a:cxn ang="0">
                <a:pos x="r" y="vc"/>
              </a:cxn>
              <a:cxn ang="cd4">
                <a:pos x="hc" y="b"/>
              </a:cxn>
              <a:cxn ang="cd2">
                <a:pos x="l" y="vc"/>
              </a:cxn>
            </a:cxnLst>
            <a:rect l="f155" t="f158" r="f156" b="f157"/>
            <a:pathLst>
              <a:path w="7111365" h="1757679">
                <a:moveTo>
                  <a:pt x="f5" y="f6"/>
                </a:moveTo>
                <a:lnTo>
                  <a:pt x="f7" y="f2"/>
                </a:lnTo>
                <a:lnTo>
                  <a:pt x="f8" y="f9"/>
                </a:lnTo>
                <a:lnTo>
                  <a:pt x="f10" y="f11"/>
                </a:lnTo>
                <a:lnTo>
                  <a:pt x="f12" y="f13"/>
                </a:lnTo>
                <a:lnTo>
                  <a:pt x="f14" y="f15"/>
                </a:lnTo>
                <a:lnTo>
                  <a:pt x="f16" y="f17"/>
                </a:lnTo>
                <a:lnTo>
                  <a:pt x="f18" y="f19"/>
                </a:lnTo>
                <a:lnTo>
                  <a:pt x="f20" y="f21"/>
                </a:lnTo>
                <a:lnTo>
                  <a:pt x="f22" y="f23"/>
                </a:lnTo>
                <a:lnTo>
                  <a:pt x="f24" y="f25"/>
                </a:lnTo>
                <a:lnTo>
                  <a:pt x="f26" y="f27"/>
                </a:lnTo>
                <a:lnTo>
                  <a:pt x="f2" y="f28"/>
                </a:lnTo>
                <a:lnTo>
                  <a:pt x="f2" y="f29"/>
                </a:lnTo>
                <a:lnTo>
                  <a:pt x="f30" y="f29"/>
                </a:lnTo>
                <a:lnTo>
                  <a:pt x="f31" y="f32"/>
                </a:lnTo>
                <a:lnTo>
                  <a:pt x="f33" y="f34"/>
                </a:lnTo>
                <a:lnTo>
                  <a:pt x="f35" y="f36"/>
                </a:lnTo>
                <a:lnTo>
                  <a:pt x="f37" y="f38"/>
                </a:lnTo>
                <a:lnTo>
                  <a:pt x="f39" y="f40"/>
                </a:lnTo>
                <a:lnTo>
                  <a:pt x="f41" y="f42"/>
                </a:lnTo>
                <a:lnTo>
                  <a:pt x="f43" y="f44"/>
                </a:lnTo>
                <a:lnTo>
                  <a:pt x="f45" y="f46"/>
                </a:lnTo>
                <a:lnTo>
                  <a:pt x="f47" y="f48"/>
                </a:lnTo>
                <a:lnTo>
                  <a:pt x="f49" y="f50"/>
                </a:lnTo>
                <a:lnTo>
                  <a:pt x="f51" y="f52"/>
                </a:lnTo>
                <a:lnTo>
                  <a:pt x="f53" y="f54"/>
                </a:lnTo>
                <a:lnTo>
                  <a:pt x="f55" y="f56"/>
                </a:lnTo>
                <a:lnTo>
                  <a:pt x="f57" y="f58"/>
                </a:lnTo>
                <a:lnTo>
                  <a:pt x="f59" y="f60"/>
                </a:lnTo>
                <a:lnTo>
                  <a:pt x="f61" y="f62"/>
                </a:lnTo>
                <a:lnTo>
                  <a:pt x="f63" y="f64"/>
                </a:lnTo>
                <a:lnTo>
                  <a:pt x="f65" y="f66"/>
                </a:lnTo>
                <a:lnTo>
                  <a:pt x="f67" y="f68"/>
                </a:lnTo>
                <a:lnTo>
                  <a:pt x="f69" y="f70"/>
                </a:lnTo>
                <a:lnTo>
                  <a:pt x="f71" y="f72"/>
                </a:lnTo>
                <a:lnTo>
                  <a:pt x="f73" y="f74"/>
                </a:lnTo>
                <a:lnTo>
                  <a:pt x="f75" y="f76"/>
                </a:lnTo>
                <a:lnTo>
                  <a:pt x="f77" y="f78"/>
                </a:lnTo>
                <a:lnTo>
                  <a:pt x="f79" y="f80"/>
                </a:lnTo>
                <a:lnTo>
                  <a:pt x="f81" y="f82"/>
                </a:lnTo>
                <a:lnTo>
                  <a:pt x="f83" y="f84"/>
                </a:lnTo>
                <a:lnTo>
                  <a:pt x="f85" y="f86"/>
                </a:lnTo>
                <a:lnTo>
                  <a:pt x="f87" y="f88"/>
                </a:lnTo>
                <a:lnTo>
                  <a:pt x="f89" y="f90"/>
                </a:lnTo>
                <a:lnTo>
                  <a:pt x="f91" y="f92"/>
                </a:lnTo>
                <a:lnTo>
                  <a:pt x="f93" y="f94"/>
                </a:lnTo>
                <a:lnTo>
                  <a:pt x="f95" y="f96"/>
                </a:lnTo>
                <a:lnTo>
                  <a:pt x="f97" y="f98"/>
                </a:lnTo>
                <a:lnTo>
                  <a:pt x="f99" y="f100"/>
                </a:lnTo>
                <a:lnTo>
                  <a:pt x="f101" y="f102"/>
                </a:lnTo>
                <a:lnTo>
                  <a:pt x="f103" y="f104"/>
                </a:lnTo>
                <a:lnTo>
                  <a:pt x="f105" y="f106"/>
                </a:lnTo>
                <a:lnTo>
                  <a:pt x="f107" y="f108"/>
                </a:lnTo>
                <a:lnTo>
                  <a:pt x="f109" y="f110"/>
                </a:lnTo>
                <a:lnTo>
                  <a:pt x="f111" y="f112"/>
                </a:lnTo>
                <a:lnTo>
                  <a:pt x="f113" y="f114"/>
                </a:lnTo>
                <a:lnTo>
                  <a:pt x="f115" y="f116"/>
                </a:lnTo>
                <a:lnTo>
                  <a:pt x="f117" y="f118"/>
                </a:lnTo>
                <a:lnTo>
                  <a:pt x="f119" y="f120"/>
                </a:lnTo>
                <a:lnTo>
                  <a:pt x="f121" y="f122"/>
                </a:lnTo>
                <a:lnTo>
                  <a:pt x="f123" y="f124"/>
                </a:lnTo>
                <a:lnTo>
                  <a:pt x="f125" y="f126"/>
                </a:lnTo>
                <a:lnTo>
                  <a:pt x="f127" y="f128"/>
                </a:lnTo>
                <a:lnTo>
                  <a:pt x="f129" y="f130"/>
                </a:lnTo>
                <a:lnTo>
                  <a:pt x="f131" y="f132"/>
                </a:lnTo>
                <a:lnTo>
                  <a:pt x="f133" y="f134"/>
                </a:lnTo>
                <a:lnTo>
                  <a:pt x="f135" y="f136"/>
                </a:lnTo>
                <a:lnTo>
                  <a:pt x="f137" y="f138"/>
                </a:lnTo>
                <a:lnTo>
                  <a:pt x="f139" y="f140"/>
                </a:lnTo>
                <a:lnTo>
                  <a:pt x="f141" y="f142"/>
                </a:lnTo>
                <a:lnTo>
                  <a:pt x="f143" y="f144"/>
                </a:lnTo>
                <a:lnTo>
                  <a:pt x="f5" y="f6"/>
                </a:lnTo>
                <a:close/>
              </a:path>
            </a:pathLst>
          </a:custGeom>
          <a:solidFill>
            <a:srgbClr val="FFFFFF"/>
          </a:solidFill>
          <a:ln cap="flat">
            <a:noFill/>
            <a:prstDash val="solid"/>
          </a:ln>
        </p:spPr>
        <p:txBody>
          <a:bodyPr vert="horz" wrap="square" lIns="0" tIns="0" rIns="0" bIns="0" anchor="t"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pic>
        <p:nvPicPr>
          <p:cNvPr id="4" name="bg object 18">
            <a:extLst>
              <a:ext uri="{FF2B5EF4-FFF2-40B4-BE49-F238E27FC236}">
                <a16:creationId xmlns:a16="http://schemas.microsoft.com/office/drawing/2014/main" id="{EF6E8BEF-48A7-E739-0EA4-C27D47E01452}"/>
              </a:ext>
            </a:extLst>
          </p:cNvPr>
          <p:cNvPicPr>
            <a:picLocks noChangeAspect="1"/>
          </p:cNvPicPr>
          <p:nvPr/>
        </p:nvPicPr>
        <p:blipFill>
          <a:blip r:embed="rId2"/>
          <a:stretch>
            <a:fillRect/>
          </a:stretch>
        </p:blipFill>
        <p:spPr>
          <a:xfrm>
            <a:off x="0" y="5041902"/>
            <a:ext cx="12191996" cy="1816098"/>
          </a:xfrm>
          <a:prstGeom prst="rect">
            <a:avLst/>
          </a:prstGeom>
          <a:noFill/>
          <a:ln cap="flat">
            <a:noFill/>
          </a:ln>
        </p:spPr>
      </p:pic>
      <p:sp>
        <p:nvSpPr>
          <p:cNvPr id="5" name="bg object 19">
            <a:extLst>
              <a:ext uri="{FF2B5EF4-FFF2-40B4-BE49-F238E27FC236}">
                <a16:creationId xmlns:a16="http://schemas.microsoft.com/office/drawing/2014/main" id="{A375D481-5CC5-DA79-B83D-E7257ED4E514}"/>
              </a:ext>
            </a:extLst>
          </p:cNvPr>
          <p:cNvSpPr/>
          <p:nvPr/>
        </p:nvSpPr>
        <p:spPr>
          <a:xfrm>
            <a:off x="0" y="5020056"/>
            <a:ext cx="12191996" cy="1838328"/>
          </a:xfrm>
          <a:custGeom>
            <a:avLst/>
            <a:gdLst>
              <a:gd name="f0" fmla="val w"/>
              <a:gd name="f1" fmla="val h"/>
              <a:gd name="f2" fmla="val 0"/>
              <a:gd name="f3" fmla="val 12192000"/>
              <a:gd name="f4" fmla="val 1838325"/>
              <a:gd name="f5" fmla="val 682693"/>
              <a:gd name="f6" fmla="val 631977"/>
              <a:gd name="f7" fmla="val 191"/>
              <a:gd name="f8" fmla="val 584149"/>
              <a:gd name="f9" fmla="val 737"/>
              <a:gd name="f10" fmla="val 536385"/>
              <a:gd name="f11" fmla="val 1641"/>
              <a:gd name="f12" fmla="val 488688"/>
              <a:gd name="f13" fmla="val 2908"/>
              <a:gd name="f14" fmla="val 441056"/>
              <a:gd name="f15" fmla="val 4541"/>
              <a:gd name="f16" fmla="val 393493"/>
              <a:gd name="f17" fmla="val 6547"/>
              <a:gd name="f18" fmla="val 345998"/>
              <a:gd name="f19" fmla="val 8929"/>
              <a:gd name="f20" fmla="val 38164"/>
              <a:gd name="f21" fmla="val 105627"/>
              <a:gd name="f22" fmla="val 50435"/>
              <a:gd name="f23" fmla="val 101057"/>
              <a:gd name="f24" fmla="val 98761"/>
              <a:gd name="f25" fmla="val 97184"/>
              <a:gd name="f26" fmla="val 147175"/>
              <a:gd name="f27" fmla="val 93724"/>
              <a:gd name="f28" fmla="val 195680"/>
              <a:gd name="f29" fmla="val 90672"/>
              <a:gd name="f30" fmla="val 244280"/>
              <a:gd name="f31" fmla="val 88022"/>
              <a:gd name="f32" fmla="val 292975"/>
              <a:gd name="f33" fmla="val 85770"/>
              <a:gd name="f34" fmla="val 341769"/>
              <a:gd name="f35" fmla="val 83910"/>
              <a:gd name="f36" fmla="val 394500"/>
              <a:gd name="f37" fmla="val 82318"/>
              <a:gd name="f38" fmla="val 447099"/>
              <a:gd name="f39" fmla="val 81134"/>
              <a:gd name="f40" fmla="val 499569"/>
              <a:gd name="f41" fmla="val 80355"/>
              <a:gd name="f42" fmla="val 551910"/>
              <a:gd name="f43" fmla="val 79975"/>
              <a:gd name="f44" fmla="val 604123"/>
              <a:gd name="f45" fmla="val 79990"/>
              <a:gd name="f46" fmla="val 656210"/>
              <a:gd name="f47" fmla="val 80395"/>
              <a:gd name="f48" fmla="val 708172"/>
              <a:gd name="f49" fmla="val 81187"/>
              <a:gd name="f50" fmla="val 760009"/>
              <a:gd name="f51" fmla="val 82360"/>
              <a:gd name="f52" fmla="val 811723"/>
              <a:gd name="f53" fmla="val 83909"/>
              <a:gd name="f54" fmla="val 863315"/>
              <a:gd name="f55" fmla="val 85830"/>
              <a:gd name="f56" fmla="val 914785"/>
              <a:gd name="f57" fmla="val 88119"/>
              <a:gd name="f58" fmla="val 966136"/>
              <a:gd name="f59" fmla="val 90771"/>
              <a:gd name="f60" fmla="val 1017368"/>
              <a:gd name="f61" fmla="val 93782"/>
              <a:gd name="f62" fmla="val 1068481"/>
              <a:gd name="f63" fmla="val 97146"/>
              <a:gd name="f64" fmla="val 1119478"/>
              <a:gd name="f65" fmla="val 100859"/>
              <a:gd name="f66" fmla="val 1170360"/>
              <a:gd name="f67" fmla="val 104917"/>
              <a:gd name="f68" fmla="val 1221127"/>
              <a:gd name="f69" fmla="val 109315"/>
              <a:gd name="f70" fmla="val 1271780"/>
              <a:gd name="f71" fmla="val 114049"/>
              <a:gd name="f72" fmla="val 1322321"/>
              <a:gd name="f73" fmla="val 119113"/>
              <a:gd name="f74" fmla="val 1372750"/>
              <a:gd name="f75" fmla="val 124504"/>
              <a:gd name="f76" fmla="val 1423070"/>
              <a:gd name="f77" fmla="val 130217"/>
              <a:gd name="f78" fmla="val 1473280"/>
              <a:gd name="f79" fmla="val 136247"/>
              <a:gd name="f80" fmla="val 1523382"/>
              <a:gd name="f81" fmla="val 142589"/>
              <a:gd name="f82" fmla="val 1573377"/>
              <a:gd name="f83" fmla="val 149239"/>
              <a:gd name="f84" fmla="val 1623266"/>
              <a:gd name="f85" fmla="val 156193"/>
              <a:gd name="f86" fmla="val 1673051"/>
              <a:gd name="f87" fmla="val 163446"/>
              <a:gd name="f88" fmla="val 1722731"/>
              <a:gd name="f89" fmla="val 170993"/>
              <a:gd name="f90" fmla="val 1772309"/>
              <a:gd name="f91" fmla="val 178830"/>
              <a:gd name="f92" fmla="val 1821786"/>
              <a:gd name="f93" fmla="val 186951"/>
              <a:gd name="f94" fmla="val 1871162"/>
              <a:gd name="f95" fmla="val 195354"/>
              <a:gd name="f96" fmla="val 1920438"/>
              <a:gd name="f97" fmla="val 204032"/>
              <a:gd name="f98" fmla="val 1969617"/>
              <a:gd name="f99" fmla="val 212982"/>
              <a:gd name="f100" fmla="val 2018698"/>
              <a:gd name="f101" fmla="val 222199"/>
              <a:gd name="f102" fmla="val 2067683"/>
              <a:gd name="f103" fmla="val 231677"/>
              <a:gd name="f104" fmla="val 2116573"/>
              <a:gd name="f105" fmla="val 241414"/>
              <a:gd name="f106" fmla="val 2165369"/>
              <a:gd name="f107" fmla="val 251404"/>
              <a:gd name="f108" fmla="val 2214072"/>
              <a:gd name="f109" fmla="val 261642"/>
              <a:gd name="f110" fmla="val 2262683"/>
              <a:gd name="f111" fmla="val 272124"/>
              <a:gd name="f112" fmla="val 2359634"/>
              <a:gd name="f113" fmla="val 293801"/>
              <a:gd name="f114" fmla="val 2456232"/>
              <a:gd name="f115" fmla="val 316400"/>
              <a:gd name="f116" fmla="val 2552484"/>
              <a:gd name="f117" fmla="val 339883"/>
              <a:gd name="f118" fmla="val 2648399"/>
              <a:gd name="f119" fmla="val 364213"/>
              <a:gd name="f120" fmla="val 2743986"/>
              <a:gd name="f121" fmla="val 389354"/>
              <a:gd name="f122" fmla="val 2839253"/>
              <a:gd name="f123" fmla="val 415270"/>
              <a:gd name="f124" fmla="val 2934210"/>
              <a:gd name="f125" fmla="val 441923"/>
              <a:gd name="f126" fmla="val 3028865"/>
              <a:gd name="f127" fmla="val 469277"/>
              <a:gd name="f128" fmla="val 3123226"/>
              <a:gd name="f129" fmla="val 497296"/>
              <a:gd name="f130" fmla="val 3217303"/>
              <a:gd name="f131" fmla="val 525943"/>
              <a:gd name="f132" fmla="val 3311104"/>
              <a:gd name="f133" fmla="val 555181"/>
              <a:gd name="f134" fmla="val 3404637"/>
              <a:gd name="f135" fmla="val 584973"/>
              <a:gd name="f136" fmla="val 3497912"/>
              <a:gd name="f137" fmla="val 615284"/>
              <a:gd name="f138" fmla="val 3590937"/>
              <a:gd name="f139" fmla="val 646075"/>
              <a:gd name="f140" fmla="val 3791774"/>
              <a:gd name="f141" fmla="val 713748"/>
              <a:gd name="f142" fmla="val 4040254"/>
              <a:gd name="f143" fmla="val 799025"/>
              <a:gd name="f144" fmla="val 4334988"/>
              <a:gd name="f145" fmla="val 901968"/>
              <a:gd name="f146" fmla="val 5625866"/>
              <a:gd name="f147" fmla="val 1359840"/>
              <a:gd name="f148" fmla="val 5907371"/>
              <a:gd name="f149" fmla="val 1457295"/>
              <a:gd name="f150" fmla="val 6094441"/>
              <a:gd name="f151" fmla="val 1520802"/>
              <a:gd name="f152" fmla="val 6281177"/>
              <a:gd name="f153" fmla="val 1582959"/>
              <a:gd name="f154" fmla="val 6421085"/>
              <a:gd name="f155" fmla="val 1628599"/>
              <a:gd name="f156" fmla="val 6560929"/>
              <a:gd name="f157" fmla="val 1673327"/>
              <a:gd name="f158" fmla="val 6700761"/>
              <a:gd name="f159" fmla="val 1717079"/>
              <a:gd name="f160" fmla="val 7111365"/>
              <a:gd name="f161" fmla="val 1837945"/>
              <a:gd name="f162" fmla="val 1008838"/>
              <a:gd name="f163" fmla="val 12147976"/>
              <a:gd name="f164" fmla="val 1027873"/>
              <a:gd name="f165" fmla="val 12103695"/>
              <a:gd name="f166" fmla="val 1046580"/>
              <a:gd name="f167" fmla="val 12059162"/>
              <a:gd name="f168" fmla="val 1064960"/>
              <a:gd name="f169" fmla="val 12014382"/>
              <a:gd name="f170" fmla="val 1083015"/>
              <a:gd name="f171" fmla="val 11969360"/>
              <a:gd name="f172" fmla="val 1100744"/>
              <a:gd name="f173" fmla="val 11924100"/>
              <a:gd name="f174" fmla="val 1118147"/>
              <a:gd name="f175" fmla="val 11878609"/>
              <a:gd name="f176" fmla="val 1135227"/>
              <a:gd name="f177" fmla="val 11832891"/>
              <a:gd name="f178" fmla="val 1151982"/>
              <a:gd name="f179" fmla="val 11786951"/>
              <a:gd name="f180" fmla="val 1168414"/>
              <a:gd name="f181" fmla="val 11740793"/>
              <a:gd name="f182" fmla="val 1184523"/>
              <a:gd name="f183" fmla="val 11694424"/>
              <a:gd name="f184" fmla="val 1200309"/>
              <a:gd name="f185" fmla="val 11647847"/>
              <a:gd name="f186" fmla="val 1215774"/>
              <a:gd name="f187" fmla="val 11601068"/>
              <a:gd name="f188" fmla="val 1230917"/>
              <a:gd name="f189" fmla="val 11554093"/>
              <a:gd name="f190" fmla="val 1245740"/>
              <a:gd name="f191" fmla="val 11506925"/>
              <a:gd name="f192" fmla="val 1260242"/>
              <a:gd name="f193" fmla="val 11459569"/>
              <a:gd name="f194" fmla="val 1274425"/>
              <a:gd name="f195" fmla="val 11412032"/>
              <a:gd name="f196" fmla="val 1288288"/>
              <a:gd name="f197" fmla="val 11364318"/>
              <a:gd name="f198" fmla="val 1301833"/>
              <a:gd name="f199" fmla="val 11316431"/>
              <a:gd name="f200" fmla="val 1315060"/>
              <a:gd name="f201" fmla="val 11268377"/>
              <a:gd name="f202" fmla="val 1327969"/>
              <a:gd name="f203" fmla="val 11220161"/>
              <a:gd name="f204" fmla="val 1340561"/>
              <a:gd name="f205" fmla="val 11171788"/>
              <a:gd name="f206" fmla="val 1352836"/>
              <a:gd name="f207" fmla="val 11123263"/>
              <a:gd name="f208" fmla="val 1364796"/>
              <a:gd name="f209" fmla="val 11074590"/>
              <a:gd name="f210" fmla="val 1376440"/>
              <a:gd name="f211" fmla="val 11025776"/>
              <a:gd name="f212" fmla="val 1387769"/>
              <a:gd name="f213" fmla="val 10976824"/>
              <a:gd name="f214" fmla="val 1398783"/>
              <a:gd name="f215" fmla="val 10927740"/>
              <a:gd name="f216" fmla="val 1409484"/>
              <a:gd name="f217" fmla="val 10878528"/>
              <a:gd name="f218" fmla="val 1419872"/>
              <a:gd name="f219" fmla="val 10829194"/>
              <a:gd name="f220" fmla="val 1429946"/>
              <a:gd name="f221" fmla="val 10779744"/>
              <a:gd name="f222" fmla="val 1439709"/>
              <a:gd name="f223" fmla="val 10730180"/>
              <a:gd name="f224" fmla="val 1449159"/>
              <a:gd name="f225" fmla="val 10680510"/>
              <a:gd name="f226" fmla="val 1458299"/>
              <a:gd name="f227" fmla="val 10630737"/>
              <a:gd name="f228" fmla="val 1467128"/>
              <a:gd name="f229" fmla="val 10580867"/>
              <a:gd name="f230" fmla="val 1475646"/>
              <a:gd name="f231" fmla="val 10530905"/>
              <a:gd name="f232" fmla="val 1483856"/>
              <a:gd name="f233" fmla="val 10480855"/>
              <a:gd name="f234" fmla="val 1491756"/>
              <a:gd name="f235" fmla="val 10430723"/>
              <a:gd name="f236" fmla="val 1499347"/>
              <a:gd name="f237" fmla="val 10380514"/>
              <a:gd name="f238" fmla="val 1506631"/>
              <a:gd name="f239" fmla="val 10330232"/>
              <a:gd name="f240" fmla="val 1513607"/>
              <a:gd name="f241" fmla="val 10279883"/>
              <a:gd name="f242" fmla="val 1520276"/>
              <a:gd name="f243" fmla="val 10229472"/>
              <a:gd name="f244" fmla="val 1526638"/>
              <a:gd name="f245" fmla="val 10179004"/>
              <a:gd name="f246" fmla="val 1532695"/>
              <a:gd name="f247" fmla="val 10128483"/>
              <a:gd name="f248" fmla="val 1538447"/>
              <a:gd name="f249" fmla="val 10077914"/>
              <a:gd name="f250" fmla="val 1543893"/>
              <a:gd name="f251" fmla="val 10027304"/>
              <a:gd name="f252" fmla="val 1549036"/>
              <a:gd name="f253" fmla="val 9976655"/>
              <a:gd name="f254" fmla="val 1553875"/>
              <a:gd name="f255" fmla="val 9925975"/>
              <a:gd name="f256" fmla="val 1558410"/>
              <a:gd name="f257" fmla="val 9875267"/>
              <a:gd name="f258" fmla="val 1562643"/>
              <a:gd name="f259" fmla="val 9824537"/>
              <a:gd name="f260" fmla="val 1566574"/>
              <a:gd name="f261" fmla="val 9773789"/>
              <a:gd name="f262" fmla="val 1570203"/>
              <a:gd name="f263" fmla="val 9723029"/>
              <a:gd name="f264" fmla="val 1573531"/>
              <a:gd name="f265" fmla="val 9672261"/>
              <a:gd name="f266" fmla="val 1576558"/>
              <a:gd name="f267" fmla="val 9621491"/>
              <a:gd name="f268" fmla="val 1579285"/>
              <a:gd name="f269" fmla="val 9570724"/>
              <a:gd name="f270" fmla="val 1581713"/>
              <a:gd name="f271" fmla="val 9519964"/>
              <a:gd name="f272" fmla="val 1583842"/>
              <a:gd name="f273" fmla="val 9469216"/>
              <a:gd name="f274" fmla="val 1585673"/>
              <a:gd name="f275" fmla="val 9418487"/>
              <a:gd name="f276" fmla="val 1587206"/>
              <a:gd name="f277" fmla="val 9367779"/>
              <a:gd name="f278" fmla="val 1588441"/>
              <a:gd name="f279" fmla="val 9317099"/>
              <a:gd name="f280" fmla="val 1589380"/>
              <a:gd name="f281" fmla="val 9266452"/>
              <a:gd name="f282" fmla="val 1590022"/>
              <a:gd name="f283" fmla="val 9215842"/>
              <a:gd name="f284" fmla="val 1590369"/>
              <a:gd name="f285" fmla="val 9165275"/>
              <a:gd name="f286" fmla="val 1590420"/>
              <a:gd name="f287" fmla="val 9114755"/>
              <a:gd name="f288" fmla="val 1590177"/>
              <a:gd name="f289" fmla="val 9064287"/>
              <a:gd name="f290" fmla="val 1589639"/>
              <a:gd name="f291" fmla="val 9013877"/>
              <a:gd name="f292" fmla="val 1588808"/>
              <a:gd name="f293" fmla="val 8963530"/>
              <a:gd name="f294" fmla="val 1587684"/>
              <a:gd name="f295" fmla="val 8913250"/>
              <a:gd name="f296" fmla="val 1586267"/>
              <a:gd name="f297" fmla="val 8863042"/>
              <a:gd name="f298" fmla="val 1584559"/>
              <a:gd name="f299" fmla="val 8812912"/>
              <a:gd name="f300" fmla="val 1582559"/>
              <a:gd name="f301" fmla="val 8762864"/>
              <a:gd name="f302" fmla="val 1580267"/>
              <a:gd name="f303" fmla="val 8712904"/>
              <a:gd name="f304" fmla="val 1577686"/>
              <a:gd name="f305" fmla="val 8663036"/>
              <a:gd name="f306" fmla="val 1574814"/>
              <a:gd name="f307" fmla="val 8613265"/>
              <a:gd name="f308" fmla="val 1571654"/>
              <a:gd name="f309" fmla="val 8563597"/>
              <a:gd name="f310" fmla="val 1568204"/>
              <a:gd name="f311" fmla="val 8514036"/>
              <a:gd name="f312" fmla="val 1564466"/>
              <a:gd name="f313" fmla="val 8464588"/>
              <a:gd name="f314" fmla="val 1560440"/>
              <a:gd name="f315" fmla="val 8415256"/>
              <a:gd name="f316" fmla="val 1556128"/>
              <a:gd name="f317" fmla="val 8366048"/>
              <a:gd name="f318" fmla="val 1551528"/>
              <a:gd name="f319" fmla="val 8316966"/>
              <a:gd name="f320" fmla="val 1546642"/>
              <a:gd name="f321" fmla="val 8268017"/>
              <a:gd name="f322" fmla="val 1541471"/>
              <a:gd name="f323" fmla="val 8219205"/>
              <a:gd name="f324" fmla="val 1536015"/>
              <a:gd name="f325" fmla="val 8170536"/>
              <a:gd name="f326" fmla="val 1530274"/>
              <a:gd name="f327" fmla="val 8122014"/>
              <a:gd name="f328" fmla="val 1524249"/>
              <a:gd name="f329" fmla="val 8073644"/>
              <a:gd name="f330" fmla="val 1517940"/>
              <a:gd name="f331" fmla="val 8025431"/>
              <a:gd name="f332" fmla="val 1511349"/>
              <a:gd name="f333" fmla="val 7977381"/>
              <a:gd name="f334" fmla="val 1504475"/>
              <a:gd name="f335" fmla="val 7929498"/>
              <a:gd name="f336" fmla="val 1497319"/>
              <a:gd name="f337" fmla="val 7881788"/>
              <a:gd name="f338" fmla="val 1489882"/>
              <a:gd name="f339" fmla="val 7834254"/>
              <a:gd name="f340" fmla="val 1482164"/>
              <a:gd name="f341" fmla="val 7786903"/>
              <a:gd name="f342" fmla="val 1474166"/>
              <a:gd name="f343" fmla="val 7738126"/>
              <a:gd name="f344" fmla="val 1465660"/>
              <a:gd name="f345" fmla="val 7640491"/>
              <a:gd name="f346" fmla="val 1448021"/>
              <a:gd name="f347" fmla="val 7542751"/>
              <a:gd name="f348" fmla="val 1429573"/>
              <a:gd name="f349" fmla="val 7444910"/>
              <a:gd name="f350" fmla="val 1410348"/>
              <a:gd name="f351" fmla="val 7346973"/>
              <a:gd name="f352" fmla="val 1390379"/>
              <a:gd name="f353" fmla="val 7248943"/>
              <a:gd name="f354" fmla="val 1369697"/>
              <a:gd name="f355" fmla="val 7150826"/>
              <a:gd name="f356" fmla="val 1348335"/>
              <a:gd name="f357" fmla="val 7052624"/>
              <a:gd name="f358" fmla="val 1326325"/>
              <a:gd name="f359" fmla="val 6954344"/>
              <a:gd name="f360" fmla="val 1303699"/>
              <a:gd name="f361" fmla="val 6855988"/>
              <a:gd name="f362" fmla="val 1280488"/>
              <a:gd name="f363" fmla="val 6757561"/>
              <a:gd name="f364" fmla="val 1256726"/>
              <a:gd name="f365" fmla="val 6609797"/>
              <a:gd name="f366" fmla="val 1220118"/>
              <a:gd name="f367" fmla="val 6461898"/>
              <a:gd name="f368" fmla="val 1182449"/>
              <a:gd name="f369" fmla="val 6313878"/>
              <a:gd name="f370" fmla="val 1143828"/>
              <a:gd name="f371" fmla="val 6116354"/>
              <a:gd name="f372" fmla="val 1091037"/>
              <a:gd name="f373" fmla="val 5918674"/>
              <a:gd name="f374" fmla="val 1037003"/>
              <a:gd name="f375" fmla="val 5671408"/>
              <a:gd name="f376" fmla="val 968101"/>
              <a:gd name="f377" fmla="val 4632326"/>
              <a:gd name="f378" fmla="val 673191"/>
              <a:gd name="f379" fmla="val 4335739"/>
              <a:gd name="f380" fmla="val 590761"/>
              <a:gd name="f381" fmla="val 4138197"/>
              <a:gd name="f382" fmla="val 537088"/>
              <a:gd name="f383" fmla="val 3940841"/>
              <a:gd name="f384" fmla="val 484740"/>
              <a:gd name="f385" fmla="val 3792966"/>
              <a:gd name="f386" fmla="val 446503"/>
              <a:gd name="f387" fmla="val 3645230"/>
              <a:gd name="f388" fmla="val 409263"/>
              <a:gd name="f389" fmla="val 3497647"/>
              <a:gd name="f390" fmla="val 373130"/>
              <a:gd name="f391" fmla="val 3399350"/>
              <a:gd name="f392" fmla="val 349710"/>
              <a:gd name="f393" fmla="val 3301131"/>
              <a:gd name="f394" fmla="val 326862"/>
              <a:gd name="f395" fmla="val 3202995"/>
              <a:gd name="f396" fmla="val 304617"/>
              <a:gd name="f397" fmla="val 3104947"/>
              <a:gd name="f398" fmla="val 283009"/>
              <a:gd name="f399" fmla="val 3006989"/>
              <a:gd name="f400" fmla="val 262069"/>
              <a:gd name="f401" fmla="val 2909128"/>
              <a:gd name="f402" fmla="val 241830"/>
              <a:gd name="f403" fmla="val 2811366"/>
              <a:gd name="f404" fmla="val 222323"/>
              <a:gd name="f405" fmla="val 2713708"/>
              <a:gd name="f406" fmla="val 203581"/>
              <a:gd name="f407" fmla="val 2616159"/>
              <a:gd name="f408" fmla="val 185635"/>
              <a:gd name="f409" fmla="val 2518722"/>
              <a:gd name="f410" fmla="val 168518"/>
              <a:gd name="f411" fmla="val 2421402"/>
              <a:gd name="f412" fmla="val 152263"/>
              <a:gd name="f413" fmla="val 2324204"/>
              <a:gd name="f414" fmla="val 136900"/>
              <a:gd name="f415" fmla="val 2227131"/>
              <a:gd name="f416" fmla="val 122463"/>
              <a:gd name="f417" fmla="val 2130188"/>
              <a:gd name="f418" fmla="val 108983"/>
              <a:gd name="f419" fmla="val 2033378"/>
              <a:gd name="f420" fmla="val 96492"/>
              <a:gd name="f421" fmla="val 1936708"/>
              <a:gd name="f422" fmla="val 85023"/>
              <a:gd name="f423" fmla="val 1888425"/>
              <a:gd name="f424" fmla="val 79682"/>
              <a:gd name="f425" fmla="val 1840179"/>
              <a:gd name="f426" fmla="val 74608"/>
              <a:gd name="f427" fmla="val 1791970"/>
              <a:gd name="f428" fmla="val 69805"/>
              <a:gd name="f429" fmla="val 1743798"/>
              <a:gd name="f430" fmla="val 65278"/>
              <a:gd name="f431" fmla="val 1695663"/>
              <a:gd name="f432" fmla="val 61030"/>
              <a:gd name="f433" fmla="val 1647567"/>
              <a:gd name="f434" fmla="val 57066"/>
              <a:gd name="f435" fmla="val 1599510"/>
              <a:gd name="f436" fmla="val 53390"/>
              <a:gd name="f437" fmla="val 1551492"/>
              <a:gd name="f438" fmla="val 50004"/>
              <a:gd name="f439" fmla="val 1503514"/>
              <a:gd name="f440" fmla="val 46915"/>
              <a:gd name="f441" fmla="val 1451727"/>
              <a:gd name="f442" fmla="val 41426"/>
              <a:gd name="f443" fmla="val 1400000"/>
              <a:gd name="f444" fmla="val 36255"/>
              <a:gd name="f445" fmla="val 1348336"/>
              <a:gd name="f446" fmla="val 31407"/>
              <a:gd name="f447" fmla="val 1296735"/>
              <a:gd name="f448" fmla="val 26886"/>
              <a:gd name="f449" fmla="val 1245197"/>
              <a:gd name="f450" fmla="val 22697"/>
              <a:gd name="f451" fmla="val 1193723"/>
              <a:gd name="f452" fmla="val 18846"/>
              <a:gd name="f453" fmla="val 1142315"/>
              <a:gd name="f454" fmla="val 15337"/>
              <a:gd name="f455" fmla="val 1090973"/>
              <a:gd name="f456" fmla="val 12176"/>
              <a:gd name="f457" fmla="val 1039697"/>
              <a:gd name="f458" fmla="val 9368"/>
              <a:gd name="f459" fmla="val 988488"/>
              <a:gd name="f460" fmla="val 6917"/>
              <a:gd name="f461" fmla="val 937348"/>
              <a:gd name="f462" fmla="val 4828"/>
              <a:gd name="f463" fmla="val 886276"/>
              <a:gd name="f464" fmla="val 3107"/>
              <a:gd name="f465" fmla="val 835274"/>
              <a:gd name="f466" fmla="val 1759"/>
              <a:gd name="f467" fmla="val 784343"/>
              <a:gd name="f468" fmla="val 788"/>
              <a:gd name="f469" fmla="val 733482"/>
              <a:gd name="f470" fmla="val 200"/>
              <a:gd name="f471" fmla="*/ f0 1 12192000"/>
              <a:gd name="f472" fmla="*/ f1 1 1838325"/>
              <a:gd name="f473" fmla="+- f4 0 f2"/>
              <a:gd name="f474" fmla="+- f3 0 f2"/>
              <a:gd name="f475" fmla="*/ f474 1 12192000"/>
              <a:gd name="f476" fmla="*/ f473 1 1838325"/>
              <a:gd name="f477" fmla="*/ f2 1 f475"/>
              <a:gd name="f478" fmla="*/ f3 1 f475"/>
              <a:gd name="f479" fmla="*/ f2 1 f476"/>
              <a:gd name="f480" fmla="*/ f4 1 f476"/>
              <a:gd name="f481" fmla="*/ f477 f471 1"/>
              <a:gd name="f482" fmla="*/ f478 f471 1"/>
              <a:gd name="f483" fmla="*/ f480 f472 1"/>
              <a:gd name="f484" fmla="*/ f479 f472 1"/>
            </a:gdLst>
            <a:ahLst/>
            <a:cxnLst>
              <a:cxn ang="3cd4">
                <a:pos x="hc" y="t"/>
              </a:cxn>
              <a:cxn ang="0">
                <a:pos x="r" y="vc"/>
              </a:cxn>
              <a:cxn ang="cd4">
                <a:pos x="hc" y="b"/>
              </a:cxn>
              <a:cxn ang="cd2">
                <a:pos x="l" y="vc"/>
              </a:cxn>
            </a:cxnLst>
            <a:rect l="f481" t="f484" r="f482" b="f483"/>
            <a:pathLst>
              <a:path w="12192000" h="1838325">
                <a:moveTo>
                  <a:pt x="f5" y="f2"/>
                </a:moveTo>
                <a:lnTo>
                  <a:pt x="f6" y="f7"/>
                </a:lnTo>
                <a:lnTo>
                  <a:pt x="f8" y="f9"/>
                </a:lnTo>
                <a:lnTo>
                  <a:pt x="f10" y="f11"/>
                </a:lnTo>
                <a:lnTo>
                  <a:pt x="f12" y="f13"/>
                </a:lnTo>
                <a:lnTo>
                  <a:pt x="f14" y="f15"/>
                </a:lnTo>
                <a:lnTo>
                  <a:pt x="f16" y="f17"/>
                </a:lnTo>
                <a:lnTo>
                  <a:pt x="f18" y="f19"/>
                </a:lnTo>
                <a:lnTo>
                  <a:pt x="f2" y="f20"/>
                </a:lnTo>
                <a:lnTo>
                  <a:pt x="f2" y="f21"/>
                </a:lnTo>
                <a:lnTo>
                  <a:pt x="f22" y="f23"/>
                </a:lnTo>
                <a:lnTo>
                  <a:pt x="f24" y="f25"/>
                </a:lnTo>
                <a:lnTo>
                  <a:pt x="f26" y="f27"/>
                </a:lnTo>
                <a:lnTo>
                  <a:pt x="f28" y="f29"/>
                </a:lnTo>
                <a:lnTo>
                  <a:pt x="f30" y="f31"/>
                </a:lnTo>
                <a:lnTo>
                  <a:pt x="f32" y="f33"/>
                </a:lnTo>
                <a:lnTo>
                  <a:pt x="f34" y="f35"/>
                </a:lnTo>
                <a:lnTo>
                  <a:pt x="f36" y="f37"/>
                </a:lnTo>
                <a:lnTo>
                  <a:pt x="f38" y="f39"/>
                </a:lnTo>
                <a:lnTo>
                  <a:pt x="f40" y="f41"/>
                </a:lnTo>
                <a:lnTo>
                  <a:pt x="f42" y="f43"/>
                </a:lnTo>
                <a:lnTo>
                  <a:pt x="f44" y="f45"/>
                </a:lnTo>
                <a:lnTo>
                  <a:pt x="f46" y="f47"/>
                </a:lnTo>
                <a:lnTo>
                  <a:pt x="f48" y="f49"/>
                </a:lnTo>
                <a:lnTo>
                  <a:pt x="f50" y="f51"/>
                </a:lnTo>
                <a:lnTo>
                  <a:pt x="f52" y="f53"/>
                </a:lnTo>
                <a:lnTo>
                  <a:pt x="f54" y="f55"/>
                </a:lnTo>
                <a:lnTo>
                  <a:pt x="f56" y="f57"/>
                </a:lnTo>
                <a:lnTo>
                  <a:pt x="f58" y="f59"/>
                </a:lnTo>
                <a:lnTo>
                  <a:pt x="f60" y="f61"/>
                </a:lnTo>
                <a:lnTo>
                  <a:pt x="f62" y="f63"/>
                </a:lnTo>
                <a:lnTo>
                  <a:pt x="f64" y="f65"/>
                </a:lnTo>
                <a:lnTo>
                  <a:pt x="f66" y="f67"/>
                </a:lnTo>
                <a:lnTo>
                  <a:pt x="f68" y="f69"/>
                </a:lnTo>
                <a:lnTo>
                  <a:pt x="f70" y="f71"/>
                </a:lnTo>
                <a:lnTo>
                  <a:pt x="f72" y="f73"/>
                </a:lnTo>
                <a:lnTo>
                  <a:pt x="f74" y="f75"/>
                </a:lnTo>
                <a:lnTo>
                  <a:pt x="f76" y="f77"/>
                </a:lnTo>
                <a:lnTo>
                  <a:pt x="f78" y="f79"/>
                </a:lnTo>
                <a:lnTo>
                  <a:pt x="f80" y="f81"/>
                </a:lnTo>
                <a:lnTo>
                  <a:pt x="f82" y="f83"/>
                </a:lnTo>
                <a:lnTo>
                  <a:pt x="f84" y="f85"/>
                </a:lnTo>
                <a:lnTo>
                  <a:pt x="f86" y="f87"/>
                </a:lnTo>
                <a:lnTo>
                  <a:pt x="f88" y="f89"/>
                </a:lnTo>
                <a:lnTo>
                  <a:pt x="f90" y="f91"/>
                </a:lnTo>
                <a:lnTo>
                  <a:pt x="f92" y="f93"/>
                </a:lnTo>
                <a:lnTo>
                  <a:pt x="f94" y="f95"/>
                </a:lnTo>
                <a:lnTo>
                  <a:pt x="f96" y="f97"/>
                </a:lnTo>
                <a:lnTo>
                  <a:pt x="f98" y="f99"/>
                </a:lnTo>
                <a:lnTo>
                  <a:pt x="f100" y="f101"/>
                </a:lnTo>
                <a:lnTo>
                  <a:pt x="f102" y="f103"/>
                </a:lnTo>
                <a:lnTo>
                  <a:pt x="f104" y="f105"/>
                </a:lnTo>
                <a:lnTo>
                  <a:pt x="f106" y="f107"/>
                </a:lnTo>
                <a:lnTo>
                  <a:pt x="f108" y="f109"/>
                </a:lnTo>
                <a:lnTo>
                  <a:pt x="f110" y="f111"/>
                </a:lnTo>
                <a:lnTo>
                  <a:pt x="f112" y="f113"/>
                </a:lnTo>
                <a:lnTo>
                  <a:pt x="f114" y="f115"/>
                </a:lnTo>
                <a:lnTo>
                  <a:pt x="f116" y="f117"/>
                </a:lnTo>
                <a:lnTo>
                  <a:pt x="f118" y="f119"/>
                </a:lnTo>
                <a:lnTo>
                  <a:pt x="f120" y="f121"/>
                </a:lnTo>
                <a:lnTo>
                  <a:pt x="f122" y="f123"/>
                </a:lnTo>
                <a:lnTo>
                  <a:pt x="f124" y="f125"/>
                </a:lnTo>
                <a:lnTo>
                  <a:pt x="f126" y="f127"/>
                </a:lnTo>
                <a:lnTo>
                  <a:pt x="f128" y="f129"/>
                </a:lnTo>
                <a:lnTo>
                  <a:pt x="f130" y="f131"/>
                </a:lnTo>
                <a:lnTo>
                  <a:pt x="f132" y="f133"/>
                </a:lnTo>
                <a:lnTo>
                  <a:pt x="f134" y="f135"/>
                </a:lnTo>
                <a:lnTo>
                  <a:pt x="f136" y="f137"/>
                </a:lnTo>
                <a:lnTo>
                  <a:pt x="f138" y="f139"/>
                </a:lnTo>
                <a:lnTo>
                  <a:pt x="f140" y="f141"/>
                </a:lnTo>
                <a:lnTo>
                  <a:pt x="f142" y="f143"/>
                </a:lnTo>
                <a:lnTo>
                  <a:pt x="f144" y="f145"/>
                </a:lnTo>
                <a:lnTo>
                  <a:pt x="f146" y="f147"/>
                </a:lnTo>
                <a:lnTo>
                  <a:pt x="f148" y="f149"/>
                </a:lnTo>
                <a:lnTo>
                  <a:pt x="f150" y="f151"/>
                </a:lnTo>
                <a:lnTo>
                  <a:pt x="f152" y="f153"/>
                </a:lnTo>
                <a:lnTo>
                  <a:pt x="f154" y="f155"/>
                </a:lnTo>
                <a:lnTo>
                  <a:pt x="f156" y="f157"/>
                </a:lnTo>
                <a:lnTo>
                  <a:pt x="f158" y="f159"/>
                </a:lnTo>
                <a:lnTo>
                  <a:pt x="f160" y="f161"/>
                </a:lnTo>
                <a:lnTo>
                  <a:pt x="f3" y="f161"/>
                </a:lnTo>
                <a:lnTo>
                  <a:pt x="f3" y="f162"/>
                </a:lnTo>
                <a:lnTo>
                  <a:pt x="f163" y="f164"/>
                </a:lnTo>
                <a:lnTo>
                  <a:pt x="f165" y="f166"/>
                </a:lnTo>
                <a:lnTo>
                  <a:pt x="f167" y="f168"/>
                </a:lnTo>
                <a:lnTo>
                  <a:pt x="f169" y="f170"/>
                </a:lnTo>
                <a:lnTo>
                  <a:pt x="f171" y="f172"/>
                </a:lnTo>
                <a:lnTo>
                  <a:pt x="f173" y="f174"/>
                </a:lnTo>
                <a:lnTo>
                  <a:pt x="f175" y="f176"/>
                </a:lnTo>
                <a:lnTo>
                  <a:pt x="f177" y="f178"/>
                </a:lnTo>
                <a:lnTo>
                  <a:pt x="f179" y="f180"/>
                </a:lnTo>
                <a:lnTo>
                  <a:pt x="f181" y="f182"/>
                </a:lnTo>
                <a:lnTo>
                  <a:pt x="f183" y="f184"/>
                </a:lnTo>
                <a:lnTo>
                  <a:pt x="f185" y="f186"/>
                </a:lnTo>
                <a:lnTo>
                  <a:pt x="f187" y="f188"/>
                </a:lnTo>
                <a:lnTo>
                  <a:pt x="f189" y="f190"/>
                </a:lnTo>
                <a:lnTo>
                  <a:pt x="f191" y="f192"/>
                </a:lnTo>
                <a:lnTo>
                  <a:pt x="f193" y="f194"/>
                </a:lnTo>
                <a:lnTo>
                  <a:pt x="f195" y="f196"/>
                </a:lnTo>
                <a:lnTo>
                  <a:pt x="f197" y="f198"/>
                </a:lnTo>
                <a:lnTo>
                  <a:pt x="f199" y="f200"/>
                </a:lnTo>
                <a:lnTo>
                  <a:pt x="f201" y="f202"/>
                </a:lnTo>
                <a:lnTo>
                  <a:pt x="f203" y="f204"/>
                </a:lnTo>
                <a:lnTo>
                  <a:pt x="f205" y="f206"/>
                </a:lnTo>
                <a:lnTo>
                  <a:pt x="f207" y="f208"/>
                </a:lnTo>
                <a:lnTo>
                  <a:pt x="f209" y="f210"/>
                </a:lnTo>
                <a:lnTo>
                  <a:pt x="f211" y="f212"/>
                </a:lnTo>
                <a:lnTo>
                  <a:pt x="f213" y="f214"/>
                </a:lnTo>
                <a:lnTo>
                  <a:pt x="f215" y="f216"/>
                </a:lnTo>
                <a:lnTo>
                  <a:pt x="f217" y="f218"/>
                </a:lnTo>
                <a:lnTo>
                  <a:pt x="f219" y="f220"/>
                </a:lnTo>
                <a:lnTo>
                  <a:pt x="f221" y="f222"/>
                </a:lnTo>
                <a:lnTo>
                  <a:pt x="f223" y="f224"/>
                </a:lnTo>
                <a:lnTo>
                  <a:pt x="f225" y="f226"/>
                </a:lnTo>
                <a:lnTo>
                  <a:pt x="f227" y="f228"/>
                </a:lnTo>
                <a:lnTo>
                  <a:pt x="f229" y="f230"/>
                </a:lnTo>
                <a:lnTo>
                  <a:pt x="f231" y="f232"/>
                </a:lnTo>
                <a:lnTo>
                  <a:pt x="f233" y="f234"/>
                </a:lnTo>
                <a:lnTo>
                  <a:pt x="f235" y="f236"/>
                </a:lnTo>
                <a:lnTo>
                  <a:pt x="f237" y="f238"/>
                </a:lnTo>
                <a:lnTo>
                  <a:pt x="f239" y="f240"/>
                </a:lnTo>
                <a:lnTo>
                  <a:pt x="f241" y="f242"/>
                </a:lnTo>
                <a:lnTo>
                  <a:pt x="f243" y="f244"/>
                </a:lnTo>
                <a:lnTo>
                  <a:pt x="f245" y="f246"/>
                </a:lnTo>
                <a:lnTo>
                  <a:pt x="f247" y="f248"/>
                </a:lnTo>
                <a:lnTo>
                  <a:pt x="f249" y="f250"/>
                </a:lnTo>
                <a:lnTo>
                  <a:pt x="f251" y="f252"/>
                </a:lnTo>
                <a:lnTo>
                  <a:pt x="f253" y="f254"/>
                </a:lnTo>
                <a:lnTo>
                  <a:pt x="f255" y="f256"/>
                </a:lnTo>
                <a:lnTo>
                  <a:pt x="f257" y="f258"/>
                </a:lnTo>
                <a:lnTo>
                  <a:pt x="f259" y="f260"/>
                </a:lnTo>
                <a:lnTo>
                  <a:pt x="f261" y="f262"/>
                </a:lnTo>
                <a:lnTo>
                  <a:pt x="f263" y="f264"/>
                </a:lnTo>
                <a:lnTo>
                  <a:pt x="f265" y="f266"/>
                </a:lnTo>
                <a:lnTo>
                  <a:pt x="f267" y="f268"/>
                </a:lnTo>
                <a:lnTo>
                  <a:pt x="f269" y="f270"/>
                </a:lnTo>
                <a:lnTo>
                  <a:pt x="f271" y="f272"/>
                </a:lnTo>
                <a:lnTo>
                  <a:pt x="f273" y="f274"/>
                </a:lnTo>
                <a:lnTo>
                  <a:pt x="f275" y="f276"/>
                </a:lnTo>
                <a:lnTo>
                  <a:pt x="f277" y="f278"/>
                </a:lnTo>
                <a:lnTo>
                  <a:pt x="f279" y="f280"/>
                </a:lnTo>
                <a:lnTo>
                  <a:pt x="f281" y="f282"/>
                </a:lnTo>
                <a:lnTo>
                  <a:pt x="f283" y="f284"/>
                </a:lnTo>
                <a:lnTo>
                  <a:pt x="f285" y="f286"/>
                </a:lnTo>
                <a:lnTo>
                  <a:pt x="f287" y="f288"/>
                </a:lnTo>
                <a:lnTo>
                  <a:pt x="f289" y="f290"/>
                </a:lnTo>
                <a:lnTo>
                  <a:pt x="f291" y="f292"/>
                </a:lnTo>
                <a:lnTo>
                  <a:pt x="f293" y="f294"/>
                </a:lnTo>
                <a:lnTo>
                  <a:pt x="f295" y="f296"/>
                </a:lnTo>
                <a:lnTo>
                  <a:pt x="f297" y="f298"/>
                </a:lnTo>
                <a:lnTo>
                  <a:pt x="f299" y="f300"/>
                </a:lnTo>
                <a:lnTo>
                  <a:pt x="f301" y="f302"/>
                </a:lnTo>
                <a:lnTo>
                  <a:pt x="f303" y="f304"/>
                </a:lnTo>
                <a:lnTo>
                  <a:pt x="f305" y="f306"/>
                </a:lnTo>
                <a:lnTo>
                  <a:pt x="f307" y="f308"/>
                </a:lnTo>
                <a:lnTo>
                  <a:pt x="f309" y="f310"/>
                </a:lnTo>
                <a:lnTo>
                  <a:pt x="f311" y="f312"/>
                </a:lnTo>
                <a:lnTo>
                  <a:pt x="f313" y="f314"/>
                </a:lnTo>
                <a:lnTo>
                  <a:pt x="f315" y="f316"/>
                </a:lnTo>
                <a:lnTo>
                  <a:pt x="f317" y="f318"/>
                </a:lnTo>
                <a:lnTo>
                  <a:pt x="f319" y="f320"/>
                </a:lnTo>
                <a:lnTo>
                  <a:pt x="f321" y="f322"/>
                </a:lnTo>
                <a:lnTo>
                  <a:pt x="f323" y="f324"/>
                </a:lnTo>
                <a:lnTo>
                  <a:pt x="f325" y="f326"/>
                </a:lnTo>
                <a:lnTo>
                  <a:pt x="f327" y="f328"/>
                </a:lnTo>
                <a:lnTo>
                  <a:pt x="f329" y="f330"/>
                </a:lnTo>
                <a:lnTo>
                  <a:pt x="f331" y="f332"/>
                </a:lnTo>
                <a:lnTo>
                  <a:pt x="f333" y="f334"/>
                </a:lnTo>
                <a:lnTo>
                  <a:pt x="f335" y="f336"/>
                </a:lnTo>
                <a:lnTo>
                  <a:pt x="f337" y="f338"/>
                </a:lnTo>
                <a:lnTo>
                  <a:pt x="f339" y="f340"/>
                </a:lnTo>
                <a:lnTo>
                  <a:pt x="f341" y="f342"/>
                </a:lnTo>
                <a:lnTo>
                  <a:pt x="f343" y="f344"/>
                </a:lnTo>
                <a:lnTo>
                  <a:pt x="f345" y="f346"/>
                </a:lnTo>
                <a:lnTo>
                  <a:pt x="f347" y="f348"/>
                </a:lnTo>
                <a:lnTo>
                  <a:pt x="f349" y="f350"/>
                </a:lnTo>
                <a:lnTo>
                  <a:pt x="f351" y="f352"/>
                </a:lnTo>
                <a:lnTo>
                  <a:pt x="f353" y="f354"/>
                </a:lnTo>
                <a:lnTo>
                  <a:pt x="f355" y="f356"/>
                </a:lnTo>
                <a:lnTo>
                  <a:pt x="f357" y="f358"/>
                </a:lnTo>
                <a:lnTo>
                  <a:pt x="f359" y="f360"/>
                </a:lnTo>
                <a:lnTo>
                  <a:pt x="f361" y="f362"/>
                </a:lnTo>
                <a:lnTo>
                  <a:pt x="f363" y="f364"/>
                </a:lnTo>
                <a:lnTo>
                  <a:pt x="f365" y="f366"/>
                </a:lnTo>
                <a:lnTo>
                  <a:pt x="f367" y="f368"/>
                </a:lnTo>
                <a:lnTo>
                  <a:pt x="f369" y="f370"/>
                </a:lnTo>
                <a:lnTo>
                  <a:pt x="f371" y="f372"/>
                </a:lnTo>
                <a:lnTo>
                  <a:pt x="f373" y="f374"/>
                </a:lnTo>
                <a:lnTo>
                  <a:pt x="f375" y="f376"/>
                </a:lnTo>
                <a:lnTo>
                  <a:pt x="f377" y="f378"/>
                </a:lnTo>
                <a:lnTo>
                  <a:pt x="f379" y="f380"/>
                </a:lnTo>
                <a:lnTo>
                  <a:pt x="f381" y="f382"/>
                </a:lnTo>
                <a:lnTo>
                  <a:pt x="f383" y="f384"/>
                </a:lnTo>
                <a:lnTo>
                  <a:pt x="f385" y="f386"/>
                </a:lnTo>
                <a:lnTo>
                  <a:pt x="f387" y="f388"/>
                </a:lnTo>
                <a:lnTo>
                  <a:pt x="f389" y="f390"/>
                </a:lnTo>
                <a:lnTo>
                  <a:pt x="f391" y="f392"/>
                </a:lnTo>
                <a:lnTo>
                  <a:pt x="f393" y="f394"/>
                </a:lnTo>
                <a:lnTo>
                  <a:pt x="f395" y="f396"/>
                </a:lnTo>
                <a:lnTo>
                  <a:pt x="f397" y="f398"/>
                </a:lnTo>
                <a:lnTo>
                  <a:pt x="f399" y="f400"/>
                </a:lnTo>
                <a:lnTo>
                  <a:pt x="f401" y="f402"/>
                </a:lnTo>
                <a:lnTo>
                  <a:pt x="f403" y="f404"/>
                </a:lnTo>
                <a:lnTo>
                  <a:pt x="f405" y="f406"/>
                </a:lnTo>
                <a:lnTo>
                  <a:pt x="f407" y="f408"/>
                </a:lnTo>
                <a:lnTo>
                  <a:pt x="f409" y="f410"/>
                </a:lnTo>
                <a:lnTo>
                  <a:pt x="f411" y="f412"/>
                </a:lnTo>
                <a:lnTo>
                  <a:pt x="f413" y="f414"/>
                </a:lnTo>
                <a:lnTo>
                  <a:pt x="f415" y="f416"/>
                </a:lnTo>
                <a:lnTo>
                  <a:pt x="f417" y="f418"/>
                </a:lnTo>
                <a:lnTo>
                  <a:pt x="f419" y="f420"/>
                </a:lnTo>
                <a:lnTo>
                  <a:pt x="f421" y="f422"/>
                </a:lnTo>
                <a:lnTo>
                  <a:pt x="f423" y="f424"/>
                </a:lnTo>
                <a:lnTo>
                  <a:pt x="f425" y="f426"/>
                </a:lnTo>
                <a:lnTo>
                  <a:pt x="f427" y="f428"/>
                </a:lnTo>
                <a:lnTo>
                  <a:pt x="f429" y="f430"/>
                </a:lnTo>
                <a:lnTo>
                  <a:pt x="f431" y="f432"/>
                </a:lnTo>
                <a:lnTo>
                  <a:pt x="f433" y="f434"/>
                </a:lnTo>
                <a:lnTo>
                  <a:pt x="f435" y="f436"/>
                </a:lnTo>
                <a:lnTo>
                  <a:pt x="f437" y="f438"/>
                </a:lnTo>
                <a:lnTo>
                  <a:pt x="f439" y="f440"/>
                </a:lnTo>
                <a:lnTo>
                  <a:pt x="f441" y="f442"/>
                </a:lnTo>
                <a:lnTo>
                  <a:pt x="f443" y="f444"/>
                </a:lnTo>
                <a:lnTo>
                  <a:pt x="f445" y="f446"/>
                </a:lnTo>
                <a:lnTo>
                  <a:pt x="f447" y="f448"/>
                </a:lnTo>
                <a:lnTo>
                  <a:pt x="f449" y="f450"/>
                </a:lnTo>
                <a:lnTo>
                  <a:pt x="f451" y="f452"/>
                </a:lnTo>
                <a:lnTo>
                  <a:pt x="f453" y="f454"/>
                </a:lnTo>
                <a:lnTo>
                  <a:pt x="f455" y="f456"/>
                </a:lnTo>
                <a:lnTo>
                  <a:pt x="f457" y="f458"/>
                </a:lnTo>
                <a:lnTo>
                  <a:pt x="f459" y="f460"/>
                </a:lnTo>
                <a:lnTo>
                  <a:pt x="f461" y="f462"/>
                </a:lnTo>
                <a:lnTo>
                  <a:pt x="f463" y="f464"/>
                </a:lnTo>
                <a:lnTo>
                  <a:pt x="f465" y="f466"/>
                </a:lnTo>
                <a:lnTo>
                  <a:pt x="f467" y="f468"/>
                </a:lnTo>
                <a:lnTo>
                  <a:pt x="f469" y="f470"/>
                </a:lnTo>
                <a:lnTo>
                  <a:pt x="f5" y="f2"/>
                </a:lnTo>
                <a:close/>
              </a:path>
            </a:pathLst>
          </a:custGeom>
          <a:solidFill>
            <a:srgbClr val="1C488A"/>
          </a:solidFill>
          <a:ln cap="flat">
            <a:noFill/>
            <a:prstDash val="solid"/>
          </a:ln>
        </p:spPr>
        <p:txBody>
          <a:bodyPr vert="horz" wrap="square" lIns="0" tIns="0" rIns="0" bIns="0" anchor="t"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pic>
        <p:nvPicPr>
          <p:cNvPr id="6" name="bg object 20">
            <a:extLst>
              <a:ext uri="{FF2B5EF4-FFF2-40B4-BE49-F238E27FC236}">
                <a16:creationId xmlns:a16="http://schemas.microsoft.com/office/drawing/2014/main" id="{97E3F474-2352-40B9-27B2-43961783303F}"/>
              </a:ext>
            </a:extLst>
          </p:cNvPr>
          <p:cNvPicPr>
            <a:picLocks noChangeAspect="1"/>
          </p:cNvPicPr>
          <p:nvPr/>
        </p:nvPicPr>
        <p:blipFill>
          <a:blip r:embed="rId3"/>
          <a:stretch>
            <a:fillRect/>
          </a:stretch>
        </p:blipFill>
        <p:spPr>
          <a:xfrm>
            <a:off x="313960" y="5564125"/>
            <a:ext cx="2025386" cy="911355"/>
          </a:xfrm>
          <a:prstGeom prst="rect">
            <a:avLst/>
          </a:prstGeom>
          <a:noFill/>
          <a:ln cap="flat">
            <a:noFill/>
          </a:ln>
        </p:spPr>
      </p:pic>
      <p:sp>
        <p:nvSpPr>
          <p:cNvPr id="7" name="bg object 21">
            <a:extLst>
              <a:ext uri="{FF2B5EF4-FFF2-40B4-BE49-F238E27FC236}">
                <a16:creationId xmlns:a16="http://schemas.microsoft.com/office/drawing/2014/main" id="{5432AA05-D1EB-A1E6-E6E0-833FFCF53744}"/>
              </a:ext>
            </a:extLst>
          </p:cNvPr>
          <p:cNvSpPr/>
          <p:nvPr/>
        </p:nvSpPr>
        <p:spPr>
          <a:xfrm>
            <a:off x="1520190" y="2812538"/>
            <a:ext cx="2286000" cy="0"/>
          </a:xfrm>
          <a:custGeom>
            <a:avLst/>
            <a:gdLst>
              <a:gd name="f0" fmla="val w"/>
              <a:gd name="f1" fmla="val h"/>
              <a:gd name="f2" fmla="val ss"/>
              <a:gd name="f3" fmla="val 0"/>
              <a:gd name="f4" fmla="val 2286000"/>
              <a:gd name="f5" fmla="abs f0"/>
              <a:gd name="f6" fmla="abs f1"/>
              <a:gd name="f7" fmla="abs f2"/>
              <a:gd name="f8" fmla="*/ f0 1 2286000"/>
              <a:gd name="f9" fmla="val f3"/>
              <a:gd name="f10" fmla="+- f3 0 f3"/>
              <a:gd name="f11" fmla="+- f4 0 f3"/>
              <a:gd name="f12" fmla="?: f5 f0 1"/>
              <a:gd name="f13" fmla="?: f6 f1 1"/>
              <a:gd name="f14" fmla="?: f7 f2 1"/>
              <a:gd name="f15" fmla="*/ f11 1 2286000"/>
              <a:gd name="f16" fmla="*/ f10 1 0"/>
              <a:gd name="f17" fmla="*/ f12 1 2286000"/>
              <a:gd name="f18" fmla="*/ f13 1 21600"/>
              <a:gd name="f19" fmla="*/ 21600 f13 1"/>
              <a:gd name="f20" fmla="*/ 0 1 f15"/>
              <a:gd name="f21" fmla="*/ 2286000 1 f15"/>
              <a:gd name="f22" fmla="*/ 0 1 f16"/>
              <a:gd name="f23" fmla="*/ 1 1 f16"/>
              <a:gd name="f24" fmla="min f18 f17"/>
              <a:gd name="f25" fmla="*/ f19 1 f14"/>
              <a:gd name="f26" fmla="*/ f20 f8 1"/>
              <a:gd name="f27" fmla="*/ f21 f8 1"/>
              <a:gd name="f28" fmla="val f25"/>
              <a:gd name="f29" fmla="*/ f3 f24 1"/>
              <a:gd name="f30" fmla="+- f28 0 f9"/>
              <a:gd name="f31" fmla="*/ f30 1 0"/>
              <a:gd name="f32" fmla="*/ f23 f31 1"/>
              <a:gd name="f33" fmla="*/ f22 f31 1"/>
              <a:gd name="f34" fmla="*/ f33 f24 1"/>
              <a:gd name="f35" fmla="*/ f32 f24 1"/>
            </a:gdLst>
            <a:ahLst/>
            <a:cxnLst>
              <a:cxn ang="3cd4">
                <a:pos x="hc" y="t"/>
              </a:cxn>
              <a:cxn ang="0">
                <a:pos x="r" y="vc"/>
              </a:cxn>
              <a:cxn ang="cd4">
                <a:pos x="hc" y="b"/>
              </a:cxn>
              <a:cxn ang="cd2">
                <a:pos x="l" y="vc"/>
              </a:cxn>
            </a:cxnLst>
            <a:rect l="f26" t="f34" r="f27" b="f35"/>
            <a:pathLst>
              <a:path w="2286000">
                <a:moveTo>
                  <a:pt x="f3" y="f29"/>
                </a:moveTo>
                <a:lnTo>
                  <a:pt x="f4" y="f29"/>
                </a:lnTo>
              </a:path>
            </a:pathLst>
          </a:custGeom>
          <a:noFill/>
          <a:ln w="32004" cap="flat">
            <a:solidFill>
              <a:srgbClr val="F58366"/>
            </a:solidFill>
            <a:prstDash val="solid"/>
            <a:miter/>
          </a:ln>
        </p:spPr>
        <p:txBody>
          <a:bodyPr vert="horz" wrap="square" lIns="0" tIns="0" rIns="0" bIns="0" anchor="t"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8" name="Holder 2">
            <a:extLst>
              <a:ext uri="{FF2B5EF4-FFF2-40B4-BE49-F238E27FC236}">
                <a16:creationId xmlns:a16="http://schemas.microsoft.com/office/drawing/2014/main" id="{A7F6B9BD-5D15-9AD0-7018-A2D7685393AF}"/>
              </a:ext>
            </a:extLst>
          </p:cNvPr>
          <p:cNvSpPr txBox="1">
            <a:spLocks noGrp="1"/>
          </p:cNvSpPr>
          <p:nvPr>
            <p:ph type="title"/>
          </p:nvPr>
        </p:nvSpPr>
        <p:spPr>
          <a:xfrm>
            <a:off x="471694" y="493922"/>
            <a:ext cx="11248619" cy="574042"/>
          </a:xfrm>
        </p:spPr>
        <p:txBody>
          <a:bodyPr wrap="square" lIns="0" tIns="0" rIns="0" bIns="0">
            <a:spAutoFit/>
          </a:bodyPr>
          <a:lstStyle>
            <a:lvl1pPr>
              <a:defRPr b="0">
                <a:solidFill>
                  <a:srgbClr val="444C55"/>
                </a:solidFill>
              </a:defRPr>
            </a:lvl1pPr>
          </a:lstStyle>
          <a:p>
            <a:pPr lvl="0"/>
            <a:endParaRPr lang="en-US"/>
          </a:p>
        </p:txBody>
      </p:sp>
      <p:sp>
        <p:nvSpPr>
          <p:cNvPr id="9" name="Holder 3">
            <a:extLst>
              <a:ext uri="{FF2B5EF4-FFF2-40B4-BE49-F238E27FC236}">
                <a16:creationId xmlns:a16="http://schemas.microsoft.com/office/drawing/2014/main" id="{C893F7B8-F28F-5C64-319D-E437A93C194A}"/>
              </a:ext>
            </a:extLst>
          </p:cNvPr>
          <p:cNvSpPr txBox="1">
            <a:spLocks noGrp="1"/>
          </p:cNvSpPr>
          <p:nvPr>
            <p:ph type="subTitle" idx="4294967295"/>
          </p:nvPr>
        </p:nvSpPr>
        <p:spPr>
          <a:xfrm>
            <a:off x="1828800" y="3840481"/>
            <a:ext cx="8534396" cy="369335"/>
          </a:xfrm>
        </p:spPr>
        <p:txBody>
          <a:bodyPr wrap="square" lIns="0" tIns="0" rIns="0" bIns="0">
            <a:spAutoFit/>
          </a:bodyPr>
          <a:lstStyle>
            <a:lvl1pPr>
              <a:defRPr/>
            </a:lvl1pPr>
          </a:lstStyle>
          <a:p>
            <a:pPr lvl="0"/>
            <a:endParaRPr lang="en-US"/>
          </a:p>
        </p:txBody>
      </p:sp>
      <p:sp>
        <p:nvSpPr>
          <p:cNvPr id="10" name="Holder 4">
            <a:extLst>
              <a:ext uri="{FF2B5EF4-FFF2-40B4-BE49-F238E27FC236}">
                <a16:creationId xmlns:a16="http://schemas.microsoft.com/office/drawing/2014/main" id="{AB622B02-6A16-1F24-4DF3-560E217D1B92}"/>
              </a:ext>
            </a:extLst>
          </p:cNvPr>
          <p:cNvSpPr txBox="1">
            <a:spLocks noGrp="1"/>
          </p:cNvSpPr>
          <p:nvPr>
            <p:ph type="ftr" sz="quarter" idx="9"/>
          </p:nvPr>
        </p:nvSpPr>
        <p:spPr/>
        <p:txBody>
          <a:bodyPr lIns="0" tIns="0" rIns="0" bIns="0" anchorCtr="1"/>
          <a:lstStyle>
            <a:lvl1pPr algn="ctr">
              <a:defRPr/>
            </a:lvl1pPr>
          </a:lstStyle>
          <a:p>
            <a:pPr lvl="0"/>
            <a:endParaRPr lang="en-US"/>
          </a:p>
        </p:txBody>
      </p:sp>
      <p:sp>
        <p:nvSpPr>
          <p:cNvPr id="11" name="Holder 5">
            <a:extLst>
              <a:ext uri="{FF2B5EF4-FFF2-40B4-BE49-F238E27FC236}">
                <a16:creationId xmlns:a16="http://schemas.microsoft.com/office/drawing/2014/main" id="{D661B212-67AD-07D5-8A59-F6C6DAF51468}"/>
              </a:ext>
            </a:extLst>
          </p:cNvPr>
          <p:cNvSpPr txBox="1">
            <a:spLocks noGrp="1"/>
          </p:cNvSpPr>
          <p:nvPr>
            <p:ph type="dt" sz="quarter" idx="7"/>
          </p:nvPr>
        </p:nvSpPr>
        <p:spPr>
          <a:xfrm>
            <a:off x="0" y="0"/>
            <a:ext cx="0" cy="0"/>
          </a:xfrm>
          <a:prstGeom prst="rect">
            <a:avLst/>
          </a:prstGeom>
          <a:noFill/>
          <a:ln>
            <a:noFill/>
          </a:ln>
        </p:spPr>
        <p:txBody>
          <a:bodyPr vert="horz" wrap="square" lIns="0" tIns="0" rIns="0" bIns="0" anchor="t" anchorCtr="0" compatLnSpc="1">
            <a:noAutofit/>
          </a:bodyPr>
          <a:lstStyle>
            <a:lvl1pPr marL="0" marR="0" lvl="0" indent="0" algn="l" defTabSz="914446" rtl="0" fontAlgn="auto" hangingPunct="1">
              <a:lnSpc>
                <a:spcPct val="100000"/>
              </a:lnSpc>
              <a:spcBef>
                <a:spcPts val="0"/>
              </a:spcBef>
              <a:spcAft>
                <a:spcPts val="0"/>
              </a:spcAft>
              <a:buNone/>
              <a:tabLst/>
              <a:defRPr lang="en-US" sz="1800" b="0" i="0" u="none" strike="noStrike" kern="1200" cap="none" spc="0" baseline="0">
                <a:solidFill>
                  <a:srgbClr val="939699"/>
                </a:solidFill>
                <a:uFillTx/>
                <a:latin typeface="Calibri"/>
              </a:defRPr>
            </a:lvl1pPr>
          </a:lstStyle>
          <a:p>
            <a:pPr lvl="0"/>
            <a:fld id="{48028696-29B3-4179-9D02-31A5465165A3}" type="datetime1">
              <a:rPr lang="en-US"/>
              <a:pPr lvl="0"/>
              <a:t>5/20/2026</a:t>
            </a:fld>
            <a:endParaRPr lang="en-US"/>
          </a:p>
        </p:txBody>
      </p:sp>
      <p:sp>
        <p:nvSpPr>
          <p:cNvPr id="12" name="Holder 6">
            <a:extLst>
              <a:ext uri="{FF2B5EF4-FFF2-40B4-BE49-F238E27FC236}">
                <a16:creationId xmlns:a16="http://schemas.microsoft.com/office/drawing/2014/main" id="{8562F99B-0745-52DD-B395-B6078E4A5AD0}"/>
              </a:ext>
            </a:extLst>
          </p:cNvPr>
          <p:cNvSpPr txBox="1">
            <a:spLocks noGrp="1"/>
          </p:cNvSpPr>
          <p:nvPr>
            <p:ph type="sldNum" sz="quarter" idx="8"/>
          </p:nvPr>
        </p:nvSpPr>
        <p:spPr/>
        <p:txBody>
          <a:bodyPr lIns="0" tIns="0" rIns="0" bIns="0"/>
          <a:lstStyle>
            <a:lvl1pPr marL="38105">
              <a:lnSpc>
                <a:spcPts val="1425"/>
              </a:lnSpc>
              <a:defRPr spc="-5">
                <a:solidFill>
                  <a:srgbClr val="929599"/>
                </a:solidFill>
                <a:latin typeface="Arial"/>
                <a:cs typeface="Arial"/>
              </a:defRPr>
            </a:lvl1pPr>
          </a:lstStyle>
          <a:p>
            <a:pPr lvl="0"/>
            <a:fld id="{1F6B3550-6428-43F6-9E9E-5B08601668D5}" type="slidenum">
              <a:t>‹#›</a:t>
            </a:fld>
            <a:endParaRPr lang="en-US"/>
          </a:p>
        </p:txBody>
      </p:sp>
    </p:spTree>
    <p:extLst>
      <p:ext uri="{BB962C8B-B14F-4D97-AF65-F5344CB8AC3E}">
        <p14:creationId xmlns:p14="http://schemas.microsoft.com/office/powerpoint/2010/main" val="2102474517"/>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p:cSld name="5_Divider">
    <p:bg>
      <p:bgPr>
        <a:solidFill>
          <a:srgbClr val="F3F6FB"/>
        </a:solidFill>
        <a:effectLst/>
      </p:bgPr>
    </p:bg>
    <p:spTree>
      <p:nvGrpSpPr>
        <p:cNvPr id="1" name=""/>
        <p:cNvGrpSpPr/>
        <p:nvPr/>
      </p:nvGrpSpPr>
      <p:grpSpPr>
        <a:xfrm>
          <a:off x="0" y="0"/>
          <a:ext cx="0" cy="0"/>
          <a:chOff x="0" y="0"/>
          <a:chExt cx="0" cy="0"/>
        </a:xfrm>
      </p:grpSpPr>
      <p:grpSp>
        <p:nvGrpSpPr>
          <p:cNvPr id="2" name="Group 9">
            <a:extLst>
              <a:ext uri="{FF2B5EF4-FFF2-40B4-BE49-F238E27FC236}">
                <a16:creationId xmlns:a16="http://schemas.microsoft.com/office/drawing/2014/main" id="{2FF2F005-23F6-62C6-4C37-8DB1E8CFACE9}"/>
              </a:ext>
            </a:extLst>
          </p:cNvPr>
          <p:cNvGrpSpPr/>
          <p:nvPr/>
        </p:nvGrpSpPr>
        <p:grpSpPr>
          <a:xfrm>
            <a:off x="0" y="5020349"/>
            <a:ext cx="12191996" cy="1837651"/>
            <a:chOff x="0" y="5020348"/>
            <a:chExt cx="12191996" cy="1837651"/>
          </a:xfrm>
        </p:grpSpPr>
        <p:sp>
          <p:nvSpPr>
            <p:cNvPr id="3" name="Freeform 25">
              <a:extLst>
                <a:ext uri="{FF2B5EF4-FFF2-40B4-BE49-F238E27FC236}">
                  <a16:creationId xmlns:a16="http://schemas.microsoft.com/office/drawing/2014/main" id="{FA4376C6-DF22-C106-0598-AB5F3C794AE0}"/>
                </a:ext>
              </a:extLst>
            </p:cNvPr>
            <p:cNvSpPr/>
            <p:nvPr/>
          </p:nvSpPr>
          <p:spPr>
            <a:xfrm>
              <a:off x="0" y="5100267"/>
              <a:ext cx="7111371" cy="1757732"/>
            </a:xfrm>
            <a:custGeom>
              <a:avLst/>
              <a:gdLst>
                <a:gd name="f0" fmla="val 10800000"/>
                <a:gd name="f1" fmla="val 5400000"/>
                <a:gd name="f2" fmla="val 180"/>
                <a:gd name="f3" fmla="val w"/>
                <a:gd name="f4" fmla="val h"/>
                <a:gd name="f5" fmla="val 0"/>
                <a:gd name="f6" fmla="val 7111369"/>
                <a:gd name="f7" fmla="val 1757730"/>
                <a:gd name="f8" fmla="val 772954"/>
                <a:gd name="f9" fmla="val 2778"/>
                <a:gd name="f10" fmla="val 1769038"/>
                <a:gd name="f11" fmla="val 30799"/>
                <a:gd name="f12" fmla="val 2696750"/>
                <a:gd name="f13" fmla="val 267531"/>
                <a:gd name="f14" fmla="val 3590934"/>
                <a:gd name="f15" fmla="val 566046"/>
                <a:gd name="f16" fmla="val 4684008"/>
                <a:gd name="f17" fmla="val 930921"/>
                <a:gd name="f18" fmla="val 5690778"/>
                <a:gd name="f19" fmla="val 1324625"/>
                <a:gd name="f20" fmla="val 6700767"/>
                <a:gd name="f21" fmla="val 1636882"/>
                <a:gd name="f22" fmla="val 25690"/>
                <a:gd name="f23" fmla="val 2197"/>
                <a:gd name="f24" fmla="val 25414"/>
                <a:gd name="f25" fmla="val 114653"/>
                <a:gd name="f26" fmla="val 14905"/>
                <a:gd name="f27" fmla="val 227801"/>
                <a:gd name="f28" fmla="val 7857"/>
                <a:gd name="f29" fmla="val 341773"/>
                <a:gd name="f30" fmla="val 3976"/>
                <a:gd name="f31" fmla="val 486963"/>
                <a:gd name="f32" fmla="+- 0 0 968"/>
                <a:gd name="f33" fmla="val 630656"/>
                <a:gd name="f34" fmla="+- 0 0 1224"/>
                <a:gd name="f35" fmla="+- 0 0 -90"/>
                <a:gd name="f36" fmla="*/ f3 1 7111369"/>
                <a:gd name="f37" fmla="*/ f4 1 1757730"/>
                <a:gd name="f38" fmla="+- f7 0 f5"/>
                <a:gd name="f39" fmla="+- f6 0 f5"/>
                <a:gd name="f40" fmla="*/ f35 f0 1"/>
                <a:gd name="f41" fmla="*/ f39 1 7111369"/>
                <a:gd name="f42" fmla="*/ f38 1 1757730"/>
                <a:gd name="f43" fmla="*/ 772954 f39 1"/>
                <a:gd name="f44" fmla="*/ 2778 f38 1"/>
                <a:gd name="f45" fmla="*/ 3590934 f39 1"/>
                <a:gd name="f46" fmla="*/ 566046 f38 1"/>
                <a:gd name="f47" fmla="*/ 6700767 f39 1"/>
                <a:gd name="f48" fmla="*/ 1636882 f38 1"/>
                <a:gd name="f49" fmla="*/ 7111369 f39 1"/>
                <a:gd name="f50" fmla="*/ 1757730 f38 1"/>
                <a:gd name="f51" fmla="*/ 0 f39 1"/>
                <a:gd name="f52" fmla="*/ 25690 f38 1"/>
                <a:gd name="f53" fmla="*/ 2197 f39 1"/>
                <a:gd name="f54" fmla="*/ 25414 f38 1"/>
                <a:gd name="f55" fmla="*/ 341773 f39 1"/>
                <a:gd name="f56" fmla="*/ 3976 f38 1"/>
                <a:gd name="f57" fmla="*/ f40 1 f2"/>
                <a:gd name="f58" fmla="*/ f43 1 7111369"/>
                <a:gd name="f59" fmla="*/ f44 1 1757730"/>
                <a:gd name="f60" fmla="*/ f45 1 7111369"/>
                <a:gd name="f61" fmla="*/ f46 1 1757730"/>
                <a:gd name="f62" fmla="*/ f47 1 7111369"/>
                <a:gd name="f63" fmla="*/ f48 1 1757730"/>
                <a:gd name="f64" fmla="*/ f49 1 7111369"/>
                <a:gd name="f65" fmla="*/ f50 1 1757730"/>
                <a:gd name="f66" fmla="*/ f51 1 7111369"/>
                <a:gd name="f67" fmla="*/ f52 1 1757730"/>
                <a:gd name="f68" fmla="*/ f53 1 7111369"/>
                <a:gd name="f69" fmla="*/ f54 1 1757730"/>
                <a:gd name="f70" fmla="*/ f55 1 7111369"/>
                <a:gd name="f71" fmla="*/ f56 1 1757730"/>
                <a:gd name="f72" fmla="*/ f5 1 f41"/>
                <a:gd name="f73" fmla="*/ f6 1 f41"/>
                <a:gd name="f74" fmla="*/ f5 1 f42"/>
                <a:gd name="f75" fmla="*/ f7 1 f42"/>
                <a:gd name="f76" fmla="+- f57 0 f1"/>
                <a:gd name="f77" fmla="*/ f58 1 f41"/>
                <a:gd name="f78" fmla="*/ f59 1 f42"/>
                <a:gd name="f79" fmla="*/ f60 1 f41"/>
                <a:gd name="f80" fmla="*/ f61 1 f42"/>
                <a:gd name="f81" fmla="*/ f62 1 f41"/>
                <a:gd name="f82" fmla="*/ f63 1 f42"/>
                <a:gd name="f83" fmla="*/ f64 1 f41"/>
                <a:gd name="f84" fmla="*/ f65 1 f42"/>
                <a:gd name="f85" fmla="*/ f66 1 f41"/>
                <a:gd name="f86" fmla="*/ f67 1 f42"/>
                <a:gd name="f87" fmla="*/ f68 1 f41"/>
                <a:gd name="f88" fmla="*/ f69 1 f42"/>
                <a:gd name="f89" fmla="*/ f70 1 f41"/>
                <a:gd name="f90" fmla="*/ f71 1 f42"/>
                <a:gd name="f91" fmla="*/ f72 f36 1"/>
                <a:gd name="f92" fmla="*/ f73 f36 1"/>
                <a:gd name="f93" fmla="*/ f75 f37 1"/>
                <a:gd name="f94" fmla="*/ f74 f37 1"/>
                <a:gd name="f95" fmla="*/ f77 f36 1"/>
                <a:gd name="f96" fmla="*/ f78 f37 1"/>
                <a:gd name="f97" fmla="*/ f79 f36 1"/>
                <a:gd name="f98" fmla="*/ f80 f37 1"/>
                <a:gd name="f99" fmla="*/ f81 f36 1"/>
                <a:gd name="f100" fmla="*/ f82 f37 1"/>
                <a:gd name="f101" fmla="*/ f83 f36 1"/>
                <a:gd name="f102" fmla="*/ f84 f37 1"/>
                <a:gd name="f103" fmla="*/ f85 f36 1"/>
                <a:gd name="f104" fmla="*/ f86 f37 1"/>
                <a:gd name="f105" fmla="*/ f87 f36 1"/>
                <a:gd name="f106" fmla="*/ f88 f37 1"/>
                <a:gd name="f107" fmla="*/ f89 f36 1"/>
                <a:gd name="f108" fmla="*/ f90 f37 1"/>
              </a:gdLst>
              <a:ahLst/>
              <a:cxnLst>
                <a:cxn ang="3cd4">
                  <a:pos x="hc" y="t"/>
                </a:cxn>
                <a:cxn ang="0">
                  <a:pos x="r" y="vc"/>
                </a:cxn>
                <a:cxn ang="cd4">
                  <a:pos x="hc" y="b"/>
                </a:cxn>
                <a:cxn ang="cd2">
                  <a:pos x="l" y="vc"/>
                </a:cxn>
                <a:cxn ang="f76">
                  <a:pos x="f95" y="f96"/>
                </a:cxn>
                <a:cxn ang="f76">
                  <a:pos x="f97" y="f98"/>
                </a:cxn>
                <a:cxn ang="f76">
                  <a:pos x="f99" y="f100"/>
                </a:cxn>
                <a:cxn ang="f76">
                  <a:pos x="f101" y="f102"/>
                </a:cxn>
                <a:cxn ang="f76">
                  <a:pos x="f103" y="f102"/>
                </a:cxn>
                <a:cxn ang="f76">
                  <a:pos x="f103" y="f104"/>
                </a:cxn>
                <a:cxn ang="f76">
                  <a:pos x="f105" y="f106"/>
                </a:cxn>
                <a:cxn ang="f76">
                  <a:pos x="f107" y="f108"/>
                </a:cxn>
                <a:cxn ang="f76">
                  <a:pos x="f95" y="f96"/>
                </a:cxn>
              </a:cxnLst>
              <a:rect l="f91" t="f94" r="f92" b="f93"/>
              <a:pathLst>
                <a:path w="7111369" h="1757730">
                  <a:moveTo>
                    <a:pt x="f8" y="f9"/>
                  </a:moveTo>
                  <a:cubicBezTo>
                    <a:pt x="f10" y="f11"/>
                    <a:pt x="f12" y="f13"/>
                    <a:pt x="f14" y="f15"/>
                  </a:cubicBezTo>
                  <a:cubicBezTo>
                    <a:pt x="f16" y="f17"/>
                    <a:pt x="f18" y="f19"/>
                    <a:pt x="f20" y="f21"/>
                  </a:cubicBezTo>
                  <a:lnTo>
                    <a:pt x="f6" y="f7"/>
                  </a:lnTo>
                  <a:lnTo>
                    <a:pt x="f5" y="f7"/>
                  </a:lnTo>
                  <a:lnTo>
                    <a:pt x="f5" y="f22"/>
                  </a:lnTo>
                  <a:lnTo>
                    <a:pt x="f23" y="f24"/>
                  </a:lnTo>
                  <a:cubicBezTo>
                    <a:pt x="f25" y="f26"/>
                    <a:pt x="f27" y="f28"/>
                    <a:pt x="f29" y="f30"/>
                  </a:cubicBezTo>
                  <a:cubicBezTo>
                    <a:pt x="f31" y="f32"/>
                    <a:pt x="f33" y="f34"/>
                    <a:pt x="f8" y="f9"/>
                  </a:cubicBezTo>
                  <a:close/>
                </a:path>
              </a:pathLst>
            </a:cu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4" name="Freeform 19">
              <a:extLst>
                <a:ext uri="{FF2B5EF4-FFF2-40B4-BE49-F238E27FC236}">
                  <a16:creationId xmlns:a16="http://schemas.microsoft.com/office/drawing/2014/main" id="{1D1BE8E0-0ECF-3B79-0A3D-DDE4725E0F1F}"/>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5" name="Freeform 14">
              <a:extLst>
                <a:ext uri="{FF2B5EF4-FFF2-40B4-BE49-F238E27FC236}">
                  <a16:creationId xmlns:a16="http://schemas.microsoft.com/office/drawing/2014/main" id="{C520C9FC-7EED-7EB0-33B3-85C371ABBC29}"/>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6" name="Picture 20">
              <a:extLst>
                <a:ext uri="{FF2B5EF4-FFF2-40B4-BE49-F238E27FC236}">
                  <a16:creationId xmlns:a16="http://schemas.microsoft.com/office/drawing/2014/main" id="{5149E095-F693-BCDD-2B41-7B4ED1938994}"/>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
        <p:nvSpPr>
          <p:cNvPr id="7" name="Title 10">
            <a:extLst>
              <a:ext uri="{FF2B5EF4-FFF2-40B4-BE49-F238E27FC236}">
                <a16:creationId xmlns:a16="http://schemas.microsoft.com/office/drawing/2014/main" id="{F4E40B74-883B-C7C3-CB15-5CE1E4869CD5}"/>
              </a:ext>
            </a:extLst>
          </p:cNvPr>
          <p:cNvSpPr txBox="1">
            <a:spLocks noGrp="1"/>
          </p:cNvSpPr>
          <p:nvPr>
            <p:ph type="title"/>
          </p:nvPr>
        </p:nvSpPr>
        <p:spPr>
          <a:xfrm>
            <a:off x="1413305" y="701748"/>
            <a:ext cx="9365376" cy="2014679"/>
          </a:xfrm>
        </p:spPr>
        <p:txBody>
          <a:bodyPr anchor="b"/>
          <a:lstStyle>
            <a:lvl1pPr>
              <a:defRPr/>
            </a:lvl1pPr>
          </a:lstStyle>
          <a:p>
            <a:pPr lvl="0"/>
            <a:r>
              <a:rPr lang="en-US"/>
              <a:t>Click to edit Master title style</a:t>
            </a:r>
          </a:p>
        </p:txBody>
      </p:sp>
      <p:sp>
        <p:nvSpPr>
          <p:cNvPr id="8" name="Subtitle 2">
            <a:extLst>
              <a:ext uri="{FF2B5EF4-FFF2-40B4-BE49-F238E27FC236}">
                <a16:creationId xmlns:a16="http://schemas.microsoft.com/office/drawing/2014/main" id="{4F1D342B-7325-D7A4-A86B-20D9710AA289}"/>
              </a:ext>
            </a:extLst>
          </p:cNvPr>
          <p:cNvSpPr txBox="1">
            <a:spLocks noGrp="1"/>
          </p:cNvSpPr>
          <p:nvPr>
            <p:ph type="subTitle" idx="4294967295"/>
          </p:nvPr>
        </p:nvSpPr>
        <p:spPr>
          <a:xfrm>
            <a:off x="1413305" y="3081637"/>
            <a:ext cx="9365376" cy="986564"/>
          </a:xfrm>
        </p:spPr>
        <p:txBody>
          <a:bodyPr/>
          <a:lstStyle>
            <a:lvl1pPr marL="0" indent="0">
              <a:buNone/>
              <a:defRPr/>
            </a:lvl1pPr>
          </a:lstStyle>
          <a:p>
            <a:pPr lvl="0"/>
            <a:r>
              <a:rPr lang="en-US"/>
              <a:t>Click to edit Master subtitle style</a:t>
            </a:r>
          </a:p>
        </p:txBody>
      </p:sp>
    </p:spTree>
    <p:extLst>
      <p:ext uri="{BB962C8B-B14F-4D97-AF65-F5344CB8AC3E}">
        <p14:creationId xmlns:p14="http://schemas.microsoft.com/office/powerpoint/2010/main" val="3911807569"/>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p:cSld name="24_Divider">
    <p:bg>
      <p:bgPr>
        <a:solidFill>
          <a:srgbClr val="F3F6FB"/>
        </a:solidFill>
        <a:effectLst/>
      </p:bgPr>
    </p:bg>
    <p:spTree>
      <p:nvGrpSpPr>
        <p:cNvPr id="1" name=""/>
        <p:cNvGrpSpPr/>
        <p:nvPr/>
      </p:nvGrpSpPr>
      <p:grpSpPr>
        <a:xfrm>
          <a:off x="0" y="0"/>
          <a:ext cx="0" cy="0"/>
          <a:chOff x="0" y="0"/>
          <a:chExt cx="0" cy="0"/>
        </a:xfrm>
      </p:grpSpPr>
      <p:grpSp>
        <p:nvGrpSpPr>
          <p:cNvPr id="2" name="Group 9">
            <a:extLst>
              <a:ext uri="{FF2B5EF4-FFF2-40B4-BE49-F238E27FC236}">
                <a16:creationId xmlns:a16="http://schemas.microsoft.com/office/drawing/2014/main" id="{9043871D-4B93-61BB-A2E2-0654F9DCDBF7}"/>
              </a:ext>
            </a:extLst>
          </p:cNvPr>
          <p:cNvGrpSpPr/>
          <p:nvPr/>
        </p:nvGrpSpPr>
        <p:grpSpPr>
          <a:xfrm>
            <a:off x="0" y="5020349"/>
            <a:ext cx="12191996" cy="1837651"/>
            <a:chOff x="0" y="5020348"/>
            <a:chExt cx="12191996" cy="1837651"/>
          </a:xfrm>
        </p:grpSpPr>
        <p:sp>
          <p:nvSpPr>
            <p:cNvPr id="3" name="Freeform 25">
              <a:extLst>
                <a:ext uri="{FF2B5EF4-FFF2-40B4-BE49-F238E27FC236}">
                  <a16:creationId xmlns:a16="http://schemas.microsoft.com/office/drawing/2014/main" id="{2CF14722-B3C6-AF4A-DF7C-9F532226A6C6}"/>
                </a:ext>
              </a:extLst>
            </p:cNvPr>
            <p:cNvSpPr/>
            <p:nvPr/>
          </p:nvSpPr>
          <p:spPr>
            <a:xfrm>
              <a:off x="0" y="5100267"/>
              <a:ext cx="7111371" cy="1757732"/>
            </a:xfrm>
            <a:custGeom>
              <a:avLst/>
              <a:gdLst>
                <a:gd name="f0" fmla="val 10800000"/>
                <a:gd name="f1" fmla="val 5400000"/>
                <a:gd name="f2" fmla="val 180"/>
                <a:gd name="f3" fmla="val w"/>
                <a:gd name="f4" fmla="val h"/>
                <a:gd name="f5" fmla="val 0"/>
                <a:gd name="f6" fmla="val 7111369"/>
                <a:gd name="f7" fmla="val 1757730"/>
                <a:gd name="f8" fmla="val 772954"/>
                <a:gd name="f9" fmla="val 2778"/>
                <a:gd name="f10" fmla="val 1769038"/>
                <a:gd name="f11" fmla="val 30799"/>
                <a:gd name="f12" fmla="val 2696750"/>
                <a:gd name="f13" fmla="val 267531"/>
                <a:gd name="f14" fmla="val 3590934"/>
                <a:gd name="f15" fmla="val 566046"/>
                <a:gd name="f16" fmla="val 4684008"/>
                <a:gd name="f17" fmla="val 930921"/>
                <a:gd name="f18" fmla="val 5690778"/>
                <a:gd name="f19" fmla="val 1324625"/>
                <a:gd name="f20" fmla="val 6700767"/>
                <a:gd name="f21" fmla="val 1636882"/>
                <a:gd name="f22" fmla="val 25690"/>
                <a:gd name="f23" fmla="val 2197"/>
                <a:gd name="f24" fmla="val 25414"/>
                <a:gd name="f25" fmla="val 114653"/>
                <a:gd name="f26" fmla="val 14905"/>
                <a:gd name="f27" fmla="val 227801"/>
                <a:gd name="f28" fmla="val 7857"/>
                <a:gd name="f29" fmla="val 341773"/>
                <a:gd name="f30" fmla="val 3976"/>
                <a:gd name="f31" fmla="val 486963"/>
                <a:gd name="f32" fmla="+- 0 0 968"/>
                <a:gd name="f33" fmla="val 630656"/>
                <a:gd name="f34" fmla="+- 0 0 1224"/>
                <a:gd name="f35" fmla="+- 0 0 -90"/>
                <a:gd name="f36" fmla="*/ f3 1 7111369"/>
                <a:gd name="f37" fmla="*/ f4 1 1757730"/>
                <a:gd name="f38" fmla="+- f7 0 f5"/>
                <a:gd name="f39" fmla="+- f6 0 f5"/>
                <a:gd name="f40" fmla="*/ f35 f0 1"/>
                <a:gd name="f41" fmla="*/ f39 1 7111369"/>
                <a:gd name="f42" fmla="*/ f38 1 1757730"/>
                <a:gd name="f43" fmla="*/ 772954 f39 1"/>
                <a:gd name="f44" fmla="*/ 2778 f38 1"/>
                <a:gd name="f45" fmla="*/ 3590934 f39 1"/>
                <a:gd name="f46" fmla="*/ 566046 f38 1"/>
                <a:gd name="f47" fmla="*/ 6700767 f39 1"/>
                <a:gd name="f48" fmla="*/ 1636882 f38 1"/>
                <a:gd name="f49" fmla="*/ 7111369 f39 1"/>
                <a:gd name="f50" fmla="*/ 1757730 f38 1"/>
                <a:gd name="f51" fmla="*/ 0 f39 1"/>
                <a:gd name="f52" fmla="*/ 25690 f38 1"/>
                <a:gd name="f53" fmla="*/ 2197 f39 1"/>
                <a:gd name="f54" fmla="*/ 25414 f38 1"/>
                <a:gd name="f55" fmla="*/ 341773 f39 1"/>
                <a:gd name="f56" fmla="*/ 3976 f38 1"/>
                <a:gd name="f57" fmla="*/ f40 1 f2"/>
                <a:gd name="f58" fmla="*/ f43 1 7111369"/>
                <a:gd name="f59" fmla="*/ f44 1 1757730"/>
                <a:gd name="f60" fmla="*/ f45 1 7111369"/>
                <a:gd name="f61" fmla="*/ f46 1 1757730"/>
                <a:gd name="f62" fmla="*/ f47 1 7111369"/>
                <a:gd name="f63" fmla="*/ f48 1 1757730"/>
                <a:gd name="f64" fmla="*/ f49 1 7111369"/>
                <a:gd name="f65" fmla="*/ f50 1 1757730"/>
                <a:gd name="f66" fmla="*/ f51 1 7111369"/>
                <a:gd name="f67" fmla="*/ f52 1 1757730"/>
                <a:gd name="f68" fmla="*/ f53 1 7111369"/>
                <a:gd name="f69" fmla="*/ f54 1 1757730"/>
                <a:gd name="f70" fmla="*/ f55 1 7111369"/>
                <a:gd name="f71" fmla="*/ f56 1 1757730"/>
                <a:gd name="f72" fmla="*/ f5 1 f41"/>
                <a:gd name="f73" fmla="*/ f6 1 f41"/>
                <a:gd name="f74" fmla="*/ f5 1 f42"/>
                <a:gd name="f75" fmla="*/ f7 1 f42"/>
                <a:gd name="f76" fmla="+- f57 0 f1"/>
                <a:gd name="f77" fmla="*/ f58 1 f41"/>
                <a:gd name="f78" fmla="*/ f59 1 f42"/>
                <a:gd name="f79" fmla="*/ f60 1 f41"/>
                <a:gd name="f80" fmla="*/ f61 1 f42"/>
                <a:gd name="f81" fmla="*/ f62 1 f41"/>
                <a:gd name="f82" fmla="*/ f63 1 f42"/>
                <a:gd name="f83" fmla="*/ f64 1 f41"/>
                <a:gd name="f84" fmla="*/ f65 1 f42"/>
                <a:gd name="f85" fmla="*/ f66 1 f41"/>
                <a:gd name="f86" fmla="*/ f67 1 f42"/>
                <a:gd name="f87" fmla="*/ f68 1 f41"/>
                <a:gd name="f88" fmla="*/ f69 1 f42"/>
                <a:gd name="f89" fmla="*/ f70 1 f41"/>
                <a:gd name="f90" fmla="*/ f71 1 f42"/>
                <a:gd name="f91" fmla="*/ f72 f36 1"/>
                <a:gd name="f92" fmla="*/ f73 f36 1"/>
                <a:gd name="f93" fmla="*/ f75 f37 1"/>
                <a:gd name="f94" fmla="*/ f74 f37 1"/>
                <a:gd name="f95" fmla="*/ f77 f36 1"/>
                <a:gd name="f96" fmla="*/ f78 f37 1"/>
                <a:gd name="f97" fmla="*/ f79 f36 1"/>
                <a:gd name="f98" fmla="*/ f80 f37 1"/>
                <a:gd name="f99" fmla="*/ f81 f36 1"/>
                <a:gd name="f100" fmla="*/ f82 f37 1"/>
                <a:gd name="f101" fmla="*/ f83 f36 1"/>
                <a:gd name="f102" fmla="*/ f84 f37 1"/>
                <a:gd name="f103" fmla="*/ f85 f36 1"/>
                <a:gd name="f104" fmla="*/ f86 f37 1"/>
                <a:gd name="f105" fmla="*/ f87 f36 1"/>
                <a:gd name="f106" fmla="*/ f88 f37 1"/>
                <a:gd name="f107" fmla="*/ f89 f36 1"/>
                <a:gd name="f108" fmla="*/ f90 f37 1"/>
              </a:gdLst>
              <a:ahLst/>
              <a:cxnLst>
                <a:cxn ang="3cd4">
                  <a:pos x="hc" y="t"/>
                </a:cxn>
                <a:cxn ang="0">
                  <a:pos x="r" y="vc"/>
                </a:cxn>
                <a:cxn ang="cd4">
                  <a:pos x="hc" y="b"/>
                </a:cxn>
                <a:cxn ang="cd2">
                  <a:pos x="l" y="vc"/>
                </a:cxn>
                <a:cxn ang="f76">
                  <a:pos x="f95" y="f96"/>
                </a:cxn>
                <a:cxn ang="f76">
                  <a:pos x="f97" y="f98"/>
                </a:cxn>
                <a:cxn ang="f76">
                  <a:pos x="f99" y="f100"/>
                </a:cxn>
                <a:cxn ang="f76">
                  <a:pos x="f101" y="f102"/>
                </a:cxn>
                <a:cxn ang="f76">
                  <a:pos x="f103" y="f102"/>
                </a:cxn>
                <a:cxn ang="f76">
                  <a:pos x="f103" y="f104"/>
                </a:cxn>
                <a:cxn ang="f76">
                  <a:pos x="f105" y="f106"/>
                </a:cxn>
                <a:cxn ang="f76">
                  <a:pos x="f107" y="f108"/>
                </a:cxn>
                <a:cxn ang="f76">
                  <a:pos x="f95" y="f96"/>
                </a:cxn>
              </a:cxnLst>
              <a:rect l="f91" t="f94" r="f92" b="f93"/>
              <a:pathLst>
                <a:path w="7111369" h="1757730">
                  <a:moveTo>
                    <a:pt x="f8" y="f9"/>
                  </a:moveTo>
                  <a:cubicBezTo>
                    <a:pt x="f10" y="f11"/>
                    <a:pt x="f12" y="f13"/>
                    <a:pt x="f14" y="f15"/>
                  </a:cubicBezTo>
                  <a:cubicBezTo>
                    <a:pt x="f16" y="f17"/>
                    <a:pt x="f18" y="f19"/>
                    <a:pt x="f20" y="f21"/>
                  </a:cubicBezTo>
                  <a:lnTo>
                    <a:pt x="f6" y="f7"/>
                  </a:lnTo>
                  <a:lnTo>
                    <a:pt x="f5" y="f7"/>
                  </a:lnTo>
                  <a:lnTo>
                    <a:pt x="f5" y="f22"/>
                  </a:lnTo>
                  <a:lnTo>
                    <a:pt x="f23" y="f24"/>
                  </a:lnTo>
                  <a:cubicBezTo>
                    <a:pt x="f25" y="f26"/>
                    <a:pt x="f27" y="f28"/>
                    <a:pt x="f29" y="f30"/>
                  </a:cubicBezTo>
                  <a:cubicBezTo>
                    <a:pt x="f31" y="f32"/>
                    <a:pt x="f33" y="f34"/>
                    <a:pt x="f8" y="f9"/>
                  </a:cubicBezTo>
                  <a:close/>
                </a:path>
              </a:pathLst>
            </a:cu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4" name="Freeform 19">
              <a:extLst>
                <a:ext uri="{FF2B5EF4-FFF2-40B4-BE49-F238E27FC236}">
                  <a16:creationId xmlns:a16="http://schemas.microsoft.com/office/drawing/2014/main" id="{D94621FB-6209-7A07-E3FF-A14CE4E6C845}"/>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5" name="Freeform 14">
              <a:extLst>
                <a:ext uri="{FF2B5EF4-FFF2-40B4-BE49-F238E27FC236}">
                  <a16:creationId xmlns:a16="http://schemas.microsoft.com/office/drawing/2014/main" id="{1D9C3D0E-E542-DC13-2791-809E5A30C440}"/>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6" name="Picture 20">
              <a:extLst>
                <a:ext uri="{FF2B5EF4-FFF2-40B4-BE49-F238E27FC236}">
                  <a16:creationId xmlns:a16="http://schemas.microsoft.com/office/drawing/2014/main" id="{C6D2E481-FAEF-A393-43A4-11152B9BDDCB}"/>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
        <p:nvSpPr>
          <p:cNvPr id="7" name="Title 10">
            <a:extLst>
              <a:ext uri="{FF2B5EF4-FFF2-40B4-BE49-F238E27FC236}">
                <a16:creationId xmlns:a16="http://schemas.microsoft.com/office/drawing/2014/main" id="{9BD49F75-F305-FB2E-34CD-EA4E29E1F0CA}"/>
              </a:ext>
            </a:extLst>
          </p:cNvPr>
          <p:cNvSpPr txBox="1">
            <a:spLocks noGrp="1"/>
          </p:cNvSpPr>
          <p:nvPr>
            <p:ph type="title"/>
          </p:nvPr>
        </p:nvSpPr>
        <p:spPr>
          <a:xfrm>
            <a:off x="1413305" y="701748"/>
            <a:ext cx="9365376" cy="2014679"/>
          </a:xfrm>
        </p:spPr>
        <p:txBody>
          <a:bodyPr anchor="b"/>
          <a:lstStyle>
            <a:lvl1pPr>
              <a:defRPr/>
            </a:lvl1pPr>
          </a:lstStyle>
          <a:p>
            <a:pPr lvl="0"/>
            <a:r>
              <a:rPr lang="en-US"/>
              <a:t>Click to edit Master title style</a:t>
            </a:r>
          </a:p>
        </p:txBody>
      </p:sp>
      <p:sp>
        <p:nvSpPr>
          <p:cNvPr id="8" name="Subtitle 2">
            <a:extLst>
              <a:ext uri="{FF2B5EF4-FFF2-40B4-BE49-F238E27FC236}">
                <a16:creationId xmlns:a16="http://schemas.microsoft.com/office/drawing/2014/main" id="{1944ABE1-F9E8-4213-39BF-C9F1AC3E6BC4}"/>
              </a:ext>
            </a:extLst>
          </p:cNvPr>
          <p:cNvSpPr txBox="1">
            <a:spLocks noGrp="1"/>
          </p:cNvSpPr>
          <p:nvPr>
            <p:ph type="subTitle" idx="4294967295"/>
          </p:nvPr>
        </p:nvSpPr>
        <p:spPr>
          <a:xfrm>
            <a:off x="1413305" y="3081637"/>
            <a:ext cx="9365376" cy="986564"/>
          </a:xfrm>
        </p:spPr>
        <p:txBody>
          <a:bodyPr/>
          <a:lstStyle>
            <a:lvl1pPr marL="0" indent="0">
              <a:buNone/>
              <a:defRPr/>
            </a:lvl1pPr>
          </a:lstStyle>
          <a:p>
            <a:pPr lvl="0"/>
            <a:r>
              <a:rPr lang="en-US"/>
              <a:t>Click to edit Master subtitle style</a:t>
            </a:r>
          </a:p>
        </p:txBody>
      </p:sp>
    </p:spTree>
    <p:extLst>
      <p:ext uri="{BB962C8B-B14F-4D97-AF65-F5344CB8AC3E}">
        <p14:creationId xmlns:p14="http://schemas.microsoft.com/office/powerpoint/2010/main" val="3189160199"/>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720355AC-B992-A60F-0F9D-021C094B2233}"/>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CA56008F-2595-4CD8-19AD-93FFA8707E1B}"/>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58D337BB-822D-9226-C3F3-B92D0706DB0E}"/>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0388681C-0A99-2676-1CF1-BEF05820A2AF}"/>
              </a:ext>
            </a:extLst>
          </p:cNvPr>
          <p:cNvSpPr txBox="1">
            <a:spLocks noGrp="1"/>
          </p:cNvSpPr>
          <p:nvPr>
            <p:ph type="sldNum" sz="quarter" idx="8"/>
          </p:nvPr>
        </p:nvSpPr>
        <p:spPr/>
        <p:txBody>
          <a:bodyPr/>
          <a:lstStyle>
            <a:lvl1pPr>
              <a:defRPr>
                <a:solidFill>
                  <a:srgbClr val="AFB3B9"/>
                </a:solidFill>
              </a:defRPr>
            </a:lvl1pPr>
          </a:lstStyle>
          <a:p>
            <a:pPr lvl="0"/>
            <a:fld id="{A34FCB11-B5F2-4F49-AF00-363A4DC83ACC}" type="slidenum">
              <a:t>‹#›</a:t>
            </a:fld>
            <a:endParaRPr lang="en-US"/>
          </a:p>
        </p:txBody>
      </p:sp>
      <p:cxnSp>
        <p:nvCxnSpPr>
          <p:cNvPr id="6" name="Straight Connector 7">
            <a:extLst>
              <a:ext uri="{FF2B5EF4-FFF2-40B4-BE49-F238E27FC236}">
                <a16:creationId xmlns:a16="http://schemas.microsoft.com/office/drawing/2014/main" id="{14E80282-39DE-2D6C-6AAB-19D9A67AB0C4}"/>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2B39A1AD-5BB5-917C-B20F-B7F629866F86}"/>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AB2B8877-9277-EAB8-AAF6-58FD1FBEC628}"/>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45A50845-20CC-9B21-835F-7D7D2736F141}"/>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9FE9638F-7482-1269-A8FC-06C4643FCE41}"/>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28E443C5-8963-F95D-C175-4727BE43058B}"/>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AE51ADB7-D6C6-18C9-F3BF-27C944206B78}"/>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60423346-EBB2-17A8-4F16-C0130E70133C}"/>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407727307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Divider">
  <p:cSld name="Divider 5">
    <p:spTree>
      <p:nvGrpSpPr>
        <p:cNvPr id="1" name="Shape 9585"/>
        <p:cNvGrpSpPr/>
        <p:nvPr/>
      </p:nvGrpSpPr>
      <p:grpSpPr>
        <a:xfrm>
          <a:off x="0" y="0"/>
          <a:ext cx="0" cy="0"/>
          <a:chOff x="0" y="0"/>
          <a:chExt cx="0" cy="0"/>
        </a:xfrm>
      </p:grpSpPr>
      <p:grpSp>
        <p:nvGrpSpPr>
          <p:cNvPr id="9586" name="Google Shape;9586;p1368"/>
          <p:cNvGrpSpPr/>
          <p:nvPr/>
        </p:nvGrpSpPr>
        <p:grpSpPr>
          <a:xfrm>
            <a:off x="0" y="5020347"/>
            <a:ext cx="12192000" cy="1837653"/>
            <a:chOff x="0" y="5020347"/>
            <a:chExt cx="12192000" cy="1837653"/>
          </a:xfrm>
        </p:grpSpPr>
        <p:sp>
          <p:nvSpPr>
            <p:cNvPr id="9587" name="Google Shape;9587;p136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588" name="Google Shape;9588;p136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589" name="Google Shape;9589;p136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590" name="Google Shape;9590;p136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591" name="Google Shape;9591;p136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592" name="Google Shape;9592;p136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p:cSld name="23_Divider">
    <p:bg>
      <p:bgPr>
        <a:solidFill>
          <a:srgbClr val="F3F6FB"/>
        </a:solidFill>
        <a:effectLst/>
      </p:bgPr>
    </p:bg>
    <p:spTree>
      <p:nvGrpSpPr>
        <p:cNvPr id="1" name=""/>
        <p:cNvGrpSpPr/>
        <p:nvPr/>
      </p:nvGrpSpPr>
      <p:grpSpPr>
        <a:xfrm>
          <a:off x="0" y="0"/>
          <a:ext cx="0" cy="0"/>
          <a:chOff x="0" y="0"/>
          <a:chExt cx="0" cy="0"/>
        </a:xfrm>
      </p:grpSpPr>
      <p:grpSp>
        <p:nvGrpSpPr>
          <p:cNvPr id="2" name="Group 9">
            <a:extLst>
              <a:ext uri="{FF2B5EF4-FFF2-40B4-BE49-F238E27FC236}">
                <a16:creationId xmlns:a16="http://schemas.microsoft.com/office/drawing/2014/main" id="{B4C1D399-C6A6-D7EA-9CDC-0DC230A63AD4}"/>
              </a:ext>
            </a:extLst>
          </p:cNvPr>
          <p:cNvGrpSpPr/>
          <p:nvPr/>
        </p:nvGrpSpPr>
        <p:grpSpPr>
          <a:xfrm>
            <a:off x="0" y="5020349"/>
            <a:ext cx="12191996" cy="1837651"/>
            <a:chOff x="0" y="5020348"/>
            <a:chExt cx="12191996" cy="1837651"/>
          </a:xfrm>
        </p:grpSpPr>
        <p:sp>
          <p:nvSpPr>
            <p:cNvPr id="3" name="Freeform 25">
              <a:extLst>
                <a:ext uri="{FF2B5EF4-FFF2-40B4-BE49-F238E27FC236}">
                  <a16:creationId xmlns:a16="http://schemas.microsoft.com/office/drawing/2014/main" id="{470C30E0-5948-D393-A536-E3C16289D43C}"/>
                </a:ext>
              </a:extLst>
            </p:cNvPr>
            <p:cNvSpPr/>
            <p:nvPr/>
          </p:nvSpPr>
          <p:spPr>
            <a:xfrm>
              <a:off x="0" y="5100267"/>
              <a:ext cx="7111371" cy="1757732"/>
            </a:xfrm>
            <a:custGeom>
              <a:avLst/>
              <a:gdLst>
                <a:gd name="f0" fmla="val 10800000"/>
                <a:gd name="f1" fmla="val 5400000"/>
                <a:gd name="f2" fmla="val 180"/>
                <a:gd name="f3" fmla="val w"/>
                <a:gd name="f4" fmla="val h"/>
                <a:gd name="f5" fmla="val 0"/>
                <a:gd name="f6" fmla="val 7111369"/>
                <a:gd name="f7" fmla="val 1757730"/>
                <a:gd name="f8" fmla="val 772954"/>
                <a:gd name="f9" fmla="val 2778"/>
                <a:gd name="f10" fmla="val 1769038"/>
                <a:gd name="f11" fmla="val 30799"/>
                <a:gd name="f12" fmla="val 2696750"/>
                <a:gd name="f13" fmla="val 267531"/>
                <a:gd name="f14" fmla="val 3590934"/>
                <a:gd name="f15" fmla="val 566046"/>
                <a:gd name="f16" fmla="val 4684008"/>
                <a:gd name="f17" fmla="val 930921"/>
                <a:gd name="f18" fmla="val 5690778"/>
                <a:gd name="f19" fmla="val 1324625"/>
                <a:gd name="f20" fmla="val 6700767"/>
                <a:gd name="f21" fmla="val 1636882"/>
                <a:gd name="f22" fmla="val 25690"/>
                <a:gd name="f23" fmla="val 2197"/>
                <a:gd name="f24" fmla="val 25414"/>
                <a:gd name="f25" fmla="val 114653"/>
                <a:gd name="f26" fmla="val 14905"/>
                <a:gd name="f27" fmla="val 227801"/>
                <a:gd name="f28" fmla="val 7857"/>
                <a:gd name="f29" fmla="val 341773"/>
                <a:gd name="f30" fmla="val 3976"/>
                <a:gd name="f31" fmla="val 486963"/>
                <a:gd name="f32" fmla="+- 0 0 968"/>
                <a:gd name="f33" fmla="val 630656"/>
                <a:gd name="f34" fmla="+- 0 0 1224"/>
                <a:gd name="f35" fmla="+- 0 0 -90"/>
                <a:gd name="f36" fmla="*/ f3 1 7111369"/>
                <a:gd name="f37" fmla="*/ f4 1 1757730"/>
                <a:gd name="f38" fmla="+- f7 0 f5"/>
                <a:gd name="f39" fmla="+- f6 0 f5"/>
                <a:gd name="f40" fmla="*/ f35 f0 1"/>
                <a:gd name="f41" fmla="*/ f39 1 7111369"/>
                <a:gd name="f42" fmla="*/ f38 1 1757730"/>
                <a:gd name="f43" fmla="*/ 772954 f39 1"/>
                <a:gd name="f44" fmla="*/ 2778 f38 1"/>
                <a:gd name="f45" fmla="*/ 3590934 f39 1"/>
                <a:gd name="f46" fmla="*/ 566046 f38 1"/>
                <a:gd name="f47" fmla="*/ 6700767 f39 1"/>
                <a:gd name="f48" fmla="*/ 1636882 f38 1"/>
                <a:gd name="f49" fmla="*/ 7111369 f39 1"/>
                <a:gd name="f50" fmla="*/ 1757730 f38 1"/>
                <a:gd name="f51" fmla="*/ 0 f39 1"/>
                <a:gd name="f52" fmla="*/ 25690 f38 1"/>
                <a:gd name="f53" fmla="*/ 2197 f39 1"/>
                <a:gd name="f54" fmla="*/ 25414 f38 1"/>
                <a:gd name="f55" fmla="*/ 341773 f39 1"/>
                <a:gd name="f56" fmla="*/ 3976 f38 1"/>
                <a:gd name="f57" fmla="*/ f40 1 f2"/>
                <a:gd name="f58" fmla="*/ f43 1 7111369"/>
                <a:gd name="f59" fmla="*/ f44 1 1757730"/>
                <a:gd name="f60" fmla="*/ f45 1 7111369"/>
                <a:gd name="f61" fmla="*/ f46 1 1757730"/>
                <a:gd name="f62" fmla="*/ f47 1 7111369"/>
                <a:gd name="f63" fmla="*/ f48 1 1757730"/>
                <a:gd name="f64" fmla="*/ f49 1 7111369"/>
                <a:gd name="f65" fmla="*/ f50 1 1757730"/>
                <a:gd name="f66" fmla="*/ f51 1 7111369"/>
                <a:gd name="f67" fmla="*/ f52 1 1757730"/>
                <a:gd name="f68" fmla="*/ f53 1 7111369"/>
                <a:gd name="f69" fmla="*/ f54 1 1757730"/>
                <a:gd name="f70" fmla="*/ f55 1 7111369"/>
                <a:gd name="f71" fmla="*/ f56 1 1757730"/>
                <a:gd name="f72" fmla="*/ f5 1 f41"/>
                <a:gd name="f73" fmla="*/ f6 1 f41"/>
                <a:gd name="f74" fmla="*/ f5 1 f42"/>
                <a:gd name="f75" fmla="*/ f7 1 f42"/>
                <a:gd name="f76" fmla="+- f57 0 f1"/>
                <a:gd name="f77" fmla="*/ f58 1 f41"/>
                <a:gd name="f78" fmla="*/ f59 1 f42"/>
                <a:gd name="f79" fmla="*/ f60 1 f41"/>
                <a:gd name="f80" fmla="*/ f61 1 f42"/>
                <a:gd name="f81" fmla="*/ f62 1 f41"/>
                <a:gd name="f82" fmla="*/ f63 1 f42"/>
                <a:gd name="f83" fmla="*/ f64 1 f41"/>
                <a:gd name="f84" fmla="*/ f65 1 f42"/>
                <a:gd name="f85" fmla="*/ f66 1 f41"/>
                <a:gd name="f86" fmla="*/ f67 1 f42"/>
                <a:gd name="f87" fmla="*/ f68 1 f41"/>
                <a:gd name="f88" fmla="*/ f69 1 f42"/>
                <a:gd name="f89" fmla="*/ f70 1 f41"/>
                <a:gd name="f90" fmla="*/ f71 1 f42"/>
                <a:gd name="f91" fmla="*/ f72 f36 1"/>
                <a:gd name="f92" fmla="*/ f73 f36 1"/>
                <a:gd name="f93" fmla="*/ f75 f37 1"/>
                <a:gd name="f94" fmla="*/ f74 f37 1"/>
                <a:gd name="f95" fmla="*/ f77 f36 1"/>
                <a:gd name="f96" fmla="*/ f78 f37 1"/>
                <a:gd name="f97" fmla="*/ f79 f36 1"/>
                <a:gd name="f98" fmla="*/ f80 f37 1"/>
                <a:gd name="f99" fmla="*/ f81 f36 1"/>
                <a:gd name="f100" fmla="*/ f82 f37 1"/>
                <a:gd name="f101" fmla="*/ f83 f36 1"/>
                <a:gd name="f102" fmla="*/ f84 f37 1"/>
                <a:gd name="f103" fmla="*/ f85 f36 1"/>
                <a:gd name="f104" fmla="*/ f86 f37 1"/>
                <a:gd name="f105" fmla="*/ f87 f36 1"/>
                <a:gd name="f106" fmla="*/ f88 f37 1"/>
                <a:gd name="f107" fmla="*/ f89 f36 1"/>
                <a:gd name="f108" fmla="*/ f90 f37 1"/>
              </a:gdLst>
              <a:ahLst/>
              <a:cxnLst>
                <a:cxn ang="3cd4">
                  <a:pos x="hc" y="t"/>
                </a:cxn>
                <a:cxn ang="0">
                  <a:pos x="r" y="vc"/>
                </a:cxn>
                <a:cxn ang="cd4">
                  <a:pos x="hc" y="b"/>
                </a:cxn>
                <a:cxn ang="cd2">
                  <a:pos x="l" y="vc"/>
                </a:cxn>
                <a:cxn ang="f76">
                  <a:pos x="f95" y="f96"/>
                </a:cxn>
                <a:cxn ang="f76">
                  <a:pos x="f97" y="f98"/>
                </a:cxn>
                <a:cxn ang="f76">
                  <a:pos x="f99" y="f100"/>
                </a:cxn>
                <a:cxn ang="f76">
                  <a:pos x="f101" y="f102"/>
                </a:cxn>
                <a:cxn ang="f76">
                  <a:pos x="f103" y="f102"/>
                </a:cxn>
                <a:cxn ang="f76">
                  <a:pos x="f103" y="f104"/>
                </a:cxn>
                <a:cxn ang="f76">
                  <a:pos x="f105" y="f106"/>
                </a:cxn>
                <a:cxn ang="f76">
                  <a:pos x="f107" y="f108"/>
                </a:cxn>
                <a:cxn ang="f76">
                  <a:pos x="f95" y="f96"/>
                </a:cxn>
              </a:cxnLst>
              <a:rect l="f91" t="f94" r="f92" b="f93"/>
              <a:pathLst>
                <a:path w="7111369" h="1757730">
                  <a:moveTo>
                    <a:pt x="f8" y="f9"/>
                  </a:moveTo>
                  <a:cubicBezTo>
                    <a:pt x="f10" y="f11"/>
                    <a:pt x="f12" y="f13"/>
                    <a:pt x="f14" y="f15"/>
                  </a:cubicBezTo>
                  <a:cubicBezTo>
                    <a:pt x="f16" y="f17"/>
                    <a:pt x="f18" y="f19"/>
                    <a:pt x="f20" y="f21"/>
                  </a:cubicBezTo>
                  <a:lnTo>
                    <a:pt x="f6" y="f7"/>
                  </a:lnTo>
                  <a:lnTo>
                    <a:pt x="f5" y="f7"/>
                  </a:lnTo>
                  <a:lnTo>
                    <a:pt x="f5" y="f22"/>
                  </a:lnTo>
                  <a:lnTo>
                    <a:pt x="f23" y="f24"/>
                  </a:lnTo>
                  <a:cubicBezTo>
                    <a:pt x="f25" y="f26"/>
                    <a:pt x="f27" y="f28"/>
                    <a:pt x="f29" y="f30"/>
                  </a:cubicBezTo>
                  <a:cubicBezTo>
                    <a:pt x="f31" y="f32"/>
                    <a:pt x="f33" y="f34"/>
                    <a:pt x="f8" y="f9"/>
                  </a:cubicBezTo>
                  <a:close/>
                </a:path>
              </a:pathLst>
            </a:cu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4" name="Freeform 19">
              <a:extLst>
                <a:ext uri="{FF2B5EF4-FFF2-40B4-BE49-F238E27FC236}">
                  <a16:creationId xmlns:a16="http://schemas.microsoft.com/office/drawing/2014/main" id="{3030FE5F-E5A9-24F4-1726-C2CED48403D0}"/>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5" name="Freeform 14">
              <a:extLst>
                <a:ext uri="{FF2B5EF4-FFF2-40B4-BE49-F238E27FC236}">
                  <a16:creationId xmlns:a16="http://schemas.microsoft.com/office/drawing/2014/main" id="{E3E378D3-1F0F-B6A5-25DB-0E88532F4253}"/>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6" name="Picture 20">
              <a:extLst>
                <a:ext uri="{FF2B5EF4-FFF2-40B4-BE49-F238E27FC236}">
                  <a16:creationId xmlns:a16="http://schemas.microsoft.com/office/drawing/2014/main" id="{8FC806FA-7724-E87F-4E8D-39E565BBE880}"/>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
        <p:nvSpPr>
          <p:cNvPr id="7" name="Title 10">
            <a:extLst>
              <a:ext uri="{FF2B5EF4-FFF2-40B4-BE49-F238E27FC236}">
                <a16:creationId xmlns:a16="http://schemas.microsoft.com/office/drawing/2014/main" id="{12E582D4-2858-10DB-8B17-B88E977CF90B}"/>
              </a:ext>
            </a:extLst>
          </p:cNvPr>
          <p:cNvSpPr txBox="1">
            <a:spLocks noGrp="1"/>
          </p:cNvSpPr>
          <p:nvPr>
            <p:ph type="title"/>
          </p:nvPr>
        </p:nvSpPr>
        <p:spPr>
          <a:xfrm>
            <a:off x="1413305" y="701748"/>
            <a:ext cx="9365376" cy="2014679"/>
          </a:xfrm>
        </p:spPr>
        <p:txBody>
          <a:bodyPr anchor="b"/>
          <a:lstStyle>
            <a:lvl1pPr>
              <a:defRPr/>
            </a:lvl1pPr>
          </a:lstStyle>
          <a:p>
            <a:pPr lvl="0"/>
            <a:r>
              <a:rPr lang="en-US"/>
              <a:t>Click to edit Master title style</a:t>
            </a:r>
          </a:p>
        </p:txBody>
      </p:sp>
      <p:sp>
        <p:nvSpPr>
          <p:cNvPr id="8" name="Subtitle 2">
            <a:extLst>
              <a:ext uri="{FF2B5EF4-FFF2-40B4-BE49-F238E27FC236}">
                <a16:creationId xmlns:a16="http://schemas.microsoft.com/office/drawing/2014/main" id="{6F560248-98E0-29F3-6003-68371783400A}"/>
              </a:ext>
            </a:extLst>
          </p:cNvPr>
          <p:cNvSpPr txBox="1">
            <a:spLocks noGrp="1"/>
          </p:cNvSpPr>
          <p:nvPr>
            <p:ph type="subTitle" idx="4294967295"/>
          </p:nvPr>
        </p:nvSpPr>
        <p:spPr>
          <a:xfrm>
            <a:off x="1413305" y="3081637"/>
            <a:ext cx="9365376" cy="986564"/>
          </a:xfrm>
        </p:spPr>
        <p:txBody>
          <a:bodyPr/>
          <a:lstStyle>
            <a:lvl1pPr marL="0" indent="0">
              <a:buNone/>
              <a:defRPr/>
            </a:lvl1pPr>
          </a:lstStyle>
          <a:p>
            <a:pPr lvl="0"/>
            <a:r>
              <a:rPr lang="en-US"/>
              <a:t>Click to edit Master subtitle style</a:t>
            </a:r>
          </a:p>
        </p:txBody>
      </p:sp>
    </p:spTree>
    <p:extLst>
      <p:ext uri="{BB962C8B-B14F-4D97-AF65-F5344CB8AC3E}">
        <p14:creationId xmlns:p14="http://schemas.microsoft.com/office/powerpoint/2010/main" val="2932820262"/>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D585BBD3-4198-93CA-C510-1866B370B23C}"/>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D8A178A2-A515-4446-DEAD-B066C6698F22}"/>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621F6590-F98A-3D15-F0EA-9E121AABA18A}"/>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CDFD552D-2BC6-F024-09D8-9371A1A66AE3}"/>
              </a:ext>
            </a:extLst>
          </p:cNvPr>
          <p:cNvSpPr txBox="1">
            <a:spLocks noGrp="1"/>
          </p:cNvSpPr>
          <p:nvPr>
            <p:ph type="sldNum" sz="quarter" idx="8"/>
          </p:nvPr>
        </p:nvSpPr>
        <p:spPr/>
        <p:txBody>
          <a:bodyPr/>
          <a:lstStyle>
            <a:lvl1pPr>
              <a:defRPr>
                <a:solidFill>
                  <a:srgbClr val="AFB3B9"/>
                </a:solidFill>
              </a:defRPr>
            </a:lvl1pPr>
          </a:lstStyle>
          <a:p>
            <a:pPr lvl="0"/>
            <a:fld id="{8C37F85E-1F56-48C6-9CDF-B01130C3EEBA}" type="slidenum">
              <a:t>‹#›</a:t>
            </a:fld>
            <a:endParaRPr lang="en-US"/>
          </a:p>
        </p:txBody>
      </p:sp>
      <p:cxnSp>
        <p:nvCxnSpPr>
          <p:cNvPr id="6" name="Straight Connector 7">
            <a:extLst>
              <a:ext uri="{FF2B5EF4-FFF2-40B4-BE49-F238E27FC236}">
                <a16:creationId xmlns:a16="http://schemas.microsoft.com/office/drawing/2014/main" id="{D946C5DC-6D97-5CDC-6738-C17E839E766B}"/>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1D4C4130-9845-5E80-4A97-6E6617154267}"/>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EE7A137C-309E-D381-A9FC-367D87C99D36}"/>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29726184-EF1F-96AA-2E39-43FF1CAF359A}"/>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ADB9F9AD-A25D-B2BD-5D03-8C9F8682E1A0}"/>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38BD2D54-D74F-709C-B082-99EF96A845A2}"/>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8B58F44F-4260-1B2A-3F1A-D4807BA44357}"/>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D6B4714F-716F-78CE-00D1-313579EC1ED7}"/>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2381697771"/>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p:cSld name="13_Divider">
    <p:bg>
      <p:bgPr>
        <a:solidFill>
          <a:srgbClr val="F3F6FB"/>
        </a:solidFill>
        <a:effectLst/>
      </p:bgPr>
    </p:bg>
    <p:spTree>
      <p:nvGrpSpPr>
        <p:cNvPr id="1" name=""/>
        <p:cNvGrpSpPr/>
        <p:nvPr/>
      </p:nvGrpSpPr>
      <p:grpSpPr>
        <a:xfrm>
          <a:off x="0" y="0"/>
          <a:ext cx="0" cy="0"/>
          <a:chOff x="0" y="0"/>
          <a:chExt cx="0" cy="0"/>
        </a:xfrm>
      </p:grpSpPr>
      <p:grpSp>
        <p:nvGrpSpPr>
          <p:cNvPr id="2" name="Group 9">
            <a:extLst>
              <a:ext uri="{FF2B5EF4-FFF2-40B4-BE49-F238E27FC236}">
                <a16:creationId xmlns:a16="http://schemas.microsoft.com/office/drawing/2014/main" id="{0F6E5099-FAFE-ACCE-0C70-3AD13325022C}"/>
              </a:ext>
            </a:extLst>
          </p:cNvPr>
          <p:cNvGrpSpPr/>
          <p:nvPr/>
        </p:nvGrpSpPr>
        <p:grpSpPr>
          <a:xfrm>
            <a:off x="0" y="5020349"/>
            <a:ext cx="12191996" cy="1837651"/>
            <a:chOff x="0" y="5020348"/>
            <a:chExt cx="12191996" cy="1837651"/>
          </a:xfrm>
        </p:grpSpPr>
        <p:sp>
          <p:nvSpPr>
            <p:cNvPr id="3" name="Freeform 25">
              <a:extLst>
                <a:ext uri="{FF2B5EF4-FFF2-40B4-BE49-F238E27FC236}">
                  <a16:creationId xmlns:a16="http://schemas.microsoft.com/office/drawing/2014/main" id="{73DE04A1-8EDC-E271-7308-5010CD53622B}"/>
                </a:ext>
              </a:extLst>
            </p:cNvPr>
            <p:cNvSpPr/>
            <p:nvPr/>
          </p:nvSpPr>
          <p:spPr>
            <a:xfrm>
              <a:off x="0" y="5100267"/>
              <a:ext cx="7111371" cy="1757732"/>
            </a:xfrm>
            <a:custGeom>
              <a:avLst/>
              <a:gdLst>
                <a:gd name="f0" fmla="val 10800000"/>
                <a:gd name="f1" fmla="val 5400000"/>
                <a:gd name="f2" fmla="val 180"/>
                <a:gd name="f3" fmla="val w"/>
                <a:gd name="f4" fmla="val h"/>
                <a:gd name="f5" fmla="val 0"/>
                <a:gd name="f6" fmla="val 7111369"/>
                <a:gd name="f7" fmla="val 1757730"/>
                <a:gd name="f8" fmla="val 772954"/>
                <a:gd name="f9" fmla="val 2778"/>
                <a:gd name="f10" fmla="val 1769038"/>
                <a:gd name="f11" fmla="val 30799"/>
                <a:gd name="f12" fmla="val 2696750"/>
                <a:gd name="f13" fmla="val 267531"/>
                <a:gd name="f14" fmla="val 3590934"/>
                <a:gd name="f15" fmla="val 566046"/>
                <a:gd name="f16" fmla="val 4684008"/>
                <a:gd name="f17" fmla="val 930921"/>
                <a:gd name="f18" fmla="val 5690778"/>
                <a:gd name="f19" fmla="val 1324625"/>
                <a:gd name="f20" fmla="val 6700767"/>
                <a:gd name="f21" fmla="val 1636882"/>
                <a:gd name="f22" fmla="val 25690"/>
                <a:gd name="f23" fmla="val 2197"/>
                <a:gd name="f24" fmla="val 25414"/>
                <a:gd name="f25" fmla="val 114653"/>
                <a:gd name="f26" fmla="val 14905"/>
                <a:gd name="f27" fmla="val 227801"/>
                <a:gd name="f28" fmla="val 7857"/>
                <a:gd name="f29" fmla="val 341773"/>
                <a:gd name="f30" fmla="val 3976"/>
                <a:gd name="f31" fmla="val 486963"/>
                <a:gd name="f32" fmla="+- 0 0 968"/>
                <a:gd name="f33" fmla="val 630656"/>
                <a:gd name="f34" fmla="+- 0 0 1224"/>
                <a:gd name="f35" fmla="+- 0 0 -90"/>
                <a:gd name="f36" fmla="*/ f3 1 7111369"/>
                <a:gd name="f37" fmla="*/ f4 1 1757730"/>
                <a:gd name="f38" fmla="+- f7 0 f5"/>
                <a:gd name="f39" fmla="+- f6 0 f5"/>
                <a:gd name="f40" fmla="*/ f35 f0 1"/>
                <a:gd name="f41" fmla="*/ f39 1 7111369"/>
                <a:gd name="f42" fmla="*/ f38 1 1757730"/>
                <a:gd name="f43" fmla="*/ 772954 f39 1"/>
                <a:gd name="f44" fmla="*/ 2778 f38 1"/>
                <a:gd name="f45" fmla="*/ 3590934 f39 1"/>
                <a:gd name="f46" fmla="*/ 566046 f38 1"/>
                <a:gd name="f47" fmla="*/ 6700767 f39 1"/>
                <a:gd name="f48" fmla="*/ 1636882 f38 1"/>
                <a:gd name="f49" fmla="*/ 7111369 f39 1"/>
                <a:gd name="f50" fmla="*/ 1757730 f38 1"/>
                <a:gd name="f51" fmla="*/ 0 f39 1"/>
                <a:gd name="f52" fmla="*/ 25690 f38 1"/>
                <a:gd name="f53" fmla="*/ 2197 f39 1"/>
                <a:gd name="f54" fmla="*/ 25414 f38 1"/>
                <a:gd name="f55" fmla="*/ 341773 f39 1"/>
                <a:gd name="f56" fmla="*/ 3976 f38 1"/>
                <a:gd name="f57" fmla="*/ f40 1 f2"/>
                <a:gd name="f58" fmla="*/ f43 1 7111369"/>
                <a:gd name="f59" fmla="*/ f44 1 1757730"/>
                <a:gd name="f60" fmla="*/ f45 1 7111369"/>
                <a:gd name="f61" fmla="*/ f46 1 1757730"/>
                <a:gd name="f62" fmla="*/ f47 1 7111369"/>
                <a:gd name="f63" fmla="*/ f48 1 1757730"/>
                <a:gd name="f64" fmla="*/ f49 1 7111369"/>
                <a:gd name="f65" fmla="*/ f50 1 1757730"/>
                <a:gd name="f66" fmla="*/ f51 1 7111369"/>
                <a:gd name="f67" fmla="*/ f52 1 1757730"/>
                <a:gd name="f68" fmla="*/ f53 1 7111369"/>
                <a:gd name="f69" fmla="*/ f54 1 1757730"/>
                <a:gd name="f70" fmla="*/ f55 1 7111369"/>
                <a:gd name="f71" fmla="*/ f56 1 1757730"/>
                <a:gd name="f72" fmla="*/ f5 1 f41"/>
                <a:gd name="f73" fmla="*/ f6 1 f41"/>
                <a:gd name="f74" fmla="*/ f5 1 f42"/>
                <a:gd name="f75" fmla="*/ f7 1 f42"/>
                <a:gd name="f76" fmla="+- f57 0 f1"/>
                <a:gd name="f77" fmla="*/ f58 1 f41"/>
                <a:gd name="f78" fmla="*/ f59 1 f42"/>
                <a:gd name="f79" fmla="*/ f60 1 f41"/>
                <a:gd name="f80" fmla="*/ f61 1 f42"/>
                <a:gd name="f81" fmla="*/ f62 1 f41"/>
                <a:gd name="f82" fmla="*/ f63 1 f42"/>
                <a:gd name="f83" fmla="*/ f64 1 f41"/>
                <a:gd name="f84" fmla="*/ f65 1 f42"/>
                <a:gd name="f85" fmla="*/ f66 1 f41"/>
                <a:gd name="f86" fmla="*/ f67 1 f42"/>
                <a:gd name="f87" fmla="*/ f68 1 f41"/>
                <a:gd name="f88" fmla="*/ f69 1 f42"/>
                <a:gd name="f89" fmla="*/ f70 1 f41"/>
                <a:gd name="f90" fmla="*/ f71 1 f42"/>
                <a:gd name="f91" fmla="*/ f72 f36 1"/>
                <a:gd name="f92" fmla="*/ f73 f36 1"/>
                <a:gd name="f93" fmla="*/ f75 f37 1"/>
                <a:gd name="f94" fmla="*/ f74 f37 1"/>
                <a:gd name="f95" fmla="*/ f77 f36 1"/>
                <a:gd name="f96" fmla="*/ f78 f37 1"/>
                <a:gd name="f97" fmla="*/ f79 f36 1"/>
                <a:gd name="f98" fmla="*/ f80 f37 1"/>
                <a:gd name="f99" fmla="*/ f81 f36 1"/>
                <a:gd name="f100" fmla="*/ f82 f37 1"/>
                <a:gd name="f101" fmla="*/ f83 f36 1"/>
                <a:gd name="f102" fmla="*/ f84 f37 1"/>
                <a:gd name="f103" fmla="*/ f85 f36 1"/>
                <a:gd name="f104" fmla="*/ f86 f37 1"/>
                <a:gd name="f105" fmla="*/ f87 f36 1"/>
                <a:gd name="f106" fmla="*/ f88 f37 1"/>
                <a:gd name="f107" fmla="*/ f89 f36 1"/>
                <a:gd name="f108" fmla="*/ f90 f37 1"/>
              </a:gdLst>
              <a:ahLst/>
              <a:cxnLst>
                <a:cxn ang="3cd4">
                  <a:pos x="hc" y="t"/>
                </a:cxn>
                <a:cxn ang="0">
                  <a:pos x="r" y="vc"/>
                </a:cxn>
                <a:cxn ang="cd4">
                  <a:pos x="hc" y="b"/>
                </a:cxn>
                <a:cxn ang="cd2">
                  <a:pos x="l" y="vc"/>
                </a:cxn>
                <a:cxn ang="f76">
                  <a:pos x="f95" y="f96"/>
                </a:cxn>
                <a:cxn ang="f76">
                  <a:pos x="f97" y="f98"/>
                </a:cxn>
                <a:cxn ang="f76">
                  <a:pos x="f99" y="f100"/>
                </a:cxn>
                <a:cxn ang="f76">
                  <a:pos x="f101" y="f102"/>
                </a:cxn>
                <a:cxn ang="f76">
                  <a:pos x="f103" y="f102"/>
                </a:cxn>
                <a:cxn ang="f76">
                  <a:pos x="f103" y="f104"/>
                </a:cxn>
                <a:cxn ang="f76">
                  <a:pos x="f105" y="f106"/>
                </a:cxn>
                <a:cxn ang="f76">
                  <a:pos x="f107" y="f108"/>
                </a:cxn>
                <a:cxn ang="f76">
                  <a:pos x="f95" y="f96"/>
                </a:cxn>
              </a:cxnLst>
              <a:rect l="f91" t="f94" r="f92" b="f93"/>
              <a:pathLst>
                <a:path w="7111369" h="1757730">
                  <a:moveTo>
                    <a:pt x="f8" y="f9"/>
                  </a:moveTo>
                  <a:cubicBezTo>
                    <a:pt x="f10" y="f11"/>
                    <a:pt x="f12" y="f13"/>
                    <a:pt x="f14" y="f15"/>
                  </a:cubicBezTo>
                  <a:cubicBezTo>
                    <a:pt x="f16" y="f17"/>
                    <a:pt x="f18" y="f19"/>
                    <a:pt x="f20" y="f21"/>
                  </a:cubicBezTo>
                  <a:lnTo>
                    <a:pt x="f6" y="f7"/>
                  </a:lnTo>
                  <a:lnTo>
                    <a:pt x="f5" y="f7"/>
                  </a:lnTo>
                  <a:lnTo>
                    <a:pt x="f5" y="f22"/>
                  </a:lnTo>
                  <a:lnTo>
                    <a:pt x="f23" y="f24"/>
                  </a:lnTo>
                  <a:cubicBezTo>
                    <a:pt x="f25" y="f26"/>
                    <a:pt x="f27" y="f28"/>
                    <a:pt x="f29" y="f30"/>
                  </a:cubicBezTo>
                  <a:cubicBezTo>
                    <a:pt x="f31" y="f32"/>
                    <a:pt x="f33" y="f34"/>
                    <a:pt x="f8" y="f9"/>
                  </a:cubicBezTo>
                  <a:close/>
                </a:path>
              </a:pathLst>
            </a:cu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4" name="Freeform 19">
              <a:extLst>
                <a:ext uri="{FF2B5EF4-FFF2-40B4-BE49-F238E27FC236}">
                  <a16:creationId xmlns:a16="http://schemas.microsoft.com/office/drawing/2014/main" id="{569726EA-643B-2B6E-54F6-ABCDB03B73DA}"/>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5" name="Freeform 14">
              <a:extLst>
                <a:ext uri="{FF2B5EF4-FFF2-40B4-BE49-F238E27FC236}">
                  <a16:creationId xmlns:a16="http://schemas.microsoft.com/office/drawing/2014/main" id="{FDA4E756-5003-8F7B-3DFF-3DE54A755F84}"/>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6" name="Picture 20">
              <a:extLst>
                <a:ext uri="{FF2B5EF4-FFF2-40B4-BE49-F238E27FC236}">
                  <a16:creationId xmlns:a16="http://schemas.microsoft.com/office/drawing/2014/main" id="{7683E37B-660C-E757-A6CB-7D59B146B0C3}"/>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
        <p:nvSpPr>
          <p:cNvPr id="7" name="Title 10">
            <a:extLst>
              <a:ext uri="{FF2B5EF4-FFF2-40B4-BE49-F238E27FC236}">
                <a16:creationId xmlns:a16="http://schemas.microsoft.com/office/drawing/2014/main" id="{56CB2DCB-2147-A20D-790A-7E46D20BE8BC}"/>
              </a:ext>
            </a:extLst>
          </p:cNvPr>
          <p:cNvSpPr txBox="1">
            <a:spLocks noGrp="1"/>
          </p:cNvSpPr>
          <p:nvPr>
            <p:ph type="title"/>
          </p:nvPr>
        </p:nvSpPr>
        <p:spPr>
          <a:xfrm>
            <a:off x="1413305" y="701748"/>
            <a:ext cx="9365376" cy="2014679"/>
          </a:xfrm>
        </p:spPr>
        <p:txBody>
          <a:bodyPr anchor="b"/>
          <a:lstStyle>
            <a:lvl1pPr>
              <a:defRPr/>
            </a:lvl1pPr>
          </a:lstStyle>
          <a:p>
            <a:pPr lvl="0"/>
            <a:r>
              <a:rPr lang="en-US"/>
              <a:t>Click to edit Master title style</a:t>
            </a:r>
          </a:p>
        </p:txBody>
      </p:sp>
      <p:sp>
        <p:nvSpPr>
          <p:cNvPr id="8" name="Subtitle 2">
            <a:extLst>
              <a:ext uri="{FF2B5EF4-FFF2-40B4-BE49-F238E27FC236}">
                <a16:creationId xmlns:a16="http://schemas.microsoft.com/office/drawing/2014/main" id="{0141C08D-F6C4-A2F5-FA3B-5483A6C9E097}"/>
              </a:ext>
            </a:extLst>
          </p:cNvPr>
          <p:cNvSpPr txBox="1">
            <a:spLocks noGrp="1"/>
          </p:cNvSpPr>
          <p:nvPr>
            <p:ph type="subTitle" idx="4294967295"/>
          </p:nvPr>
        </p:nvSpPr>
        <p:spPr>
          <a:xfrm>
            <a:off x="1413305" y="3081637"/>
            <a:ext cx="9365376" cy="986564"/>
          </a:xfrm>
        </p:spPr>
        <p:txBody>
          <a:bodyPr/>
          <a:lstStyle>
            <a:lvl1pPr marL="0" indent="0">
              <a:buNone/>
              <a:defRPr/>
            </a:lvl1pPr>
          </a:lstStyle>
          <a:p>
            <a:pPr lvl="0"/>
            <a:r>
              <a:rPr lang="en-US"/>
              <a:t>Click to edit Master subtitle style</a:t>
            </a:r>
          </a:p>
        </p:txBody>
      </p:sp>
    </p:spTree>
    <p:extLst>
      <p:ext uri="{BB962C8B-B14F-4D97-AF65-F5344CB8AC3E}">
        <p14:creationId xmlns:p14="http://schemas.microsoft.com/office/powerpoint/2010/main" val="3814539442"/>
      </p:ext>
    </p:extLst>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type="obj" preserve="1">
  <p:cSld name="22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700CD1C4-785B-4700-AE25-838D442145CA}"/>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E74517F6-EAEC-D322-D3A4-B948BBBCC02F}"/>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3313921B-D0BC-C31B-8202-90CA23CA616F}"/>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4C19249C-C382-C4C6-9BA3-1B74BC560249}"/>
              </a:ext>
            </a:extLst>
          </p:cNvPr>
          <p:cNvSpPr txBox="1">
            <a:spLocks noGrp="1"/>
          </p:cNvSpPr>
          <p:nvPr>
            <p:ph type="sldNum" sz="quarter" idx="8"/>
          </p:nvPr>
        </p:nvSpPr>
        <p:spPr/>
        <p:txBody>
          <a:bodyPr/>
          <a:lstStyle>
            <a:lvl1pPr>
              <a:defRPr>
                <a:solidFill>
                  <a:srgbClr val="AFB3B9"/>
                </a:solidFill>
              </a:defRPr>
            </a:lvl1pPr>
          </a:lstStyle>
          <a:p>
            <a:pPr lvl="0"/>
            <a:fld id="{08CEBA73-A2C7-4C38-A318-A0A864404374}" type="slidenum">
              <a:t>‹#›</a:t>
            </a:fld>
            <a:endParaRPr lang="en-US"/>
          </a:p>
        </p:txBody>
      </p:sp>
      <p:cxnSp>
        <p:nvCxnSpPr>
          <p:cNvPr id="6" name="Straight Connector 7">
            <a:extLst>
              <a:ext uri="{FF2B5EF4-FFF2-40B4-BE49-F238E27FC236}">
                <a16:creationId xmlns:a16="http://schemas.microsoft.com/office/drawing/2014/main" id="{D1548A4D-B0E6-7D65-9EEF-B8E9FAB6B864}"/>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2111A2FF-68FE-D390-E51E-3D8E74F0E5A8}"/>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6E403447-D0AB-A1CB-7056-8F32D7B2554C}"/>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1DA2AB1F-E144-7726-4B87-E368980DC69F}"/>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6F4713DA-B442-61DA-C202-0D6F3EBF4AE2}"/>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C40430F6-F248-04EA-A562-050D13038F50}"/>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4355314B-267A-8BD8-F6BC-859CCF11F531}"/>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3F99C035-896E-0868-F799-CEEC37014AB8}"/>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1508271393"/>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3AA0499C-3005-1717-8AEE-816DCFB55225}"/>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CC155DA2-E3E5-6A7C-82B7-187B8BBDFBE1}"/>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58F048BC-1F1A-737D-D7D4-91AD595C6236}"/>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4889EAD2-14AE-1044-EFBA-98433F0852D4}"/>
              </a:ext>
            </a:extLst>
          </p:cNvPr>
          <p:cNvSpPr txBox="1">
            <a:spLocks noGrp="1"/>
          </p:cNvSpPr>
          <p:nvPr>
            <p:ph type="sldNum" sz="quarter" idx="8"/>
          </p:nvPr>
        </p:nvSpPr>
        <p:spPr/>
        <p:txBody>
          <a:bodyPr/>
          <a:lstStyle>
            <a:lvl1pPr>
              <a:defRPr>
                <a:solidFill>
                  <a:srgbClr val="AFB3B9"/>
                </a:solidFill>
              </a:defRPr>
            </a:lvl1pPr>
          </a:lstStyle>
          <a:p>
            <a:pPr lvl="0"/>
            <a:fld id="{AA0C452A-AB79-4542-8E15-9D5990709573}" type="slidenum">
              <a:t>‹#›</a:t>
            </a:fld>
            <a:endParaRPr lang="en-US"/>
          </a:p>
        </p:txBody>
      </p:sp>
      <p:cxnSp>
        <p:nvCxnSpPr>
          <p:cNvPr id="6" name="Straight Connector 7">
            <a:extLst>
              <a:ext uri="{FF2B5EF4-FFF2-40B4-BE49-F238E27FC236}">
                <a16:creationId xmlns:a16="http://schemas.microsoft.com/office/drawing/2014/main" id="{DAA97EE9-DF54-07B6-763E-8B08C9447695}"/>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BF13B96B-ACD5-C6E4-A4D9-376EF6E35BF1}"/>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01545EC8-67ED-FCB6-4D68-DF22FC538786}"/>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81614A27-C431-AE75-BC26-C046A8C80AF7}"/>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DA64B228-0336-6E04-890E-623035396D39}"/>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4317871D-EEFD-00F6-8C1B-FF91CDD1BD27}"/>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B0DA52A2-0014-5534-677D-C180912997D9}"/>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7776B570-67C0-A950-F339-9FA2F387F3F7}"/>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3683761360"/>
      </p:ext>
    </p:extLst>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p:cSld name="12_Divider">
    <p:bg>
      <p:bgPr>
        <a:solidFill>
          <a:srgbClr val="F3F6FB"/>
        </a:solidFill>
        <a:effectLst/>
      </p:bgPr>
    </p:bg>
    <p:spTree>
      <p:nvGrpSpPr>
        <p:cNvPr id="1" name=""/>
        <p:cNvGrpSpPr/>
        <p:nvPr/>
      </p:nvGrpSpPr>
      <p:grpSpPr>
        <a:xfrm>
          <a:off x="0" y="0"/>
          <a:ext cx="0" cy="0"/>
          <a:chOff x="0" y="0"/>
          <a:chExt cx="0" cy="0"/>
        </a:xfrm>
      </p:grpSpPr>
      <p:grpSp>
        <p:nvGrpSpPr>
          <p:cNvPr id="2" name="Group 9">
            <a:extLst>
              <a:ext uri="{FF2B5EF4-FFF2-40B4-BE49-F238E27FC236}">
                <a16:creationId xmlns:a16="http://schemas.microsoft.com/office/drawing/2014/main" id="{131266C1-09B2-D7C8-4A97-B611BD716B95}"/>
              </a:ext>
            </a:extLst>
          </p:cNvPr>
          <p:cNvGrpSpPr/>
          <p:nvPr/>
        </p:nvGrpSpPr>
        <p:grpSpPr>
          <a:xfrm>
            <a:off x="0" y="5020349"/>
            <a:ext cx="12191996" cy="1837651"/>
            <a:chOff x="0" y="5020348"/>
            <a:chExt cx="12191996" cy="1837651"/>
          </a:xfrm>
        </p:grpSpPr>
        <p:sp>
          <p:nvSpPr>
            <p:cNvPr id="3" name="Freeform 25">
              <a:extLst>
                <a:ext uri="{FF2B5EF4-FFF2-40B4-BE49-F238E27FC236}">
                  <a16:creationId xmlns:a16="http://schemas.microsoft.com/office/drawing/2014/main" id="{D59DC226-A3BC-0745-37DD-2A13E6E924BA}"/>
                </a:ext>
              </a:extLst>
            </p:cNvPr>
            <p:cNvSpPr/>
            <p:nvPr/>
          </p:nvSpPr>
          <p:spPr>
            <a:xfrm>
              <a:off x="0" y="5100267"/>
              <a:ext cx="7111371" cy="1757732"/>
            </a:xfrm>
            <a:custGeom>
              <a:avLst/>
              <a:gdLst>
                <a:gd name="f0" fmla="val 10800000"/>
                <a:gd name="f1" fmla="val 5400000"/>
                <a:gd name="f2" fmla="val 180"/>
                <a:gd name="f3" fmla="val w"/>
                <a:gd name="f4" fmla="val h"/>
                <a:gd name="f5" fmla="val 0"/>
                <a:gd name="f6" fmla="val 7111369"/>
                <a:gd name="f7" fmla="val 1757730"/>
                <a:gd name="f8" fmla="val 772954"/>
                <a:gd name="f9" fmla="val 2778"/>
                <a:gd name="f10" fmla="val 1769038"/>
                <a:gd name="f11" fmla="val 30799"/>
                <a:gd name="f12" fmla="val 2696750"/>
                <a:gd name="f13" fmla="val 267531"/>
                <a:gd name="f14" fmla="val 3590934"/>
                <a:gd name="f15" fmla="val 566046"/>
                <a:gd name="f16" fmla="val 4684008"/>
                <a:gd name="f17" fmla="val 930921"/>
                <a:gd name="f18" fmla="val 5690778"/>
                <a:gd name="f19" fmla="val 1324625"/>
                <a:gd name="f20" fmla="val 6700767"/>
                <a:gd name="f21" fmla="val 1636882"/>
                <a:gd name="f22" fmla="val 25690"/>
                <a:gd name="f23" fmla="val 2197"/>
                <a:gd name="f24" fmla="val 25414"/>
                <a:gd name="f25" fmla="val 114653"/>
                <a:gd name="f26" fmla="val 14905"/>
                <a:gd name="f27" fmla="val 227801"/>
                <a:gd name="f28" fmla="val 7857"/>
                <a:gd name="f29" fmla="val 341773"/>
                <a:gd name="f30" fmla="val 3976"/>
                <a:gd name="f31" fmla="val 486963"/>
                <a:gd name="f32" fmla="+- 0 0 968"/>
                <a:gd name="f33" fmla="val 630656"/>
                <a:gd name="f34" fmla="+- 0 0 1224"/>
                <a:gd name="f35" fmla="+- 0 0 -90"/>
                <a:gd name="f36" fmla="*/ f3 1 7111369"/>
                <a:gd name="f37" fmla="*/ f4 1 1757730"/>
                <a:gd name="f38" fmla="+- f7 0 f5"/>
                <a:gd name="f39" fmla="+- f6 0 f5"/>
                <a:gd name="f40" fmla="*/ f35 f0 1"/>
                <a:gd name="f41" fmla="*/ f39 1 7111369"/>
                <a:gd name="f42" fmla="*/ f38 1 1757730"/>
                <a:gd name="f43" fmla="*/ 772954 f39 1"/>
                <a:gd name="f44" fmla="*/ 2778 f38 1"/>
                <a:gd name="f45" fmla="*/ 3590934 f39 1"/>
                <a:gd name="f46" fmla="*/ 566046 f38 1"/>
                <a:gd name="f47" fmla="*/ 6700767 f39 1"/>
                <a:gd name="f48" fmla="*/ 1636882 f38 1"/>
                <a:gd name="f49" fmla="*/ 7111369 f39 1"/>
                <a:gd name="f50" fmla="*/ 1757730 f38 1"/>
                <a:gd name="f51" fmla="*/ 0 f39 1"/>
                <a:gd name="f52" fmla="*/ 25690 f38 1"/>
                <a:gd name="f53" fmla="*/ 2197 f39 1"/>
                <a:gd name="f54" fmla="*/ 25414 f38 1"/>
                <a:gd name="f55" fmla="*/ 341773 f39 1"/>
                <a:gd name="f56" fmla="*/ 3976 f38 1"/>
                <a:gd name="f57" fmla="*/ f40 1 f2"/>
                <a:gd name="f58" fmla="*/ f43 1 7111369"/>
                <a:gd name="f59" fmla="*/ f44 1 1757730"/>
                <a:gd name="f60" fmla="*/ f45 1 7111369"/>
                <a:gd name="f61" fmla="*/ f46 1 1757730"/>
                <a:gd name="f62" fmla="*/ f47 1 7111369"/>
                <a:gd name="f63" fmla="*/ f48 1 1757730"/>
                <a:gd name="f64" fmla="*/ f49 1 7111369"/>
                <a:gd name="f65" fmla="*/ f50 1 1757730"/>
                <a:gd name="f66" fmla="*/ f51 1 7111369"/>
                <a:gd name="f67" fmla="*/ f52 1 1757730"/>
                <a:gd name="f68" fmla="*/ f53 1 7111369"/>
                <a:gd name="f69" fmla="*/ f54 1 1757730"/>
                <a:gd name="f70" fmla="*/ f55 1 7111369"/>
                <a:gd name="f71" fmla="*/ f56 1 1757730"/>
                <a:gd name="f72" fmla="*/ f5 1 f41"/>
                <a:gd name="f73" fmla="*/ f6 1 f41"/>
                <a:gd name="f74" fmla="*/ f5 1 f42"/>
                <a:gd name="f75" fmla="*/ f7 1 f42"/>
                <a:gd name="f76" fmla="+- f57 0 f1"/>
                <a:gd name="f77" fmla="*/ f58 1 f41"/>
                <a:gd name="f78" fmla="*/ f59 1 f42"/>
                <a:gd name="f79" fmla="*/ f60 1 f41"/>
                <a:gd name="f80" fmla="*/ f61 1 f42"/>
                <a:gd name="f81" fmla="*/ f62 1 f41"/>
                <a:gd name="f82" fmla="*/ f63 1 f42"/>
                <a:gd name="f83" fmla="*/ f64 1 f41"/>
                <a:gd name="f84" fmla="*/ f65 1 f42"/>
                <a:gd name="f85" fmla="*/ f66 1 f41"/>
                <a:gd name="f86" fmla="*/ f67 1 f42"/>
                <a:gd name="f87" fmla="*/ f68 1 f41"/>
                <a:gd name="f88" fmla="*/ f69 1 f42"/>
                <a:gd name="f89" fmla="*/ f70 1 f41"/>
                <a:gd name="f90" fmla="*/ f71 1 f42"/>
                <a:gd name="f91" fmla="*/ f72 f36 1"/>
                <a:gd name="f92" fmla="*/ f73 f36 1"/>
                <a:gd name="f93" fmla="*/ f75 f37 1"/>
                <a:gd name="f94" fmla="*/ f74 f37 1"/>
                <a:gd name="f95" fmla="*/ f77 f36 1"/>
                <a:gd name="f96" fmla="*/ f78 f37 1"/>
                <a:gd name="f97" fmla="*/ f79 f36 1"/>
                <a:gd name="f98" fmla="*/ f80 f37 1"/>
                <a:gd name="f99" fmla="*/ f81 f36 1"/>
                <a:gd name="f100" fmla="*/ f82 f37 1"/>
                <a:gd name="f101" fmla="*/ f83 f36 1"/>
                <a:gd name="f102" fmla="*/ f84 f37 1"/>
                <a:gd name="f103" fmla="*/ f85 f36 1"/>
                <a:gd name="f104" fmla="*/ f86 f37 1"/>
                <a:gd name="f105" fmla="*/ f87 f36 1"/>
                <a:gd name="f106" fmla="*/ f88 f37 1"/>
                <a:gd name="f107" fmla="*/ f89 f36 1"/>
                <a:gd name="f108" fmla="*/ f90 f37 1"/>
              </a:gdLst>
              <a:ahLst/>
              <a:cxnLst>
                <a:cxn ang="3cd4">
                  <a:pos x="hc" y="t"/>
                </a:cxn>
                <a:cxn ang="0">
                  <a:pos x="r" y="vc"/>
                </a:cxn>
                <a:cxn ang="cd4">
                  <a:pos x="hc" y="b"/>
                </a:cxn>
                <a:cxn ang="cd2">
                  <a:pos x="l" y="vc"/>
                </a:cxn>
                <a:cxn ang="f76">
                  <a:pos x="f95" y="f96"/>
                </a:cxn>
                <a:cxn ang="f76">
                  <a:pos x="f97" y="f98"/>
                </a:cxn>
                <a:cxn ang="f76">
                  <a:pos x="f99" y="f100"/>
                </a:cxn>
                <a:cxn ang="f76">
                  <a:pos x="f101" y="f102"/>
                </a:cxn>
                <a:cxn ang="f76">
                  <a:pos x="f103" y="f102"/>
                </a:cxn>
                <a:cxn ang="f76">
                  <a:pos x="f103" y="f104"/>
                </a:cxn>
                <a:cxn ang="f76">
                  <a:pos x="f105" y="f106"/>
                </a:cxn>
                <a:cxn ang="f76">
                  <a:pos x="f107" y="f108"/>
                </a:cxn>
                <a:cxn ang="f76">
                  <a:pos x="f95" y="f96"/>
                </a:cxn>
              </a:cxnLst>
              <a:rect l="f91" t="f94" r="f92" b="f93"/>
              <a:pathLst>
                <a:path w="7111369" h="1757730">
                  <a:moveTo>
                    <a:pt x="f8" y="f9"/>
                  </a:moveTo>
                  <a:cubicBezTo>
                    <a:pt x="f10" y="f11"/>
                    <a:pt x="f12" y="f13"/>
                    <a:pt x="f14" y="f15"/>
                  </a:cubicBezTo>
                  <a:cubicBezTo>
                    <a:pt x="f16" y="f17"/>
                    <a:pt x="f18" y="f19"/>
                    <a:pt x="f20" y="f21"/>
                  </a:cubicBezTo>
                  <a:lnTo>
                    <a:pt x="f6" y="f7"/>
                  </a:lnTo>
                  <a:lnTo>
                    <a:pt x="f5" y="f7"/>
                  </a:lnTo>
                  <a:lnTo>
                    <a:pt x="f5" y="f22"/>
                  </a:lnTo>
                  <a:lnTo>
                    <a:pt x="f23" y="f24"/>
                  </a:lnTo>
                  <a:cubicBezTo>
                    <a:pt x="f25" y="f26"/>
                    <a:pt x="f27" y="f28"/>
                    <a:pt x="f29" y="f30"/>
                  </a:cubicBezTo>
                  <a:cubicBezTo>
                    <a:pt x="f31" y="f32"/>
                    <a:pt x="f33" y="f34"/>
                    <a:pt x="f8" y="f9"/>
                  </a:cubicBezTo>
                  <a:close/>
                </a:path>
              </a:pathLst>
            </a:cu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4" name="Freeform 19">
              <a:extLst>
                <a:ext uri="{FF2B5EF4-FFF2-40B4-BE49-F238E27FC236}">
                  <a16:creationId xmlns:a16="http://schemas.microsoft.com/office/drawing/2014/main" id="{EB5ECC80-668E-D0CD-DB55-44993E8B77C8}"/>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5" name="Freeform 14">
              <a:extLst>
                <a:ext uri="{FF2B5EF4-FFF2-40B4-BE49-F238E27FC236}">
                  <a16:creationId xmlns:a16="http://schemas.microsoft.com/office/drawing/2014/main" id="{0F71B8D5-74BA-3DEF-841B-86D40146E7FA}"/>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6" name="Picture 20">
              <a:extLst>
                <a:ext uri="{FF2B5EF4-FFF2-40B4-BE49-F238E27FC236}">
                  <a16:creationId xmlns:a16="http://schemas.microsoft.com/office/drawing/2014/main" id="{9016548C-E7CD-FDA0-0920-FDFD2556492A}"/>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
        <p:nvSpPr>
          <p:cNvPr id="7" name="Title 10">
            <a:extLst>
              <a:ext uri="{FF2B5EF4-FFF2-40B4-BE49-F238E27FC236}">
                <a16:creationId xmlns:a16="http://schemas.microsoft.com/office/drawing/2014/main" id="{663826A2-EEF5-D8F0-496E-83F58F43193A}"/>
              </a:ext>
            </a:extLst>
          </p:cNvPr>
          <p:cNvSpPr txBox="1">
            <a:spLocks noGrp="1"/>
          </p:cNvSpPr>
          <p:nvPr>
            <p:ph type="title"/>
          </p:nvPr>
        </p:nvSpPr>
        <p:spPr>
          <a:xfrm>
            <a:off x="1413305" y="701748"/>
            <a:ext cx="9365376" cy="2014679"/>
          </a:xfrm>
        </p:spPr>
        <p:txBody>
          <a:bodyPr anchor="b"/>
          <a:lstStyle>
            <a:lvl1pPr>
              <a:defRPr/>
            </a:lvl1pPr>
          </a:lstStyle>
          <a:p>
            <a:pPr lvl="0"/>
            <a:r>
              <a:rPr lang="en-US"/>
              <a:t>Click to edit Master title style</a:t>
            </a:r>
          </a:p>
        </p:txBody>
      </p:sp>
      <p:sp>
        <p:nvSpPr>
          <p:cNvPr id="8" name="Subtitle 2">
            <a:extLst>
              <a:ext uri="{FF2B5EF4-FFF2-40B4-BE49-F238E27FC236}">
                <a16:creationId xmlns:a16="http://schemas.microsoft.com/office/drawing/2014/main" id="{79FF7E09-AB96-F4D5-55CF-28935FE34003}"/>
              </a:ext>
            </a:extLst>
          </p:cNvPr>
          <p:cNvSpPr txBox="1">
            <a:spLocks noGrp="1"/>
          </p:cNvSpPr>
          <p:nvPr>
            <p:ph type="subTitle" idx="4294967295"/>
          </p:nvPr>
        </p:nvSpPr>
        <p:spPr>
          <a:xfrm>
            <a:off x="1413305" y="3081637"/>
            <a:ext cx="9365376" cy="986564"/>
          </a:xfrm>
        </p:spPr>
        <p:txBody>
          <a:bodyPr/>
          <a:lstStyle>
            <a:lvl1pPr marL="0" indent="0">
              <a:buNone/>
              <a:defRPr/>
            </a:lvl1pPr>
          </a:lstStyle>
          <a:p>
            <a:pPr lvl="0"/>
            <a:r>
              <a:rPr lang="en-US"/>
              <a:t>Click to edit Master subtitle style</a:t>
            </a:r>
          </a:p>
        </p:txBody>
      </p:sp>
    </p:spTree>
    <p:extLst>
      <p:ext uri="{BB962C8B-B14F-4D97-AF65-F5344CB8AC3E}">
        <p14:creationId xmlns:p14="http://schemas.microsoft.com/office/powerpoint/2010/main" val="3137597641"/>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p:cSld name="11_Divider">
    <p:bg>
      <p:bgPr>
        <a:solidFill>
          <a:srgbClr val="F3F6FB"/>
        </a:solidFill>
        <a:effectLst/>
      </p:bgPr>
    </p:bg>
    <p:spTree>
      <p:nvGrpSpPr>
        <p:cNvPr id="1" name=""/>
        <p:cNvGrpSpPr/>
        <p:nvPr/>
      </p:nvGrpSpPr>
      <p:grpSpPr>
        <a:xfrm>
          <a:off x="0" y="0"/>
          <a:ext cx="0" cy="0"/>
          <a:chOff x="0" y="0"/>
          <a:chExt cx="0" cy="0"/>
        </a:xfrm>
      </p:grpSpPr>
      <p:grpSp>
        <p:nvGrpSpPr>
          <p:cNvPr id="2" name="Group 9">
            <a:extLst>
              <a:ext uri="{FF2B5EF4-FFF2-40B4-BE49-F238E27FC236}">
                <a16:creationId xmlns:a16="http://schemas.microsoft.com/office/drawing/2014/main" id="{D87EF45A-31C3-D8B3-3FEA-0CDC762119F5}"/>
              </a:ext>
            </a:extLst>
          </p:cNvPr>
          <p:cNvGrpSpPr/>
          <p:nvPr/>
        </p:nvGrpSpPr>
        <p:grpSpPr>
          <a:xfrm>
            <a:off x="0" y="5020349"/>
            <a:ext cx="12191996" cy="1837651"/>
            <a:chOff x="0" y="5020348"/>
            <a:chExt cx="12191996" cy="1837651"/>
          </a:xfrm>
        </p:grpSpPr>
        <p:sp>
          <p:nvSpPr>
            <p:cNvPr id="3" name="Freeform 25">
              <a:extLst>
                <a:ext uri="{FF2B5EF4-FFF2-40B4-BE49-F238E27FC236}">
                  <a16:creationId xmlns:a16="http://schemas.microsoft.com/office/drawing/2014/main" id="{6F402011-98C9-03A6-72C4-62ED628F5070}"/>
                </a:ext>
              </a:extLst>
            </p:cNvPr>
            <p:cNvSpPr/>
            <p:nvPr/>
          </p:nvSpPr>
          <p:spPr>
            <a:xfrm>
              <a:off x="0" y="5100267"/>
              <a:ext cx="7111371" cy="1757732"/>
            </a:xfrm>
            <a:custGeom>
              <a:avLst/>
              <a:gdLst>
                <a:gd name="f0" fmla="val 10800000"/>
                <a:gd name="f1" fmla="val 5400000"/>
                <a:gd name="f2" fmla="val 180"/>
                <a:gd name="f3" fmla="val w"/>
                <a:gd name="f4" fmla="val h"/>
                <a:gd name="f5" fmla="val 0"/>
                <a:gd name="f6" fmla="val 7111369"/>
                <a:gd name="f7" fmla="val 1757730"/>
                <a:gd name="f8" fmla="val 772954"/>
                <a:gd name="f9" fmla="val 2778"/>
                <a:gd name="f10" fmla="val 1769038"/>
                <a:gd name="f11" fmla="val 30799"/>
                <a:gd name="f12" fmla="val 2696750"/>
                <a:gd name="f13" fmla="val 267531"/>
                <a:gd name="f14" fmla="val 3590934"/>
                <a:gd name="f15" fmla="val 566046"/>
                <a:gd name="f16" fmla="val 4684008"/>
                <a:gd name="f17" fmla="val 930921"/>
                <a:gd name="f18" fmla="val 5690778"/>
                <a:gd name="f19" fmla="val 1324625"/>
                <a:gd name="f20" fmla="val 6700767"/>
                <a:gd name="f21" fmla="val 1636882"/>
                <a:gd name="f22" fmla="val 25690"/>
                <a:gd name="f23" fmla="val 2197"/>
                <a:gd name="f24" fmla="val 25414"/>
                <a:gd name="f25" fmla="val 114653"/>
                <a:gd name="f26" fmla="val 14905"/>
                <a:gd name="f27" fmla="val 227801"/>
                <a:gd name="f28" fmla="val 7857"/>
                <a:gd name="f29" fmla="val 341773"/>
                <a:gd name="f30" fmla="val 3976"/>
                <a:gd name="f31" fmla="val 486963"/>
                <a:gd name="f32" fmla="+- 0 0 968"/>
                <a:gd name="f33" fmla="val 630656"/>
                <a:gd name="f34" fmla="+- 0 0 1224"/>
                <a:gd name="f35" fmla="+- 0 0 -90"/>
                <a:gd name="f36" fmla="*/ f3 1 7111369"/>
                <a:gd name="f37" fmla="*/ f4 1 1757730"/>
                <a:gd name="f38" fmla="+- f7 0 f5"/>
                <a:gd name="f39" fmla="+- f6 0 f5"/>
                <a:gd name="f40" fmla="*/ f35 f0 1"/>
                <a:gd name="f41" fmla="*/ f39 1 7111369"/>
                <a:gd name="f42" fmla="*/ f38 1 1757730"/>
                <a:gd name="f43" fmla="*/ 772954 f39 1"/>
                <a:gd name="f44" fmla="*/ 2778 f38 1"/>
                <a:gd name="f45" fmla="*/ 3590934 f39 1"/>
                <a:gd name="f46" fmla="*/ 566046 f38 1"/>
                <a:gd name="f47" fmla="*/ 6700767 f39 1"/>
                <a:gd name="f48" fmla="*/ 1636882 f38 1"/>
                <a:gd name="f49" fmla="*/ 7111369 f39 1"/>
                <a:gd name="f50" fmla="*/ 1757730 f38 1"/>
                <a:gd name="f51" fmla="*/ 0 f39 1"/>
                <a:gd name="f52" fmla="*/ 25690 f38 1"/>
                <a:gd name="f53" fmla="*/ 2197 f39 1"/>
                <a:gd name="f54" fmla="*/ 25414 f38 1"/>
                <a:gd name="f55" fmla="*/ 341773 f39 1"/>
                <a:gd name="f56" fmla="*/ 3976 f38 1"/>
                <a:gd name="f57" fmla="*/ f40 1 f2"/>
                <a:gd name="f58" fmla="*/ f43 1 7111369"/>
                <a:gd name="f59" fmla="*/ f44 1 1757730"/>
                <a:gd name="f60" fmla="*/ f45 1 7111369"/>
                <a:gd name="f61" fmla="*/ f46 1 1757730"/>
                <a:gd name="f62" fmla="*/ f47 1 7111369"/>
                <a:gd name="f63" fmla="*/ f48 1 1757730"/>
                <a:gd name="f64" fmla="*/ f49 1 7111369"/>
                <a:gd name="f65" fmla="*/ f50 1 1757730"/>
                <a:gd name="f66" fmla="*/ f51 1 7111369"/>
                <a:gd name="f67" fmla="*/ f52 1 1757730"/>
                <a:gd name="f68" fmla="*/ f53 1 7111369"/>
                <a:gd name="f69" fmla="*/ f54 1 1757730"/>
                <a:gd name="f70" fmla="*/ f55 1 7111369"/>
                <a:gd name="f71" fmla="*/ f56 1 1757730"/>
                <a:gd name="f72" fmla="*/ f5 1 f41"/>
                <a:gd name="f73" fmla="*/ f6 1 f41"/>
                <a:gd name="f74" fmla="*/ f5 1 f42"/>
                <a:gd name="f75" fmla="*/ f7 1 f42"/>
                <a:gd name="f76" fmla="+- f57 0 f1"/>
                <a:gd name="f77" fmla="*/ f58 1 f41"/>
                <a:gd name="f78" fmla="*/ f59 1 f42"/>
                <a:gd name="f79" fmla="*/ f60 1 f41"/>
                <a:gd name="f80" fmla="*/ f61 1 f42"/>
                <a:gd name="f81" fmla="*/ f62 1 f41"/>
                <a:gd name="f82" fmla="*/ f63 1 f42"/>
                <a:gd name="f83" fmla="*/ f64 1 f41"/>
                <a:gd name="f84" fmla="*/ f65 1 f42"/>
                <a:gd name="f85" fmla="*/ f66 1 f41"/>
                <a:gd name="f86" fmla="*/ f67 1 f42"/>
                <a:gd name="f87" fmla="*/ f68 1 f41"/>
                <a:gd name="f88" fmla="*/ f69 1 f42"/>
                <a:gd name="f89" fmla="*/ f70 1 f41"/>
                <a:gd name="f90" fmla="*/ f71 1 f42"/>
                <a:gd name="f91" fmla="*/ f72 f36 1"/>
                <a:gd name="f92" fmla="*/ f73 f36 1"/>
                <a:gd name="f93" fmla="*/ f75 f37 1"/>
                <a:gd name="f94" fmla="*/ f74 f37 1"/>
                <a:gd name="f95" fmla="*/ f77 f36 1"/>
                <a:gd name="f96" fmla="*/ f78 f37 1"/>
                <a:gd name="f97" fmla="*/ f79 f36 1"/>
                <a:gd name="f98" fmla="*/ f80 f37 1"/>
                <a:gd name="f99" fmla="*/ f81 f36 1"/>
                <a:gd name="f100" fmla="*/ f82 f37 1"/>
                <a:gd name="f101" fmla="*/ f83 f36 1"/>
                <a:gd name="f102" fmla="*/ f84 f37 1"/>
                <a:gd name="f103" fmla="*/ f85 f36 1"/>
                <a:gd name="f104" fmla="*/ f86 f37 1"/>
                <a:gd name="f105" fmla="*/ f87 f36 1"/>
                <a:gd name="f106" fmla="*/ f88 f37 1"/>
                <a:gd name="f107" fmla="*/ f89 f36 1"/>
                <a:gd name="f108" fmla="*/ f90 f37 1"/>
              </a:gdLst>
              <a:ahLst/>
              <a:cxnLst>
                <a:cxn ang="3cd4">
                  <a:pos x="hc" y="t"/>
                </a:cxn>
                <a:cxn ang="0">
                  <a:pos x="r" y="vc"/>
                </a:cxn>
                <a:cxn ang="cd4">
                  <a:pos x="hc" y="b"/>
                </a:cxn>
                <a:cxn ang="cd2">
                  <a:pos x="l" y="vc"/>
                </a:cxn>
                <a:cxn ang="f76">
                  <a:pos x="f95" y="f96"/>
                </a:cxn>
                <a:cxn ang="f76">
                  <a:pos x="f97" y="f98"/>
                </a:cxn>
                <a:cxn ang="f76">
                  <a:pos x="f99" y="f100"/>
                </a:cxn>
                <a:cxn ang="f76">
                  <a:pos x="f101" y="f102"/>
                </a:cxn>
                <a:cxn ang="f76">
                  <a:pos x="f103" y="f102"/>
                </a:cxn>
                <a:cxn ang="f76">
                  <a:pos x="f103" y="f104"/>
                </a:cxn>
                <a:cxn ang="f76">
                  <a:pos x="f105" y="f106"/>
                </a:cxn>
                <a:cxn ang="f76">
                  <a:pos x="f107" y="f108"/>
                </a:cxn>
                <a:cxn ang="f76">
                  <a:pos x="f95" y="f96"/>
                </a:cxn>
              </a:cxnLst>
              <a:rect l="f91" t="f94" r="f92" b="f93"/>
              <a:pathLst>
                <a:path w="7111369" h="1757730">
                  <a:moveTo>
                    <a:pt x="f8" y="f9"/>
                  </a:moveTo>
                  <a:cubicBezTo>
                    <a:pt x="f10" y="f11"/>
                    <a:pt x="f12" y="f13"/>
                    <a:pt x="f14" y="f15"/>
                  </a:cubicBezTo>
                  <a:cubicBezTo>
                    <a:pt x="f16" y="f17"/>
                    <a:pt x="f18" y="f19"/>
                    <a:pt x="f20" y="f21"/>
                  </a:cubicBezTo>
                  <a:lnTo>
                    <a:pt x="f6" y="f7"/>
                  </a:lnTo>
                  <a:lnTo>
                    <a:pt x="f5" y="f7"/>
                  </a:lnTo>
                  <a:lnTo>
                    <a:pt x="f5" y="f22"/>
                  </a:lnTo>
                  <a:lnTo>
                    <a:pt x="f23" y="f24"/>
                  </a:lnTo>
                  <a:cubicBezTo>
                    <a:pt x="f25" y="f26"/>
                    <a:pt x="f27" y="f28"/>
                    <a:pt x="f29" y="f30"/>
                  </a:cubicBezTo>
                  <a:cubicBezTo>
                    <a:pt x="f31" y="f32"/>
                    <a:pt x="f33" y="f34"/>
                    <a:pt x="f8" y="f9"/>
                  </a:cubicBezTo>
                  <a:close/>
                </a:path>
              </a:pathLst>
            </a:cu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4" name="Freeform 19">
              <a:extLst>
                <a:ext uri="{FF2B5EF4-FFF2-40B4-BE49-F238E27FC236}">
                  <a16:creationId xmlns:a16="http://schemas.microsoft.com/office/drawing/2014/main" id="{CB5D322D-A0DC-BB5B-804B-B14043F2AFE6}"/>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5" name="Freeform 14">
              <a:extLst>
                <a:ext uri="{FF2B5EF4-FFF2-40B4-BE49-F238E27FC236}">
                  <a16:creationId xmlns:a16="http://schemas.microsoft.com/office/drawing/2014/main" id="{5E3BCA9A-3653-7C92-841A-1679FF404140}"/>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6" name="Picture 20">
              <a:extLst>
                <a:ext uri="{FF2B5EF4-FFF2-40B4-BE49-F238E27FC236}">
                  <a16:creationId xmlns:a16="http://schemas.microsoft.com/office/drawing/2014/main" id="{56705EA1-2EE2-4488-A180-ADB93FD42E33}"/>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
        <p:nvSpPr>
          <p:cNvPr id="7" name="Title 10">
            <a:extLst>
              <a:ext uri="{FF2B5EF4-FFF2-40B4-BE49-F238E27FC236}">
                <a16:creationId xmlns:a16="http://schemas.microsoft.com/office/drawing/2014/main" id="{ABB6C7FC-7C1F-C65A-90AF-DD2CFF8357D6}"/>
              </a:ext>
            </a:extLst>
          </p:cNvPr>
          <p:cNvSpPr txBox="1">
            <a:spLocks noGrp="1"/>
          </p:cNvSpPr>
          <p:nvPr>
            <p:ph type="title"/>
          </p:nvPr>
        </p:nvSpPr>
        <p:spPr>
          <a:xfrm>
            <a:off x="1413305" y="701748"/>
            <a:ext cx="9365376" cy="2014679"/>
          </a:xfrm>
        </p:spPr>
        <p:txBody>
          <a:bodyPr anchor="b"/>
          <a:lstStyle>
            <a:lvl1pPr>
              <a:defRPr/>
            </a:lvl1pPr>
          </a:lstStyle>
          <a:p>
            <a:pPr lvl="0"/>
            <a:r>
              <a:rPr lang="en-US"/>
              <a:t>Click to edit Master title style</a:t>
            </a:r>
          </a:p>
        </p:txBody>
      </p:sp>
      <p:sp>
        <p:nvSpPr>
          <p:cNvPr id="8" name="Subtitle 2">
            <a:extLst>
              <a:ext uri="{FF2B5EF4-FFF2-40B4-BE49-F238E27FC236}">
                <a16:creationId xmlns:a16="http://schemas.microsoft.com/office/drawing/2014/main" id="{EBE5D44C-E0F4-ABC5-1B3F-5A558FA6883D}"/>
              </a:ext>
            </a:extLst>
          </p:cNvPr>
          <p:cNvSpPr txBox="1">
            <a:spLocks noGrp="1"/>
          </p:cNvSpPr>
          <p:nvPr>
            <p:ph type="subTitle" idx="4294967295"/>
          </p:nvPr>
        </p:nvSpPr>
        <p:spPr>
          <a:xfrm>
            <a:off x="1413305" y="3081637"/>
            <a:ext cx="9365376" cy="986564"/>
          </a:xfrm>
        </p:spPr>
        <p:txBody>
          <a:bodyPr/>
          <a:lstStyle>
            <a:lvl1pPr marL="0" indent="0">
              <a:buNone/>
              <a:defRPr/>
            </a:lvl1pPr>
          </a:lstStyle>
          <a:p>
            <a:pPr lvl="0"/>
            <a:r>
              <a:rPr lang="en-US"/>
              <a:t>Click to edit Master subtitle style</a:t>
            </a:r>
          </a:p>
        </p:txBody>
      </p:sp>
    </p:spTree>
    <p:extLst>
      <p:ext uri="{BB962C8B-B14F-4D97-AF65-F5344CB8AC3E}">
        <p14:creationId xmlns:p14="http://schemas.microsoft.com/office/powerpoint/2010/main" val="3171446747"/>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AD6FB6C3-3D46-921D-DA94-662A6DBFCE6D}"/>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1C740FF8-25A2-68DB-81F7-79F74F4A456B}"/>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0FD62BD1-0FE2-CA88-1ECC-63BA8B5B9F53}"/>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BE9B154B-D63E-40E4-48E0-981F63E4DB0E}"/>
              </a:ext>
            </a:extLst>
          </p:cNvPr>
          <p:cNvSpPr txBox="1">
            <a:spLocks noGrp="1"/>
          </p:cNvSpPr>
          <p:nvPr>
            <p:ph type="sldNum" sz="quarter" idx="8"/>
          </p:nvPr>
        </p:nvSpPr>
        <p:spPr/>
        <p:txBody>
          <a:bodyPr/>
          <a:lstStyle>
            <a:lvl1pPr>
              <a:defRPr>
                <a:solidFill>
                  <a:srgbClr val="AFB3B9"/>
                </a:solidFill>
              </a:defRPr>
            </a:lvl1pPr>
          </a:lstStyle>
          <a:p>
            <a:pPr lvl="0"/>
            <a:fld id="{7E005A5B-8495-4A7B-84B2-F983DA676651}" type="slidenum">
              <a:t>‹#›</a:t>
            </a:fld>
            <a:endParaRPr lang="en-US"/>
          </a:p>
        </p:txBody>
      </p:sp>
      <p:cxnSp>
        <p:nvCxnSpPr>
          <p:cNvPr id="6" name="Straight Connector 7">
            <a:extLst>
              <a:ext uri="{FF2B5EF4-FFF2-40B4-BE49-F238E27FC236}">
                <a16:creationId xmlns:a16="http://schemas.microsoft.com/office/drawing/2014/main" id="{328B4242-C03A-8252-A17B-3384F00E8155}"/>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54C97B82-02F3-B29A-7493-E71A5CC52510}"/>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C6A69DD4-700B-D4FE-5562-6C49D7C1439F}"/>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29643FEE-856B-7063-68F0-53448D84C62A}"/>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CAEC03D9-83B8-0B51-3283-4CE6B54DF290}"/>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1FB62BFA-01CA-E6EC-3CC1-4C740FFC570F}"/>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CB9780C9-2E2E-CA62-58D6-021286F8F586}"/>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17C5096C-B7A7-78D3-0A53-BA55DCAEF302}"/>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2556188670"/>
      </p:ext>
    </p:extLst>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p:cSld name="22_Divider">
    <p:bg>
      <p:bgPr>
        <a:solidFill>
          <a:srgbClr val="F3F6FB"/>
        </a:solidFill>
        <a:effectLst/>
      </p:bgPr>
    </p:bg>
    <p:spTree>
      <p:nvGrpSpPr>
        <p:cNvPr id="1" name=""/>
        <p:cNvGrpSpPr/>
        <p:nvPr/>
      </p:nvGrpSpPr>
      <p:grpSpPr>
        <a:xfrm>
          <a:off x="0" y="0"/>
          <a:ext cx="0" cy="0"/>
          <a:chOff x="0" y="0"/>
          <a:chExt cx="0" cy="0"/>
        </a:xfrm>
      </p:grpSpPr>
      <p:grpSp>
        <p:nvGrpSpPr>
          <p:cNvPr id="2" name="Group 9">
            <a:extLst>
              <a:ext uri="{FF2B5EF4-FFF2-40B4-BE49-F238E27FC236}">
                <a16:creationId xmlns:a16="http://schemas.microsoft.com/office/drawing/2014/main" id="{A8D93AA7-CF80-6F91-FA05-210A1DDC7058}"/>
              </a:ext>
            </a:extLst>
          </p:cNvPr>
          <p:cNvGrpSpPr/>
          <p:nvPr/>
        </p:nvGrpSpPr>
        <p:grpSpPr>
          <a:xfrm>
            <a:off x="0" y="5020349"/>
            <a:ext cx="12191996" cy="1837651"/>
            <a:chOff x="0" y="5020348"/>
            <a:chExt cx="12191996" cy="1837651"/>
          </a:xfrm>
        </p:grpSpPr>
        <p:sp>
          <p:nvSpPr>
            <p:cNvPr id="3" name="Freeform 25">
              <a:extLst>
                <a:ext uri="{FF2B5EF4-FFF2-40B4-BE49-F238E27FC236}">
                  <a16:creationId xmlns:a16="http://schemas.microsoft.com/office/drawing/2014/main" id="{5BE9FC2B-6504-8014-C1BB-862F40C90045}"/>
                </a:ext>
              </a:extLst>
            </p:cNvPr>
            <p:cNvSpPr/>
            <p:nvPr/>
          </p:nvSpPr>
          <p:spPr>
            <a:xfrm>
              <a:off x="0" y="5100267"/>
              <a:ext cx="7111371" cy="1757732"/>
            </a:xfrm>
            <a:custGeom>
              <a:avLst/>
              <a:gdLst>
                <a:gd name="f0" fmla="val 10800000"/>
                <a:gd name="f1" fmla="val 5400000"/>
                <a:gd name="f2" fmla="val 180"/>
                <a:gd name="f3" fmla="val w"/>
                <a:gd name="f4" fmla="val h"/>
                <a:gd name="f5" fmla="val 0"/>
                <a:gd name="f6" fmla="val 7111369"/>
                <a:gd name="f7" fmla="val 1757730"/>
                <a:gd name="f8" fmla="val 772954"/>
                <a:gd name="f9" fmla="val 2778"/>
                <a:gd name="f10" fmla="val 1769038"/>
                <a:gd name="f11" fmla="val 30799"/>
                <a:gd name="f12" fmla="val 2696750"/>
                <a:gd name="f13" fmla="val 267531"/>
                <a:gd name="f14" fmla="val 3590934"/>
                <a:gd name="f15" fmla="val 566046"/>
                <a:gd name="f16" fmla="val 4684008"/>
                <a:gd name="f17" fmla="val 930921"/>
                <a:gd name="f18" fmla="val 5690778"/>
                <a:gd name="f19" fmla="val 1324625"/>
                <a:gd name="f20" fmla="val 6700767"/>
                <a:gd name="f21" fmla="val 1636882"/>
                <a:gd name="f22" fmla="val 25690"/>
                <a:gd name="f23" fmla="val 2197"/>
                <a:gd name="f24" fmla="val 25414"/>
                <a:gd name="f25" fmla="val 114653"/>
                <a:gd name="f26" fmla="val 14905"/>
                <a:gd name="f27" fmla="val 227801"/>
                <a:gd name="f28" fmla="val 7857"/>
                <a:gd name="f29" fmla="val 341773"/>
                <a:gd name="f30" fmla="val 3976"/>
                <a:gd name="f31" fmla="val 486963"/>
                <a:gd name="f32" fmla="+- 0 0 968"/>
                <a:gd name="f33" fmla="val 630656"/>
                <a:gd name="f34" fmla="+- 0 0 1224"/>
                <a:gd name="f35" fmla="+- 0 0 -90"/>
                <a:gd name="f36" fmla="*/ f3 1 7111369"/>
                <a:gd name="f37" fmla="*/ f4 1 1757730"/>
                <a:gd name="f38" fmla="+- f7 0 f5"/>
                <a:gd name="f39" fmla="+- f6 0 f5"/>
                <a:gd name="f40" fmla="*/ f35 f0 1"/>
                <a:gd name="f41" fmla="*/ f39 1 7111369"/>
                <a:gd name="f42" fmla="*/ f38 1 1757730"/>
                <a:gd name="f43" fmla="*/ 772954 f39 1"/>
                <a:gd name="f44" fmla="*/ 2778 f38 1"/>
                <a:gd name="f45" fmla="*/ 3590934 f39 1"/>
                <a:gd name="f46" fmla="*/ 566046 f38 1"/>
                <a:gd name="f47" fmla="*/ 6700767 f39 1"/>
                <a:gd name="f48" fmla="*/ 1636882 f38 1"/>
                <a:gd name="f49" fmla="*/ 7111369 f39 1"/>
                <a:gd name="f50" fmla="*/ 1757730 f38 1"/>
                <a:gd name="f51" fmla="*/ 0 f39 1"/>
                <a:gd name="f52" fmla="*/ 25690 f38 1"/>
                <a:gd name="f53" fmla="*/ 2197 f39 1"/>
                <a:gd name="f54" fmla="*/ 25414 f38 1"/>
                <a:gd name="f55" fmla="*/ 341773 f39 1"/>
                <a:gd name="f56" fmla="*/ 3976 f38 1"/>
                <a:gd name="f57" fmla="*/ f40 1 f2"/>
                <a:gd name="f58" fmla="*/ f43 1 7111369"/>
                <a:gd name="f59" fmla="*/ f44 1 1757730"/>
                <a:gd name="f60" fmla="*/ f45 1 7111369"/>
                <a:gd name="f61" fmla="*/ f46 1 1757730"/>
                <a:gd name="f62" fmla="*/ f47 1 7111369"/>
                <a:gd name="f63" fmla="*/ f48 1 1757730"/>
                <a:gd name="f64" fmla="*/ f49 1 7111369"/>
                <a:gd name="f65" fmla="*/ f50 1 1757730"/>
                <a:gd name="f66" fmla="*/ f51 1 7111369"/>
                <a:gd name="f67" fmla="*/ f52 1 1757730"/>
                <a:gd name="f68" fmla="*/ f53 1 7111369"/>
                <a:gd name="f69" fmla="*/ f54 1 1757730"/>
                <a:gd name="f70" fmla="*/ f55 1 7111369"/>
                <a:gd name="f71" fmla="*/ f56 1 1757730"/>
                <a:gd name="f72" fmla="*/ f5 1 f41"/>
                <a:gd name="f73" fmla="*/ f6 1 f41"/>
                <a:gd name="f74" fmla="*/ f5 1 f42"/>
                <a:gd name="f75" fmla="*/ f7 1 f42"/>
                <a:gd name="f76" fmla="+- f57 0 f1"/>
                <a:gd name="f77" fmla="*/ f58 1 f41"/>
                <a:gd name="f78" fmla="*/ f59 1 f42"/>
                <a:gd name="f79" fmla="*/ f60 1 f41"/>
                <a:gd name="f80" fmla="*/ f61 1 f42"/>
                <a:gd name="f81" fmla="*/ f62 1 f41"/>
                <a:gd name="f82" fmla="*/ f63 1 f42"/>
                <a:gd name="f83" fmla="*/ f64 1 f41"/>
                <a:gd name="f84" fmla="*/ f65 1 f42"/>
                <a:gd name="f85" fmla="*/ f66 1 f41"/>
                <a:gd name="f86" fmla="*/ f67 1 f42"/>
                <a:gd name="f87" fmla="*/ f68 1 f41"/>
                <a:gd name="f88" fmla="*/ f69 1 f42"/>
                <a:gd name="f89" fmla="*/ f70 1 f41"/>
                <a:gd name="f90" fmla="*/ f71 1 f42"/>
                <a:gd name="f91" fmla="*/ f72 f36 1"/>
                <a:gd name="f92" fmla="*/ f73 f36 1"/>
                <a:gd name="f93" fmla="*/ f75 f37 1"/>
                <a:gd name="f94" fmla="*/ f74 f37 1"/>
                <a:gd name="f95" fmla="*/ f77 f36 1"/>
                <a:gd name="f96" fmla="*/ f78 f37 1"/>
                <a:gd name="f97" fmla="*/ f79 f36 1"/>
                <a:gd name="f98" fmla="*/ f80 f37 1"/>
                <a:gd name="f99" fmla="*/ f81 f36 1"/>
                <a:gd name="f100" fmla="*/ f82 f37 1"/>
                <a:gd name="f101" fmla="*/ f83 f36 1"/>
                <a:gd name="f102" fmla="*/ f84 f37 1"/>
                <a:gd name="f103" fmla="*/ f85 f36 1"/>
                <a:gd name="f104" fmla="*/ f86 f37 1"/>
                <a:gd name="f105" fmla="*/ f87 f36 1"/>
                <a:gd name="f106" fmla="*/ f88 f37 1"/>
                <a:gd name="f107" fmla="*/ f89 f36 1"/>
                <a:gd name="f108" fmla="*/ f90 f37 1"/>
              </a:gdLst>
              <a:ahLst/>
              <a:cxnLst>
                <a:cxn ang="3cd4">
                  <a:pos x="hc" y="t"/>
                </a:cxn>
                <a:cxn ang="0">
                  <a:pos x="r" y="vc"/>
                </a:cxn>
                <a:cxn ang="cd4">
                  <a:pos x="hc" y="b"/>
                </a:cxn>
                <a:cxn ang="cd2">
                  <a:pos x="l" y="vc"/>
                </a:cxn>
                <a:cxn ang="f76">
                  <a:pos x="f95" y="f96"/>
                </a:cxn>
                <a:cxn ang="f76">
                  <a:pos x="f97" y="f98"/>
                </a:cxn>
                <a:cxn ang="f76">
                  <a:pos x="f99" y="f100"/>
                </a:cxn>
                <a:cxn ang="f76">
                  <a:pos x="f101" y="f102"/>
                </a:cxn>
                <a:cxn ang="f76">
                  <a:pos x="f103" y="f102"/>
                </a:cxn>
                <a:cxn ang="f76">
                  <a:pos x="f103" y="f104"/>
                </a:cxn>
                <a:cxn ang="f76">
                  <a:pos x="f105" y="f106"/>
                </a:cxn>
                <a:cxn ang="f76">
                  <a:pos x="f107" y="f108"/>
                </a:cxn>
                <a:cxn ang="f76">
                  <a:pos x="f95" y="f96"/>
                </a:cxn>
              </a:cxnLst>
              <a:rect l="f91" t="f94" r="f92" b="f93"/>
              <a:pathLst>
                <a:path w="7111369" h="1757730">
                  <a:moveTo>
                    <a:pt x="f8" y="f9"/>
                  </a:moveTo>
                  <a:cubicBezTo>
                    <a:pt x="f10" y="f11"/>
                    <a:pt x="f12" y="f13"/>
                    <a:pt x="f14" y="f15"/>
                  </a:cubicBezTo>
                  <a:cubicBezTo>
                    <a:pt x="f16" y="f17"/>
                    <a:pt x="f18" y="f19"/>
                    <a:pt x="f20" y="f21"/>
                  </a:cubicBezTo>
                  <a:lnTo>
                    <a:pt x="f6" y="f7"/>
                  </a:lnTo>
                  <a:lnTo>
                    <a:pt x="f5" y="f7"/>
                  </a:lnTo>
                  <a:lnTo>
                    <a:pt x="f5" y="f22"/>
                  </a:lnTo>
                  <a:lnTo>
                    <a:pt x="f23" y="f24"/>
                  </a:lnTo>
                  <a:cubicBezTo>
                    <a:pt x="f25" y="f26"/>
                    <a:pt x="f27" y="f28"/>
                    <a:pt x="f29" y="f30"/>
                  </a:cubicBezTo>
                  <a:cubicBezTo>
                    <a:pt x="f31" y="f32"/>
                    <a:pt x="f33" y="f34"/>
                    <a:pt x="f8" y="f9"/>
                  </a:cubicBezTo>
                  <a:close/>
                </a:path>
              </a:pathLst>
            </a:cu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4" name="Freeform 19">
              <a:extLst>
                <a:ext uri="{FF2B5EF4-FFF2-40B4-BE49-F238E27FC236}">
                  <a16:creationId xmlns:a16="http://schemas.microsoft.com/office/drawing/2014/main" id="{EBCC0D8C-D326-5917-2248-DE8711F52FBB}"/>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5" name="Freeform 14">
              <a:extLst>
                <a:ext uri="{FF2B5EF4-FFF2-40B4-BE49-F238E27FC236}">
                  <a16:creationId xmlns:a16="http://schemas.microsoft.com/office/drawing/2014/main" id="{FC274216-62D7-4A5F-A3FB-85418C88F4B9}"/>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6" name="Picture 20">
              <a:extLst>
                <a:ext uri="{FF2B5EF4-FFF2-40B4-BE49-F238E27FC236}">
                  <a16:creationId xmlns:a16="http://schemas.microsoft.com/office/drawing/2014/main" id="{8A93011B-FBE4-7A67-0C3B-EECAB28E8068}"/>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
        <p:nvSpPr>
          <p:cNvPr id="7" name="Title 10">
            <a:extLst>
              <a:ext uri="{FF2B5EF4-FFF2-40B4-BE49-F238E27FC236}">
                <a16:creationId xmlns:a16="http://schemas.microsoft.com/office/drawing/2014/main" id="{CECE5AF4-BD47-87F6-AD65-DD9BDD5A8993}"/>
              </a:ext>
            </a:extLst>
          </p:cNvPr>
          <p:cNvSpPr txBox="1">
            <a:spLocks noGrp="1"/>
          </p:cNvSpPr>
          <p:nvPr>
            <p:ph type="title"/>
          </p:nvPr>
        </p:nvSpPr>
        <p:spPr>
          <a:xfrm>
            <a:off x="1413305" y="701748"/>
            <a:ext cx="9365376" cy="2014679"/>
          </a:xfrm>
        </p:spPr>
        <p:txBody>
          <a:bodyPr anchor="b"/>
          <a:lstStyle>
            <a:lvl1pPr>
              <a:defRPr/>
            </a:lvl1pPr>
          </a:lstStyle>
          <a:p>
            <a:pPr lvl="0"/>
            <a:r>
              <a:rPr lang="en-US"/>
              <a:t>Click to edit Master title style</a:t>
            </a:r>
          </a:p>
        </p:txBody>
      </p:sp>
      <p:sp>
        <p:nvSpPr>
          <p:cNvPr id="8" name="Subtitle 2">
            <a:extLst>
              <a:ext uri="{FF2B5EF4-FFF2-40B4-BE49-F238E27FC236}">
                <a16:creationId xmlns:a16="http://schemas.microsoft.com/office/drawing/2014/main" id="{DEEF14CA-C247-4C20-B984-54DA148F1D4F}"/>
              </a:ext>
            </a:extLst>
          </p:cNvPr>
          <p:cNvSpPr txBox="1">
            <a:spLocks noGrp="1"/>
          </p:cNvSpPr>
          <p:nvPr>
            <p:ph type="subTitle" idx="4294967295"/>
          </p:nvPr>
        </p:nvSpPr>
        <p:spPr>
          <a:xfrm>
            <a:off x="1413305" y="3081637"/>
            <a:ext cx="9365376" cy="986564"/>
          </a:xfrm>
        </p:spPr>
        <p:txBody>
          <a:bodyPr/>
          <a:lstStyle>
            <a:lvl1pPr marL="0" indent="0">
              <a:buNone/>
              <a:defRPr/>
            </a:lvl1pPr>
          </a:lstStyle>
          <a:p>
            <a:pPr lvl="0"/>
            <a:r>
              <a:rPr lang="en-US"/>
              <a:t>Click to edit Master subtitle style</a:t>
            </a:r>
          </a:p>
        </p:txBody>
      </p:sp>
    </p:spTree>
    <p:extLst>
      <p:ext uri="{BB962C8B-B14F-4D97-AF65-F5344CB8AC3E}">
        <p14:creationId xmlns:p14="http://schemas.microsoft.com/office/powerpoint/2010/main" val="2548125728"/>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type="obj" preserve="1">
  <p:cSld name="32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B77CB97C-6357-9F49-4429-78111C99DE11}"/>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30B5A243-67FB-FE4B-9898-677B7231D6E2}"/>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13866971-6A56-B720-9B17-B01FE3CD056A}"/>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D8806257-3274-2ACD-51AE-057537A46C52}"/>
              </a:ext>
            </a:extLst>
          </p:cNvPr>
          <p:cNvSpPr txBox="1">
            <a:spLocks noGrp="1"/>
          </p:cNvSpPr>
          <p:nvPr>
            <p:ph type="sldNum" sz="quarter" idx="8"/>
          </p:nvPr>
        </p:nvSpPr>
        <p:spPr/>
        <p:txBody>
          <a:bodyPr/>
          <a:lstStyle>
            <a:lvl1pPr>
              <a:defRPr>
                <a:solidFill>
                  <a:srgbClr val="AFB3B9"/>
                </a:solidFill>
              </a:defRPr>
            </a:lvl1pPr>
          </a:lstStyle>
          <a:p>
            <a:pPr lvl="0"/>
            <a:fld id="{BDE4A193-8C31-4B43-B75A-E6495400CEA6}" type="slidenum">
              <a:t>‹#›</a:t>
            </a:fld>
            <a:endParaRPr lang="en-US"/>
          </a:p>
        </p:txBody>
      </p:sp>
      <p:cxnSp>
        <p:nvCxnSpPr>
          <p:cNvPr id="6" name="Straight Connector 7">
            <a:extLst>
              <a:ext uri="{FF2B5EF4-FFF2-40B4-BE49-F238E27FC236}">
                <a16:creationId xmlns:a16="http://schemas.microsoft.com/office/drawing/2014/main" id="{494FE8F2-428F-15A7-05D9-4FB68A63DDC9}"/>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FDBB6E55-7354-9AD6-9ECD-9F9A22739992}"/>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EF2EB4C9-B0BC-3648-F03C-D4391BD6AC8F}"/>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FF40F7BA-B341-5FEF-7062-0B0531E02DD5}"/>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54DAE182-E768-C6B6-EC75-AE79A96AE33F}"/>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B958893E-E36A-4179-DA7E-9F8E6391EF22}"/>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F0F5C39B-BF87-83ED-11C6-1851E1C55A86}"/>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A65AA77D-EA73-F0A2-AB18-414B270E9728}"/>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149309522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Photo Slide">
  <p:cSld name="Photo Slide 4">
    <p:spTree>
      <p:nvGrpSpPr>
        <p:cNvPr id="1" name="Shape 9593"/>
        <p:cNvGrpSpPr/>
        <p:nvPr/>
      </p:nvGrpSpPr>
      <p:grpSpPr>
        <a:xfrm>
          <a:off x="0" y="0"/>
          <a:ext cx="0" cy="0"/>
          <a:chOff x="0" y="0"/>
          <a:chExt cx="0" cy="0"/>
        </a:xfrm>
      </p:grpSpPr>
      <p:sp>
        <p:nvSpPr>
          <p:cNvPr id="9594" name="Google Shape;9594;p136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595" name="Google Shape;9595;p136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596" name="Google Shape;9596;p1369"/>
          <p:cNvGrpSpPr/>
          <p:nvPr/>
        </p:nvGrpSpPr>
        <p:grpSpPr>
          <a:xfrm>
            <a:off x="0" y="5379426"/>
            <a:ext cx="2807368" cy="753891"/>
            <a:chOff x="0" y="5379426"/>
            <a:chExt cx="2807368" cy="753891"/>
          </a:xfrm>
        </p:grpSpPr>
        <p:sp>
          <p:nvSpPr>
            <p:cNvPr id="9597" name="Google Shape;9597;p136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598" name="Google Shape;9598;p136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599" name="Google Shape;9599;p1369"/>
          <p:cNvSpPr>
            <a:spLocks noGrp="1"/>
          </p:cNvSpPr>
          <p:nvPr>
            <p:ph type="pic" idx="2"/>
          </p:nvPr>
        </p:nvSpPr>
        <p:spPr>
          <a:xfrm>
            <a:off x="2807368" y="457202"/>
            <a:ext cx="8915400" cy="5943598"/>
          </a:xfrm>
          <a:prstGeom prst="rect">
            <a:avLst/>
          </a:prstGeom>
          <a:noFill/>
          <a:ln>
            <a:noFill/>
          </a:ln>
        </p:spPr>
      </p:sp>
      <p:pic>
        <p:nvPicPr>
          <p:cNvPr id="9600" name="Google Shape;9600;p136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p:cSld name="16_Divider">
    <p:bg>
      <p:bgPr>
        <a:solidFill>
          <a:srgbClr val="F3F6FB"/>
        </a:solidFill>
        <a:effectLst/>
      </p:bgPr>
    </p:bg>
    <p:spTree>
      <p:nvGrpSpPr>
        <p:cNvPr id="1" name=""/>
        <p:cNvGrpSpPr/>
        <p:nvPr/>
      </p:nvGrpSpPr>
      <p:grpSpPr>
        <a:xfrm>
          <a:off x="0" y="0"/>
          <a:ext cx="0" cy="0"/>
          <a:chOff x="0" y="0"/>
          <a:chExt cx="0" cy="0"/>
        </a:xfrm>
      </p:grpSpPr>
      <p:grpSp>
        <p:nvGrpSpPr>
          <p:cNvPr id="2" name="Group 9">
            <a:extLst>
              <a:ext uri="{FF2B5EF4-FFF2-40B4-BE49-F238E27FC236}">
                <a16:creationId xmlns:a16="http://schemas.microsoft.com/office/drawing/2014/main" id="{CD163C2E-F4B9-5592-EFFE-C4C62973FD2F}"/>
              </a:ext>
            </a:extLst>
          </p:cNvPr>
          <p:cNvGrpSpPr/>
          <p:nvPr/>
        </p:nvGrpSpPr>
        <p:grpSpPr>
          <a:xfrm>
            <a:off x="0" y="5020349"/>
            <a:ext cx="12191996" cy="1837651"/>
            <a:chOff x="0" y="5020348"/>
            <a:chExt cx="12191996" cy="1837651"/>
          </a:xfrm>
        </p:grpSpPr>
        <p:sp>
          <p:nvSpPr>
            <p:cNvPr id="3" name="Freeform 25">
              <a:extLst>
                <a:ext uri="{FF2B5EF4-FFF2-40B4-BE49-F238E27FC236}">
                  <a16:creationId xmlns:a16="http://schemas.microsoft.com/office/drawing/2014/main" id="{C8EA5886-2B9C-6CAB-92B3-487476CF2401}"/>
                </a:ext>
              </a:extLst>
            </p:cNvPr>
            <p:cNvSpPr/>
            <p:nvPr/>
          </p:nvSpPr>
          <p:spPr>
            <a:xfrm>
              <a:off x="0" y="5100267"/>
              <a:ext cx="7111371" cy="1757732"/>
            </a:xfrm>
            <a:custGeom>
              <a:avLst/>
              <a:gdLst>
                <a:gd name="f0" fmla="val 10800000"/>
                <a:gd name="f1" fmla="val 5400000"/>
                <a:gd name="f2" fmla="val 180"/>
                <a:gd name="f3" fmla="val w"/>
                <a:gd name="f4" fmla="val h"/>
                <a:gd name="f5" fmla="val 0"/>
                <a:gd name="f6" fmla="val 7111369"/>
                <a:gd name="f7" fmla="val 1757730"/>
                <a:gd name="f8" fmla="val 772954"/>
                <a:gd name="f9" fmla="val 2778"/>
                <a:gd name="f10" fmla="val 1769038"/>
                <a:gd name="f11" fmla="val 30799"/>
                <a:gd name="f12" fmla="val 2696750"/>
                <a:gd name="f13" fmla="val 267531"/>
                <a:gd name="f14" fmla="val 3590934"/>
                <a:gd name="f15" fmla="val 566046"/>
                <a:gd name="f16" fmla="val 4684008"/>
                <a:gd name="f17" fmla="val 930921"/>
                <a:gd name="f18" fmla="val 5690778"/>
                <a:gd name="f19" fmla="val 1324625"/>
                <a:gd name="f20" fmla="val 6700767"/>
                <a:gd name="f21" fmla="val 1636882"/>
                <a:gd name="f22" fmla="val 25690"/>
                <a:gd name="f23" fmla="val 2197"/>
                <a:gd name="f24" fmla="val 25414"/>
                <a:gd name="f25" fmla="val 114653"/>
                <a:gd name="f26" fmla="val 14905"/>
                <a:gd name="f27" fmla="val 227801"/>
                <a:gd name="f28" fmla="val 7857"/>
                <a:gd name="f29" fmla="val 341773"/>
                <a:gd name="f30" fmla="val 3976"/>
                <a:gd name="f31" fmla="val 486963"/>
                <a:gd name="f32" fmla="+- 0 0 968"/>
                <a:gd name="f33" fmla="val 630656"/>
                <a:gd name="f34" fmla="+- 0 0 1224"/>
                <a:gd name="f35" fmla="+- 0 0 -90"/>
                <a:gd name="f36" fmla="*/ f3 1 7111369"/>
                <a:gd name="f37" fmla="*/ f4 1 1757730"/>
                <a:gd name="f38" fmla="+- f7 0 f5"/>
                <a:gd name="f39" fmla="+- f6 0 f5"/>
                <a:gd name="f40" fmla="*/ f35 f0 1"/>
                <a:gd name="f41" fmla="*/ f39 1 7111369"/>
                <a:gd name="f42" fmla="*/ f38 1 1757730"/>
                <a:gd name="f43" fmla="*/ 772954 f39 1"/>
                <a:gd name="f44" fmla="*/ 2778 f38 1"/>
                <a:gd name="f45" fmla="*/ 3590934 f39 1"/>
                <a:gd name="f46" fmla="*/ 566046 f38 1"/>
                <a:gd name="f47" fmla="*/ 6700767 f39 1"/>
                <a:gd name="f48" fmla="*/ 1636882 f38 1"/>
                <a:gd name="f49" fmla="*/ 7111369 f39 1"/>
                <a:gd name="f50" fmla="*/ 1757730 f38 1"/>
                <a:gd name="f51" fmla="*/ 0 f39 1"/>
                <a:gd name="f52" fmla="*/ 25690 f38 1"/>
                <a:gd name="f53" fmla="*/ 2197 f39 1"/>
                <a:gd name="f54" fmla="*/ 25414 f38 1"/>
                <a:gd name="f55" fmla="*/ 341773 f39 1"/>
                <a:gd name="f56" fmla="*/ 3976 f38 1"/>
                <a:gd name="f57" fmla="*/ f40 1 f2"/>
                <a:gd name="f58" fmla="*/ f43 1 7111369"/>
                <a:gd name="f59" fmla="*/ f44 1 1757730"/>
                <a:gd name="f60" fmla="*/ f45 1 7111369"/>
                <a:gd name="f61" fmla="*/ f46 1 1757730"/>
                <a:gd name="f62" fmla="*/ f47 1 7111369"/>
                <a:gd name="f63" fmla="*/ f48 1 1757730"/>
                <a:gd name="f64" fmla="*/ f49 1 7111369"/>
                <a:gd name="f65" fmla="*/ f50 1 1757730"/>
                <a:gd name="f66" fmla="*/ f51 1 7111369"/>
                <a:gd name="f67" fmla="*/ f52 1 1757730"/>
                <a:gd name="f68" fmla="*/ f53 1 7111369"/>
                <a:gd name="f69" fmla="*/ f54 1 1757730"/>
                <a:gd name="f70" fmla="*/ f55 1 7111369"/>
                <a:gd name="f71" fmla="*/ f56 1 1757730"/>
                <a:gd name="f72" fmla="*/ f5 1 f41"/>
                <a:gd name="f73" fmla="*/ f6 1 f41"/>
                <a:gd name="f74" fmla="*/ f5 1 f42"/>
                <a:gd name="f75" fmla="*/ f7 1 f42"/>
                <a:gd name="f76" fmla="+- f57 0 f1"/>
                <a:gd name="f77" fmla="*/ f58 1 f41"/>
                <a:gd name="f78" fmla="*/ f59 1 f42"/>
                <a:gd name="f79" fmla="*/ f60 1 f41"/>
                <a:gd name="f80" fmla="*/ f61 1 f42"/>
                <a:gd name="f81" fmla="*/ f62 1 f41"/>
                <a:gd name="f82" fmla="*/ f63 1 f42"/>
                <a:gd name="f83" fmla="*/ f64 1 f41"/>
                <a:gd name="f84" fmla="*/ f65 1 f42"/>
                <a:gd name="f85" fmla="*/ f66 1 f41"/>
                <a:gd name="f86" fmla="*/ f67 1 f42"/>
                <a:gd name="f87" fmla="*/ f68 1 f41"/>
                <a:gd name="f88" fmla="*/ f69 1 f42"/>
                <a:gd name="f89" fmla="*/ f70 1 f41"/>
                <a:gd name="f90" fmla="*/ f71 1 f42"/>
                <a:gd name="f91" fmla="*/ f72 f36 1"/>
                <a:gd name="f92" fmla="*/ f73 f36 1"/>
                <a:gd name="f93" fmla="*/ f75 f37 1"/>
                <a:gd name="f94" fmla="*/ f74 f37 1"/>
                <a:gd name="f95" fmla="*/ f77 f36 1"/>
                <a:gd name="f96" fmla="*/ f78 f37 1"/>
                <a:gd name="f97" fmla="*/ f79 f36 1"/>
                <a:gd name="f98" fmla="*/ f80 f37 1"/>
                <a:gd name="f99" fmla="*/ f81 f36 1"/>
                <a:gd name="f100" fmla="*/ f82 f37 1"/>
                <a:gd name="f101" fmla="*/ f83 f36 1"/>
                <a:gd name="f102" fmla="*/ f84 f37 1"/>
                <a:gd name="f103" fmla="*/ f85 f36 1"/>
                <a:gd name="f104" fmla="*/ f86 f37 1"/>
                <a:gd name="f105" fmla="*/ f87 f36 1"/>
                <a:gd name="f106" fmla="*/ f88 f37 1"/>
                <a:gd name="f107" fmla="*/ f89 f36 1"/>
                <a:gd name="f108" fmla="*/ f90 f37 1"/>
              </a:gdLst>
              <a:ahLst/>
              <a:cxnLst>
                <a:cxn ang="3cd4">
                  <a:pos x="hc" y="t"/>
                </a:cxn>
                <a:cxn ang="0">
                  <a:pos x="r" y="vc"/>
                </a:cxn>
                <a:cxn ang="cd4">
                  <a:pos x="hc" y="b"/>
                </a:cxn>
                <a:cxn ang="cd2">
                  <a:pos x="l" y="vc"/>
                </a:cxn>
                <a:cxn ang="f76">
                  <a:pos x="f95" y="f96"/>
                </a:cxn>
                <a:cxn ang="f76">
                  <a:pos x="f97" y="f98"/>
                </a:cxn>
                <a:cxn ang="f76">
                  <a:pos x="f99" y="f100"/>
                </a:cxn>
                <a:cxn ang="f76">
                  <a:pos x="f101" y="f102"/>
                </a:cxn>
                <a:cxn ang="f76">
                  <a:pos x="f103" y="f102"/>
                </a:cxn>
                <a:cxn ang="f76">
                  <a:pos x="f103" y="f104"/>
                </a:cxn>
                <a:cxn ang="f76">
                  <a:pos x="f105" y="f106"/>
                </a:cxn>
                <a:cxn ang="f76">
                  <a:pos x="f107" y="f108"/>
                </a:cxn>
                <a:cxn ang="f76">
                  <a:pos x="f95" y="f96"/>
                </a:cxn>
              </a:cxnLst>
              <a:rect l="f91" t="f94" r="f92" b="f93"/>
              <a:pathLst>
                <a:path w="7111369" h="1757730">
                  <a:moveTo>
                    <a:pt x="f8" y="f9"/>
                  </a:moveTo>
                  <a:cubicBezTo>
                    <a:pt x="f10" y="f11"/>
                    <a:pt x="f12" y="f13"/>
                    <a:pt x="f14" y="f15"/>
                  </a:cubicBezTo>
                  <a:cubicBezTo>
                    <a:pt x="f16" y="f17"/>
                    <a:pt x="f18" y="f19"/>
                    <a:pt x="f20" y="f21"/>
                  </a:cubicBezTo>
                  <a:lnTo>
                    <a:pt x="f6" y="f7"/>
                  </a:lnTo>
                  <a:lnTo>
                    <a:pt x="f5" y="f7"/>
                  </a:lnTo>
                  <a:lnTo>
                    <a:pt x="f5" y="f22"/>
                  </a:lnTo>
                  <a:lnTo>
                    <a:pt x="f23" y="f24"/>
                  </a:lnTo>
                  <a:cubicBezTo>
                    <a:pt x="f25" y="f26"/>
                    <a:pt x="f27" y="f28"/>
                    <a:pt x="f29" y="f30"/>
                  </a:cubicBezTo>
                  <a:cubicBezTo>
                    <a:pt x="f31" y="f32"/>
                    <a:pt x="f33" y="f34"/>
                    <a:pt x="f8" y="f9"/>
                  </a:cubicBezTo>
                  <a:close/>
                </a:path>
              </a:pathLst>
            </a:cu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4" name="Freeform 19">
              <a:extLst>
                <a:ext uri="{FF2B5EF4-FFF2-40B4-BE49-F238E27FC236}">
                  <a16:creationId xmlns:a16="http://schemas.microsoft.com/office/drawing/2014/main" id="{EECF2664-A7E6-DAAD-0EFE-0D6DD93DA7E5}"/>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5" name="Freeform 14">
              <a:extLst>
                <a:ext uri="{FF2B5EF4-FFF2-40B4-BE49-F238E27FC236}">
                  <a16:creationId xmlns:a16="http://schemas.microsoft.com/office/drawing/2014/main" id="{15CAAACD-4304-D5AB-74DE-166EFFDB9C34}"/>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6" name="Picture 20">
              <a:extLst>
                <a:ext uri="{FF2B5EF4-FFF2-40B4-BE49-F238E27FC236}">
                  <a16:creationId xmlns:a16="http://schemas.microsoft.com/office/drawing/2014/main" id="{0E9AAA31-C849-5A7E-6D54-9938D0DE701E}"/>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
        <p:nvSpPr>
          <p:cNvPr id="7" name="Title 10">
            <a:extLst>
              <a:ext uri="{FF2B5EF4-FFF2-40B4-BE49-F238E27FC236}">
                <a16:creationId xmlns:a16="http://schemas.microsoft.com/office/drawing/2014/main" id="{C16D65DA-4C0A-FF29-F0FF-CA4E32E9D91D}"/>
              </a:ext>
            </a:extLst>
          </p:cNvPr>
          <p:cNvSpPr txBox="1">
            <a:spLocks noGrp="1"/>
          </p:cNvSpPr>
          <p:nvPr>
            <p:ph type="title"/>
          </p:nvPr>
        </p:nvSpPr>
        <p:spPr>
          <a:xfrm>
            <a:off x="1413305" y="701748"/>
            <a:ext cx="9365376" cy="2014679"/>
          </a:xfrm>
        </p:spPr>
        <p:txBody>
          <a:bodyPr anchor="b"/>
          <a:lstStyle>
            <a:lvl1pPr>
              <a:defRPr/>
            </a:lvl1pPr>
          </a:lstStyle>
          <a:p>
            <a:pPr lvl="0"/>
            <a:r>
              <a:rPr lang="en-US"/>
              <a:t>Click to edit Master title style</a:t>
            </a:r>
          </a:p>
        </p:txBody>
      </p:sp>
      <p:sp>
        <p:nvSpPr>
          <p:cNvPr id="8" name="Subtitle 2">
            <a:extLst>
              <a:ext uri="{FF2B5EF4-FFF2-40B4-BE49-F238E27FC236}">
                <a16:creationId xmlns:a16="http://schemas.microsoft.com/office/drawing/2014/main" id="{A121874C-7B19-EBB7-486C-8E41CE78F118}"/>
              </a:ext>
            </a:extLst>
          </p:cNvPr>
          <p:cNvSpPr txBox="1">
            <a:spLocks noGrp="1"/>
          </p:cNvSpPr>
          <p:nvPr>
            <p:ph type="subTitle" idx="4294967295"/>
          </p:nvPr>
        </p:nvSpPr>
        <p:spPr>
          <a:xfrm>
            <a:off x="1413305" y="3081637"/>
            <a:ext cx="9365376" cy="986564"/>
          </a:xfrm>
        </p:spPr>
        <p:txBody>
          <a:bodyPr/>
          <a:lstStyle>
            <a:lvl1pPr marL="0" indent="0">
              <a:buNone/>
              <a:defRPr/>
            </a:lvl1pPr>
          </a:lstStyle>
          <a:p>
            <a:pPr lvl="0"/>
            <a:r>
              <a:rPr lang="en-US"/>
              <a:t>Click to edit Master subtitle style</a:t>
            </a:r>
          </a:p>
        </p:txBody>
      </p:sp>
    </p:spTree>
    <p:extLst>
      <p:ext uri="{BB962C8B-B14F-4D97-AF65-F5344CB8AC3E}">
        <p14:creationId xmlns:p14="http://schemas.microsoft.com/office/powerpoint/2010/main" val="894660220"/>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p:cSld name="20_Divider">
    <p:bg>
      <p:bgPr>
        <a:solidFill>
          <a:srgbClr val="F3F6FB"/>
        </a:solidFill>
        <a:effectLst/>
      </p:bgPr>
    </p:bg>
    <p:spTree>
      <p:nvGrpSpPr>
        <p:cNvPr id="1" name=""/>
        <p:cNvGrpSpPr/>
        <p:nvPr/>
      </p:nvGrpSpPr>
      <p:grpSpPr>
        <a:xfrm>
          <a:off x="0" y="0"/>
          <a:ext cx="0" cy="0"/>
          <a:chOff x="0" y="0"/>
          <a:chExt cx="0" cy="0"/>
        </a:xfrm>
      </p:grpSpPr>
      <p:grpSp>
        <p:nvGrpSpPr>
          <p:cNvPr id="2" name="Group 9">
            <a:extLst>
              <a:ext uri="{FF2B5EF4-FFF2-40B4-BE49-F238E27FC236}">
                <a16:creationId xmlns:a16="http://schemas.microsoft.com/office/drawing/2014/main" id="{7AD0F40B-755A-6355-75BC-56D5BDCB5C8C}"/>
              </a:ext>
            </a:extLst>
          </p:cNvPr>
          <p:cNvGrpSpPr/>
          <p:nvPr/>
        </p:nvGrpSpPr>
        <p:grpSpPr>
          <a:xfrm>
            <a:off x="0" y="5020349"/>
            <a:ext cx="12191996" cy="1837651"/>
            <a:chOff x="0" y="5020348"/>
            <a:chExt cx="12191996" cy="1837651"/>
          </a:xfrm>
        </p:grpSpPr>
        <p:sp>
          <p:nvSpPr>
            <p:cNvPr id="3" name="Freeform 25">
              <a:extLst>
                <a:ext uri="{FF2B5EF4-FFF2-40B4-BE49-F238E27FC236}">
                  <a16:creationId xmlns:a16="http://schemas.microsoft.com/office/drawing/2014/main" id="{2F287898-44C4-0ECA-799C-10FDA9E4FE0B}"/>
                </a:ext>
              </a:extLst>
            </p:cNvPr>
            <p:cNvSpPr/>
            <p:nvPr/>
          </p:nvSpPr>
          <p:spPr>
            <a:xfrm>
              <a:off x="0" y="5100267"/>
              <a:ext cx="7111371" cy="1757732"/>
            </a:xfrm>
            <a:custGeom>
              <a:avLst/>
              <a:gdLst>
                <a:gd name="f0" fmla="val 10800000"/>
                <a:gd name="f1" fmla="val 5400000"/>
                <a:gd name="f2" fmla="val 180"/>
                <a:gd name="f3" fmla="val w"/>
                <a:gd name="f4" fmla="val h"/>
                <a:gd name="f5" fmla="val 0"/>
                <a:gd name="f6" fmla="val 7111369"/>
                <a:gd name="f7" fmla="val 1757730"/>
                <a:gd name="f8" fmla="val 772954"/>
                <a:gd name="f9" fmla="val 2778"/>
                <a:gd name="f10" fmla="val 1769038"/>
                <a:gd name="f11" fmla="val 30799"/>
                <a:gd name="f12" fmla="val 2696750"/>
                <a:gd name="f13" fmla="val 267531"/>
                <a:gd name="f14" fmla="val 3590934"/>
                <a:gd name="f15" fmla="val 566046"/>
                <a:gd name="f16" fmla="val 4684008"/>
                <a:gd name="f17" fmla="val 930921"/>
                <a:gd name="f18" fmla="val 5690778"/>
                <a:gd name="f19" fmla="val 1324625"/>
                <a:gd name="f20" fmla="val 6700767"/>
                <a:gd name="f21" fmla="val 1636882"/>
                <a:gd name="f22" fmla="val 25690"/>
                <a:gd name="f23" fmla="val 2197"/>
                <a:gd name="f24" fmla="val 25414"/>
                <a:gd name="f25" fmla="val 114653"/>
                <a:gd name="f26" fmla="val 14905"/>
                <a:gd name="f27" fmla="val 227801"/>
                <a:gd name="f28" fmla="val 7857"/>
                <a:gd name="f29" fmla="val 341773"/>
                <a:gd name="f30" fmla="val 3976"/>
                <a:gd name="f31" fmla="val 486963"/>
                <a:gd name="f32" fmla="+- 0 0 968"/>
                <a:gd name="f33" fmla="val 630656"/>
                <a:gd name="f34" fmla="+- 0 0 1224"/>
                <a:gd name="f35" fmla="+- 0 0 -90"/>
                <a:gd name="f36" fmla="*/ f3 1 7111369"/>
                <a:gd name="f37" fmla="*/ f4 1 1757730"/>
                <a:gd name="f38" fmla="+- f7 0 f5"/>
                <a:gd name="f39" fmla="+- f6 0 f5"/>
                <a:gd name="f40" fmla="*/ f35 f0 1"/>
                <a:gd name="f41" fmla="*/ f39 1 7111369"/>
                <a:gd name="f42" fmla="*/ f38 1 1757730"/>
                <a:gd name="f43" fmla="*/ 772954 f39 1"/>
                <a:gd name="f44" fmla="*/ 2778 f38 1"/>
                <a:gd name="f45" fmla="*/ 3590934 f39 1"/>
                <a:gd name="f46" fmla="*/ 566046 f38 1"/>
                <a:gd name="f47" fmla="*/ 6700767 f39 1"/>
                <a:gd name="f48" fmla="*/ 1636882 f38 1"/>
                <a:gd name="f49" fmla="*/ 7111369 f39 1"/>
                <a:gd name="f50" fmla="*/ 1757730 f38 1"/>
                <a:gd name="f51" fmla="*/ 0 f39 1"/>
                <a:gd name="f52" fmla="*/ 25690 f38 1"/>
                <a:gd name="f53" fmla="*/ 2197 f39 1"/>
                <a:gd name="f54" fmla="*/ 25414 f38 1"/>
                <a:gd name="f55" fmla="*/ 341773 f39 1"/>
                <a:gd name="f56" fmla="*/ 3976 f38 1"/>
                <a:gd name="f57" fmla="*/ f40 1 f2"/>
                <a:gd name="f58" fmla="*/ f43 1 7111369"/>
                <a:gd name="f59" fmla="*/ f44 1 1757730"/>
                <a:gd name="f60" fmla="*/ f45 1 7111369"/>
                <a:gd name="f61" fmla="*/ f46 1 1757730"/>
                <a:gd name="f62" fmla="*/ f47 1 7111369"/>
                <a:gd name="f63" fmla="*/ f48 1 1757730"/>
                <a:gd name="f64" fmla="*/ f49 1 7111369"/>
                <a:gd name="f65" fmla="*/ f50 1 1757730"/>
                <a:gd name="f66" fmla="*/ f51 1 7111369"/>
                <a:gd name="f67" fmla="*/ f52 1 1757730"/>
                <a:gd name="f68" fmla="*/ f53 1 7111369"/>
                <a:gd name="f69" fmla="*/ f54 1 1757730"/>
                <a:gd name="f70" fmla="*/ f55 1 7111369"/>
                <a:gd name="f71" fmla="*/ f56 1 1757730"/>
                <a:gd name="f72" fmla="*/ f5 1 f41"/>
                <a:gd name="f73" fmla="*/ f6 1 f41"/>
                <a:gd name="f74" fmla="*/ f5 1 f42"/>
                <a:gd name="f75" fmla="*/ f7 1 f42"/>
                <a:gd name="f76" fmla="+- f57 0 f1"/>
                <a:gd name="f77" fmla="*/ f58 1 f41"/>
                <a:gd name="f78" fmla="*/ f59 1 f42"/>
                <a:gd name="f79" fmla="*/ f60 1 f41"/>
                <a:gd name="f80" fmla="*/ f61 1 f42"/>
                <a:gd name="f81" fmla="*/ f62 1 f41"/>
                <a:gd name="f82" fmla="*/ f63 1 f42"/>
                <a:gd name="f83" fmla="*/ f64 1 f41"/>
                <a:gd name="f84" fmla="*/ f65 1 f42"/>
                <a:gd name="f85" fmla="*/ f66 1 f41"/>
                <a:gd name="f86" fmla="*/ f67 1 f42"/>
                <a:gd name="f87" fmla="*/ f68 1 f41"/>
                <a:gd name="f88" fmla="*/ f69 1 f42"/>
                <a:gd name="f89" fmla="*/ f70 1 f41"/>
                <a:gd name="f90" fmla="*/ f71 1 f42"/>
                <a:gd name="f91" fmla="*/ f72 f36 1"/>
                <a:gd name="f92" fmla="*/ f73 f36 1"/>
                <a:gd name="f93" fmla="*/ f75 f37 1"/>
                <a:gd name="f94" fmla="*/ f74 f37 1"/>
                <a:gd name="f95" fmla="*/ f77 f36 1"/>
                <a:gd name="f96" fmla="*/ f78 f37 1"/>
                <a:gd name="f97" fmla="*/ f79 f36 1"/>
                <a:gd name="f98" fmla="*/ f80 f37 1"/>
                <a:gd name="f99" fmla="*/ f81 f36 1"/>
                <a:gd name="f100" fmla="*/ f82 f37 1"/>
                <a:gd name="f101" fmla="*/ f83 f36 1"/>
                <a:gd name="f102" fmla="*/ f84 f37 1"/>
                <a:gd name="f103" fmla="*/ f85 f36 1"/>
                <a:gd name="f104" fmla="*/ f86 f37 1"/>
                <a:gd name="f105" fmla="*/ f87 f36 1"/>
                <a:gd name="f106" fmla="*/ f88 f37 1"/>
                <a:gd name="f107" fmla="*/ f89 f36 1"/>
                <a:gd name="f108" fmla="*/ f90 f37 1"/>
              </a:gdLst>
              <a:ahLst/>
              <a:cxnLst>
                <a:cxn ang="3cd4">
                  <a:pos x="hc" y="t"/>
                </a:cxn>
                <a:cxn ang="0">
                  <a:pos x="r" y="vc"/>
                </a:cxn>
                <a:cxn ang="cd4">
                  <a:pos x="hc" y="b"/>
                </a:cxn>
                <a:cxn ang="cd2">
                  <a:pos x="l" y="vc"/>
                </a:cxn>
                <a:cxn ang="f76">
                  <a:pos x="f95" y="f96"/>
                </a:cxn>
                <a:cxn ang="f76">
                  <a:pos x="f97" y="f98"/>
                </a:cxn>
                <a:cxn ang="f76">
                  <a:pos x="f99" y="f100"/>
                </a:cxn>
                <a:cxn ang="f76">
                  <a:pos x="f101" y="f102"/>
                </a:cxn>
                <a:cxn ang="f76">
                  <a:pos x="f103" y="f102"/>
                </a:cxn>
                <a:cxn ang="f76">
                  <a:pos x="f103" y="f104"/>
                </a:cxn>
                <a:cxn ang="f76">
                  <a:pos x="f105" y="f106"/>
                </a:cxn>
                <a:cxn ang="f76">
                  <a:pos x="f107" y="f108"/>
                </a:cxn>
                <a:cxn ang="f76">
                  <a:pos x="f95" y="f96"/>
                </a:cxn>
              </a:cxnLst>
              <a:rect l="f91" t="f94" r="f92" b="f93"/>
              <a:pathLst>
                <a:path w="7111369" h="1757730">
                  <a:moveTo>
                    <a:pt x="f8" y="f9"/>
                  </a:moveTo>
                  <a:cubicBezTo>
                    <a:pt x="f10" y="f11"/>
                    <a:pt x="f12" y="f13"/>
                    <a:pt x="f14" y="f15"/>
                  </a:cubicBezTo>
                  <a:cubicBezTo>
                    <a:pt x="f16" y="f17"/>
                    <a:pt x="f18" y="f19"/>
                    <a:pt x="f20" y="f21"/>
                  </a:cubicBezTo>
                  <a:lnTo>
                    <a:pt x="f6" y="f7"/>
                  </a:lnTo>
                  <a:lnTo>
                    <a:pt x="f5" y="f7"/>
                  </a:lnTo>
                  <a:lnTo>
                    <a:pt x="f5" y="f22"/>
                  </a:lnTo>
                  <a:lnTo>
                    <a:pt x="f23" y="f24"/>
                  </a:lnTo>
                  <a:cubicBezTo>
                    <a:pt x="f25" y="f26"/>
                    <a:pt x="f27" y="f28"/>
                    <a:pt x="f29" y="f30"/>
                  </a:cubicBezTo>
                  <a:cubicBezTo>
                    <a:pt x="f31" y="f32"/>
                    <a:pt x="f33" y="f34"/>
                    <a:pt x="f8" y="f9"/>
                  </a:cubicBezTo>
                  <a:close/>
                </a:path>
              </a:pathLst>
            </a:cu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4" name="Freeform 19">
              <a:extLst>
                <a:ext uri="{FF2B5EF4-FFF2-40B4-BE49-F238E27FC236}">
                  <a16:creationId xmlns:a16="http://schemas.microsoft.com/office/drawing/2014/main" id="{56E51E20-E865-3C0F-CCA0-42A47338D18C}"/>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5" name="Freeform 14">
              <a:extLst>
                <a:ext uri="{FF2B5EF4-FFF2-40B4-BE49-F238E27FC236}">
                  <a16:creationId xmlns:a16="http://schemas.microsoft.com/office/drawing/2014/main" id="{DF8E092A-D6D5-11DF-D3EF-CA64F300C22A}"/>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6" name="Picture 20">
              <a:extLst>
                <a:ext uri="{FF2B5EF4-FFF2-40B4-BE49-F238E27FC236}">
                  <a16:creationId xmlns:a16="http://schemas.microsoft.com/office/drawing/2014/main" id="{23513494-186A-0B6E-EED8-8CC8CC33A232}"/>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
        <p:nvSpPr>
          <p:cNvPr id="7" name="Title 10">
            <a:extLst>
              <a:ext uri="{FF2B5EF4-FFF2-40B4-BE49-F238E27FC236}">
                <a16:creationId xmlns:a16="http://schemas.microsoft.com/office/drawing/2014/main" id="{2764E175-79E1-C531-E1CE-80676AFAAB15}"/>
              </a:ext>
            </a:extLst>
          </p:cNvPr>
          <p:cNvSpPr txBox="1">
            <a:spLocks noGrp="1"/>
          </p:cNvSpPr>
          <p:nvPr>
            <p:ph type="title"/>
          </p:nvPr>
        </p:nvSpPr>
        <p:spPr>
          <a:xfrm>
            <a:off x="1413305" y="701748"/>
            <a:ext cx="9365376" cy="2014679"/>
          </a:xfrm>
        </p:spPr>
        <p:txBody>
          <a:bodyPr anchor="b"/>
          <a:lstStyle>
            <a:lvl1pPr>
              <a:defRPr/>
            </a:lvl1pPr>
          </a:lstStyle>
          <a:p>
            <a:pPr lvl="0"/>
            <a:r>
              <a:rPr lang="en-US"/>
              <a:t>Click to edit Master title style</a:t>
            </a:r>
          </a:p>
        </p:txBody>
      </p:sp>
      <p:sp>
        <p:nvSpPr>
          <p:cNvPr id="8" name="Subtitle 2">
            <a:extLst>
              <a:ext uri="{FF2B5EF4-FFF2-40B4-BE49-F238E27FC236}">
                <a16:creationId xmlns:a16="http://schemas.microsoft.com/office/drawing/2014/main" id="{C801D795-1132-9721-17BA-23E9A28634B9}"/>
              </a:ext>
            </a:extLst>
          </p:cNvPr>
          <p:cNvSpPr txBox="1">
            <a:spLocks noGrp="1"/>
          </p:cNvSpPr>
          <p:nvPr>
            <p:ph type="subTitle" idx="4294967295"/>
          </p:nvPr>
        </p:nvSpPr>
        <p:spPr>
          <a:xfrm>
            <a:off x="1413305" y="3081637"/>
            <a:ext cx="9365376" cy="986564"/>
          </a:xfrm>
        </p:spPr>
        <p:txBody>
          <a:bodyPr/>
          <a:lstStyle>
            <a:lvl1pPr marL="0" indent="0">
              <a:buNone/>
              <a:defRPr/>
            </a:lvl1pPr>
          </a:lstStyle>
          <a:p>
            <a:pPr lvl="0"/>
            <a:r>
              <a:rPr lang="en-US"/>
              <a:t>Click to edit Master subtitle style</a:t>
            </a:r>
          </a:p>
        </p:txBody>
      </p:sp>
    </p:spTree>
    <p:extLst>
      <p:ext uri="{BB962C8B-B14F-4D97-AF65-F5344CB8AC3E}">
        <p14:creationId xmlns:p14="http://schemas.microsoft.com/office/powerpoint/2010/main" val="55589555"/>
      </p:ext>
    </p:extLst>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p:cSld name="29_Title Slide_Yale Blue">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02DD90C8-253B-CB80-9E83-E1D3499BAA89}"/>
              </a:ext>
            </a:extLst>
          </p:cNvPr>
          <p:cNvSpPr txBox="1">
            <a:spLocks noGrp="1"/>
          </p:cNvSpPr>
          <p:nvPr>
            <p:ph type="body" idx="4294967295"/>
          </p:nvPr>
        </p:nvSpPr>
        <p:spPr>
          <a:xfrm>
            <a:off x="2826557" y="5400857"/>
            <a:ext cx="8178613" cy="379656"/>
          </a:xfrm>
        </p:spPr>
        <p:txBody>
          <a:bodyPr wrap="square">
            <a:spAutoFit/>
          </a:bodyPr>
          <a:lstStyle>
            <a:lvl1pPr marL="0" indent="0" algn="r">
              <a:buNone/>
              <a:defRPr sz="1867">
                <a:solidFill>
                  <a:srgbClr val="616364"/>
                </a:solidFill>
                <a:latin typeface="Verdana"/>
                <a:ea typeface="Verdana"/>
                <a:cs typeface="Verdana"/>
              </a:defRPr>
            </a:lvl1pPr>
          </a:lstStyle>
          <a:p>
            <a:pPr lvl="0"/>
            <a:r>
              <a:rPr lang="en-US"/>
              <a:t>Date | Presenter Information (14 pt)</a:t>
            </a:r>
          </a:p>
        </p:txBody>
      </p:sp>
      <p:sp>
        <p:nvSpPr>
          <p:cNvPr id="3" name="Title 1">
            <a:extLst>
              <a:ext uri="{FF2B5EF4-FFF2-40B4-BE49-F238E27FC236}">
                <a16:creationId xmlns:a16="http://schemas.microsoft.com/office/drawing/2014/main" id="{1DB2A6D9-B6AD-9AA2-BF36-D05A58C63745}"/>
              </a:ext>
            </a:extLst>
          </p:cNvPr>
          <p:cNvSpPr txBox="1">
            <a:spLocks noGrp="1"/>
          </p:cNvSpPr>
          <p:nvPr>
            <p:ph type="title"/>
          </p:nvPr>
        </p:nvSpPr>
        <p:spPr>
          <a:xfrm>
            <a:off x="2826557" y="1807156"/>
            <a:ext cx="8178613" cy="1629460"/>
          </a:xfrm>
        </p:spPr>
        <p:txBody>
          <a:bodyPr anchor="b"/>
          <a:lstStyle>
            <a:lvl1pPr>
              <a:defRPr sz="5334">
                <a:solidFill>
                  <a:srgbClr val="00314C"/>
                </a:solidFill>
                <a:latin typeface="Verdana"/>
                <a:ea typeface="Verdana"/>
                <a:cs typeface="Verdana"/>
              </a:defRPr>
            </a:lvl1pPr>
          </a:lstStyle>
          <a:p>
            <a:pPr lvl="0"/>
            <a:r>
              <a:rPr lang="en-US"/>
              <a:t>Presentation Title (40pt)</a:t>
            </a:r>
          </a:p>
        </p:txBody>
      </p:sp>
      <p:sp>
        <p:nvSpPr>
          <p:cNvPr id="4" name="Date Placeholder 3">
            <a:extLst>
              <a:ext uri="{FF2B5EF4-FFF2-40B4-BE49-F238E27FC236}">
                <a16:creationId xmlns:a16="http://schemas.microsoft.com/office/drawing/2014/main" id="{3FA16793-7378-57D9-9007-1477BAD5626A}"/>
              </a:ext>
            </a:extLst>
          </p:cNvPr>
          <p:cNvSpPr txBox="1">
            <a:spLocks noGrp="1"/>
          </p:cNvSpPr>
          <p:nvPr>
            <p:ph type="dt" sz="quarter" idx="7"/>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914446"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defRPr>
            </a:lvl1pPr>
          </a:lstStyle>
          <a:p>
            <a:pPr lvl="0"/>
            <a:fld id="{DC9381DD-E4CD-4218-9D81-08F2B2036612}" type="datetime1">
              <a:rPr lang="en-US"/>
              <a:pPr lvl="0"/>
              <a:t>5/20/2026</a:t>
            </a:fld>
            <a:endParaRPr lang="en-US"/>
          </a:p>
        </p:txBody>
      </p:sp>
      <p:sp>
        <p:nvSpPr>
          <p:cNvPr id="5" name="Footer Placeholder 4">
            <a:extLst>
              <a:ext uri="{FF2B5EF4-FFF2-40B4-BE49-F238E27FC236}">
                <a16:creationId xmlns:a16="http://schemas.microsoft.com/office/drawing/2014/main" id="{0FDB909C-1558-2D97-FC63-F75CAA02943B}"/>
              </a:ext>
            </a:extLst>
          </p:cNvPr>
          <p:cNvSpPr txBox="1">
            <a:spLocks noGrp="1"/>
          </p:cNvSpPr>
          <p:nvPr>
            <p:ph type="ftr" sz="quarter" idx="9"/>
          </p:nvPr>
        </p:nvSpPr>
        <p:spPr/>
        <p:txBody>
          <a:bodyPr anchorCtr="1"/>
          <a:lstStyle>
            <a:lvl1pPr algn="ctr">
              <a:defRPr/>
            </a:lvl1pPr>
          </a:lstStyle>
          <a:p>
            <a:pPr lvl="0"/>
            <a:endParaRPr lang="en-US"/>
          </a:p>
        </p:txBody>
      </p:sp>
      <p:sp>
        <p:nvSpPr>
          <p:cNvPr id="6" name="Slide Number Placeholder 5">
            <a:extLst>
              <a:ext uri="{FF2B5EF4-FFF2-40B4-BE49-F238E27FC236}">
                <a16:creationId xmlns:a16="http://schemas.microsoft.com/office/drawing/2014/main" id="{E26136C4-EE7F-93D0-1665-F98F012D635D}"/>
              </a:ext>
            </a:extLst>
          </p:cNvPr>
          <p:cNvSpPr txBox="1">
            <a:spLocks noGrp="1"/>
          </p:cNvSpPr>
          <p:nvPr>
            <p:ph type="sldNum" sz="quarter" idx="8"/>
          </p:nvPr>
        </p:nvSpPr>
        <p:spPr/>
        <p:txBody>
          <a:bodyPr/>
          <a:lstStyle>
            <a:lvl1pPr>
              <a:defRPr/>
            </a:lvl1pPr>
          </a:lstStyle>
          <a:p>
            <a:pPr lvl="0"/>
            <a:fld id="{BCABFB5F-FCE6-4277-9183-9C088944DB7E}" type="slidenum">
              <a:t>‹#›</a:t>
            </a:fld>
            <a:endParaRPr lang="en-US"/>
          </a:p>
        </p:txBody>
      </p:sp>
      <p:sp>
        <p:nvSpPr>
          <p:cNvPr id="7" name="Rectangle 12">
            <a:extLst>
              <a:ext uri="{FF2B5EF4-FFF2-40B4-BE49-F238E27FC236}">
                <a16:creationId xmlns:a16="http://schemas.microsoft.com/office/drawing/2014/main" id="{686CB25F-68A4-3685-B8C0-386FCD9C144F}"/>
              </a:ext>
            </a:extLst>
          </p:cNvPr>
          <p:cNvSpPr/>
          <p:nvPr/>
        </p:nvSpPr>
        <p:spPr>
          <a:xfrm rot="10799991">
            <a:off x="-19" y="2000233"/>
            <a:ext cx="2785070" cy="2042851"/>
          </a:xfrm>
          <a:custGeom>
            <a:avLst/>
            <a:gdLst>
              <a:gd name="f0" fmla="val 10800000"/>
              <a:gd name="f1" fmla="val 5400000"/>
              <a:gd name="f2" fmla="val 180"/>
              <a:gd name="f3" fmla="val w"/>
              <a:gd name="f4" fmla="val h"/>
              <a:gd name="f5" fmla="val 0"/>
              <a:gd name="f6" fmla="val 10293751"/>
              <a:gd name="f7" fmla="val 1031873"/>
              <a:gd name="f8" fmla="val 3579068"/>
              <a:gd name="f9" fmla="val 1"/>
              <a:gd name="f10" fmla="val 1031872"/>
              <a:gd name="f11" fmla="+- 0 0 -90"/>
              <a:gd name="f12" fmla="*/ f3 1 10293751"/>
              <a:gd name="f13" fmla="*/ f4 1 1031873"/>
              <a:gd name="f14" fmla="+- f7 0 f5"/>
              <a:gd name="f15" fmla="+- f6 0 f5"/>
              <a:gd name="f16" fmla="*/ f11 f0 1"/>
              <a:gd name="f17" fmla="*/ f15 1 10293751"/>
              <a:gd name="f18" fmla="*/ f14 1 1031873"/>
              <a:gd name="f19" fmla="*/ 10293751 f15 1"/>
              <a:gd name="f20" fmla="*/ 0 f15 1"/>
              <a:gd name="f21" fmla="*/ 0 f14 1"/>
              <a:gd name="f22" fmla="*/ 1 f14 1"/>
              <a:gd name="f23" fmla="*/ 1031873 f14 1"/>
              <a:gd name="f24" fmla="*/ 1031872 f14 1"/>
              <a:gd name="f25" fmla="*/ 3579068 f15 1"/>
              <a:gd name="f26" fmla="*/ f16 1 f2"/>
              <a:gd name="f27" fmla="*/ f19 1 10293751"/>
              <a:gd name="f28" fmla="*/ f20 1 10293751"/>
              <a:gd name="f29" fmla="*/ f21 1 1031873"/>
              <a:gd name="f30" fmla="*/ f22 1 1031873"/>
              <a:gd name="f31" fmla="*/ f23 1 1031873"/>
              <a:gd name="f32" fmla="*/ f24 1 1031873"/>
              <a:gd name="f33" fmla="*/ f25 1 10293751"/>
              <a:gd name="f34" fmla="*/ f5 1 f17"/>
              <a:gd name="f35" fmla="*/ f6 1 f17"/>
              <a:gd name="f36" fmla="*/ f5 1 f18"/>
              <a:gd name="f37" fmla="*/ f7 1 f18"/>
              <a:gd name="f38" fmla="+- f26 0 f1"/>
              <a:gd name="f39" fmla="*/ f33 1 f17"/>
              <a:gd name="f40" fmla="*/ f29 1 f18"/>
              <a:gd name="f41" fmla="*/ f27 1 f17"/>
              <a:gd name="f42" fmla="*/ f30 1 f18"/>
              <a:gd name="f43" fmla="*/ f31 1 f18"/>
              <a:gd name="f44" fmla="*/ f28 1 f17"/>
              <a:gd name="f45" fmla="*/ f32 1 f18"/>
              <a:gd name="f46" fmla="*/ f34 f12 1"/>
              <a:gd name="f47" fmla="*/ f35 f12 1"/>
              <a:gd name="f48" fmla="*/ f37 f13 1"/>
              <a:gd name="f49" fmla="*/ f36 f13 1"/>
              <a:gd name="f50" fmla="*/ f39 f12 1"/>
              <a:gd name="f51" fmla="*/ f40 f13 1"/>
              <a:gd name="f52" fmla="*/ f41 f12 1"/>
              <a:gd name="f53" fmla="*/ f42 f13 1"/>
              <a:gd name="f54" fmla="*/ f43 f13 1"/>
              <a:gd name="f55" fmla="*/ f44 f12 1"/>
              <a:gd name="f56" fmla="*/ f45 f13 1"/>
            </a:gdLst>
            <a:ahLst/>
            <a:cxnLst>
              <a:cxn ang="3cd4">
                <a:pos x="hc" y="t"/>
              </a:cxn>
              <a:cxn ang="0">
                <a:pos x="r" y="vc"/>
              </a:cxn>
              <a:cxn ang="cd4">
                <a:pos x="hc" y="b"/>
              </a:cxn>
              <a:cxn ang="cd2">
                <a:pos x="l" y="vc"/>
              </a:cxn>
              <a:cxn ang="f38">
                <a:pos x="f50" y="f51"/>
              </a:cxn>
              <a:cxn ang="f38">
                <a:pos x="f52" y="f53"/>
              </a:cxn>
              <a:cxn ang="f38">
                <a:pos x="f52" y="f54"/>
              </a:cxn>
              <a:cxn ang="f38">
                <a:pos x="f55" y="f56"/>
              </a:cxn>
              <a:cxn ang="f38">
                <a:pos x="f50" y="f51"/>
              </a:cxn>
            </a:cxnLst>
            <a:rect l="f46" t="f49" r="f47" b="f48"/>
            <a:pathLst>
              <a:path w="10293751" h="1031873">
                <a:moveTo>
                  <a:pt x="f8" y="f5"/>
                </a:moveTo>
                <a:lnTo>
                  <a:pt x="f6" y="f9"/>
                </a:lnTo>
                <a:lnTo>
                  <a:pt x="f6" y="f7"/>
                </a:lnTo>
                <a:lnTo>
                  <a:pt x="f5" y="f10"/>
                </a:lnTo>
                <a:lnTo>
                  <a:pt x="f8" y="f5"/>
                </a:lnTo>
                <a:close/>
              </a:path>
            </a:pathLst>
          </a:cu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8" name="Rectangle 8">
            <a:extLst>
              <a:ext uri="{FF2B5EF4-FFF2-40B4-BE49-F238E27FC236}">
                <a16:creationId xmlns:a16="http://schemas.microsoft.com/office/drawing/2014/main" id="{2E51D960-4F8F-AB55-65FC-BCBB87F6A09E}"/>
              </a:ext>
            </a:extLst>
          </p:cNvPr>
          <p:cNvSpPr/>
          <p:nvPr/>
        </p:nvSpPr>
        <p:spPr>
          <a:xfrm>
            <a:off x="0" y="6115050"/>
            <a:ext cx="12191996" cy="742950"/>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9" name="Text Placeholder 11">
            <a:extLst>
              <a:ext uri="{FF2B5EF4-FFF2-40B4-BE49-F238E27FC236}">
                <a16:creationId xmlns:a16="http://schemas.microsoft.com/office/drawing/2014/main" id="{F7463F11-DFB6-9AB2-6E4E-D40ABEF91462}"/>
              </a:ext>
            </a:extLst>
          </p:cNvPr>
          <p:cNvSpPr txBox="1">
            <a:spLocks noGrp="1"/>
          </p:cNvSpPr>
          <p:nvPr>
            <p:ph type="body" idx="4294967295"/>
          </p:nvPr>
        </p:nvSpPr>
        <p:spPr>
          <a:xfrm>
            <a:off x="2826557" y="3447397"/>
            <a:ext cx="8178613" cy="713314"/>
          </a:xfrm>
        </p:spPr>
        <p:txBody>
          <a:bodyPr/>
          <a:lstStyle>
            <a:lvl1pPr marL="0" indent="0">
              <a:buNone/>
              <a:defRPr sz="3200">
                <a:solidFill>
                  <a:srgbClr val="00314C"/>
                </a:solidFill>
                <a:latin typeface="Verdana"/>
                <a:ea typeface="Verdana"/>
                <a:cs typeface="Verdana"/>
              </a:defRPr>
            </a:lvl1pPr>
          </a:lstStyle>
          <a:p>
            <a:pPr lvl="0"/>
            <a:r>
              <a:rPr lang="en-US"/>
              <a:t>Subtitle (24)</a:t>
            </a:r>
          </a:p>
        </p:txBody>
      </p:sp>
      <p:pic>
        <p:nvPicPr>
          <p:cNvPr id="10" name="Picture 12">
            <a:extLst>
              <a:ext uri="{FF2B5EF4-FFF2-40B4-BE49-F238E27FC236}">
                <a16:creationId xmlns:a16="http://schemas.microsoft.com/office/drawing/2014/main" id="{730163D7-B4A3-9FFF-029C-2B619E754456}"/>
              </a:ext>
            </a:extLst>
          </p:cNvPr>
          <p:cNvPicPr>
            <a:picLocks noChangeAspect="1"/>
          </p:cNvPicPr>
          <p:nvPr/>
        </p:nvPicPr>
        <p:blipFill>
          <a:blip r:embed="rId2"/>
          <a:srcRect/>
          <a:stretch>
            <a:fillRect/>
          </a:stretch>
        </p:blipFill>
        <p:spPr>
          <a:xfrm>
            <a:off x="2829840" y="4178333"/>
            <a:ext cx="4395959" cy="1140165"/>
          </a:xfrm>
          <a:prstGeom prst="rect">
            <a:avLst/>
          </a:prstGeom>
          <a:noFill/>
          <a:ln cap="flat">
            <a:noFill/>
          </a:ln>
        </p:spPr>
      </p:pic>
    </p:spTree>
    <p:extLst>
      <p:ext uri="{BB962C8B-B14F-4D97-AF65-F5344CB8AC3E}">
        <p14:creationId xmlns:p14="http://schemas.microsoft.com/office/powerpoint/2010/main" val="337207412"/>
      </p:ext>
    </p:extLst>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p:cSld name="28_Title Slide_Yale Blue">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06A02373-4223-0200-3FE5-B71E4543DC6D}"/>
              </a:ext>
            </a:extLst>
          </p:cNvPr>
          <p:cNvSpPr txBox="1">
            <a:spLocks noGrp="1"/>
          </p:cNvSpPr>
          <p:nvPr>
            <p:ph type="body" idx="4294967295"/>
          </p:nvPr>
        </p:nvSpPr>
        <p:spPr>
          <a:xfrm>
            <a:off x="2826557" y="5400857"/>
            <a:ext cx="8178613" cy="379656"/>
          </a:xfrm>
        </p:spPr>
        <p:txBody>
          <a:bodyPr wrap="square">
            <a:spAutoFit/>
          </a:bodyPr>
          <a:lstStyle>
            <a:lvl1pPr marL="0" indent="0" algn="r">
              <a:buNone/>
              <a:defRPr sz="1867">
                <a:solidFill>
                  <a:srgbClr val="616364"/>
                </a:solidFill>
                <a:latin typeface="Verdana"/>
                <a:ea typeface="Verdana"/>
                <a:cs typeface="Verdana"/>
              </a:defRPr>
            </a:lvl1pPr>
          </a:lstStyle>
          <a:p>
            <a:pPr lvl="0"/>
            <a:r>
              <a:rPr lang="en-US"/>
              <a:t>Date | Presenter Information (14 pt)</a:t>
            </a:r>
          </a:p>
        </p:txBody>
      </p:sp>
      <p:sp>
        <p:nvSpPr>
          <p:cNvPr id="3" name="Title 1">
            <a:extLst>
              <a:ext uri="{FF2B5EF4-FFF2-40B4-BE49-F238E27FC236}">
                <a16:creationId xmlns:a16="http://schemas.microsoft.com/office/drawing/2014/main" id="{35CA8EEA-0CE6-D1D7-4E40-15F6D65F0469}"/>
              </a:ext>
            </a:extLst>
          </p:cNvPr>
          <p:cNvSpPr txBox="1">
            <a:spLocks noGrp="1"/>
          </p:cNvSpPr>
          <p:nvPr>
            <p:ph type="title"/>
          </p:nvPr>
        </p:nvSpPr>
        <p:spPr>
          <a:xfrm>
            <a:off x="2826557" y="1807156"/>
            <a:ext cx="8178613" cy="1629460"/>
          </a:xfrm>
        </p:spPr>
        <p:txBody>
          <a:bodyPr anchor="b"/>
          <a:lstStyle>
            <a:lvl1pPr>
              <a:defRPr sz="5334">
                <a:solidFill>
                  <a:srgbClr val="00314C"/>
                </a:solidFill>
                <a:latin typeface="Verdana"/>
                <a:ea typeface="Verdana"/>
                <a:cs typeface="Verdana"/>
              </a:defRPr>
            </a:lvl1pPr>
          </a:lstStyle>
          <a:p>
            <a:pPr lvl="0"/>
            <a:r>
              <a:rPr lang="en-US"/>
              <a:t>Presentation Title (40pt)</a:t>
            </a:r>
          </a:p>
        </p:txBody>
      </p:sp>
      <p:sp>
        <p:nvSpPr>
          <p:cNvPr id="4" name="Date Placeholder 3">
            <a:extLst>
              <a:ext uri="{FF2B5EF4-FFF2-40B4-BE49-F238E27FC236}">
                <a16:creationId xmlns:a16="http://schemas.microsoft.com/office/drawing/2014/main" id="{E832B1C5-B756-CEA0-A770-F64A79E60079}"/>
              </a:ext>
            </a:extLst>
          </p:cNvPr>
          <p:cNvSpPr txBox="1">
            <a:spLocks noGrp="1"/>
          </p:cNvSpPr>
          <p:nvPr>
            <p:ph type="dt" sz="quarter" idx="7"/>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914446"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defRPr>
            </a:lvl1pPr>
          </a:lstStyle>
          <a:p>
            <a:pPr lvl="0"/>
            <a:fld id="{424FB75F-0027-45D5-806D-7AC678B7A64C}" type="datetime1">
              <a:rPr lang="en-US"/>
              <a:pPr lvl="0"/>
              <a:t>5/20/2026</a:t>
            </a:fld>
            <a:endParaRPr lang="en-US"/>
          </a:p>
        </p:txBody>
      </p:sp>
      <p:sp>
        <p:nvSpPr>
          <p:cNvPr id="5" name="Footer Placeholder 4">
            <a:extLst>
              <a:ext uri="{FF2B5EF4-FFF2-40B4-BE49-F238E27FC236}">
                <a16:creationId xmlns:a16="http://schemas.microsoft.com/office/drawing/2014/main" id="{AF900339-400D-F112-4178-E5E8DEBAFD9C}"/>
              </a:ext>
            </a:extLst>
          </p:cNvPr>
          <p:cNvSpPr txBox="1">
            <a:spLocks noGrp="1"/>
          </p:cNvSpPr>
          <p:nvPr>
            <p:ph type="ftr" sz="quarter" idx="9"/>
          </p:nvPr>
        </p:nvSpPr>
        <p:spPr/>
        <p:txBody>
          <a:bodyPr anchorCtr="1"/>
          <a:lstStyle>
            <a:lvl1pPr algn="ctr">
              <a:defRPr/>
            </a:lvl1pPr>
          </a:lstStyle>
          <a:p>
            <a:pPr lvl="0"/>
            <a:endParaRPr lang="en-US"/>
          </a:p>
        </p:txBody>
      </p:sp>
      <p:sp>
        <p:nvSpPr>
          <p:cNvPr id="6" name="Slide Number Placeholder 5">
            <a:extLst>
              <a:ext uri="{FF2B5EF4-FFF2-40B4-BE49-F238E27FC236}">
                <a16:creationId xmlns:a16="http://schemas.microsoft.com/office/drawing/2014/main" id="{3E28659D-1045-9F57-6CEE-75ED97879E5A}"/>
              </a:ext>
            </a:extLst>
          </p:cNvPr>
          <p:cNvSpPr txBox="1">
            <a:spLocks noGrp="1"/>
          </p:cNvSpPr>
          <p:nvPr>
            <p:ph type="sldNum" sz="quarter" idx="8"/>
          </p:nvPr>
        </p:nvSpPr>
        <p:spPr/>
        <p:txBody>
          <a:bodyPr/>
          <a:lstStyle>
            <a:lvl1pPr>
              <a:defRPr/>
            </a:lvl1pPr>
          </a:lstStyle>
          <a:p>
            <a:pPr lvl="0"/>
            <a:fld id="{51F89E62-E9C0-402F-8521-0C683AA4AEBA}" type="slidenum">
              <a:t>‹#›</a:t>
            </a:fld>
            <a:endParaRPr lang="en-US"/>
          </a:p>
        </p:txBody>
      </p:sp>
      <p:sp>
        <p:nvSpPr>
          <p:cNvPr id="7" name="Rectangle 12">
            <a:extLst>
              <a:ext uri="{FF2B5EF4-FFF2-40B4-BE49-F238E27FC236}">
                <a16:creationId xmlns:a16="http://schemas.microsoft.com/office/drawing/2014/main" id="{E372297D-5593-2CEE-82B1-903C3DEA6196}"/>
              </a:ext>
            </a:extLst>
          </p:cNvPr>
          <p:cNvSpPr/>
          <p:nvPr/>
        </p:nvSpPr>
        <p:spPr>
          <a:xfrm rot="10799991">
            <a:off x="-19" y="2000233"/>
            <a:ext cx="2785070" cy="2042851"/>
          </a:xfrm>
          <a:custGeom>
            <a:avLst/>
            <a:gdLst>
              <a:gd name="f0" fmla="val 10800000"/>
              <a:gd name="f1" fmla="val 5400000"/>
              <a:gd name="f2" fmla="val 180"/>
              <a:gd name="f3" fmla="val w"/>
              <a:gd name="f4" fmla="val h"/>
              <a:gd name="f5" fmla="val 0"/>
              <a:gd name="f6" fmla="val 10293751"/>
              <a:gd name="f7" fmla="val 1031873"/>
              <a:gd name="f8" fmla="val 3579068"/>
              <a:gd name="f9" fmla="val 1"/>
              <a:gd name="f10" fmla="val 1031872"/>
              <a:gd name="f11" fmla="+- 0 0 -90"/>
              <a:gd name="f12" fmla="*/ f3 1 10293751"/>
              <a:gd name="f13" fmla="*/ f4 1 1031873"/>
              <a:gd name="f14" fmla="+- f7 0 f5"/>
              <a:gd name="f15" fmla="+- f6 0 f5"/>
              <a:gd name="f16" fmla="*/ f11 f0 1"/>
              <a:gd name="f17" fmla="*/ f15 1 10293751"/>
              <a:gd name="f18" fmla="*/ f14 1 1031873"/>
              <a:gd name="f19" fmla="*/ 10293751 f15 1"/>
              <a:gd name="f20" fmla="*/ 0 f15 1"/>
              <a:gd name="f21" fmla="*/ 0 f14 1"/>
              <a:gd name="f22" fmla="*/ 1 f14 1"/>
              <a:gd name="f23" fmla="*/ 1031873 f14 1"/>
              <a:gd name="f24" fmla="*/ 1031872 f14 1"/>
              <a:gd name="f25" fmla="*/ 3579068 f15 1"/>
              <a:gd name="f26" fmla="*/ f16 1 f2"/>
              <a:gd name="f27" fmla="*/ f19 1 10293751"/>
              <a:gd name="f28" fmla="*/ f20 1 10293751"/>
              <a:gd name="f29" fmla="*/ f21 1 1031873"/>
              <a:gd name="f30" fmla="*/ f22 1 1031873"/>
              <a:gd name="f31" fmla="*/ f23 1 1031873"/>
              <a:gd name="f32" fmla="*/ f24 1 1031873"/>
              <a:gd name="f33" fmla="*/ f25 1 10293751"/>
              <a:gd name="f34" fmla="*/ f5 1 f17"/>
              <a:gd name="f35" fmla="*/ f6 1 f17"/>
              <a:gd name="f36" fmla="*/ f5 1 f18"/>
              <a:gd name="f37" fmla="*/ f7 1 f18"/>
              <a:gd name="f38" fmla="+- f26 0 f1"/>
              <a:gd name="f39" fmla="*/ f33 1 f17"/>
              <a:gd name="f40" fmla="*/ f29 1 f18"/>
              <a:gd name="f41" fmla="*/ f27 1 f17"/>
              <a:gd name="f42" fmla="*/ f30 1 f18"/>
              <a:gd name="f43" fmla="*/ f31 1 f18"/>
              <a:gd name="f44" fmla="*/ f28 1 f17"/>
              <a:gd name="f45" fmla="*/ f32 1 f18"/>
              <a:gd name="f46" fmla="*/ f34 f12 1"/>
              <a:gd name="f47" fmla="*/ f35 f12 1"/>
              <a:gd name="f48" fmla="*/ f37 f13 1"/>
              <a:gd name="f49" fmla="*/ f36 f13 1"/>
              <a:gd name="f50" fmla="*/ f39 f12 1"/>
              <a:gd name="f51" fmla="*/ f40 f13 1"/>
              <a:gd name="f52" fmla="*/ f41 f12 1"/>
              <a:gd name="f53" fmla="*/ f42 f13 1"/>
              <a:gd name="f54" fmla="*/ f43 f13 1"/>
              <a:gd name="f55" fmla="*/ f44 f12 1"/>
              <a:gd name="f56" fmla="*/ f45 f13 1"/>
            </a:gdLst>
            <a:ahLst/>
            <a:cxnLst>
              <a:cxn ang="3cd4">
                <a:pos x="hc" y="t"/>
              </a:cxn>
              <a:cxn ang="0">
                <a:pos x="r" y="vc"/>
              </a:cxn>
              <a:cxn ang="cd4">
                <a:pos x="hc" y="b"/>
              </a:cxn>
              <a:cxn ang="cd2">
                <a:pos x="l" y="vc"/>
              </a:cxn>
              <a:cxn ang="f38">
                <a:pos x="f50" y="f51"/>
              </a:cxn>
              <a:cxn ang="f38">
                <a:pos x="f52" y="f53"/>
              </a:cxn>
              <a:cxn ang="f38">
                <a:pos x="f52" y="f54"/>
              </a:cxn>
              <a:cxn ang="f38">
                <a:pos x="f55" y="f56"/>
              </a:cxn>
              <a:cxn ang="f38">
                <a:pos x="f50" y="f51"/>
              </a:cxn>
            </a:cxnLst>
            <a:rect l="f46" t="f49" r="f47" b="f48"/>
            <a:pathLst>
              <a:path w="10293751" h="1031873">
                <a:moveTo>
                  <a:pt x="f8" y="f5"/>
                </a:moveTo>
                <a:lnTo>
                  <a:pt x="f6" y="f9"/>
                </a:lnTo>
                <a:lnTo>
                  <a:pt x="f6" y="f7"/>
                </a:lnTo>
                <a:lnTo>
                  <a:pt x="f5" y="f10"/>
                </a:lnTo>
                <a:lnTo>
                  <a:pt x="f8" y="f5"/>
                </a:lnTo>
                <a:close/>
              </a:path>
            </a:pathLst>
          </a:cu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8" name="Rectangle 8">
            <a:extLst>
              <a:ext uri="{FF2B5EF4-FFF2-40B4-BE49-F238E27FC236}">
                <a16:creationId xmlns:a16="http://schemas.microsoft.com/office/drawing/2014/main" id="{4DDFD49D-9C30-144E-25AC-4F38D533B860}"/>
              </a:ext>
            </a:extLst>
          </p:cNvPr>
          <p:cNvSpPr/>
          <p:nvPr/>
        </p:nvSpPr>
        <p:spPr>
          <a:xfrm>
            <a:off x="0" y="6115050"/>
            <a:ext cx="12191996" cy="742950"/>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9" name="Text Placeholder 11">
            <a:extLst>
              <a:ext uri="{FF2B5EF4-FFF2-40B4-BE49-F238E27FC236}">
                <a16:creationId xmlns:a16="http://schemas.microsoft.com/office/drawing/2014/main" id="{8D778A30-80B1-E5CB-5D67-56688FF5455B}"/>
              </a:ext>
            </a:extLst>
          </p:cNvPr>
          <p:cNvSpPr txBox="1">
            <a:spLocks noGrp="1"/>
          </p:cNvSpPr>
          <p:nvPr>
            <p:ph type="body" idx="4294967295"/>
          </p:nvPr>
        </p:nvSpPr>
        <p:spPr>
          <a:xfrm>
            <a:off x="2826557" y="3447397"/>
            <a:ext cx="8178613" cy="713314"/>
          </a:xfrm>
        </p:spPr>
        <p:txBody>
          <a:bodyPr/>
          <a:lstStyle>
            <a:lvl1pPr marL="0" indent="0">
              <a:buNone/>
              <a:defRPr sz="3200">
                <a:solidFill>
                  <a:srgbClr val="00314C"/>
                </a:solidFill>
                <a:latin typeface="Verdana"/>
                <a:ea typeface="Verdana"/>
                <a:cs typeface="Verdana"/>
              </a:defRPr>
            </a:lvl1pPr>
          </a:lstStyle>
          <a:p>
            <a:pPr lvl="0"/>
            <a:r>
              <a:rPr lang="en-US"/>
              <a:t>Subtitle (24)</a:t>
            </a:r>
          </a:p>
        </p:txBody>
      </p:sp>
      <p:pic>
        <p:nvPicPr>
          <p:cNvPr id="10" name="Picture 12">
            <a:extLst>
              <a:ext uri="{FF2B5EF4-FFF2-40B4-BE49-F238E27FC236}">
                <a16:creationId xmlns:a16="http://schemas.microsoft.com/office/drawing/2014/main" id="{23CEC99A-5F1F-FC34-A4F5-93AA5E481FD8}"/>
              </a:ext>
            </a:extLst>
          </p:cNvPr>
          <p:cNvPicPr>
            <a:picLocks noChangeAspect="1"/>
          </p:cNvPicPr>
          <p:nvPr/>
        </p:nvPicPr>
        <p:blipFill>
          <a:blip r:embed="rId2"/>
          <a:srcRect/>
          <a:stretch>
            <a:fillRect/>
          </a:stretch>
        </p:blipFill>
        <p:spPr>
          <a:xfrm>
            <a:off x="2829840" y="4178333"/>
            <a:ext cx="4395959" cy="1140165"/>
          </a:xfrm>
          <a:prstGeom prst="rect">
            <a:avLst/>
          </a:prstGeom>
          <a:noFill/>
          <a:ln cap="flat">
            <a:noFill/>
          </a:ln>
        </p:spPr>
      </p:pic>
    </p:spTree>
    <p:extLst>
      <p:ext uri="{BB962C8B-B14F-4D97-AF65-F5344CB8AC3E}">
        <p14:creationId xmlns:p14="http://schemas.microsoft.com/office/powerpoint/2010/main" val="3844333792"/>
      </p:ext>
    </p:extLst>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p:cSld name="27_Title Slide_Yale Blue">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35472487-3BA9-CB9F-65A3-44D401A0898E}"/>
              </a:ext>
            </a:extLst>
          </p:cNvPr>
          <p:cNvSpPr txBox="1">
            <a:spLocks noGrp="1"/>
          </p:cNvSpPr>
          <p:nvPr>
            <p:ph type="body" idx="4294967295"/>
          </p:nvPr>
        </p:nvSpPr>
        <p:spPr>
          <a:xfrm>
            <a:off x="2826557" y="5400857"/>
            <a:ext cx="8178613" cy="379656"/>
          </a:xfrm>
        </p:spPr>
        <p:txBody>
          <a:bodyPr wrap="square">
            <a:spAutoFit/>
          </a:bodyPr>
          <a:lstStyle>
            <a:lvl1pPr marL="0" indent="0" algn="r">
              <a:buNone/>
              <a:defRPr sz="1867">
                <a:solidFill>
                  <a:srgbClr val="616364"/>
                </a:solidFill>
                <a:latin typeface="Verdana"/>
                <a:ea typeface="Verdana"/>
                <a:cs typeface="Verdana"/>
              </a:defRPr>
            </a:lvl1pPr>
          </a:lstStyle>
          <a:p>
            <a:pPr lvl="0"/>
            <a:r>
              <a:rPr lang="en-US"/>
              <a:t>Date | Presenter Information (14 pt)</a:t>
            </a:r>
          </a:p>
        </p:txBody>
      </p:sp>
      <p:sp>
        <p:nvSpPr>
          <p:cNvPr id="3" name="Title 1">
            <a:extLst>
              <a:ext uri="{FF2B5EF4-FFF2-40B4-BE49-F238E27FC236}">
                <a16:creationId xmlns:a16="http://schemas.microsoft.com/office/drawing/2014/main" id="{56508DA5-C051-A478-F4F5-F73EDA2C915B}"/>
              </a:ext>
            </a:extLst>
          </p:cNvPr>
          <p:cNvSpPr txBox="1">
            <a:spLocks noGrp="1"/>
          </p:cNvSpPr>
          <p:nvPr>
            <p:ph type="title"/>
          </p:nvPr>
        </p:nvSpPr>
        <p:spPr>
          <a:xfrm>
            <a:off x="2826557" y="1807156"/>
            <a:ext cx="8178613" cy="1629460"/>
          </a:xfrm>
        </p:spPr>
        <p:txBody>
          <a:bodyPr anchor="b"/>
          <a:lstStyle>
            <a:lvl1pPr>
              <a:defRPr sz="5334">
                <a:solidFill>
                  <a:srgbClr val="00314C"/>
                </a:solidFill>
                <a:latin typeface="Verdana"/>
                <a:ea typeface="Verdana"/>
                <a:cs typeface="Verdana"/>
              </a:defRPr>
            </a:lvl1pPr>
          </a:lstStyle>
          <a:p>
            <a:pPr lvl="0"/>
            <a:r>
              <a:rPr lang="en-US"/>
              <a:t>Presentation Title (40pt)</a:t>
            </a:r>
          </a:p>
        </p:txBody>
      </p:sp>
      <p:sp>
        <p:nvSpPr>
          <p:cNvPr id="4" name="Date Placeholder 3">
            <a:extLst>
              <a:ext uri="{FF2B5EF4-FFF2-40B4-BE49-F238E27FC236}">
                <a16:creationId xmlns:a16="http://schemas.microsoft.com/office/drawing/2014/main" id="{049A87E7-B1B7-E5F4-E5A2-1698C3334A99}"/>
              </a:ext>
            </a:extLst>
          </p:cNvPr>
          <p:cNvSpPr txBox="1">
            <a:spLocks noGrp="1"/>
          </p:cNvSpPr>
          <p:nvPr>
            <p:ph type="dt" sz="quarter" idx="7"/>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914446"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defRPr>
            </a:lvl1pPr>
          </a:lstStyle>
          <a:p>
            <a:pPr lvl="0"/>
            <a:fld id="{B24C7AC6-7326-4DFD-A3A9-47CC6454886A}" type="datetime1">
              <a:rPr lang="en-US"/>
              <a:pPr lvl="0"/>
              <a:t>5/20/2026</a:t>
            </a:fld>
            <a:endParaRPr lang="en-US"/>
          </a:p>
        </p:txBody>
      </p:sp>
      <p:sp>
        <p:nvSpPr>
          <p:cNvPr id="5" name="Footer Placeholder 4">
            <a:extLst>
              <a:ext uri="{FF2B5EF4-FFF2-40B4-BE49-F238E27FC236}">
                <a16:creationId xmlns:a16="http://schemas.microsoft.com/office/drawing/2014/main" id="{042C9A69-8FC1-8D89-FE6C-6362A4C79D83}"/>
              </a:ext>
            </a:extLst>
          </p:cNvPr>
          <p:cNvSpPr txBox="1">
            <a:spLocks noGrp="1"/>
          </p:cNvSpPr>
          <p:nvPr>
            <p:ph type="ftr" sz="quarter" idx="9"/>
          </p:nvPr>
        </p:nvSpPr>
        <p:spPr/>
        <p:txBody>
          <a:bodyPr anchorCtr="1"/>
          <a:lstStyle>
            <a:lvl1pPr algn="ctr">
              <a:defRPr/>
            </a:lvl1pPr>
          </a:lstStyle>
          <a:p>
            <a:pPr lvl="0"/>
            <a:endParaRPr lang="en-US"/>
          </a:p>
        </p:txBody>
      </p:sp>
      <p:sp>
        <p:nvSpPr>
          <p:cNvPr id="6" name="Slide Number Placeholder 5">
            <a:extLst>
              <a:ext uri="{FF2B5EF4-FFF2-40B4-BE49-F238E27FC236}">
                <a16:creationId xmlns:a16="http://schemas.microsoft.com/office/drawing/2014/main" id="{C15878A5-C305-4229-7AAB-7174A97C2CD3}"/>
              </a:ext>
            </a:extLst>
          </p:cNvPr>
          <p:cNvSpPr txBox="1">
            <a:spLocks noGrp="1"/>
          </p:cNvSpPr>
          <p:nvPr>
            <p:ph type="sldNum" sz="quarter" idx="8"/>
          </p:nvPr>
        </p:nvSpPr>
        <p:spPr/>
        <p:txBody>
          <a:bodyPr/>
          <a:lstStyle>
            <a:lvl1pPr>
              <a:defRPr/>
            </a:lvl1pPr>
          </a:lstStyle>
          <a:p>
            <a:pPr lvl="0"/>
            <a:fld id="{822592C6-7A19-4765-963A-B309B1C9EB30}" type="slidenum">
              <a:t>‹#›</a:t>
            </a:fld>
            <a:endParaRPr lang="en-US"/>
          </a:p>
        </p:txBody>
      </p:sp>
      <p:sp>
        <p:nvSpPr>
          <p:cNvPr id="7" name="Rectangle 12">
            <a:extLst>
              <a:ext uri="{FF2B5EF4-FFF2-40B4-BE49-F238E27FC236}">
                <a16:creationId xmlns:a16="http://schemas.microsoft.com/office/drawing/2014/main" id="{86A15EFF-E99E-E7A2-D97D-3E7EA32B2D3F}"/>
              </a:ext>
            </a:extLst>
          </p:cNvPr>
          <p:cNvSpPr/>
          <p:nvPr/>
        </p:nvSpPr>
        <p:spPr>
          <a:xfrm rot="10799991">
            <a:off x="-19" y="2000233"/>
            <a:ext cx="2785070" cy="2042851"/>
          </a:xfrm>
          <a:custGeom>
            <a:avLst/>
            <a:gdLst>
              <a:gd name="f0" fmla="val 10800000"/>
              <a:gd name="f1" fmla="val 5400000"/>
              <a:gd name="f2" fmla="val 180"/>
              <a:gd name="f3" fmla="val w"/>
              <a:gd name="f4" fmla="val h"/>
              <a:gd name="f5" fmla="val 0"/>
              <a:gd name="f6" fmla="val 10293751"/>
              <a:gd name="f7" fmla="val 1031873"/>
              <a:gd name="f8" fmla="val 3579068"/>
              <a:gd name="f9" fmla="val 1"/>
              <a:gd name="f10" fmla="val 1031872"/>
              <a:gd name="f11" fmla="+- 0 0 -90"/>
              <a:gd name="f12" fmla="*/ f3 1 10293751"/>
              <a:gd name="f13" fmla="*/ f4 1 1031873"/>
              <a:gd name="f14" fmla="+- f7 0 f5"/>
              <a:gd name="f15" fmla="+- f6 0 f5"/>
              <a:gd name="f16" fmla="*/ f11 f0 1"/>
              <a:gd name="f17" fmla="*/ f15 1 10293751"/>
              <a:gd name="f18" fmla="*/ f14 1 1031873"/>
              <a:gd name="f19" fmla="*/ 10293751 f15 1"/>
              <a:gd name="f20" fmla="*/ 0 f15 1"/>
              <a:gd name="f21" fmla="*/ 0 f14 1"/>
              <a:gd name="f22" fmla="*/ 1 f14 1"/>
              <a:gd name="f23" fmla="*/ 1031873 f14 1"/>
              <a:gd name="f24" fmla="*/ 1031872 f14 1"/>
              <a:gd name="f25" fmla="*/ 3579068 f15 1"/>
              <a:gd name="f26" fmla="*/ f16 1 f2"/>
              <a:gd name="f27" fmla="*/ f19 1 10293751"/>
              <a:gd name="f28" fmla="*/ f20 1 10293751"/>
              <a:gd name="f29" fmla="*/ f21 1 1031873"/>
              <a:gd name="f30" fmla="*/ f22 1 1031873"/>
              <a:gd name="f31" fmla="*/ f23 1 1031873"/>
              <a:gd name="f32" fmla="*/ f24 1 1031873"/>
              <a:gd name="f33" fmla="*/ f25 1 10293751"/>
              <a:gd name="f34" fmla="*/ f5 1 f17"/>
              <a:gd name="f35" fmla="*/ f6 1 f17"/>
              <a:gd name="f36" fmla="*/ f5 1 f18"/>
              <a:gd name="f37" fmla="*/ f7 1 f18"/>
              <a:gd name="f38" fmla="+- f26 0 f1"/>
              <a:gd name="f39" fmla="*/ f33 1 f17"/>
              <a:gd name="f40" fmla="*/ f29 1 f18"/>
              <a:gd name="f41" fmla="*/ f27 1 f17"/>
              <a:gd name="f42" fmla="*/ f30 1 f18"/>
              <a:gd name="f43" fmla="*/ f31 1 f18"/>
              <a:gd name="f44" fmla="*/ f28 1 f17"/>
              <a:gd name="f45" fmla="*/ f32 1 f18"/>
              <a:gd name="f46" fmla="*/ f34 f12 1"/>
              <a:gd name="f47" fmla="*/ f35 f12 1"/>
              <a:gd name="f48" fmla="*/ f37 f13 1"/>
              <a:gd name="f49" fmla="*/ f36 f13 1"/>
              <a:gd name="f50" fmla="*/ f39 f12 1"/>
              <a:gd name="f51" fmla="*/ f40 f13 1"/>
              <a:gd name="f52" fmla="*/ f41 f12 1"/>
              <a:gd name="f53" fmla="*/ f42 f13 1"/>
              <a:gd name="f54" fmla="*/ f43 f13 1"/>
              <a:gd name="f55" fmla="*/ f44 f12 1"/>
              <a:gd name="f56" fmla="*/ f45 f13 1"/>
            </a:gdLst>
            <a:ahLst/>
            <a:cxnLst>
              <a:cxn ang="3cd4">
                <a:pos x="hc" y="t"/>
              </a:cxn>
              <a:cxn ang="0">
                <a:pos x="r" y="vc"/>
              </a:cxn>
              <a:cxn ang="cd4">
                <a:pos x="hc" y="b"/>
              </a:cxn>
              <a:cxn ang="cd2">
                <a:pos x="l" y="vc"/>
              </a:cxn>
              <a:cxn ang="f38">
                <a:pos x="f50" y="f51"/>
              </a:cxn>
              <a:cxn ang="f38">
                <a:pos x="f52" y="f53"/>
              </a:cxn>
              <a:cxn ang="f38">
                <a:pos x="f52" y="f54"/>
              </a:cxn>
              <a:cxn ang="f38">
                <a:pos x="f55" y="f56"/>
              </a:cxn>
              <a:cxn ang="f38">
                <a:pos x="f50" y="f51"/>
              </a:cxn>
            </a:cxnLst>
            <a:rect l="f46" t="f49" r="f47" b="f48"/>
            <a:pathLst>
              <a:path w="10293751" h="1031873">
                <a:moveTo>
                  <a:pt x="f8" y="f5"/>
                </a:moveTo>
                <a:lnTo>
                  <a:pt x="f6" y="f9"/>
                </a:lnTo>
                <a:lnTo>
                  <a:pt x="f6" y="f7"/>
                </a:lnTo>
                <a:lnTo>
                  <a:pt x="f5" y="f10"/>
                </a:lnTo>
                <a:lnTo>
                  <a:pt x="f8" y="f5"/>
                </a:lnTo>
                <a:close/>
              </a:path>
            </a:pathLst>
          </a:cu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8" name="Rectangle 8">
            <a:extLst>
              <a:ext uri="{FF2B5EF4-FFF2-40B4-BE49-F238E27FC236}">
                <a16:creationId xmlns:a16="http://schemas.microsoft.com/office/drawing/2014/main" id="{31F5EB36-C5C2-2D46-DDAF-AB3CDD9DA86F}"/>
              </a:ext>
            </a:extLst>
          </p:cNvPr>
          <p:cNvSpPr/>
          <p:nvPr/>
        </p:nvSpPr>
        <p:spPr>
          <a:xfrm>
            <a:off x="0" y="6115050"/>
            <a:ext cx="12191996" cy="742950"/>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9" name="Text Placeholder 11">
            <a:extLst>
              <a:ext uri="{FF2B5EF4-FFF2-40B4-BE49-F238E27FC236}">
                <a16:creationId xmlns:a16="http://schemas.microsoft.com/office/drawing/2014/main" id="{D0825058-523A-7E81-A39F-01545E96BA2D}"/>
              </a:ext>
            </a:extLst>
          </p:cNvPr>
          <p:cNvSpPr txBox="1">
            <a:spLocks noGrp="1"/>
          </p:cNvSpPr>
          <p:nvPr>
            <p:ph type="body" idx="4294967295"/>
          </p:nvPr>
        </p:nvSpPr>
        <p:spPr>
          <a:xfrm>
            <a:off x="2826557" y="3447397"/>
            <a:ext cx="8178613" cy="713314"/>
          </a:xfrm>
        </p:spPr>
        <p:txBody>
          <a:bodyPr/>
          <a:lstStyle>
            <a:lvl1pPr marL="0" indent="0">
              <a:buNone/>
              <a:defRPr sz="3200">
                <a:solidFill>
                  <a:srgbClr val="00314C"/>
                </a:solidFill>
                <a:latin typeface="Verdana"/>
                <a:ea typeface="Verdana"/>
                <a:cs typeface="Verdana"/>
              </a:defRPr>
            </a:lvl1pPr>
          </a:lstStyle>
          <a:p>
            <a:pPr lvl="0"/>
            <a:r>
              <a:rPr lang="en-US"/>
              <a:t>Subtitle (24)</a:t>
            </a:r>
          </a:p>
        </p:txBody>
      </p:sp>
      <p:pic>
        <p:nvPicPr>
          <p:cNvPr id="10" name="Picture 12">
            <a:extLst>
              <a:ext uri="{FF2B5EF4-FFF2-40B4-BE49-F238E27FC236}">
                <a16:creationId xmlns:a16="http://schemas.microsoft.com/office/drawing/2014/main" id="{051BB19C-6310-6B4D-ECBC-BF54F6DDDB8F}"/>
              </a:ext>
            </a:extLst>
          </p:cNvPr>
          <p:cNvPicPr>
            <a:picLocks noChangeAspect="1"/>
          </p:cNvPicPr>
          <p:nvPr/>
        </p:nvPicPr>
        <p:blipFill>
          <a:blip r:embed="rId2"/>
          <a:srcRect/>
          <a:stretch>
            <a:fillRect/>
          </a:stretch>
        </p:blipFill>
        <p:spPr>
          <a:xfrm>
            <a:off x="2829840" y="4178333"/>
            <a:ext cx="4395959" cy="1140165"/>
          </a:xfrm>
          <a:prstGeom prst="rect">
            <a:avLst/>
          </a:prstGeom>
          <a:noFill/>
          <a:ln cap="flat">
            <a:noFill/>
          </a:ln>
        </p:spPr>
      </p:pic>
    </p:spTree>
    <p:extLst>
      <p:ext uri="{BB962C8B-B14F-4D97-AF65-F5344CB8AC3E}">
        <p14:creationId xmlns:p14="http://schemas.microsoft.com/office/powerpoint/2010/main" val="3093970339"/>
      </p:ext>
    </p:extLst>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p:cSld name="26_Title Slide_Yale Blue">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926A359C-A35B-07EC-CE6A-546F358A6F88}"/>
              </a:ext>
            </a:extLst>
          </p:cNvPr>
          <p:cNvSpPr txBox="1">
            <a:spLocks noGrp="1"/>
          </p:cNvSpPr>
          <p:nvPr>
            <p:ph type="body" idx="4294967295"/>
          </p:nvPr>
        </p:nvSpPr>
        <p:spPr>
          <a:xfrm>
            <a:off x="2826557" y="5400857"/>
            <a:ext cx="8178613" cy="379656"/>
          </a:xfrm>
        </p:spPr>
        <p:txBody>
          <a:bodyPr wrap="square">
            <a:spAutoFit/>
          </a:bodyPr>
          <a:lstStyle>
            <a:lvl1pPr marL="0" indent="0" algn="r">
              <a:buNone/>
              <a:defRPr sz="1867">
                <a:solidFill>
                  <a:srgbClr val="616364"/>
                </a:solidFill>
                <a:latin typeface="Verdana"/>
                <a:ea typeface="Verdana"/>
                <a:cs typeface="Verdana"/>
              </a:defRPr>
            </a:lvl1pPr>
          </a:lstStyle>
          <a:p>
            <a:pPr lvl="0"/>
            <a:r>
              <a:rPr lang="en-US"/>
              <a:t>Date | Presenter Information (14 pt)</a:t>
            </a:r>
          </a:p>
        </p:txBody>
      </p:sp>
      <p:sp>
        <p:nvSpPr>
          <p:cNvPr id="3" name="Title 1">
            <a:extLst>
              <a:ext uri="{FF2B5EF4-FFF2-40B4-BE49-F238E27FC236}">
                <a16:creationId xmlns:a16="http://schemas.microsoft.com/office/drawing/2014/main" id="{244F613F-D33C-2901-4367-392BC294FC2A}"/>
              </a:ext>
            </a:extLst>
          </p:cNvPr>
          <p:cNvSpPr txBox="1">
            <a:spLocks noGrp="1"/>
          </p:cNvSpPr>
          <p:nvPr>
            <p:ph type="title"/>
          </p:nvPr>
        </p:nvSpPr>
        <p:spPr>
          <a:xfrm>
            <a:off x="2826557" y="1807156"/>
            <a:ext cx="8178613" cy="1629460"/>
          </a:xfrm>
        </p:spPr>
        <p:txBody>
          <a:bodyPr anchor="b"/>
          <a:lstStyle>
            <a:lvl1pPr>
              <a:defRPr sz="5334">
                <a:solidFill>
                  <a:srgbClr val="00314C"/>
                </a:solidFill>
                <a:latin typeface="Verdana"/>
                <a:ea typeface="Verdana"/>
                <a:cs typeface="Verdana"/>
              </a:defRPr>
            </a:lvl1pPr>
          </a:lstStyle>
          <a:p>
            <a:pPr lvl="0"/>
            <a:r>
              <a:rPr lang="en-US"/>
              <a:t>Presentation Title (40pt)</a:t>
            </a:r>
          </a:p>
        </p:txBody>
      </p:sp>
      <p:sp>
        <p:nvSpPr>
          <p:cNvPr id="4" name="Date Placeholder 3">
            <a:extLst>
              <a:ext uri="{FF2B5EF4-FFF2-40B4-BE49-F238E27FC236}">
                <a16:creationId xmlns:a16="http://schemas.microsoft.com/office/drawing/2014/main" id="{EB75F612-6655-C9B3-B3EF-DC6308053176}"/>
              </a:ext>
            </a:extLst>
          </p:cNvPr>
          <p:cNvSpPr txBox="1">
            <a:spLocks noGrp="1"/>
          </p:cNvSpPr>
          <p:nvPr>
            <p:ph type="dt" sz="quarter" idx="7"/>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914446"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defRPr>
            </a:lvl1pPr>
          </a:lstStyle>
          <a:p>
            <a:pPr lvl="0"/>
            <a:fld id="{D35D0209-B315-4BDA-AF03-A52F2AB0C4CE}" type="datetime1">
              <a:rPr lang="en-US"/>
              <a:pPr lvl="0"/>
              <a:t>5/20/2026</a:t>
            </a:fld>
            <a:endParaRPr lang="en-US"/>
          </a:p>
        </p:txBody>
      </p:sp>
      <p:sp>
        <p:nvSpPr>
          <p:cNvPr id="5" name="Footer Placeholder 4">
            <a:extLst>
              <a:ext uri="{FF2B5EF4-FFF2-40B4-BE49-F238E27FC236}">
                <a16:creationId xmlns:a16="http://schemas.microsoft.com/office/drawing/2014/main" id="{D9615A70-3974-29AA-74A9-3FA3532A350D}"/>
              </a:ext>
            </a:extLst>
          </p:cNvPr>
          <p:cNvSpPr txBox="1">
            <a:spLocks noGrp="1"/>
          </p:cNvSpPr>
          <p:nvPr>
            <p:ph type="ftr" sz="quarter" idx="9"/>
          </p:nvPr>
        </p:nvSpPr>
        <p:spPr/>
        <p:txBody>
          <a:bodyPr anchorCtr="1"/>
          <a:lstStyle>
            <a:lvl1pPr algn="ctr">
              <a:defRPr/>
            </a:lvl1pPr>
          </a:lstStyle>
          <a:p>
            <a:pPr lvl="0"/>
            <a:endParaRPr lang="en-US"/>
          </a:p>
        </p:txBody>
      </p:sp>
      <p:sp>
        <p:nvSpPr>
          <p:cNvPr id="6" name="Slide Number Placeholder 5">
            <a:extLst>
              <a:ext uri="{FF2B5EF4-FFF2-40B4-BE49-F238E27FC236}">
                <a16:creationId xmlns:a16="http://schemas.microsoft.com/office/drawing/2014/main" id="{ABBC4A2B-3AA3-0D9D-B18D-0AB14C086DDC}"/>
              </a:ext>
            </a:extLst>
          </p:cNvPr>
          <p:cNvSpPr txBox="1">
            <a:spLocks noGrp="1"/>
          </p:cNvSpPr>
          <p:nvPr>
            <p:ph type="sldNum" sz="quarter" idx="8"/>
          </p:nvPr>
        </p:nvSpPr>
        <p:spPr/>
        <p:txBody>
          <a:bodyPr/>
          <a:lstStyle>
            <a:lvl1pPr>
              <a:defRPr/>
            </a:lvl1pPr>
          </a:lstStyle>
          <a:p>
            <a:pPr lvl="0"/>
            <a:fld id="{E62223EF-9BE1-4903-9B67-CF9247D0D269}" type="slidenum">
              <a:t>‹#›</a:t>
            </a:fld>
            <a:endParaRPr lang="en-US"/>
          </a:p>
        </p:txBody>
      </p:sp>
      <p:sp>
        <p:nvSpPr>
          <p:cNvPr id="7" name="Rectangle 12">
            <a:extLst>
              <a:ext uri="{FF2B5EF4-FFF2-40B4-BE49-F238E27FC236}">
                <a16:creationId xmlns:a16="http://schemas.microsoft.com/office/drawing/2014/main" id="{2117BDED-7851-CD0A-CE5D-ED78EAC3EFA3}"/>
              </a:ext>
            </a:extLst>
          </p:cNvPr>
          <p:cNvSpPr/>
          <p:nvPr/>
        </p:nvSpPr>
        <p:spPr>
          <a:xfrm rot="10799991">
            <a:off x="-19" y="2000233"/>
            <a:ext cx="2785070" cy="2042851"/>
          </a:xfrm>
          <a:custGeom>
            <a:avLst/>
            <a:gdLst>
              <a:gd name="f0" fmla="val 10800000"/>
              <a:gd name="f1" fmla="val 5400000"/>
              <a:gd name="f2" fmla="val 180"/>
              <a:gd name="f3" fmla="val w"/>
              <a:gd name="f4" fmla="val h"/>
              <a:gd name="f5" fmla="val 0"/>
              <a:gd name="f6" fmla="val 10293751"/>
              <a:gd name="f7" fmla="val 1031873"/>
              <a:gd name="f8" fmla="val 3579068"/>
              <a:gd name="f9" fmla="val 1"/>
              <a:gd name="f10" fmla="val 1031872"/>
              <a:gd name="f11" fmla="+- 0 0 -90"/>
              <a:gd name="f12" fmla="*/ f3 1 10293751"/>
              <a:gd name="f13" fmla="*/ f4 1 1031873"/>
              <a:gd name="f14" fmla="+- f7 0 f5"/>
              <a:gd name="f15" fmla="+- f6 0 f5"/>
              <a:gd name="f16" fmla="*/ f11 f0 1"/>
              <a:gd name="f17" fmla="*/ f15 1 10293751"/>
              <a:gd name="f18" fmla="*/ f14 1 1031873"/>
              <a:gd name="f19" fmla="*/ 10293751 f15 1"/>
              <a:gd name="f20" fmla="*/ 0 f15 1"/>
              <a:gd name="f21" fmla="*/ 0 f14 1"/>
              <a:gd name="f22" fmla="*/ 1 f14 1"/>
              <a:gd name="f23" fmla="*/ 1031873 f14 1"/>
              <a:gd name="f24" fmla="*/ 1031872 f14 1"/>
              <a:gd name="f25" fmla="*/ 3579068 f15 1"/>
              <a:gd name="f26" fmla="*/ f16 1 f2"/>
              <a:gd name="f27" fmla="*/ f19 1 10293751"/>
              <a:gd name="f28" fmla="*/ f20 1 10293751"/>
              <a:gd name="f29" fmla="*/ f21 1 1031873"/>
              <a:gd name="f30" fmla="*/ f22 1 1031873"/>
              <a:gd name="f31" fmla="*/ f23 1 1031873"/>
              <a:gd name="f32" fmla="*/ f24 1 1031873"/>
              <a:gd name="f33" fmla="*/ f25 1 10293751"/>
              <a:gd name="f34" fmla="*/ f5 1 f17"/>
              <a:gd name="f35" fmla="*/ f6 1 f17"/>
              <a:gd name="f36" fmla="*/ f5 1 f18"/>
              <a:gd name="f37" fmla="*/ f7 1 f18"/>
              <a:gd name="f38" fmla="+- f26 0 f1"/>
              <a:gd name="f39" fmla="*/ f33 1 f17"/>
              <a:gd name="f40" fmla="*/ f29 1 f18"/>
              <a:gd name="f41" fmla="*/ f27 1 f17"/>
              <a:gd name="f42" fmla="*/ f30 1 f18"/>
              <a:gd name="f43" fmla="*/ f31 1 f18"/>
              <a:gd name="f44" fmla="*/ f28 1 f17"/>
              <a:gd name="f45" fmla="*/ f32 1 f18"/>
              <a:gd name="f46" fmla="*/ f34 f12 1"/>
              <a:gd name="f47" fmla="*/ f35 f12 1"/>
              <a:gd name="f48" fmla="*/ f37 f13 1"/>
              <a:gd name="f49" fmla="*/ f36 f13 1"/>
              <a:gd name="f50" fmla="*/ f39 f12 1"/>
              <a:gd name="f51" fmla="*/ f40 f13 1"/>
              <a:gd name="f52" fmla="*/ f41 f12 1"/>
              <a:gd name="f53" fmla="*/ f42 f13 1"/>
              <a:gd name="f54" fmla="*/ f43 f13 1"/>
              <a:gd name="f55" fmla="*/ f44 f12 1"/>
              <a:gd name="f56" fmla="*/ f45 f13 1"/>
            </a:gdLst>
            <a:ahLst/>
            <a:cxnLst>
              <a:cxn ang="3cd4">
                <a:pos x="hc" y="t"/>
              </a:cxn>
              <a:cxn ang="0">
                <a:pos x="r" y="vc"/>
              </a:cxn>
              <a:cxn ang="cd4">
                <a:pos x="hc" y="b"/>
              </a:cxn>
              <a:cxn ang="cd2">
                <a:pos x="l" y="vc"/>
              </a:cxn>
              <a:cxn ang="f38">
                <a:pos x="f50" y="f51"/>
              </a:cxn>
              <a:cxn ang="f38">
                <a:pos x="f52" y="f53"/>
              </a:cxn>
              <a:cxn ang="f38">
                <a:pos x="f52" y="f54"/>
              </a:cxn>
              <a:cxn ang="f38">
                <a:pos x="f55" y="f56"/>
              </a:cxn>
              <a:cxn ang="f38">
                <a:pos x="f50" y="f51"/>
              </a:cxn>
            </a:cxnLst>
            <a:rect l="f46" t="f49" r="f47" b="f48"/>
            <a:pathLst>
              <a:path w="10293751" h="1031873">
                <a:moveTo>
                  <a:pt x="f8" y="f5"/>
                </a:moveTo>
                <a:lnTo>
                  <a:pt x="f6" y="f9"/>
                </a:lnTo>
                <a:lnTo>
                  <a:pt x="f6" y="f7"/>
                </a:lnTo>
                <a:lnTo>
                  <a:pt x="f5" y="f10"/>
                </a:lnTo>
                <a:lnTo>
                  <a:pt x="f8" y="f5"/>
                </a:lnTo>
                <a:close/>
              </a:path>
            </a:pathLst>
          </a:cu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8" name="Rectangle 8">
            <a:extLst>
              <a:ext uri="{FF2B5EF4-FFF2-40B4-BE49-F238E27FC236}">
                <a16:creationId xmlns:a16="http://schemas.microsoft.com/office/drawing/2014/main" id="{0A053672-2EDD-B0F0-F183-5CBF3184A4F7}"/>
              </a:ext>
            </a:extLst>
          </p:cNvPr>
          <p:cNvSpPr/>
          <p:nvPr/>
        </p:nvSpPr>
        <p:spPr>
          <a:xfrm>
            <a:off x="0" y="6115050"/>
            <a:ext cx="12191996" cy="742950"/>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9" name="Text Placeholder 11">
            <a:extLst>
              <a:ext uri="{FF2B5EF4-FFF2-40B4-BE49-F238E27FC236}">
                <a16:creationId xmlns:a16="http://schemas.microsoft.com/office/drawing/2014/main" id="{CBDD8AA9-D986-2B35-942E-E915A79192FA}"/>
              </a:ext>
            </a:extLst>
          </p:cNvPr>
          <p:cNvSpPr txBox="1">
            <a:spLocks noGrp="1"/>
          </p:cNvSpPr>
          <p:nvPr>
            <p:ph type="body" idx="4294967295"/>
          </p:nvPr>
        </p:nvSpPr>
        <p:spPr>
          <a:xfrm>
            <a:off x="2826557" y="3447397"/>
            <a:ext cx="8178613" cy="713314"/>
          </a:xfrm>
        </p:spPr>
        <p:txBody>
          <a:bodyPr/>
          <a:lstStyle>
            <a:lvl1pPr marL="0" indent="0">
              <a:buNone/>
              <a:defRPr sz="3200">
                <a:solidFill>
                  <a:srgbClr val="00314C"/>
                </a:solidFill>
                <a:latin typeface="Verdana"/>
                <a:ea typeface="Verdana"/>
                <a:cs typeface="Verdana"/>
              </a:defRPr>
            </a:lvl1pPr>
          </a:lstStyle>
          <a:p>
            <a:pPr lvl="0"/>
            <a:r>
              <a:rPr lang="en-US"/>
              <a:t>Subtitle (24)</a:t>
            </a:r>
          </a:p>
        </p:txBody>
      </p:sp>
      <p:pic>
        <p:nvPicPr>
          <p:cNvPr id="10" name="Picture 12">
            <a:extLst>
              <a:ext uri="{FF2B5EF4-FFF2-40B4-BE49-F238E27FC236}">
                <a16:creationId xmlns:a16="http://schemas.microsoft.com/office/drawing/2014/main" id="{05F96163-A79D-97AB-4524-ECA3C750DC82}"/>
              </a:ext>
            </a:extLst>
          </p:cNvPr>
          <p:cNvPicPr>
            <a:picLocks noChangeAspect="1"/>
          </p:cNvPicPr>
          <p:nvPr/>
        </p:nvPicPr>
        <p:blipFill>
          <a:blip r:embed="rId2"/>
          <a:srcRect/>
          <a:stretch>
            <a:fillRect/>
          </a:stretch>
        </p:blipFill>
        <p:spPr>
          <a:xfrm>
            <a:off x="2829840" y="4178333"/>
            <a:ext cx="4395959" cy="1140165"/>
          </a:xfrm>
          <a:prstGeom prst="rect">
            <a:avLst/>
          </a:prstGeom>
          <a:noFill/>
          <a:ln cap="flat">
            <a:noFill/>
          </a:ln>
        </p:spPr>
      </p:pic>
    </p:spTree>
    <p:extLst>
      <p:ext uri="{BB962C8B-B14F-4D97-AF65-F5344CB8AC3E}">
        <p14:creationId xmlns:p14="http://schemas.microsoft.com/office/powerpoint/2010/main" val="677555687"/>
      </p:ext>
    </p:extLst>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p:cSld name="25_Title Slide_Yale Blue">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FE674877-AF9F-D586-7CD1-446C98585D50}"/>
              </a:ext>
            </a:extLst>
          </p:cNvPr>
          <p:cNvSpPr txBox="1">
            <a:spLocks noGrp="1"/>
          </p:cNvSpPr>
          <p:nvPr>
            <p:ph type="body" idx="4294967295"/>
          </p:nvPr>
        </p:nvSpPr>
        <p:spPr>
          <a:xfrm>
            <a:off x="2826557" y="5400857"/>
            <a:ext cx="8178613" cy="379656"/>
          </a:xfrm>
        </p:spPr>
        <p:txBody>
          <a:bodyPr wrap="square">
            <a:spAutoFit/>
          </a:bodyPr>
          <a:lstStyle>
            <a:lvl1pPr marL="0" indent="0" algn="r">
              <a:buNone/>
              <a:defRPr sz="1867">
                <a:solidFill>
                  <a:srgbClr val="616364"/>
                </a:solidFill>
                <a:latin typeface="Verdana"/>
                <a:ea typeface="Verdana"/>
                <a:cs typeface="Verdana"/>
              </a:defRPr>
            </a:lvl1pPr>
          </a:lstStyle>
          <a:p>
            <a:pPr lvl="0"/>
            <a:r>
              <a:rPr lang="en-US"/>
              <a:t>Date | Presenter Information (14 pt)</a:t>
            </a:r>
          </a:p>
        </p:txBody>
      </p:sp>
      <p:sp>
        <p:nvSpPr>
          <p:cNvPr id="3" name="Title 1">
            <a:extLst>
              <a:ext uri="{FF2B5EF4-FFF2-40B4-BE49-F238E27FC236}">
                <a16:creationId xmlns:a16="http://schemas.microsoft.com/office/drawing/2014/main" id="{5482098F-8523-3B56-3D74-8B4284793AC7}"/>
              </a:ext>
            </a:extLst>
          </p:cNvPr>
          <p:cNvSpPr txBox="1">
            <a:spLocks noGrp="1"/>
          </p:cNvSpPr>
          <p:nvPr>
            <p:ph type="title"/>
          </p:nvPr>
        </p:nvSpPr>
        <p:spPr>
          <a:xfrm>
            <a:off x="2826557" y="1807156"/>
            <a:ext cx="8178613" cy="1629460"/>
          </a:xfrm>
        </p:spPr>
        <p:txBody>
          <a:bodyPr anchor="b"/>
          <a:lstStyle>
            <a:lvl1pPr>
              <a:defRPr sz="5334">
                <a:solidFill>
                  <a:srgbClr val="00314C"/>
                </a:solidFill>
                <a:latin typeface="Verdana"/>
                <a:ea typeface="Verdana"/>
                <a:cs typeface="Verdana"/>
              </a:defRPr>
            </a:lvl1pPr>
          </a:lstStyle>
          <a:p>
            <a:pPr lvl="0"/>
            <a:r>
              <a:rPr lang="en-US"/>
              <a:t>Presentation Title (40pt)</a:t>
            </a:r>
          </a:p>
        </p:txBody>
      </p:sp>
      <p:sp>
        <p:nvSpPr>
          <p:cNvPr id="4" name="Date Placeholder 3">
            <a:extLst>
              <a:ext uri="{FF2B5EF4-FFF2-40B4-BE49-F238E27FC236}">
                <a16:creationId xmlns:a16="http://schemas.microsoft.com/office/drawing/2014/main" id="{3FCCD572-DE2C-388D-8A79-19DDF2C29D7B}"/>
              </a:ext>
            </a:extLst>
          </p:cNvPr>
          <p:cNvSpPr txBox="1">
            <a:spLocks noGrp="1"/>
          </p:cNvSpPr>
          <p:nvPr>
            <p:ph type="dt" sz="quarter" idx="7"/>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914446"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defRPr>
            </a:lvl1pPr>
          </a:lstStyle>
          <a:p>
            <a:pPr lvl="0"/>
            <a:fld id="{681399C2-DA32-4C6C-9287-6619CC714347}" type="datetime1">
              <a:rPr lang="en-US"/>
              <a:pPr lvl="0"/>
              <a:t>5/20/2026</a:t>
            </a:fld>
            <a:endParaRPr lang="en-US"/>
          </a:p>
        </p:txBody>
      </p:sp>
      <p:sp>
        <p:nvSpPr>
          <p:cNvPr id="5" name="Footer Placeholder 4">
            <a:extLst>
              <a:ext uri="{FF2B5EF4-FFF2-40B4-BE49-F238E27FC236}">
                <a16:creationId xmlns:a16="http://schemas.microsoft.com/office/drawing/2014/main" id="{CC50760C-4109-FEEB-5B65-B8F3DBBE5741}"/>
              </a:ext>
            </a:extLst>
          </p:cNvPr>
          <p:cNvSpPr txBox="1">
            <a:spLocks noGrp="1"/>
          </p:cNvSpPr>
          <p:nvPr>
            <p:ph type="ftr" sz="quarter" idx="9"/>
          </p:nvPr>
        </p:nvSpPr>
        <p:spPr/>
        <p:txBody>
          <a:bodyPr anchorCtr="1"/>
          <a:lstStyle>
            <a:lvl1pPr algn="ctr">
              <a:defRPr/>
            </a:lvl1pPr>
          </a:lstStyle>
          <a:p>
            <a:pPr lvl="0"/>
            <a:endParaRPr lang="en-US"/>
          </a:p>
        </p:txBody>
      </p:sp>
      <p:sp>
        <p:nvSpPr>
          <p:cNvPr id="6" name="Slide Number Placeholder 5">
            <a:extLst>
              <a:ext uri="{FF2B5EF4-FFF2-40B4-BE49-F238E27FC236}">
                <a16:creationId xmlns:a16="http://schemas.microsoft.com/office/drawing/2014/main" id="{AA6C93B6-6F23-EF59-E155-129CD5026FDC}"/>
              </a:ext>
            </a:extLst>
          </p:cNvPr>
          <p:cNvSpPr txBox="1">
            <a:spLocks noGrp="1"/>
          </p:cNvSpPr>
          <p:nvPr>
            <p:ph type="sldNum" sz="quarter" idx="8"/>
          </p:nvPr>
        </p:nvSpPr>
        <p:spPr/>
        <p:txBody>
          <a:bodyPr/>
          <a:lstStyle>
            <a:lvl1pPr>
              <a:defRPr/>
            </a:lvl1pPr>
          </a:lstStyle>
          <a:p>
            <a:pPr lvl="0"/>
            <a:fld id="{F3025DF3-E4E2-42DC-8921-A2B53D3F193C}" type="slidenum">
              <a:t>‹#›</a:t>
            </a:fld>
            <a:endParaRPr lang="en-US"/>
          </a:p>
        </p:txBody>
      </p:sp>
      <p:sp>
        <p:nvSpPr>
          <p:cNvPr id="7" name="Rectangle 12">
            <a:extLst>
              <a:ext uri="{FF2B5EF4-FFF2-40B4-BE49-F238E27FC236}">
                <a16:creationId xmlns:a16="http://schemas.microsoft.com/office/drawing/2014/main" id="{E70ACCF0-A736-3A82-DB5B-49EE262948A4}"/>
              </a:ext>
            </a:extLst>
          </p:cNvPr>
          <p:cNvSpPr/>
          <p:nvPr/>
        </p:nvSpPr>
        <p:spPr>
          <a:xfrm rot="10799991">
            <a:off x="-19" y="2000233"/>
            <a:ext cx="2785070" cy="2042851"/>
          </a:xfrm>
          <a:custGeom>
            <a:avLst/>
            <a:gdLst>
              <a:gd name="f0" fmla="val 10800000"/>
              <a:gd name="f1" fmla="val 5400000"/>
              <a:gd name="f2" fmla="val 180"/>
              <a:gd name="f3" fmla="val w"/>
              <a:gd name="f4" fmla="val h"/>
              <a:gd name="f5" fmla="val 0"/>
              <a:gd name="f6" fmla="val 10293751"/>
              <a:gd name="f7" fmla="val 1031873"/>
              <a:gd name="f8" fmla="val 3579068"/>
              <a:gd name="f9" fmla="val 1"/>
              <a:gd name="f10" fmla="val 1031872"/>
              <a:gd name="f11" fmla="+- 0 0 -90"/>
              <a:gd name="f12" fmla="*/ f3 1 10293751"/>
              <a:gd name="f13" fmla="*/ f4 1 1031873"/>
              <a:gd name="f14" fmla="+- f7 0 f5"/>
              <a:gd name="f15" fmla="+- f6 0 f5"/>
              <a:gd name="f16" fmla="*/ f11 f0 1"/>
              <a:gd name="f17" fmla="*/ f15 1 10293751"/>
              <a:gd name="f18" fmla="*/ f14 1 1031873"/>
              <a:gd name="f19" fmla="*/ 10293751 f15 1"/>
              <a:gd name="f20" fmla="*/ 0 f15 1"/>
              <a:gd name="f21" fmla="*/ 0 f14 1"/>
              <a:gd name="f22" fmla="*/ 1 f14 1"/>
              <a:gd name="f23" fmla="*/ 1031873 f14 1"/>
              <a:gd name="f24" fmla="*/ 1031872 f14 1"/>
              <a:gd name="f25" fmla="*/ 3579068 f15 1"/>
              <a:gd name="f26" fmla="*/ f16 1 f2"/>
              <a:gd name="f27" fmla="*/ f19 1 10293751"/>
              <a:gd name="f28" fmla="*/ f20 1 10293751"/>
              <a:gd name="f29" fmla="*/ f21 1 1031873"/>
              <a:gd name="f30" fmla="*/ f22 1 1031873"/>
              <a:gd name="f31" fmla="*/ f23 1 1031873"/>
              <a:gd name="f32" fmla="*/ f24 1 1031873"/>
              <a:gd name="f33" fmla="*/ f25 1 10293751"/>
              <a:gd name="f34" fmla="*/ f5 1 f17"/>
              <a:gd name="f35" fmla="*/ f6 1 f17"/>
              <a:gd name="f36" fmla="*/ f5 1 f18"/>
              <a:gd name="f37" fmla="*/ f7 1 f18"/>
              <a:gd name="f38" fmla="+- f26 0 f1"/>
              <a:gd name="f39" fmla="*/ f33 1 f17"/>
              <a:gd name="f40" fmla="*/ f29 1 f18"/>
              <a:gd name="f41" fmla="*/ f27 1 f17"/>
              <a:gd name="f42" fmla="*/ f30 1 f18"/>
              <a:gd name="f43" fmla="*/ f31 1 f18"/>
              <a:gd name="f44" fmla="*/ f28 1 f17"/>
              <a:gd name="f45" fmla="*/ f32 1 f18"/>
              <a:gd name="f46" fmla="*/ f34 f12 1"/>
              <a:gd name="f47" fmla="*/ f35 f12 1"/>
              <a:gd name="f48" fmla="*/ f37 f13 1"/>
              <a:gd name="f49" fmla="*/ f36 f13 1"/>
              <a:gd name="f50" fmla="*/ f39 f12 1"/>
              <a:gd name="f51" fmla="*/ f40 f13 1"/>
              <a:gd name="f52" fmla="*/ f41 f12 1"/>
              <a:gd name="f53" fmla="*/ f42 f13 1"/>
              <a:gd name="f54" fmla="*/ f43 f13 1"/>
              <a:gd name="f55" fmla="*/ f44 f12 1"/>
              <a:gd name="f56" fmla="*/ f45 f13 1"/>
            </a:gdLst>
            <a:ahLst/>
            <a:cxnLst>
              <a:cxn ang="3cd4">
                <a:pos x="hc" y="t"/>
              </a:cxn>
              <a:cxn ang="0">
                <a:pos x="r" y="vc"/>
              </a:cxn>
              <a:cxn ang="cd4">
                <a:pos x="hc" y="b"/>
              </a:cxn>
              <a:cxn ang="cd2">
                <a:pos x="l" y="vc"/>
              </a:cxn>
              <a:cxn ang="f38">
                <a:pos x="f50" y="f51"/>
              </a:cxn>
              <a:cxn ang="f38">
                <a:pos x="f52" y="f53"/>
              </a:cxn>
              <a:cxn ang="f38">
                <a:pos x="f52" y="f54"/>
              </a:cxn>
              <a:cxn ang="f38">
                <a:pos x="f55" y="f56"/>
              </a:cxn>
              <a:cxn ang="f38">
                <a:pos x="f50" y="f51"/>
              </a:cxn>
            </a:cxnLst>
            <a:rect l="f46" t="f49" r="f47" b="f48"/>
            <a:pathLst>
              <a:path w="10293751" h="1031873">
                <a:moveTo>
                  <a:pt x="f8" y="f5"/>
                </a:moveTo>
                <a:lnTo>
                  <a:pt x="f6" y="f9"/>
                </a:lnTo>
                <a:lnTo>
                  <a:pt x="f6" y="f7"/>
                </a:lnTo>
                <a:lnTo>
                  <a:pt x="f5" y="f10"/>
                </a:lnTo>
                <a:lnTo>
                  <a:pt x="f8" y="f5"/>
                </a:lnTo>
                <a:close/>
              </a:path>
            </a:pathLst>
          </a:cu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8" name="Rectangle 8">
            <a:extLst>
              <a:ext uri="{FF2B5EF4-FFF2-40B4-BE49-F238E27FC236}">
                <a16:creationId xmlns:a16="http://schemas.microsoft.com/office/drawing/2014/main" id="{39705A1B-8064-9BFC-CC5C-4BF8F2DEF0F9}"/>
              </a:ext>
            </a:extLst>
          </p:cNvPr>
          <p:cNvSpPr/>
          <p:nvPr/>
        </p:nvSpPr>
        <p:spPr>
          <a:xfrm>
            <a:off x="0" y="6115050"/>
            <a:ext cx="12191996" cy="742950"/>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9" name="Text Placeholder 11">
            <a:extLst>
              <a:ext uri="{FF2B5EF4-FFF2-40B4-BE49-F238E27FC236}">
                <a16:creationId xmlns:a16="http://schemas.microsoft.com/office/drawing/2014/main" id="{EBF3E88D-9AEE-32C1-AD80-5C04E6C72E2A}"/>
              </a:ext>
            </a:extLst>
          </p:cNvPr>
          <p:cNvSpPr txBox="1">
            <a:spLocks noGrp="1"/>
          </p:cNvSpPr>
          <p:nvPr>
            <p:ph type="body" idx="4294967295"/>
          </p:nvPr>
        </p:nvSpPr>
        <p:spPr>
          <a:xfrm>
            <a:off x="2826557" y="3447397"/>
            <a:ext cx="8178613" cy="713314"/>
          </a:xfrm>
        </p:spPr>
        <p:txBody>
          <a:bodyPr/>
          <a:lstStyle>
            <a:lvl1pPr marL="0" indent="0">
              <a:buNone/>
              <a:defRPr sz="3200">
                <a:solidFill>
                  <a:srgbClr val="00314C"/>
                </a:solidFill>
                <a:latin typeface="Verdana"/>
                <a:ea typeface="Verdana"/>
                <a:cs typeface="Verdana"/>
              </a:defRPr>
            </a:lvl1pPr>
          </a:lstStyle>
          <a:p>
            <a:pPr lvl="0"/>
            <a:r>
              <a:rPr lang="en-US"/>
              <a:t>Subtitle (24)</a:t>
            </a:r>
          </a:p>
        </p:txBody>
      </p:sp>
      <p:pic>
        <p:nvPicPr>
          <p:cNvPr id="10" name="Picture 12">
            <a:extLst>
              <a:ext uri="{FF2B5EF4-FFF2-40B4-BE49-F238E27FC236}">
                <a16:creationId xmlns:a16="http://schemas.microsoft.com/office/drawing/2014/main" id="{FE82D21D-A369-113F-355A-F83094547CFA}"/>
              </a:ext>
            </a:extLst>
          </p:cNvPr>
          <p:cNvPicPr>
            <a:picLocks noChangeAspect="1"/>
          </p:cNvPicPr>
          <p:nvPr/>
        </p:nvPicPr>
        <p:blipFill>
          <a:blip r:embed="rId2"/>
          <a:srcRect/>
          <a:stretch>
            <a:fillRect/>
          </a:stretch>
        </p:blipFill>
        <p:spPr>
          <a:xfrm>
            <a:off x="2829840" y="4178333"/>
            <a:ext cx="4395959" cy="1140165"/>
          </a:xfrm>
          <a:prstGeom prst="rect">
            <a:avLst/>
          </a:prstGeom>
          <a:noFill/>
          <a:ln cap="flat">
            <a:noFill/>
          </a:ln>
        </p:spPr>
      </p:pic>
    </p:spTree>
    <p:extLst>
      <p:ext uri="{BB962C8B-B14F-4D97-AF65-F5344CB8AC3E}">
        <p14:creationId xmlns:p14="http://schemas.microsoft.com/office/powerpoint/2010/main" val="2518263333"/>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p:cSld name="24_Title Slide_Yale Blue">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64884CFE-0CBB-FD17-6DE3-7D4F314C6724}"/>
              </a:ext>
            </a:extLst>
          </p:cNvPr>
          <p:cNvSpPr txBox="1">
            <a:spLocks noGrp="1"/>
          </p:cNvSpPr>
          <p:nvPr>
            <p:ph type="body" idx="4294967295"/>
          </p:nvPr>
        </p:nvSpPr>
        <p:spPr>
          <a:xfrm>
            <a:off x="2826557" y="5400857"/>
            <a:ext cx="8178613" cy="379656"/>
          </a:xfrm>
        </p:spPr>
        <p:txBody>
          <a:bodyPr wrap="square">
            <a:spAutoFit/>
          </a:bodyPr>
          <a:lstStyle>
            <a:lvl1pPr marL="0" indent="0" algn="r">
              <a:buNone/>
              <a:defRPr sz="1867">
                <a:solidFill>
                  <a:srgbClr val="616364"/>
                </a:solidFill>
                <a:latin typeface="Verdana"/>
                <a:ea typeface="Verdana"/>
                <a:cs typeface="Verdana"/>
              </a:defRPr>
            </a:lvl1pPr>
          </a:lstStyle>
          <a:p>
            <a:pPr lvl="0"/>
            <a:r>
              <a:rPr lang="en-US"/>
              <a:t>Date | Presenter Information (14 pt)</a:t>
            </a:r>
          </a:p>
        </p:txBody>
      </p:sp>
      <p:sp>
        <p:nvSpPr>
          <p:cNvPr id="3" name="Title 1">
            <a:extLst>
              <a:ext uri="{FF2B5EF4-FFF2-40B4-BE49-F238E27FC236}">
                <a16:creationId xmlns:a16="http://schemas.microsoft.com/office/drawing/2014/main" id="{2C478CCA-E57B-8F7A-5E4B-59279925999A}"/>
              </a:ext>
            </a:extLst>
          </p:cNvPr>
          <p:cNvSpPr txBox="1">
            <a:spLocks noGrp="1"/>
          </p:cNvSpPr>
          <p:nvPr>
            <p:ph type="title"/>
          </p:nvPr>
        </p:nvSpPr>
        <p:spPr>
          <a:xfrm>
            <a:off x="2826557" y="1807156"/>
            <a:ext cx="8178613" cy="1629460"/>
          </a:xfrm>
        </p:spPr>
        <p:txBody>
          <a:bodyPr anchor="b"/>
          <a:lstStyle>
            <a:lvl1pPr>
              <a:defRPr sz="5334">
                <a:solidFill>
                  <a:srgbClr val="00314C"/>
                </a:solidFill>
                <a:latin typeface="Verdana"/>
                <a:ea typeface="Verdana"/>
                <a:cs typeface="Verdana"/>
              </a:defRPr>
            </a:lvl1pPr>
          </a:lstStyle>
          <a:p>
            <a:pPr lvl="0"/>
            <a:r>
              <a:rPr lang="en-US"/>
              <a:t>Presentation Title (40pt)</a:t>
            </a:r>
          </a:p>
        </p:txBody>
      </p:sp>
      <p:sp>
        <p:nvSpPr>
          <p:cNvPr id="4" name="Date Placeholder 3">
            <a:extLst>
              <a:ext uri="{FF2B5EF4-FFF2-40B4-BE49-F238E27FC236}">
                <a16:creationId xmlns:a16="http://schemas.microsoft.com/office/drawing/2014/main" id="{CC90F542-480E-0777-BF3C-2A0A6CB70D66}"/>
              </a:ext>
            </a:extLst>
          </p:cNvPr>
          <p:cNvSpPr txBox="1">
            <a:spLocks noGrp="1"/>
          </p:cNvSpPr>
          <p:nvPr>
            <p:ph type="dt" sz="quarter" idx="7"/>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914446"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defRPr>
            </a:lvl1pPr>
          </a:lstStyle>
          <a:p>
            <a:pPr lvl="0"/>
            <a:fld id="{DDE544D8-DCC1-46C4-9816-E9F8D8E42B38}" type="datetime1">
              <a:rPr lang="en-US"/>
              <a:pPr lvl="0"/>
              <a:t>5/20/2026</a:t>
            </a:fld>
            <a:endParaRPr lang="en-US"/>
          </a:p>
        </p:txBody>
      </p:sp>
      <p:sp>
        <p:nvSpPr>
          <p:cNvPr id="5" name="Footer Placeholder 4">
            <a:extLst>
              <a:ext uri="{FF2B5EF4-FFF2-40B4-BE49-F238E27FC236}">
                <a16:creationId xmlns:a16="http://schemas.microsoft.com/office/drawing/2014/main" id="{6DFA5D9C-C877-DB5A-30EC-D66A1F3C3833}"/>
              </a:ext>
            </a:extLst>
          </p:cNvPr>
          <p:cNvSpPr txBox="1">
            <a:spLocks noGrp="1"/>
          </p:cNvSpPr>
          <p:nvPr>
            <p:ph type="ftr" sz="quarter" idx="9"/>
          </p:nvPr>
        </p:nvSpPr>
        <p:spPr/>
        <p:txBody>
          <a:bodyPr anchorCtr="1"/>
          <a:lstStyle>
            <a:lvl1pPr algn="ctr">
              <a:defRPr/>
            </a:lvl1pPr>
          </a:lstStyle>
          <a:p>
            <a:pPr lvl="0"/>
            <a:endParaRPr lang="en-US"/>
          </a:p>
        </p:txBody>
      </p:sp>
      <p:sp>
        <p:nvSpPr>
          <p:cNvPr id="6" name="Slide Number Placeholder 5">
            <a:extLst>
              <a:ext uri="{FF2B5EF4-FFF2-40B4-BE49-F238E27FC236}">
                <a16:creationId xmlns:a16="http://schemas.microsoft.com/office/drawing/2014/main" id="{1787429E-4B82-FAA3-8F23-ABC7687B691D}"/>
              </a:ext>
            </a:extLst>
          </p:cNvPr>
          <p:cNvSpPr txBox="1">
            <a:spLocks noGrp="1"/>
          </p:cNvSpPr>
          <p:nvPr>
            <p:ph type="sldNum" sz="quarter" idx="8"/>
          </p:nvPr>
        </p:nvSpPr>
        <p:spPr/>
        <p:txBody>
          <a:bodyPr/>
          <a:lstStyle>
            <a:lvl1pPr>
              <a:defRPr/>
            </a:lvl1pPr>
          </a:lstStyle>
          <a:p>
            <a:pPr lvl="0"/>
            <a:fld id="{3575A065-8206-4D5B-A3B8-FDCBEC01D04C}" type="slidenum">
              <a:t>‹#›</a:t>
            </a:fld>
            <a:endParaRPr lang="en-US"/>
          </a:p>
        </p:txBody>
      </p:sp>
      <p:sp>
        <p:nvSpPr>
          <p:cNvPr id="7" name="Rectangle 12">
            <a:extLst>
              <a:ext uri="{FF2B5EF4-FFF2-40B4-BE49-F238E27FC236}">
                <a16:creationId xmlns:a16="http://schemas.microsoft.com/office/drawing/2014/main" id="{3A1ABDBB-2C37-9AD9-BBAA-CCA65830C51D}"/>
              </a:ext>
            </a:extLst>
          </p:cNvPr>
          <p:cNvSpPr/>
          <p:nvPr/>
        </p:nvSpPr>
        <p:spPr>
          <a:xfrm rot="10799991">
            <a:off x="-19" y="2000233"/>
            <a:ext cx="2785070" cy="2042851"/>
          </a:xfrm>
          <a:custGeom>
            <a:avLst/>
            <a:gdLst>
              <a:gd name="f0" fmla="val 10800000"/>
              <a:gd name="f1" fmla="val 5400000"/>
              <a:gd name="f2" fmla="val 180"/>
              <a:gd name="f3" fmla="val w"/>
              <a:gd name="f4" fmla="val h"/>
              <a:gd name="f5" fmla="val 0"/>
              <a:gd name="f6" fmla="val 10293751"/>
              <a:gd name="f7" fmla="val 1031873"/>
              <a:gd name="f8" fmla="val 3579068"/>
              <a:gd name="f9" fmla="val 1"/>
              <a:gd name="f10" fmla="val 1031872"/>
              <a:gd name="f11" fmla="+- 0 0 -90"/>
              <a:gd name="f12" fmla="*/ f3 1 10293751"/>
              <a:gd name="f13" fmla="*/ f4 1 1031873"/>
              <a:gd name="f14" fmla="+- f7 0 f5"/>
              <a:gd name="f15" fmla="+- f6 0 f5"/>
              <a:gd name="f16" fmla="*/ f11 f0 1"/>
              <a:gd name="f17" fmla="*/ f15 1 10293751"/>
              <a:gd name="f18" fmla="*/ f14 1 1031873"/>
              <a:gd name="f19" fmla="*/ 10293751 f15 1"/>
              <a:gd name="f20" fmla="*/ 0 f15 1"/>
              <a:gd name="f21" fmla="*/ 0 f14 1"/>
              <a:gd name="f22" fmla="*/ 1 f14 1"/>
              <a:gd name="f23" fmla="*/ 1031873 f14 1"/>
              <a:gd name="f24" fmla="*/ 1031872 f14 1"/>
              <a:gd name="f25" fmla="*/ 3579068 f15 1"/>
              <a:gd name="f26" fmla="*/ f16 1 f2"/>
              <a:gd name="f27" fmla="*/ f19 1 10293751"/>
              <a:gd name="f28" fmla="*/ f20 1 10293751"/>
              <a:gd name="f29" fmla="*/ f21 1 1031873"/>
              <a:gd name="f30" fmla="*/ f22 1 1031873"/>
              <a:gd name="f31" fmla="*/ f23 1 1031873"/>
              <a:gd name="f32" fmla="*/ f24 1 1031873"/>
              <a:gd name="f33" fmla="*/ f25 1 10293751"/>
              <a:gd name="f34" fmla="*/ f5 1 f17"/>
              <a:gd name="f35" fmla="*/ f6 1 f17"/>
              <a:gd name="f36" fmla="*/ f5 1 f18"/>
              <a:gd name="f37" fmla="*/ f7 1 f18"/>
              <a:gd name="f38" fmla="+- f26 0 f1"/>
              <a:gd name="f39" fmla="*/ f33 1 f17"/>
              <a:gd name="f40" fmla="*/ f29 1 f18"/>
              <a:gd name="f41" fmla="*/ f27 1 f17"/>
              <a:gd name="f42" fmla="*/ f30 1 f18"/>
              <a:gd name="f43" fmla="*/ f31 1 f18"/>
              <a:gd name="f44" fmla="*/ f28 1 f17"/>
              <a:gd name="f45" fmla="*/ f32 1 f18"/>
              <a:gd name="f46" fmla="*/ f34 f12 1"/>
              <a:gd name="f47" fmla="*/ f35 f12 1"/>
              <a:gd name="f48" fmla="*/ f37 f13 1"/>
              <a:gd name="f49" fmla="*/ f36 f13 1"/>
              <a:gd name="f50" fmla="*/ f39 f12 1"/>
              <a:gd name="f51" fmla="*/ f40 f13 1"/>
              <a:gd name="f52" fmla="*/ f41 f12 1"/>
              <a:gd name="f53" fmla="*/ f42 f13 1"/>
              <a:gd name="f54" fmla="*/ f43 f13 1"/>
              <a:gd name="f55" fmla="*/ f44 f12 1"/>
              <a:gd name="f56" fmla="*/ f45 f13 1"/>
            </a:gdLst>
            <a:ahLst/>
            <a:cxnLst>
              <a:cxn ang="3cd4">
                <a:pos x="hc" y="t"/>
              </a:cxn>
              <a:cxn ang="0">
                <a:pos x="r" y="vc"/>
              </a:cxn>
              <a:cxn ang="cd4">
                <a:pos x="hc" y="b"/>
              </a:cxn>
              <a:cxn ang="cd2">
                <a:pos x="l" y="vc"/>
              </a:cxn>
              <a:cxn ang="f38">
                <a:pos x="f50" y="f51"/>
              </a:cxn>
              <a:cxn ang="f38">
                <a:pos x="f52" y="f53"/>
              </a:cxn>
              <a:cxn ang="f38">
                <a:pos x="f52" y="f54"/>
              </a:cxn>
              <a:cxn ang="f38">
                <a:pos x="f55" y="f56"/>
              </a:cxn>
              <a:cxn ang="f38">
                <a:pos x="f50" y="f51"/>
              </a:cxn>
            </a:cxnLst>
            <a:rect l="f46" t="f49" r="f47" b="f48"/>
            <a:pathLst>
              <a:path w="10293751" h="1031873">
                <a:moveTo>
                  <a:pt x="f8" y="f5"/>
                </a:moveTo>
                <a:lnTo>
                  <a:pt x="f6" y="f9"/>
                </a:lnTo>
                <a:lnTo>
                  <a:pt x="f6" y="f7"/>
                </a:lnTo>
                <a:lnTo>
                  <a:pt x="f5" y="f10"/>
                </a:lnTo>
                <a:lnTo>
                  <a:pt x="f8" y="f5"/>
                </a:lnTo>
                <a:close/>
              </a:path>
            </a:pathLst>
          </a:cu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8" name="Rectangle 8">
            <a:extLst>
              <a:ext uri="{FF2B5EF4-FFF2-40B4-BE49-F238E27FC236}">
                <a16:creationId xmlns:a16="http://schemas.microsoft.com/office/drawing/2014/main" id="{C26F4D9F-159F-D74D-48C6-7FC1D3A06F81}"/>
              </a:ext>
            </a:extLst>
          </p:cNvPr>
          <p:cNvSpPr/>
          <p:nvPr/>
        </p:nvSpPr>
        <p:spPr>
          <a:xfrm>
            <a:off x="0" y="6115050"/>
            <a:ext cx="12191996" cy="742950"/>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9" name="Text Placeholder 11">
            <a:extLst>
              <a:ext uri="{FF2B5EF4-FFF2-40B4-BE49-F238E27FC236}">
                <a16:creationId xmlns:a16="http://schemas.microsoft.com/office/drawing/2014/main" id="{EE94A148-460F-7859-838D-D8BC9CBFF377}"/>
              </a:ext>
            </a:extLst>
          </p:cNvPr>
          <p:cNvSpPr txBox="1">
            <a:spLocks noGrp="1"/>
          </p:cNvSpPr>
          <p:nvPr>
            <p:ph type="body" idx="4294967295"/>
          </p:nvPr>
        </p:nvSpPr>
        <p:spPr>
          <a:xfrm>
            <a:off x="2826557" y="3447397"/>
            <a:ext cx="8178613" cy="713314"/>
          </a:xfrm>
        </p:spPr>
        <p:txBody>
          <a:bodyPr/>
          <a:lstStyle>
            <a:lvl1pPr marL="0" indent="0">
              <a:buNone/>
              <a:defRPr sz="3200">
                <a:solidFill>
                  <a:srgbClr val="00314C"/>
                </a:solidFill>
                <a:latin typeface="Verdana"/>
                <a:ea typeface="Verdana"/>
                <a:cs typeface="Verdana"/>
              </a:defRPr>
            </a:lvl1pPr>
          </a:lstStyle>
          <a:p>
            <a:pPr lvl="0"/>
            <a:r>
              <a:rPr lang="en-US"/>
              <a:t>Subtitle (24)</a:t>
            </a:r>
          </a:p>
        </p:txBody>
      </p:sp>
      <p:pic>
        <p:nvPicPr>
          <p:cNvPr id="10" name="Picture 12">
            <a:extLst>
              <a:ext uri="{FF2B5EF4-FFF2-40B4-BE49-F238E27FC236}">
                <a16:creationId xmlns:a16="http://schemas.microsoft.com/office/drawing/2014/main" id="{0AE91CE6-8EF8-050D-BD96-5921FD7A2C19}"/>
              </a:ext>
            </a:extLst>
          </p:cNvPr>
          <p:cNvPicPr>
            <a:picLocks noChangeAspect="1"/>
          </p:cNvPicPr>
          <p:nvPr/>
        </p:nvPicPr>
        <p:blipFill>
          <a:blip r:embed="rId2"/>
          <a:srcRect/>
          <a:stretch>
            <a:fillRect/>
          </a:stretch>
        </p:blipFill>
        <p:spPr>
          <a:xfrm>
            <a:off x="2829840" y="4178333"/>
            <a:ext cx="4395959" cy="1140165"/>
          </a:xfrm>
          <a:prstGeom prst="rect">
            <a:avLst/>
          </a:prstGeom>
          <a:noFill/>
          <a:ln cap="flat">
            <a:noFill/>
          </a:ln>
        </p:spPr>
      </p:pic>
    </p:spTree>
    <p:extLst>
      <p:ext uri="{BB962C8B-B14F-4D97-AF65-F5344CB8AC3E}">
        <p14:creationId xmlns:p14="http://schemas.microsoft.com/office/powerpoint/2010/main" val="1389465470"/>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p:cSld name="23_Title Slide_Yale Blue">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77E8B2A3-94DA-76A7-A33B-F221A3F06AC7}"/>
              </a:ext>
            </a:extLst>
          </p:cNvPr>
          <p:cNvSpPr txBox="1">
            <a:spLocks noGrp="1"/>
          </p:cNvSpPr>
          <p:nvPr>
            <p:ph type="body" idx="4294967295"/>
          </p:nvPr>
        </p:nvSpPr>
        <p:spPr>
          <a:xfrm>
            <a:off x="2826557" y="5400857"/>
            <a:ext cx="8178613" cy="379656"/>
          </a:xfrm>
        </p:spPr>
        <p:txBody>
          <a:bodyPr wrap="square">
            <a:spAutoFit/>
          </a:bodyPr>
          <a:lstStyle>
            <a:lvl1pPr marL="0" indent="0" algn="r">
              <a:buNone/>
              <a:defRPr sz="1867">
                <a:solidFill>
                  <a:srgbClr val="616364"/>
                </a:solidFill>
                <a:latin typeface="Verdana"/>
                <a:ea typeface="Verdana"/>
                <a:cs typeface="Verdana"/>
              </a:defRPr>
            </a:lvl1pPr>
          </a:lstStyle>
          <a:p>
            <a:pPr lvl="0"/>
            <a:r>
              <a:rPr lang="en-US"/>
              <a:t>Date | Presenter Information (14 pt)</a:t>
            </a:r>
          </a:p>
        </p:txBody>
      </p:sp>
      <p:sp>
        <p:nvSpPr>
          <p:cNvPr id="3" name="Title 1">
            <a:extLst>
              <a:ext uri="{FF2B5EF4-FFF2-40B4-BE49-F238E27FC236}">
                <a16:creationId xmlns:a16="http://schemas.microsoft.com/office/drawing/2014/main" id="{B7738927-0B29-FB5A-CF62-C39D1F7A6054}"/>
              </a:ext>
            </a:extLst>
          </p:cNvPr>
          <p:cNvSpPr txBox="1">
            <a:spLocks noGrp="1"/>
          </p:cNvSpPr>
          <p:nvPr>
            <p:ph type="title"/>
          </p:nvPr>
        </p:nvSpPr>
        <p:spPr>
          <a:xfrm>
            <a:off x="2826557" y="1807156"/>
            <a:ext cx="8178613" cy="1629460"/>
          </a:xfrm>
        </p:spPr>
        <p:txBody>
          <a:bodyPr anchor="b"/>
          <a:lstStyle>
            <a:lvl1pPr>
              <a:defRPr sz="5334">
                <a:solidFill>
                  <a:srgbClr val="00314C"/>
                </a:solidFill>
                <a:latin typeface="Verdana"/>
                <a:ea typeface="Verdana"/>
                <a:cs typeface="Verdana"/>
              </a:defRPr>
            </a:lvl1pPr>
          </a:lstStyle>
          <a:p>
            <a:pPr lvl="0"/>
            <a:r>
              <a:rPr lang="en-US"/>
              <a:t>Presentation Title (40pt)</a:t>
            </a:r>
          </a:p>
        </p:txBody>
      </p:sp>
      <p:sp>
        <p:nvSpPr>
          <p:cNvPr id="4" name="Date Placeholder 3">
            <a:extLst>
              <a:ext uri="{FF2B5EF4-FFF2-40B4-BE49-F238E27FC236}">
                <a16:creationId xmlns:a16="http://schemas.microsoft.com/office/drawing/2014/main" id="{9E272461-C784-EC67-C50B-4BDCD7F259B3}"/>
              </a:ext>
            </a:extLst>
          </p:cNvPr>
          <p:cNvSpPr txBox="1">
            <a:spLocks noGrp="1"/>
          </p:cNvSpPr>
          <p:nvPr>
            <p:ph type="dt" sz="quarter" idx="7"/>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914446"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defRPr>
            </a:lvl1pPr>
          </a:lstStyle>
          <a:p>
            <a:pPr lvl="0"/>
            <a:fld id="{B0A10449-0A78-4A8B-9DD4-DF044699FE04}" type="datetime1">
              <a:rPr lang="en-US"/>
              <a:pPr lvl="0"/>
              <a:t>5/20/2026</a:t>
            </a:fld>
            <a:endParaRPr lang="en-US"/>
          </a:p>
        </p:txBody>
      </p:sp>
      <p:sp>
        <p:nvSpPr>
          <p:cNvPr id="5" name="Footer Placeholder 4">
            <a:extLst>
              <a:ext uri="{FF2B5EF4-FFF2-40B4-BE49-F238E27FC236}">
                <a16:creationId xmlns:a16="http://schemas.microsoft.com/office/drawing/2014/main" id="{B18E2F29-5D8B-D874-435D-29CEB5AAB4F0}"/>
              </a:ext>
            </a:extLst>
          </p:cNvPr>
          <p:cNvSpPr txBox="1">
            <a:spLocks noGrp="1"/>
          </p:cNvSpPr>
          <p:nvPr>
            <p:ph type="ftr" sz="quarter" idx="9"/>
          </p:nvPr>
        </p:nvSpPr>
        <p:spPr/>
        <p:txBody>
          <a:bodyPr anchorCtr="1"/>
          <a:lstStyle>
            <a:lvl1pPr algn="ctr">
              <a:defRPr/>
            </a:lvl1pPr>
          </a:lstStyle>
          <a:p>
            <a:pPr lvl="0"/>
            <a:endParaRPr lang="en-US"/>
          </a:p>
        </p:txBody>
      </p:sp>
      <p:sp>
        <p:nvSpPr>
          <p:cNvPr id="6" name="Slide Number Placeholder 5">
            <a:extLst>
              <a:ext uri="{FF2B5EF4-FFF2-40B4-BE49-F238E27FC236}">
                <a16:creationId xmlns:a16="http://schemas.microsoft.com/office/drawing/2014/main" id="{C24A7BC3-2C65-6919-5F7E-B88108F59683}"/>
              </a:ext>
            </a:extLst>
          </p:cNvPr>
          <p:cNvSpPr txBox="1">
            <a:spLocks noGrp="1"/>
          </p:cNvSpPr>
          <p:nvPr>
            <p:ph type="sldNum" sz="quarter" idx="8"/>
          </p:nvPr>
        </p:nvSpPr>
        <p:spPr/>
        <p:txBody>
          <a:bodyPr/>
          <a:lstStyle>
            <a:lvl1pPr>
              <a:defRPr/>
            </a:lvl1pPr>
          </a:lstStyle>
          <a:p>
            <a:pPr lvl="0"/>
            <a:fld id="{1B672EF7-14A3-406E-BBBE-C2E3FA4A4F21}" type="slidenum">
              <a:t>‹#›</a:t>
            </a:fld>
            <a:endParaRPr lang="en-US"/>
          </a:p>
        </p:txBody>
      </p:sp>
      <p:sp>
        <p:nvSpPr>
          <p:cNvPr id="7" name="Rectangle 12">
            <a:extLst>
              <a:ext uri="{FF2B5EF4-FFF2-40B4-BE49-F238E27FC236}">
                <a16:creationId xmlns:a16="http://schemas.microsoft.com/office/drawing/2014/main" id="{E30D0910-9AFE-BF21-9BB1-494AD046835D}"/>
              </a:ext>
            </a:extLst>
          </p:cNvPr>
          <p:cNvSpPr/>
          <p:nvPr/>
        </p:nvSpPr>
        <p:spPr>
          <a:xfrm rot="10799991">
            <a:off x="-19" y="2000233"/>
            <a:ext cx="2785070" cy="2042851"/>
          </a:xfrm>
          <a:custGeom>
            <a:avLst/>
            <a:gdLst>
              <a:gd name="f0" fmla="val 10800000"/>
              <a:gd name="f1" fmla="val 5400000"/>
              <a:gd name="f2" fmla="val 180"/>
              <a:gd name="f3" fmla="val w"/>
              <a:gd name="f4" fmla="val h"/>
              <a:gd name="f5" fmla="val 0"/>
              <a:gd name="f6" fmla="val 10293751"/>
              <a:gd name="f7" fmla="val 1031873"/>
              <a:gd name="f8" fmla="val 3579068"/>
              <a:gd name="f9" fmla="val 1"/>
              <a:gd name="f10" fmla="val 1031872"/>
              <a:gd name="f11" fmla="+- 0 0 -90"/>
              <a:gd name="f12" fmla="*/ f3 1 10293751"/>
              <a:gd name="f13" fmla="*/ f4 1 1031873"/>
              <a:gd name="f14" fmla="+- f7 0 f5"/>
              <a:gd name="f15" fmla="+- f6 0 f5"/>
              <a:gd name="f16" fmla="*/ f11 f0 1"/>
              <a:gd name="f17" fmla="*/ f15 1 10293751"/>
              <a:gd name="f18" fmla="*/ f14 1 1031873"/>
              <a:gd name="f19" fmla="*/ 10293751 f15 1"/>
              <a:gd name="f20" fmla="*/ 0 f15 1"/>
              <a:gd name="f21" fmla="*/ 0 f14 1"/>
              <a:gd name="f22" fmla="*/ 1 f14 1"/>
              <a:gd name="f23" fmla="*/ 1031873 f14 1"/>
              <a:gd name="f24" fmla="*/ 1031872 f14 1"/>
              <a:gd name="f25" fmla="*/ 3579068 f15 1"/>
              <a:gd name="f26" fmla="*/ f16 1 f2"/>
              <a:gd name="f27" fmla="*/ f19 1 10293751"/>
              <a:gd name="f28" fmla="*/ f20 1 10293751"/>
              <a:gd name="f29" fmla="*/ f21 1 1031873"/>
              <a:gd name="f30" fmla="*/ f22 1 1031873"/>
              <a:gd name="f31" fmla="*/ f23 1 1031873"/>
              <a:gd name="f32" fmla="*/ f24 1 1031873"/>
              <a:gd name="f33" fmla="*/ f25 1 10293751"/>
              <a:gd name="f34" fmla="*/ f5 1 f17"/>
              <a:gd name="f35" fmla="*/ f6 1 f17"/>
              <a:gd name="f36" fmla="*/ f5 1 f18"/>
              <a:gd name="f37" fmla="*/ f7 1 f18"/>
              <a:gd name="f38" fmla="+- f26 0 f1"/>
              <a:gd name="f39" fmla="*/ f33 1 f17"/>
              <a:gd name="f40" fmla="*/ f29 1 f18"/>
              <a:gd name="f41" fmla="*/ f27 1 f17"/>
              <a:gd name="f42" fmla="*/ f30 1 f18"/>
              <a:gd name="f43" fmla="*/ f31 1 f18"/>
              <a:gd name="f44" fmla="*/ f28 1 f17"/>
              <a:gd name="f45" fmla="*/ f32 1 f18"/>
              <a:gd name="f46" fmla="*/ f34 f12 1"/>
              <a:gd name="f47" fmla="*/ f35 f12 1"/>
              <a:gd name="f48" fmla="*/ f37 f13 1"/>
              <a:gd name="f49" fmla="*/ f36 f13 1"/>
              <a:gd name="f50" fmla="*/ f39 f12 1"/>
              <a:gd name="f51" fmla="*/ f40 f13 1"/>
              <a:gd name="f52" fmla="*/ f41 f12 1"/>
              <a:gd name="f53" fmla="*/ f42 f13 1"/>
              <a:gd name="f54" fmla="*/ f43 f13 1"/>
              <a:gd name="f55" fmla="*/ f44 f12 1"/>
              <a:gd name="f56" fmla="*/ f45 f13 1"/>
            </a:gdLst>
            <a:ahLst/>
            <a:cxnLst>
              <a:cxn ang="3cd4">
                <a:pos x="hc" y="t"/>
              </a:cxn>
              <a:cxn ang="0">
                <a:pos x="r" y="vc"/>
              </a:cxn>
              <a:cxn ang="cd4">
                <a:pos x="hc" y="b"/>
              </a:cxn>
              <a:cxn ang="cd2">
                <a:pos x="l" y="vc"/>
              </a:cxn>
              <a:cxn ang="f38">
                <a:pos x="f50" y="f51"/>
              </a:cxn>
              <a:cxn ang="f38">
                <a:pos x="f52" y="f53"/>
              </a:cxn>
              <a:cxn ang="f38">
                <a:pos x="f52" y="f54"/>
              </a:cxn>
              <a:cxn ang="f38">
                <a:pos x="f55" y="f56"/>
              </a:cxn>
              <a:cxn ang="f38">
                <a:pos x="f50" y="f51"/>
              </a:cxn>
            </a:cxnLst>
            <a:rect l="f46" t="f49" r="f47" b="f48"/>
            <a:pathLst>
              <a:path w="10293751" h="1031873">
                <a:moveTo>
                  <a:pt x="f8" y="f5"/>
                </a:moveTo>
                <a:lnTo>
                  <a:pt x="f6" y="f9"/>
                </a:lnTo>
                <a:lnTo>
                  <a:pt x="f6" y="f7"/>
                </a:lnTo>
                <a:lnTo>
                  <a:pt x="f5" y="f10"/>
                </a:lnTo>
                <a:lnTo>
                  <a:pt x="f8" y="f5"/>
                </a:lnTo>
                <a:close/>
              </a:path>
            </a:pathLst>
          </a:cu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8" name="Rectangle 8">
            <a:extLst>
              <a:ext uri="{FF2B5EF4-FFF2-40B4-BE49-F238E27FC236}">
                <a16:creationId xmlns:a16="http://schemas.microsoft.com/office/drawing/2014/main" id="{FE1CBE08-B327-FD5C-F7E4-DF82F6B04918}"/>
              </a:ext>
            </a:extLst>
          </p:cNvPr>
          <p:cNvSpPr/>
          <p:nvPr/>
        </p:nvSpPr>
        <p:spPr>
          <a:xfrm>
            <a:off x="0" y="6115050"/>
            <a:ext cx="12191996" cy="742950"/>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9" name="Text Placeholder 11">
            <a:extLst>
              <a:ext uri="{FF2B5EF4-FFF2-40B4-BE49-F238E27FC236}">
                <a16:creationId xmlns:a16="http://schemas.microsoft.com/office/drawing/2014/main" id="{9BC693D8-2348-02A9-0754-E700FBC98735}"/>
              </a:ext>
            </a:extLst>
          </p:cNvPr>
          <p:cNvSpPr txBox="1">
            <a:spLocks noGrp="1"/>
          </p:cNvSpPr>
          <p:nvPr>
            <p:ph type="body" idx="4294967295"/>
          </p:nvPr>
        </p:nvSpPr>
        <p:spPr>
          <a:xfrm>
            <a:off x="2826557" y="3447397"/>
            <a:ext cx="8178613" cy="713314"/>
          </a:xfrm>
        </p:spPr>
        <p:txBody>
          <a:bodyPr/>
          <a:lstStyle>
            <a:lvl1pPr marL="0" indent="0">
              <a:buNone/>
              <a:defRPr sz="3200">
                <a:solidFill>
                  <a:srgbClr val="00314C"/>
                </a:solidFill>
                <a:latin typeface="Verdana"/>
                <a:ea typeface="Verdana"/>
                <a:cs typeface="Verdana"/>
              </a:defRPr>
            </a:lvl1pPr>
          </a:lstStyle>
          <a:p>
            <a:pPr lvl="0"/>
            <a:r>
              <a:rPr lang="en-US"/>
              <a:t>Subtitle (24)</a:t>
            </a:r>
          </a:p>
        </p:txBody>
      </p:sp>
      <p:pic>
        <p:nvPicPr>
          <p:cNvPr id="10" name="Picture 12">
            <a:extLst>
              <a:ext uri="{FF2B5EF4-FFF2-40B4-BE49-F238E27FC236}">
                <a16:creationId xmlns:a16="http://schemas.microsoft.com/office/drawing/2014/main" id="{87DBCFAC-DCFE-1BF8-E5AF-9B35B6C28AEB}"/>
              </a:ext>
            </a:extLst>
          </p:cNvPr>
          <p:cNvPicPr>
            <a:picLocks noChangeAspect="1"/>
          </p:cNvPicPr>
          <p:nvPr/>
        </p:nvPicPr>
        <p:blipFill>
          <a:blip r:embed="rId2"/>
          <a:srcRect/>
          <a:stretch>
            <a:fillRect/>
          </a:stretch>
        </p:blipFill>
        <p:spPr>
          <a:xfrm>
            <a:off x="2829840" y="4178333"/>
            <a:ext cx="4395959" cy="1140165"/>
          </a:xfrm>
          <a:prstGeom prst="rect">
            <a:avLst/>
          </a:prstGeom>
          <a:noFill/>
          <a:ln cap="flat">
            <a:noFill/>
          </a:ln>
        </p:spPr>
      </p:pic>
    </p:spTree>
    <p:extLst>
      <p:ext uri="{BB962C8B-B14F-4D97-AF65-F5344CB8AC3E}">
        <p14:creationId xmlns:p14="http://schemas.microsoft.com/office/powerpoint/2010/main" val="944910499"/>
      </p:ext>
    </p:extLst>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p:cSld name="22_Title Slide_Yale Blue">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02912935-C6CD-3E5D-B618-8DE86C372A41}"/>
              </a:ext>
            </a:extLst>
          </p:cNvPr>
          <p:cNvSpPr txBox="1">
            <a:spLocks noGrp="1"/>
          </p:cNvSpPr>
          <p:nvPr>
            <p:ph type="body" idx="4294967295"/>
          </p:nvPr>
        </p:nvSpPr>
        <p:spPr>
          <a:xfrm>
            <a:off x="2826557" y="5400857"/>
            <a:ext cx="8178613" cy="379656"/>
          </a:xfrm>
        </p:spPr>
        <p:txBody>
          <a:bodyPr wrap="square">
            <a:spAutoFit/>
          </a:bodyPr>
          <a:lstStyle>
            <a:lvl1pPr marL="0" indent="0" algn="r">
              <a:buNone/>
              <a:defRPr sz="1867">
                <a:solidFill>
                  <a:srgbClr val="616364"/>
                </a:solidFill>
                <a:latin typeface="Verdana"/>
                <a:ea typeface="Verdana"/>
                <a:cs typeface="Verdana"/>
              </a:defRPr>
            </a:lvl1pPr>
          </a:lstStyle>
          <a:p>
            <a:pPr lvl="0"/>
            <a:r>
              <a:rPr lang="en-US"/>
              <a:t>Date | Presenter Information (14 pt)</a:t>
            </a:r>
          </a:p>
        </p:txBody>
      </p:sp>
      <p:sp>
        <p:nvSpPr>
          <p:cNvPr id="3" name="Title 1">
            <a:extLst>
              <a:ext uri="{FF2B5EF4-FFF2-40B4-BE49-F238E27FC236}">
                <a16:creationId xmlns:a16="http://schemas.microsoft.com/office/drawing/2014/main" id="{B585888D-5698-56B0-2049-6C337C9A51E5}"/>
              </a:ext>
            </a:extLst>
          </p:cNvPr>
          <p:cNvSpPr txBox="1">
            <a:spLocks noGrp="1"/>
          </p:cNvSpPr>
          <p:nvPr>
            <p:ph type="title"/>
          </p:nvPr>
        </p:nvSpPr>
        <p:spPr>
          <a:xfrm>
            <a:off x="2826557" y="1807156"/>
            <a:ext cx="8178613" cy="1629460"/>
          </a:xfrm>
        </p:spPr>
        <p:txBody>
          <a:bodyPr anchor="b"/>
          <a:lstStyle>
            <a:lvl1pPr>
              <a:defRPr sz="5334">
                <a:solidFill>
                  <a:srgbClr val="00314C"/>
                </a:solidFill>
                <a:latin typeface="Verdana"/>
                <a:ea typeface="Verdana"/>
                <a:cs typeface="Verdana"/>
              </a:defRPr>
            </a:lvl1pPr>
          </a:lstStyle>
          <a:p>
            <a:pPr lvl="0"/>
            <a:r>
              <a:rPr lang="en-US"/>
              <a:t>Presentation Title (40pt)</a:t>
            </a:r>
          </a:p>
        </p:txBody>
      </p:sp>
      <p:sp>
        <p:nvSpPr>
          <p:cNvPr id="4" name="Date Placeholder 3">
            <a:extLst>
              <a:ext uri="{FF2B5EF4-FFF2-40B4-BE49-F238E27FC236}">
                <a16:creationId xmlns:a16="http://schemas.microsoft.com/office/drawing/2014/main" id="{48596760-C3A4-D248-9A44-CE4332DF838F}"/>
              </a:ext>
            </a:extLst>
          </p:cNvPr>
          <p:cNvSpPr txBox="1">
            <a:spLocks noGrp="1"/>
          </p:cNvSpPr>
          <p:nvPr>
            <p:ph type="dt" sz="quarter" idx="7"/>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914446"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defRPr>
            </a:lvl1pPr>
          </a:lstStyle>
          <a:p>
            <a:pPr lvl="0"/>
            <a:fld id="{A2D798DE-7E5A-455F-8199-F4BC3DE73CA2}" type="datetime1">
              <a:rPr lang="en-US"/>
              <a:pPr lvl="0"/>
              <a:t>5/20/2026</a:t>
            </a:fld>
            <a:endParaRPr lang="en-US"/>
          </a:p>
        </p:txBody>
      </p:sp>
      <p:sp>
        <p:nvSpPr>
          <p:cNvPr id="5" name="Footer Placeholder 4">
            <a:extLst>
              <a:ext uri="{FF2B5EF4-FFF2-40B4-BE49-F238E27FC236}">
                <a16:creationId xmlns:a16="http://schemas.microsoft.com/office/drawing/2014/main" id="{4031A09F-3FFD-D245-A5D4-00B944C61589}"/>
              </a:ext>
            </a:extLst>
          </p:cNvPr>
          <p:cNvSpPr txBox="1">
            <a:spLocks noGrp="1"/>
          </p:cNvSpPr>
          <p:nvPr>
            <p:ph type="ftr" sz="quarter" idx="9"/>
          </p:nvPr>
        </p:nvSpPr>
        <p:spPr/>
        <p:txBody>
          <a:bodyPr anchorCtr="1"/>
          <a:lstStyle>
            <a:lvl1pPr algn="ctr">
              <a:defRPr/>
            </a:lvl1pPr>
          </a:lstStyle>
          <a:p>
            <a:pPr lvl="0"/>
            <a:endParaRPr lang="en-US"/>
          </a:p>
        </p:txBody>
      </p:sp>
      <p:sp>
        <p:nvSpPr>
          <p:cNvPr id="6" name="Slide Number Placeholder 5">
            <a:extLst>
              <a:ext uri="{FF2B5EF4-FFF2-40B4-BE49-F238E27FC236}">
                <a16:creationId xmlns:a16="http://schemas.microsoft.com/office/drawing/2014/main" id="{CC98CBCE-84C2-3119-4526-82777F63A179}"/>
              </a:ext>
            </a:extLst>
          </p:cNvPr>
          <p:cNvSpPr txBox="1">
            <a:spLocks noGrp="1"/>
          </p:cNvSpPr>
          <p:nvPr>
            <p:ph type="sldNum" sz="quarter" idx="8"/>
          </p:nvPr>
        </p:nvSpPr>
        <p:spPr/>
        <p:txBody>
          <a:bodyPr/>
          <a:lstStyle>
            <a:lvl1pPr>
              <a:defRPr/>
            </a:lvl1pPr>
          </a:lstStyle>
          <a:p>
            <a:pPr lvl="0"/>
            <a:fld id="{5FD83028-D799-4E57-BDBC-DBA144615186}" type="slidenum">
              <a:t>‹#›</a:t>
            </a:fld>
            <a:endParaRPr lang="en-US"/>
          </a:p>
        </p:txBody>
      </p:sp>
      <p:sp>
        <p:nvSpPr>
          <p:cNvPr id="7" name="Rectangle 12">
            <a:extLst>
              <a:ext uri="{FF2B5EF4-FFF2-40B4-BE49-F238E27FC236}">
                <a16:creationId xmlns:a16="http://schemas.microsoft.com/office/drawing/2014/main" id="{88ABFBF9-DD7D-B4E9-E1C5-76622B026015}"/>
              </a:ext>
            </a:extLst>
          </p:cNvPr>
          <p:cNvSpPr/>
          <p:nvPr/>
        </p:nvSpPr>
        <p:spPr>
          <a:xfrm rot="10799991">
            <a:off x="-19" y="2000233"/>
            <a:ext cx="2785070" cy="2042851"/>
          </a:xfrm>
          <a:custGeom>
            <a:avLst/>
            <a:gdLst>
              <a:gd name="f0" fmla="val 10800000"/>
              <a:gd name="f1" fmla="val 5400000"/>
              <a:gd name="f2" fmla="val 180"/>
              <a:gd name="f3" fmla="val w"/>
              <a:gd name="f4" fmla="val h"/>
              <a:gd name="f5" fmla="val 0"/>
              <a:gd name="f6" fmla="val 10293751"/>
              <a:gd name="f7" fmla="val 1031873"/>
              <a:gd name="f8" fmla="val 3579068"/>
              <a:gd name="f9" fmla="val 1"/>
              <a:gd name="f10" fmla="val 1031872"/>
              <a:gd name="f11" fmla="+- 0 0 -90"/>
              <a:gd name="f12" fmla="*/ f3 1 10293751"/>
              <a:gd name="f13" fmla="*/ f4 1 1031873"/>
              <a:gd name="f14" fmla="+- f7 0 f5"/>
              <a:gd name="f15" fmla="+- f6 0 f5"/>
              <a:gd name="f16" fmla="*/ f11 f0 1"/>
              <a:gd name="f17" fmla="*/ f15 1 10293751"/>
              <a:gd name="f18" fmla="*/ f14 1 1031873"/>
              <a:gd name="f19" fmla="*/ 10293751 f15 1"/>
              <a:gd name="f20" fmla="*/ 0 f15 1"/>
              <a:gd name="f21" fmla="*/ 0 f14 1"/>
              <a:gd name="f22" fmla="*/ 1 f14 1"/>
              <a:gd name="f23" fmla="*/ 1031873 f14 1"/>
              <a:gd name="f24" fmla="*/ 1031872 f14 1"/>
              <a:gd name="f25" fmla="*/ 3579068 f15 1"/>
              <a:gd name="f26" fmla="*/ f16 1 f2"/>
              <a:gd name="f27" fmla="*/ f19 1 10293751"/>
              <a:gd name="f28" fmla="*/ f20 1 10293751"/>
              <a:gd name="f29" fmla="*/ f21 1 1031873"/>
              <a:gd name="f30" fmla="*/ f22 1 1031873"/>
              <a:gd name="f31" fmla="*/ f23 1 1031873"/>
              <a:gd name="f32" fmla="*/ f24 1 1031873"/>
              <a:gd name="f33" fmla="*/ f25 1 10293751"/>
              <a:gd name="f34" fmla="*/ f5 1 f17"/>
              <a:gd name="f35" fmla="*/ f6 1 f17"/>
              <a:gd name="f36" fmla="*/ f5 1 f18"/>
              <a:gd name="f37" fmla="*/ f7 1 f18"/>
              <a:gd name="f38" fmla="+- f26 0 f1"/>
              <a:gd name="f39" fmla="*/ f33 1 f17"/>
              <a:gd name="f40" fmla="*/ f29 1 f18"/>
              <a:gd name="f41" fmla="*/ f27 1 f17"/>
              <a:gd name="f42" fmla="*/ f30 1 f18"/>
              <a:gd name="f43" fmla="*/ f31 1 f18"/>
              <a:gd name="f44" fmla="*/ f28 1 f17"/>
              <a:gd name="f45" fmla="*/ f32 1 f18"/>
              <a:gd name="f46" fmla="*/ f34 f12 1"/>
              <a:gd name="f47" fmla="*/ f35 f12 1"/>
              <a:gd name="f48" fmla="*/ f37 f13 1"/>
              <a:gd name="f49" fmla="*/ f36 f13 1"/>
              <a:gd name="f50" fmla="*/ f39 f12 1"/>
              <a:gd name="f51" fmla="*/ f40 f13 1"/>
              <a:gd name="f52" fmla="*/ f41 f12 1"/>
              <a:gd name="f53" fmla="*/ f42 f13 1"/>
              <a:gd name="f54" fmla="*/ f43 f13 1"/>
              <a:gd name="f55" fmla="*/ f44 f12 1"/>
              <a:gd name="f56" fmla="*/ f45 f13 1"/>
            </a:gdLst>
            <a:ahLst/>
            <a:cxnLst>
              <a:cxn ang="3cd4">
                <a:pos x="hc" y="t"/>
              </a:cxn>
              <a:cxn ang="0">
                <a:pos x="r" y="vc"/>
              </a:cxn>
              <a:cxn ang="cd4">
                <a:pos x="hc" y="b"/>
              </a:cxn>
              <a:cxn ang="cd2">
                <a:pos x="l" y="vc"/>
              </a:cxn>
              <a:cxn ang="f38">
                <a:pos x="f50" y="f51"/>
              </a:cxn>
              <a:cxn ang="f38">
                <a:pos x="f52" y="f53"/>
              </a:cxn>
              <a:cxn ang="f38">
                <a:pos x="f52" y="f54"/>
              </a:cxn>
              <a:cxn ang="f38">
                <a:pos x="f55" y="f56"/>
              </a:cxn>
              <a:cxn ang="f38">
                <a:pos x="f50" y="f51"/>
              </a:cxn>
            </a:cxnLst>
            <a:rect l="f46" t="f49" r="f47" b="f48"/>
            <a:pathLst>
              <a:path w="10293751" h="1031873">
                <a:moveTo>
                  <a:pt x="f8" y="f5"/>
                </a:moveTo>
                <a:lnTo>
                  <a:pt x="f6" y="f9"/>
                </a:lnTo>
                <a:lnTo>
                  <a:pt x="f6" y="f7"/>
                </a:lnTo>
                <a:lnTo>
                  <a:pt x="f5" y="f10"/>
                </a:lnTo>
                <a:lnTo>
                  <a:pt x="f8" y="f5"/>
                </a:lnTo>
                <a:close/>
              </a:path>
            </a:pathLst>
          </a:cu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8" name="Rectangle 8">
            <a:extLst>
              <a:ext uri="{FF2B5EF4-FFF2-40B4-BE49-F238E27FC236}">
                <a16:creationId xmlns:a16="http://schemas.microsoft.com/office/drawing/2014/main" id="{1149C6B9-9F61-804C-648B-3630FD25B1F3}"/>
              </a:ext>
            </a:extLst>
          </p:cNvPr>
          <p:cNvSpPr/>
          <p:nvPr/>
        </p:nvSpPr>
        <p:spPr>
          <a:xfrm>
            <a:off x="0" y="6115050"/>
            <a:ext cx="12191996" cy="742950"/>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9" name="Text Placeholder 11">
            <a:extLst>
              <a:ext uri="{FF2B5EF4-FFF2-40B4-BE49-F238E27FC236}">
                <a16:creationId xmlns:a16="http://schemas.microsoft.com/office/drawing/2014/main" id="{C9F25607-B0AB-9642-36FC-BD4A01D3E931}"/>
              </a:ext>
            </a:extLst>
          </p:cNvPr>
          <p:cNvSpPr txBox="1">
            <a:spLocks noGrp="1"/>
          </p:cNvSpPr>
          <p:nvPr>
            <p:ph type="body" idx="4294967295"/>
          </p:nvPr>
        </p:nvSpPr>
        <p:spPr>
          <a:xfrm>
            <a:off x="2826557" y="3447397"/>
            <a:ext cx="8178613" cy="713314"/>
          </a:xfrm>
        </p:spPr>
        <p:txBody>
          <a:bodyPr/>
          <a:lstStyle>
            <a:lvl1pPr marL="0" indent="0">
              <a:buNone/>
              <a:defRPr sz="3200">
                <a:solidFill>
                  <a:srgbClr val="00314C"/>
                </a:solidFill>
                <a:latin typeface="Verdana"/>
                <a:ea typeface="Verdana"/>
                <a:cs typeface="Verdana"/>
              </a:defRPr>
            </a:lvl1pPr>
          </a:lstStyle>
          <a:p>
            <a:pPr lvl="0"/>
            <a:r>
              <a:rPr lang="en-US"/>
              <a:t>Subtitle (24)</a:t>
            </a:r>
          </a:p>
        </p:txBody>
      </p:sp>
      <p:pic>
        <p:nvPicPr>
          <p:cNvPr id="10" name="Picture 12">
            <a:extLst>
              <a:ext uri="{FF2B5EF4-FFF2-40B4-BE49-F238E27FC236}">
                <a16:creationId xmlns:a16="http://schemas.microsoft.com/office/drawing/2014/main" id="{ECA4D1C8-C73F-57AC-FF70-16496468F2ED}"/>
              </a:ext>
            </a:extLst>
          </p:cNvPr>
          <p:cNvPicPr>
            <a:picLocks noChangeAspect="1"/>
          </p:cNvPicPr>
          <p:nvPr/>
        </p:nvPicPr>
        <p:blipFill>
          <a:blip r:embed="rId2"/>
          <a:srcRect/>
          <a:stretch>
            <a:fillRect/>
          </a:stretch>
        </p:blipFill>
        <p:spPr>
          <a:xfrm>
            <a:off x="2829840" y="4178333"/>
            <a:ext cx="4395959" cy="1140165"/>
          </a:xfrm>
          <a:prstGeom prst="rect">
            <a:avLst/>
          </a:prstGeom>
          <a:noFill/>
          <a:ln cap="flat">
            <a:noFill/>
          </a:ln>
        </p:spPr>
      </p:pic>
    </p:spTree>
    <p:extLst>
      <p:ext uri="{BB962C8B-B14F-4D97-AF65-F5344CB8AC3E}">
        <p14:creationId xmlns:p14="http://schemas.microsoft.com/office/powerpoint/2010/main" val="227777512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Quotation">
  <p:cSld name="Quotation 4">
    <p:spTree>
      <p:nvGrpSpPr>
        <p:cNvPr id="1" name="Shape 9601"/>
        <p:cNvGrpSpPr/>
        <p:nvPr/>
      </p:nvGrpSpPr>
      <p:grpSpPr>
        <a:xfrm>
          <a:off x="0" y="0"/>
          <a:ext cx="0" cy="0"/>
          <a:chOff x="0" y="0"/>
          <a:chExt cx="0" cy="0"/>
        </a:xfrm>
      </p:grpSpPr>
      <p:sp>
        <p:nvSpPr>
          <p:cNvPr id="9602" name="Google Shape;9602;p137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603" name="Google Shape;9603;p137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04" name="Google Shape;9604;p13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605" name="Google Shape;9605;p13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606" name="Google Shape;9606;p13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607" name="Google Shape;9607;p13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608" name="Google Shape;9608;p1370"/>
          <p:cNvGrpSpPr/>
          <p:nvPr/>
        </p:nvGrpSpPr>
        <p:grpSpPr>
          <a:xfrm>
            <a:off x="7191542" y="1"/>
            <a:ext cx="5000459" cy="1425992"/>
            <a:chOff x="7191542" y="1"/>
            <a:chExt cx="5000459" cy="1425992"/>
          </a:xfrm>
        </p:grpSpPr>
        <p:pic>
          <p:nvPicPr>
            <p:cNvPr id="9609" name="Google Shape;9609;p13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610" name="Google Shape;9610;p1370"/>
            <p:cNvGrpSpPr/>
            <p:nvPr/>
          </p:nvGrpSpPr>
          <p:grpSpPr>
            <a:xfrm>
              <a:off x="7191542" y="1"/>
              <a:ext cx="5000459" cy="1425992"/>
              <a:chOff x="7186272" y="0"/>
              <a:chExt cx="5005729" cy="1427495"/>
            </a:xfrm>
          </p:grpSpPr>
          <p:sp>
            <p:nvSpPr>
              <p:cNvPr id="9611" name="Google Shape;9611;p13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612" name="Google Shape;9612;p13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613" name="Google Shape;9613;p137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p:cSld name="19_Divider">
    <p:bg>
      <p:bgPr>
        <a:solidFill>
          <a:srgbClr val="F3F6FB"/>
        </a:solidFill>
        <a:effectLst/>
      </p:bgPr>
    </p:bg>
    <p:spTree>
      <p:nvGrpSpPr>
        <p:cNvPr id="1" name=""/>
        <p:cNvGrpSpPr/>
        <p:nvPr/>
      </p:nvGrpSpPr>
      <p:grpSpPr>
        <a:xfrm>
          <a:off x="0" y="0"/>
          <a:ext cx="0" cy="0"/>
          <a:chOff x="0" y="0"/>
          <a:chExt cx="0" cy="0"/>
        </a:xfrm>
      </p:grpSpPr>
      <p:grpSp>
        <p:nvGrpSpPr>
          <p:cNvPr id="2" name="Group 9">
            <a:extLst>
              <a:ext uri="{FF2B5EF4-FFF2-40B4-BE49-F238E27FC236}">
                <a16:creationId xmlns:a16="http://schemas.microsoft.com/office/drawing/2014/main" id="{1D63943A-A8D2-95BB-6FAB-C7A6ABE60B97}"/>
              </a:ext>
            </a:extLst>
          </p:cNvPr>
          <p:cNvGrpSpPr/>
          <p:nvPr/>
        </p:nvGrpSpPr>
        <p:grpSpPr>
          <a:xfrm>
            <a:off x="0" y="5020349"/>
            <a:ext cx="12191996" cy="1837651"/>
            <a:chOff x="0" y="5020348"/>
            <a:chExt cx="12191996" cy="1837651"/>
          </a:xfrm>
        </p:grpSpPr>
        <p:sp>
          <p:nvSpPr>
            <p:cNvPr id="3" name="Freeform 25">
              <a:extLst>
                <a:ext uri="{FF2B5EF4-FFF2-40B4-BE49-F238E27FC236}">
                  <a16:creationId xmlns:a16="http://schemas.microsoft.com/office/drawing/2014/main" id="{649752D6-5144-41E1-1B02-8D66F2E00F89}"/>
                </a:ext>
              </a:extLst>
            </p:cNvPr>
            <p:cNvSpPr/>
            <p:nvPr/>
          </p:nvSpPr>
          <p:spPr>
            <a:xfrm>
              <a:off x="0" y="5100267"/>
              <a:ext cx="7111371" cy="1757732"/>
            </a:xfrm>
            <a:custGeom>
              <a:avLst/>
              <a:gdLst>
                <a:gd name="f0" fmla="val 10800000"/>
                <a:gd name="f1" fmla="val 5400000"/>
                <a:gd name="f2" fmla="val 180"/>
                <a:gd name="f3" fmla="val w"/>
                <a:gd name="f4" fmla="val h"/>
                <a:gd name="f5" fmla="val 0"/>
                <a:gd name="f6" fmla="val 7111369"/>
                <a:gd name="f7" fmla="val 1757730"/>
                <a:gd name="f8" fmla="val 772954"/>
                <a:gd name="f9" fmla="val 2778"/>
                <a:gd name="f10" fmla="val 1769038"/>
                <a:gd name="f11" fmla="val 30799"/>
                <a:gd name="f12" fmla="val 2696750"/>
                <a:gd name="f13" fmla="val 267531"/>
                <a:gd name="f14" fmla="val 3590934"/>
                <a:gd name="f15" fmla="val 566046"/>
                <a:gd name="f16" fmla="val 4684008"/>
                <a:gd name="f17" fmla="val 930921"/>
                <a:gd name="f18" fmla="val 5690778"/>
                <a:gd name="f19" fmla="val 1324625"/>
                <a:gd name="f20" fmla="val 6700767"/>
                <a:gd name="f21" fmla="val 1636882"/>
                <a:gd name="f22" fmla="val 25690"/>
                <a:gd name="f23" fmla="val 2197"/>
                <a:gd name="f24" fmla="val 25414"/>
                <a:gd name="f25" fmla="val 114653"/>
                <a:gd name="f26" fmla="val 14905"/>
                <a:gd name="f27" fmla="val 227801"/>
                <a:gd name="f28" fmla="val 7857"/>
                <a:gd name="f29" fmla="val 341773"/>
                <a:gd name="f30" fmla="val 3976"/>
                <a:gd name="f31" fmla="val 486963"/>
                <a:gd name="f32" fmla="+- 0 0 968"/>
                <a:gd name="f33" fmla="val 630656"/>
                <a:gd name="f34" fmla="+- 0 0 1224"/>
                <a:gd name="f35" fmla="+- 0 0 -90"/>
                <a:gd name="f36" fmla="*/ f3 1 7111369"/>
                <a:gd name="f37" fmla="*/ f4 1 1757730"/>
                <a:gd name="f38" fmla="+- f7 0 f5"/>
                <a:gd name="f39" fmla="+- f6 0 f5"/>
                <a:gd name="f40" fmla="*/ f35 f0 1"/>
                <a:gd name="f41" fmla="*/ f39 1 7111369"/>
                <a:gd name="f42" fmla="*/ f38 1 1757730"/>
                <a:gd name="f43" fmla="*/ 772954 f39 1"/>
                <a:gd name="f44" fmla="*/ 2778 f38 1"/>
                <a:gd name="f45" fmla="*/ 3590934 f39 1"/>
                <a:gd name="f46" fmla="*/ 566046 f38 1"/>
                <a:gd name="f47" fmla="*/ 6700767 f39 1"/>
                <a:gd name="f48" fmla="*/ 1636882 f38 1"/>
                <a:gd name="f49" fmla="*/ 7111369 f39 1"/>
                <a:gd name="f50" fmla="*/ 1757730 f38 1"/>
                <a:gd name="f51" fmla="*/ 0 f39 1"/>
                <a:gd name="f52" fmla="*/ 25690 f38 1"/>
                <a:gd name="f53" fmla="*/ 2197 f39 1"/>
                <a:gd name="f54" fmla="*/ 25414 f38 1"/>
                <a:gd name="f55" fmla="*/ 341773 f39 1"/>
                <a:gd name="f56" fmla="*/ 3976 f38 1"/>
                <a:gd name="f57" fmla="*/ f40 1 f2"/>
                <a:gd name="f58" fmla="*/ f43 1 7111369"/>
                <a:gd name="f59" fmla="*/ f44 1 1757730"/>
                <a:gd name="f60" fmla="*/ f45 1 7111369"/>
                <a:gd name="f61" fmla="*/ f46 1 1757730"/>
                <a:gd name="f62" fmla="*/ f47 1 7111369"/>
                <a:gd name="f63" fmla="*/ f48 1 1757730"/>
                <a:gd name="f64" fmla="*/ f49 1 7111369"/>
                <a:gd name="f65" fmla="*/ f50 1 1757730"/>
                <a:gd name="f66" fmla="*/ f51 1 7111369"/>
                <a:gd name="f67" fmla="*/ f52 1 1757730"/>
                <a:gd name="f68" fmla="*/ f53 1 7111369"/>
                <a:gd name="f69" fmla="*/ f54 1 1757730"/>
                <a:gd name="f70" fmla="*/ f55 1 7111369"/>
                <a:gd name="f71" fmla="*/ f56 1 1757730"/>
                <a:gd name="f72" fmla="*/ f5 1 f41"/>
                <a:gd name="f73" fmla="*/ f6 1 f41"/>
                <a:gd name="f74" fmla="*/ f5 1 f42"/>
                <a:gd name="f75" fmla="*/ f7 1 f42"/>
                <a:gd name="f76" fmla="+- f57 0 f1"/>
                <a:gd name="f77" fmla="*/ f58 1 f41"/>
                <a:gd name="f78" fmla="*/ f59 1 f42"/>
                <a:gd name="f79" fmla="*/ f60 1 f41"/>
                <a:gd name="f80" fmla="*/ f61 1 f42"/>
                <a:gd name="f81" fmla="*/ f62 1 f41"/>
                <a:gd name="f82" fmla="*/ f63 1 f42"/>
                <a:gd name="f83" fmla="*/ f64 1 f41"/>
                <a:gd name="f84" fmla="*/ f65 1 f42"/>
                <a:gd name="f85" fmla="*/ f66 1 f41"/>
                <a:gd name="f86" fmla="*/ f67 1 f42"/>
                <a:gd name="f87" fmla="*/ f68 1 f41"/>
                <a:gd name="f88" fmla="*/ f69 1 f42"/>
                <a:gd name="f89" fmla="*/ f70 1 f41"/>
                <a:gd name="f90" fmla="*/ f71 1 f42"/>
                <a:gd name="f91" fmla="*/ f72 f36 1"/>
                <a:gd name="f92" fmla="*/ f73 f36 1"/>
                <a:gd name="f93" fmla="*/ f75 f37 1"/>
                <a:gd name="f94" fmla="*/ f74 f37 1"/>
                <a:gd name="f95" fmla="*/ f77 f36 1"/>
                <a:gd name="f96" fmla="*/ f78 f37 1"/>
                <a:gd name="f97" fmla="*/ f79 f36 1"/>
                <a:gd name="f98" fmla="*/ f80 f37 1"/>
                <a:gd name="f99" fmla="*/ f81 f36 1"/>
                <a:gd name="f100" fmla="*/ f82 f37 1"/>
                <a:gd name="f101" fmla="*/ f83 f36 1"/>
                <a:gd name="f102" fmla="*/ f84 f37 1"/>
                <a:gd name="f103" fmla="*/ f85 f36 1"/>
                <a:gd name="f104" fmla="*/ f86 f37 1"/>
                <a:gd name="f105" fmla="*/ f87 f36 1"/>
                <a:gd name="f106" fmla="*/ f88 f37 1"/>
                <a:gd name="f107" fmla="*/ f89 f36 1"/>
                <a:gd name="f108" fmla="*/ f90 f37 1"/>
              </a:gdLst>
              <a:ahLst/>
              <a:cxnLst>
                <a:cxn ang="3cd4">
                  <a:pos x="hc" y="t"/>
                </a:cxn>
                <a:cxn ang="0">
                  <a:pos x="r" y="vc"/>
                </a:cxn>
                <a:cxn ang="cd4">
                  <a:pos x="hc" y="b"/>
                </a:cxn>
                <a:cxn ang="cd2">
                  <a:pos x="l" y="vc"/>
                </a:cxn>
                <a:cxn ang="f76">
                  <a:pos x="f95" y="f96"/>
                </a:cxn>
                <a:cxn ang="f76">
                  <a:pos x="f97" y="f98"/>
                </a:cxn>
                <a:cxn ang="f76">
                  <a:pos x="f99" y="f100"/>
                </a:cxn>
                <a:cxn ang="f76">
                  <a:pos x="f101" y="f102"/>
                </a:cxn>
                <a:cxn ang="f76">
                  <a:pos x="f103" y="f102"/>
                </a:cxn>
                <a:cxn ang="f76">
                  <a:pos x="f103" y="f104"/>
                </a:cxn>
                <a:cxn ang="f76">
                  <a:pos x="f105" y="f106"/>
                </a:cxn>
                <a:cxn ang="f76">
                  <a:pos x="f107" y="f108"/>
                </a:cxn>
                <a:cxn ang="f76">
                  <a:pos x="f95" y="f96"/>
                </a:cxn>
              </a:cxnLst>
              <a:rect l="f91" t="f94" r="f92" b="f93"/>
              <a:pathLst>
                <a:path w="7111369" h="1757730">
                  <a:moveTo>
                    <a:pt x="f8" y="f9"/>
                  </a:moveTo>
                  <a:cubicBezTo>
                    <a:pt x="f10" y="f11"/>
                    <a:pt x="f12" y="f13"/>
                    <a:pt x="f14" y="f15"/>
                  </a:cubicBezTo>
                  <a:cubicBezTo>
                    <a:pt x="f16" y="f17"/>
                    <a:pt x="f18" y="f19"/>
                    <a:pt x="f20" y="f21"/>
                  </a:cubicBezTo>
                  <a:lnTo>
                    <a:pt x="f6" y="f7"/>
                  </a:lnTo>
                  <a:lnTo>
                    <a:pt x="f5" y="f7"/>
                  </a:lnTo>
                  <a:lnTo>
                    <a:pt x="f5" y="f22"/>
                  </a:lnTo>
                  <a:lnTo>
                    <a:pt x="f23" y="f24"/>
                  </a:lnTo>
                  <a:cubicBezTo>
                    <a:pt x="f25" y="f26"/>
                    <a:pt x="f27" y="f28"/>
                    <a:pt x="f29" y="f30"/>
                  </a:cubicBezTo>
                  <a:cubicBezTo>
                    <a:pt x="f31" y="f32"/>
                    <a:pt x="f33" y="f34"/>
                    <a:pt x="f8" y="f9"/>
                  </a:cubicBezTo>
                  <a:close/>
                </a:path>
              </a:pathLst>
            </a:cu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4" name="Freeform 19">
              <a:extLst>
                <a:ext uri="{FF2B5EF4-FFF2-40B4-BE49-F238E27FC236}">
                  <a16:creationId xmlns:a16="http://schemas.microsoft.com/office/drawing/2014/main" id="{59233B21-2FA5-772B-3F9D-C45CE2DBD793}"/>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5" name="Freeform 14">
              <a:extLst>
                <a:ext uri="{FF2B5EF4-FFF2-40B4-BE49-F238E27FC236}">
                  <a16:creationId xmlns:a16="http://schemas.microsoft.com/office/drawing/2014/main" id="{EE7F6C1D-E508-6689-E20A-4EA1CFBC89B6}"/>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6" name="Picture 20">
              <a:extLst>
                <a:ext uri="{FF2B5EF4-FFF2-40B4-BE49-F238E27FC236}">
                  <a16:creationId xmlns:a16="http://schemas.microsoft.com/office/drawing/2014/main" id="{19184361-675A-CDC4-DABC-227911394424}"/>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
        <p:nvSpPr>
          <p:cNvPr id="7" name="Title 10">
            <a:extLst>
              <a:ext uri="{FF2B5EF4-FFF2-40B4-BE49-F238E27FC236}">
                <a16:creationId xmlns:a16="http://schemas.microsoft.com/office/drawing/2014/main" id="{A8C44F55-A095-81DE-7413-87867F3B1C2D}"/>
              </a:ext>
            </a:extLst>
          </p:cNvPr>
          <p:cNvSpPr txBox="1">
            <a:spLocks noGrp="1"/>
          </p:cNvSpPr>
          <p:nvPr>
            <p:ph type="title"/>
          </p:nvPr>
        </p:nvSpPr>
        <p:spPr>
          <a:xfrm>
            <a:off x="1413305" y="701748"/>
            <a:ext cx="9365376" cy="2014679"/>
          </a:xfrm>
        </p:spPr>
        <p:txBody>
          <a:bodyPr anchor="b"/>
          <a:lstStyle>
            <a:lvl1pPr>
              <a:defRPr/>
            </a:lvl1pPr>
          </a:lstStyle>
          <a:p>
            <a:pPr lvl="0"/>
            <a:r>
              <a:rPr lang="en-US"/>
              <a:t>Click to edit Master title style</a:t>
            </a:r>
          </a:p>
        </p:txBody>
      </p:sp>
      <p:sp>
        <p:nvSpPr>
          <p:cNvPr id="8" name="Subtitle 2">
            <a:extLst>
              <a:ext uri="{FF2B5EF4-FFF2-40B4-BE49-F238E27FC236}">
                <a16:creationId xmlns:a16="http://schemas.microsoft.com/office/drawing/2014/main" id="{38B8F69B-4D4C-5B0E-5E7D-4384DA315061}"/>
              </a:ext>
            </a:extLst>
          </p:cNvPr>
          <p:cNvSpPr txBox="1">
            <a:spLocks noGrp="1"/>
          </p:cNvSpPr>
          <p:nvPr>
            <p:ph type="subTitle" idx="4294967295"/>
          </p:nvPr>
        </p:nvSpPr>
        <p:spPr>
          <a:xfrm>
            <a:off x="1413305" y="3081637"/>
            <a:ext cx="9365376" cy="986564"/>
          </a:xfrm>
        </p:spPr>
        <p:txBody>
          <a:bodyPr/>
          <a:lstStyle>
            <a:lvl1pPr marL="0" indent="0">
              <a:buNone/>
              <a:defRPr/>
            </a:lvl1pPr>
          </a:lstStyle>
          <a:p>
            <a:pPr lvl="0"/>
            <a:r>
              <a:rPr lang="en-US"/>
              <a:t>Click to edit Master subtitle style</a:t>
            </a:r>
          </a:p>
        </p:txBody>
      </p:sp>
    </p:spTree>
    <p:extLst>
      <p:ext uri="{BB962C8B-B14F-4D97-AF65-F5344CB8AC3E}">
        <p14:creationId xmlns:p14="http://schemas.microsoft.com/office/powerpoint/2010/main" val="2214487773"/>
      </p:ext>
    </p:extLst>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type="obj" preserve="1">
  <p:cSld name="46_Quotation">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82D073EE-94B2-90FD-DFC3-920341EFC03E}"/>
              </a:ext>
            </a:extLst>
          </p:cNvPr>
          <p:cNvSpPr/>
          <p:nvPr/>
        </p:nvSpPr>
        <p:spPr>
          <a:xfrm>
            <a:off x="1427360" y="1387868"/>
            <a:ext cx="10155042" cy="3506934"/>
          </a:xfrm>
          <a:prstGeom prst="rect">
            <a:avLst/>
          </a:prstGeom>
          <a:solidFill>
            <a:srgbClr val="F3F6F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598F415D-C20E-5919-DD4C-2766FE0375E1}"/>
              </a:ext>
            </a:extLst>
          </p:cNvPr>
          <p:cNvSpPr txBox="1">
            <a:spLocks noGrp="1"/>
          </p:cNvSpPr>
          <p:nvPr>
            <p:ph type="title"/>
          </p:nvPr>
        </p:nvSpPr>
        <p:spPr>
          <a:xfrm>
            <a:off x="1427360" y="1377232"/>
            <a:ext cx="10155042" cy="3506934"/>
          </a:xfrm>
        </p:spPr>
        <p:txBody>
          <a:bodyPr lIns="274320" tIns="274320" rIns="274320" bIns="274320"/>
          <a:lstStyle>
            <a:lvl1pPr>
              <a:defRPr/>
            </a:lvl1pPr>
          </a:lstStyle>
          <a:p>
            <a:pPr lvl="0"/>
            <a:r>
              <a:rPr lang="en-US"/>
              <a:t>Click to edit Master title style</a:t>
            </a:r>
          </a:p>
        </p:txBody>
      </p:sp>
      <p:sp>
        <p:nvSpPr>
          <p:cNvPr id="4" name="Content Placeholder 2">
            <a:extLst>
              <a:ext uri="{FF2B5EF4-FFF2-40B4-BE49-F238E27FC236}">
                <a16:creationId xmlns:a16="http://schemas.microsoft.com/office/drawing/2014/main" id="{BE79F7C3-F1E5-15C4-EEED-8E17A8823990}"/>
              </a:ext>
            </a:extLst>
          </p:cNvPr>
          <p:cNvSpPr txBox="1">
            <a:spLocks noGrp="1"/>
          </p:cNvSpPr>
          <p:nvPr>
            <p:ph idx="1"/>
          </p:nvPr>
        </p:nvSpPr>
        <p:spPr>
          <a:xfrm>
            <a:off x="1427360" y="5007456"/>
            <a:ext cx="10155042" cy="825191"/>
          </a:xfrm>
        </p:spPr>
        <p:txBody>
          <a:bodyPr/>
          <a:lstStyle>
            <a:lvl1pPr marL="0" indent="0">
              <a:buNone/>
              <a:defRPr/>
            </a:lvl1pPr>
          </a:lstStyle>
          <a:p>
            <a:pPr lvl="0"/>
            <a:r>
              <a:rPr lang="en-US"/>
              <a:t>Click to edit Master text styles</a:t>
            </a:r>
          </a:p>
        </p:txBody>
      </p:sp>
      <p:sp>
        <p:nvSpPr>
          <p:cNvPr id="5" name="Slide Number Placeholder 6">
            <a:extLst>
              <a:ext uri="{FF2B5EF4-FFF2-40B4-BE49-F238E27FC236}">
                <a16:creationId xmlns:a16="http://schemas.microsoft.com/office/drawing/2014/main" id="{0712B31B-2736-3157-198E-1646D64C24D6}"/>
              </a:ext>
            </a:extLst>
          </p:cNvPr>
          <p:cNvSpPr txBox="1">
            <a:spLocks noGrp="1"/>
          </p:cNvSpPr>
          <p:nvPr>
            <p:ph type="sldNum" sz="quarter" idx="8"/>
          </p:nvPr>
        </p:nvSpPr>
        <p:spPr/>
        <p:txBody>
          <a:bodyPr/>
          <a:lstStyle>
            <a:lvl1pPr>
              <a:defRPr>
                <a:solidFill>
                  <a:srgbClr val="AFB3B9"/>
                </a:solidFill>
              </a:defRPr>
            </a:lvl1pPr>
          </a:lstStyle>
          <a:p>
            <a:pPr lvl="0"/>
            <a:fld id="{E7797B67-168D-4457-8A3A-405E5DA5D480}" type="slidenum">
              <a:t>‹#›</a:t>
            </a:fld>
            <a:endParaRPr lang="en-US"/>
          </a:p>
        </p:txBody>
      </p:sp>
      <p:cxnSp>
        <p:nvCxnSpPr>
          <p:cNvPr id="6" name="Straight Connector 7">
            <a:extLst>
              <a:ext uri="{FF2B5EF4-FFF2-40B4-BE49-F238E27FC236}">
                <a16:creationId xmlns:a16="http://schemas.microsoft.com/office/drawing/2014/main" id="{3B4FEB26-9125-415C-3971-EF698ECD6759}"/>
              </a:ext>
            </a:extLst>
          </p:cNvPr>
          <p:cNvCxnSpPr/>
          <p:nvPr/>
        </p:nvCxnSpPr>
        <p:spPr>
          <a:xfrm>
            <a:off x="609603" y="6335713"/>
            <a:ext cx="10972800" cy="0"/>
          </a:xfrm>
          <a:prstGeom prst="straightConnector1">
            <a:avLst/>
          </a:prstGeom>
          <a:noFill/>
          <a:ln w="6345" cap="flat">
            <a:solidFill>
              <a:srgbClr val="AFB3B9"/>
            </a:solidFill>
            <a:prstDash val="solid"/>
            <a:miter/>
          </a:ln>
        </p:spPr>
      </p:cxnSp>
      <p:sp>
        <p:nvSpPr>
          <p:cNvPr id="7" name="Footer Placeholder 5">
            <a:extLst>
              <a:ext uri="{FF2B5EF4-FFF2-40B4-BE49-F238E27FC236}">
                <a16:creationId xmlns:a16="http://schemas.microsoft.com/office/drawing/2014/main" id="{159EABF1-D44B-C300-3E0A-BF3B9A9F2D32}"/>
              </a:ext>
            </a:extLst>
          </p:cNvPr>
          <p:cNvSpPr txBox="1">
            <a:spLocks noGrp="1"/>
          </p:cNvSpPr>
          <p:nvPr>
            <p:ph type="ftr" sz="quarter" idx="9"/>
          </p:nvPr>
        </p:nvSpPr>
        <p:spPr/>
        <p:txBody>
          <a:bodyPr/>
          <a:lstStyle>
            <a:lvl1pPr>
              <a:defRPr/>
            </a:lvl1pPr>
          </a:lstStyle>
          <a:p>
            <a:pPr lvl="0"/>
            <a:r>
              <a:rPr lang="en-US"/>
              <a:t>Illinois Perinatal Quality Collaborative</a:t>
            </a:r>
          </a:p>
        </p:txBody>
      </p:sp>
      <p:grpSp>
        <p:nvGrpSpPr>
          <p:cNvPr id="8" name="Group 32">
            <a:extLst>
              <a:ext uri="{FF2B5EF4-FFF2-40B4-BE49-F238E27FC236}">
                <a16:creationId xmlns:a16="http://schemas.microsoft.com/office/drawing/2014/main" id="{BF30865C-1964-9F1F-BADD-A5F993ADDAC0}"/>
              </a:ext>
            </a:extLst>
          </p:cNvPr>
          <p:cNvGrpSpPr/>
          <p:nvPr/>
        </p:nvGrpSpPr>
        <p:grpSpPr>
          <a:xfrm>
            <a:off x="7191545" y="0"/>
            <a:ext cx="5000460" cy="1425988"/>
            <a:chOff x="7191545" y="0"/>
            <a:chExt cx="5000460" cy="1425988"/>
          </a:xfrm>
        </p:grpSpPr>
        <p:pic>
          <p:nvPicPr>
            <p:cNvPr id="9" name="Picture 33">
              <a:extLst>
                <a:ext uri="{FF2B5EF4-FFF2-40B4-BE49-F238E27FC236}">
                  <a16:creationId xmlns:a16="http://schemas.microsoft.com/office/drawing/2014/main" id="{77B21F91-6D9A-FE3F-EEC0-8FF4D8E14632}"/>
                </a:ext>
              </a:extLst>
            </p:cNvPr>
            <p:cNvPicPr>
              <a:picLocks noChangeAspect="1"/>
            </p:cNvPicPr>
            <p:nvPr/>
          </p:nvPicPr>
          <p:blipFill>
            <a:blip r:embed="rId2"/>
            <a:srcRect/>
            <a:stretch>
              <a:fillRect/>
            </a:stretch>
          </p:blipFill>
          <p:spPr>
            <a:xfrm>
              <a:off x="9264316" y="228371"/>
              <a:ext cx="2025313" cy="911940"/>
            </a:xfrm>
            <a:prstGeom prst="rect">
              <a:avLst/>
            </a:prstGeom>
            <a:noFill/>
            <a:ln cap="flat">
              <a:noFill/>
            </a:ln>
          </p:spPr>
        </p:pic>
        <p:grpSp>
          <p:nvGrpSpPr>
            <p:cNvPr id="10" name="Group 34">
              <a:extLst>
                <a:ext uri="{FF2B5EF4-FFF2-40B4-BE49-F238E27FC236}">
                  <a16:creationId xmlns:a16="http://schemas.microsoft.com/office/drawing/2014/main" id="{13365883-DF06-8E76-25A7-7D77D1DF0BF9}"/>
                </a:ext>
              </a:extLst>
            </p:cNvPr>
            <p:cNvGrpSpPr/>
            <p:nvPr/>
          </p:nvGrpSpPr>
          <p:grpSpPr>
            <a:xfrm>
              <a:off x="7191545" y="0"/>
              <a:ext cx="5000460" cy="1425988"/>
              <a:chOff x="7191545" y="0"/>
              <a:chExt cx="5000460" cy="1425988"/>
            </a:xfrm>
          </p:grpSpPr>
          <p:sp>
            <p:nvSpPr>
              <p:cNvPr id="11" name="Freeform 35">
                <a:extLst>
                  <a:ext uri="{FF2B5EF4-FFF2-40B4-BE49-F238E27FC236}">
                    <a16:creationId xmlns:a16="http://schemas.microsoft.com/office/drawing/2014/main" id="{08A462A4-2B45-61C1-F97D-DB90FE9788A2}"/>
                  </a:ext>
                </a:extLst>
              </p:cNvPr>
              <p:cNvSpPr/>
              <p:nvPr/>
            </p:nvSpPr>
            <p:spPr>
              <a:xfrm>
                <a:off x="7191545" y="0"/>
                <a:ext cx="5000460" cy="1425988"/>
              </a:xfrm>
              <a:custGeom>
                <a:avLst/>
                <a:gdLst>
                  <a:gd name="f0" fmla="val 10800000"/>
                  <a:gd name="f1" fmla="val 5400000"/>
                  <a:gd name="f2" fmla="val 180"/>
                  <a:gd name="f3" fmla="val w"/>
                  <a:gd name="f4" fmla="val h"/>
                  <a:gd name="f5" fmla="val 0"/>
                  <a:gd name="f6" fmla="val 5005729"/>
                  <a:gd name="f7" fmla="val 1427495"/>
                  <a:gd name="f8" fmla="val 165533"/>
                  <a:gd name="f9" fmla="val 215699"/>
                  <a:gd name="f10" fmla="val 35841"/>
                  <a:gd name="f11" fmla="val 434496"/>
                  <a:gd name="f12" fmla="val 193047"/>
                  <a:gd name="f13" fmla="val 652894"/>
                  <a:gd name="f14" fmla="val 349789"/>
                  <a:gd name="f15" fmla="val 876476"/>
                  <a:gd name="f16" fmla="val 498295"/>
                  <a:gd name="f17" fmla="val 1099792"/>
                  <a:gd name="f18" fmla="val 647067"/>
                  <a:gd name="f19" fmla="val 1328957"/>
                  <a:gd name="f20" fmla="val 787337"/>
                  <a:gd name="f21" fmla="val 1566628"/>
                  <a:gd name="f22" fmla="val 910605"/>
                  <a:gd name="f23" fmla="val 1804301"/>
                  <a:gd name="f24" fmla="val 1033874"/>
                  <a:gd name="f25" fmla="val 2051544"/>
                  <a:gd name="f26" fmla="val 1139076"/>
                  <a:gd name="f27" fmla="val 2307294"/>
                  <a:gd name="f28" fmla="val 1218776"/>
                  <a:gd name="f29" fmla="val 2434903"/>
                  <a:gd name="f30" fmla="val 1258625"/>
                  <a:gd name="f31" fmla="val 2565171"/>
                  <a:gd name="f32" fmla="val 1291568"/>
                  <a:gd name="f33" fmla="val 2696502"/>
                  <a:gd name="f34" fmla="val 1318134"/>
                  <a:gd name="f35" fmla="val 2827833"/>
                  <a:gd name="f36" fmla="val 1344700"/>
                  <a:gd name="f37" fmla="val 2960760"/>
                  <a:gd name="f38" fmla="val 1363297"/>
                  <a:gd name="f39" fmla="val 3094217"/>
                  <a:gd name="f40" fmla="val 1375517"/>
                  <a:gd name="f41" fmla="val 3227675"/>
                  <a:gd name="f42" fmla="val 1387738"/>
                  <a:gd name="f43" fmla="val 3361665"/>
                  <a:gd name="f44" fmla="val 1393051"/>
                  <a:gd name="f45" fmla="val 3496186"/>
                  <a:gd name="f46" fmla="val 1391457"/>
                  <a:gd name="f47" fmla="val 3596679"/>
                  <a:gd name="f48" fmla="val 1388800"/>
                  <a:gd name="f49" fmla="val 3613693"/>
                  <a:gd name="f50" fmla="val 1388269"/>
                  <a:gd name="f51" fmla="val 3630176"/>
                  <a:gd name="f52" fmla="val 3647191"/>
                  <a:gd name="f53" fmla="val 1387207"/>
                  <a:gd name="f54" fmla="val 3697703"/>
                  <a:gd name="f55" fmla="val 1384018"/>
                  <a:gd name="f56" fmla="val 3798195"/>
                  <a:gd name="f57" fmla="val 1377643"/>
                  <a:gd name="f58" fmla="val 3898687"/>
                  <a:gd name="f59" fmla="val 1367547"/>
                  <a:gd name="f60" fmla="val 3948667"/>
                  <a:gd name="f61" fmla="val 1362234"/>
                  <a:gd name="f62" fmla="val 3998648"/>
                  <a:gd name="f63" fmla="val 1355327"/>
                  <a:gd name="f64" fmla="val 4032146"/>
                  <a:gd name="f65" fmla="val 1350545"/>
                  <a:gd name="f66" fmla="val 4065111"/>
                  <a:gd name="f67" fmla="val 1346294"/>
                  <a:gd name="f68" fmla="val 4098609"/>
                  <a:gd name="f69" fmla="val 1341512"/>
                  <a:gd name="f70" fmla="val 4198037"/>
                  <a:gd name="f71" fmla="val 1324510"/>
                  <a:gd name="f72" fmla="val 4223027"/>
                  <a:gd name="f73" fmla="val 1320259"/>
                  <a:gd name="f74" fmla="val 4231535"/>
                  <a:gd name="f75" fmla="val 1318665"/>
                  <a:gd name="f76" fmla="val 4239511"/>
                  <a:gd name="f77" fmla="val 1317602"/>
                  <a:gd name="f78" fmla="val 4248017"/>
                  <a:gd name="f79" fmla="val 1315477"/>
                  <a:gd name="f80" fmla="val 4297466"/>
                  <a:gd name="f81" fmla="val 1305382"/>
                  <a:gd name="f82" fmla="val 4346915"/>
                  <a:gd name="f83" fmla="val 1295287"/>
                  <a:gd name="f84" fmla="val 4371374"/>
                  <a:gd name="f85" fmla="val 1289974"/>
                  <a:gd name="f86" fmla="val 4379349"/>
                  <a:gd name="f87" fmla="val 1288379"/>
                  <a:gd name="f88" fmla="val 4387856"/>
                  <a:gd name="f89" fmla="val 1286254"/>
                  <a:gd name="f90" fmla="val 4395831"/>
                  <a:gd name="f91" fmla="val 1284129"/>
                  <a:gd name="f92" fmla="val 4494197"/>
                  <a:gd name="f93" fmla="val 1260751"/>
                  <a:gd name="f94" fmla="val 4506426"/>
                  <a:gd name="f95" fmla="val 1258094"/>
                  <a:gd name="f96" fmla="val 4518656"/>
                  <a:gd name="f97" fmla="val 1254906"/>
                  <a:gd name="f98" fmla="val 4543113"/>
                  <a:gd name="f99" fmla="val 1248530"/>
                  <a:gd name="f100" fmla="val 4592031"/>
                  <a:gd name="f101" fmla="val 1235247"/>
                  <a:gd name="f102" fmla="val 4607983"/>
                  <a:gd name="f103" fmla="val 1230996"/>
                  <a:gd name="f104" fmla="val 4624465"/>
                  <a:gd name="f105" fmla="val 1226746"/>
                  <a:gd name="f106" fmla="val 4640948"/>
                  <a:gd name="f107" fmla="val 1221963"/>
                  <a:gd name="f108" fmla="val 4689332"/>
                  <a:gd name="f109" fmla="val 1207618"/>
                  <a:gd name="f110" fmla="val 4753935"/>
                  <a:gd name="f111" fmla="val 1188490"/>
                  <a:gd name="f112" fmla="val 4818038"/>
                  <a:gd name="f113" fmla="val 1167901"/>
                  <a:gd name="f114" fmla="val 4881644"/>
                  <a:gd name="f115" fmla="val 1145934"/>
                  <a:gd name="f116" fmla="val 1100085"/>
                  <a:gd name="f117" fmla="val 1108460"/>
                  <a:gd name="f118" fmla="val 4884859"/>
                  <a:gd name="f119" fmla="val 1155423"/>
                  <a:gd name="f120" fmla="val 4821462"/>
                  <a:gd name="f121" fmla="val 1178495"/>
                  <a:gd name="f122" fmla="val 4757524"/>
                  <a:gd name="f123" fmla="val 1200180"/>
                  <a:gd name="f124" fmla="val 4693055"/>
                  <a:gd name="f125" fmla="val 1220370"/>
                  <a:gd name="f126" fmla="val 4644670"/>
                  <a:gd name="f127" fmla="val 1235778"/>
                  <a:gd name="f128" fmla="val 4628719"/>
                  <a:gd name="f129" fmla="val 1240560"/>
                  <a:gd name="f130" fmla="val 4612235"/>
                  <a:gd name="f131" fmla="val 1245342"/>
                  <a:gd name="f132" fmla="val 4596284"/>
                  <a:gd name="f133" fmla="val 1250124"/>
                  <a:gd name="f134" fmla="val 4547367"/>
                  <a:gd name="f135" fmla="val 1263938"/>
                  <a:gd name="f136" fmla="val 4522910"/>
                  <a:gd name="f137" fmla="val 1270846"/>
                  <a:gd name="f138" fmla="val 4510680"/>
                  <a:gd name="f139" fmla="val 1274565"/>
                  <a:gd name="f140" fmla="val 4498451"/>
                  <a:gd name="f141" fmla="val 1277753"/>
                  <a:gd name="f142" fmla="val 4400085"/>
                  <a:gd name="f143" fmla="val 1302725"/>
                  <a:gd name="f144" fmla="val 4392110"/>
                  <a:gd name="f145" fmla="val 1304851"/>
                  <a:gd name="f146" fmla="val 4383602"/>
                  <a:gd name="f147" fmla="val 1306976"/>
                  <a:gd name="f148" fmla="val 4375626"/>
                  <a:gd name="f149" fmla="val 1309101"/>
                  <a:gd name="f150" fmla="val 4351169"/>
                  <a:gd name="f151" fmla="val 1314415"/>
                  <a:gd name="f152" fmla="val 4301720"/>
                  <a:gd name="f153" fmla="val 1325572"/>
                  <a:gd name="f154" fmla="val 4252271"/>
                  <a:gd name="f155" fmla="val 1336730"/>
                  <a:gd name="f156" fmla="val 4244295"/>
                  <a:gd name="f157" fmla="val 1338856"/>
                  <a:gd name="f158" fmla="val 4235789"/>
                  <a:gd name="f159" fmla="val 1340450"/>
                  <a:gd name="f160" fmla="val 4227281"/>
                  <a:gd name="f161" fmla="val 1342044"/>
                  <a:gd name="f162" fmla="val 4202291"/>
                  <a:gd name="f163" fmla="val 1346825"/>
                  <a:gd name="f164" fmla="val 4102862"/>
                  <a:gd name="f165" fmla="val 1365422"/>
                  <a:gd name="f166" fmla="val 4069365"/>
                  <a:gd name="f167" fmla="val 1370735"/>
                  <a:gd name="f168" fmla="val 4035867"/>
                  <a:gd name="f169" fmla="val 4002902"/>
                  <a:gd name="f170" fmla="val 1380831"/>
                  <a:gd name="f171" fmla="val 3952921"/>
                  <a:gd name="f172" fmla="val 3902409"/>
                  <a:gd name="f173" fmla="val 1394645"/>
                  <a:gd name="f174" fmla="val 3801917"/>
                  <a:gd name="f175" fmla="val 1406334"/>
                  <a:gd name="f176" fmla="val 3700893"/>
                  <a:gd name="f177" fmla="val 1414836"/>
                  <a:gd name="f178" fmla="val 3650381"/>
                  <a:gd name="f179" fmla="val 1419086"/>
                  <a:gd name="f180" fmla="val 3633367"/>
                  <a:gd name="f181" fmla="val 1420680"/>
                  <a:gd name="f182" fmla="val 3616352"/>
                  <a:gd name="f183" fmla="val 3599869"/>
                  <a:gd name="f184" fmla="val 1421743"/>
                  <a:gd name="f185" fmla="val 3498313"/>
                  <a:gd name="f186" fmla="val 1425993"/>
                  <a:gd name="f187" fmla="val 3363260"/>
                  <a:gd name="f188" fmla="val 1429713"/>
                  <a:gd name="f189" fmla="val 1426525"/>
                  <a:gd name="f190" fmla="val 3092622"/>
                  <a:gd name="f191" fmla="val 1416430"/>
                  <a:gd name="f192" fmla="val 2957569"/>
                  <a:gd name="f193" fmla="val 2823048"/>
                  <a:gd name="f194" fmla="val 1389863"/>
                  <a:gd name="f195" fmla="val 2689590"/>
                  <a:gd name="f196" fmla="val 1364891"/>
                  <a:gd name="f197" fmla="val 2556131"/>
                  <a:gd name="f198" fmla="val 2424269"/>
                  <a:gd name="f199" fmla="val 1308570"/>
                  <a:gd name="f200" fmla="val 2294001"/>
                  <a:gd name="f201" fmla="val 2033466"/>
                  <a:gd name="f202" fmla="val 1194866"/>
                  <a:gd name="f203" fmla="val 1781438"/>
                  <a:gd name="f204" fmla="val 1091788"/>
                  <a:gd name="f205" fmla="val 1538448"/>
                  <a:gd name="f206" fmla="val 971177"/>
                  <a:gd name="f207" fmla="val 1295459"/>
                  <a:gd name="f208" fmla="val 850565"/>
                  <a:gd name="f209" fmla="val 1062040"/>
                  <a:gd name="f210" fmla="val 712420"/>
                  <a:gd name="f211" fmla="val 834471"/>
                  <a:gd name="f212" fmla="val 566305"/>
                  <a:gd name="f213" fmla="val 606901"/>
                  <a:gd name="f214" fmla="val 420190"/>
                  <a:gd name="f215" fmla="val 384914"/>
                  <a:gd name="f216" fmla="val 266371"/>
                  <a:gd name="f217" fmla="val 163459"/>
                  <a:gd name="f218" fmla="val 112750"/>
                  <a:gd name="f219" fmla="+- 0 0 -90"/>
                  <a:gd name="f220" fmla="*/ f3 1 5005729"/>
                  <a:gd name="f221" fmla="*/ f4 1 1427495"/>
                  <a:gd name="f222" fmla="+- f7 0 f5"/>
                  <a:gd name="f223" fmla="+- f6 0 f5"/>
                  <a:gd name="f224" fmla="*/ f219 f0 1"/>
                  <a:gd name="f225" fmla="*/ f223 1 5005729"/>
                  <a:gd name="f226" fmla="*/ f222 1 1427495"/>
                  <a:gd name="f227" fmla="*/ 0 f223 1"/>
                  <a:gd name="f228" fmla="*/ 0 f222 1"/>
                  <a:gd name="f229" fmla="*/ 165533 f223 1"/>
                  <a:gd name="f230" fmla="*/ 215699 f223 1"/>
                  <a:gd name="f231" fmla="*/ 35841 f222 1"/>
                  <a:gd name="f232" fmla="*/ 876476 f223 1"/>
                  <a:gd name="f233" fmla="*/ 498295 f222 1"/>
                  <a:gd name="f234" fmla="*/ 1566628 f223 1"/>
                  <a:gd name="f235" fmla="*/ 910605 f222 1"/>
                  <a:gd name="f236" fmla="*/ 2307294 f223 1"/>
                  <a:gd name="f237" fmla="*/ 1218776 f222 1"/>
                  <a:gd name="f238" fmla="*/ 2696502 f223 1"/>
                  <a:gd name="f239" fmla="*/ 1318134 f222 1"/>
                  <a:gd name="f240" fmla="*/ 3094217 f223 1"/>
                  <a:gd name="f241" fmla="*/ 1375517 f222 1"/>
                  <a:gd name="f242" fmla="*/ 3496186 f223 1"/>
                  <a:gd name="f243" fmla="*/ 1391457 f222 1"/>
                  <a:gd name="f244" fmla="*/ 3596679 f223 1"/>
                  <a:gd name="f245" fmla="*/ 1388800 f222 1"/>
                  <a:gd name="f246" fmla="*/ 3647191 f223 1"/>
                  <a:gd name="f247" fmla="*/ 1387207 f222 1"/>
                  <a:gd name="f248" fmla="*/ 3697703 f223 1"/>
                  <a:gd name="f249" fmla="*/ 1384018 f222 1"/>
                  <a:gd name="f250" fmla="*/ 3798195 f223 1"/>
                  <a:gd name="f251" fmla="*/ 1377643 f222 1"/>
                  <a:gd name="f252" fmla="*/ 3898687 f223 1"/>
                  <a:gd name="f253" fmla="*/ 1367547 f222 1"/>
                  <a:gd name="f254" fmla="*/ 3948667 f223 1"/>
                  <a:gd name="f255" fmla="*/ 1362234 f222 1"/>
                  <a:gd name="f256" fmla="*/ 3998648 f223 1"/>
                  <a:gd name="f257" fmla="*/ 1355327 f222 1"/>
                  <a:gd name="f258" fmla="*/ 4098609 f223 1"/>
                  <a:gd name="f259" fmla="*/ 1341512 f222 1"/>
                  <a:gd name="f260" fmla="*/ 4198037 f223 1"/>
                  <a:gd name="f261" fmla="*/ 1324510 f222 1"/>
                  <a:gd name="f262" fmla="*/ 4223027 f223 1"/>
                  <a:gd name="f263" fmla="*/ 1320259 f222 1"/>
                  <a:gd name="f264" fmla="*/ 4248017 f223 1"/>
                  <a:gd name="f265" fmla="*/ 1315477 f222 1"/>
                  <a:gd name="f266" fmla="*/ 4297466 f223 1"/>
                  <a:gd name="f267" fmla="*/ 1305382 f222 1"/>
                  <a:gd name="f268" fmla="*/ 4346915 f223 1"/>
                  <a:gd name="f269" fmla="*/ 1295287 f222 1"/>
                  <a:gd name="f270" fmla="*/ 4371374 f223 1"/>
                  <a:gd name="f271" fmla="*/ 1289974 f222 1"/>
                  <a:gd name="f272" fmla="*/ 4395831 f223 1"/>
                  <a:gd name="f273" fmla="*/ 1284129 f222 1"/>
                  <a:gd name="f274" fmla="*/ 4494197 f223 1"/>
                  <a:gd name="f275" fmla="*/ 1260751 f222 1"/>
                  <a:gd name="f276" fmla="*/ 4506426 f223 1"/>
                  <a:gd name="f277" fmla="*/ 1258094 f222 1"/>
                  <a:gd name="f278" fmla="*/ 4518656 f223 1"/>
                  <a:gd name="f279" fmla="*/ 1254906 f222 1"/>
                  <a:gd name="f280" fmla="*/ 4543113 f223 1"/>
                  <a:gd name="f281" fmla="*/ 1248530 f222 1"/>
                  <a:gd name="f282" fmla="*/ 4592031 f223 1"/>
                  <a:gd name="f283" fmla="*/ 1235247 f222 1"/>
                  <a:gd name="f284" fmla="*/ 4640948 f223 1"/>
                  <a:gd name="f285" fmla="*/ 1221963 f222 1"/>
                  <a:gd name="f286" fmla="*/ 4689332 f223 1"/>
                  <a:gd name="f287" fmla="*/ 1207618 f222 1"/>
                  <a:gd name="f288" fmla="*/ 4881644 f223 1"/>
                  <a:gd name="f289" fmla="*/ 1145934 f222 1"/>
                  <a:gd name="f290" fmla="*/ 5005729 f223 1"/>
                  <a:gd name="f291" fmla="*/ 1100085 f222 1"/>
                  <a:gd name="f292" fmla="*/ 1108460 f222 1"/>
                  <a:gd name="f293" fmla="*/ 4884859 f223 1"/>
                  <a:gd name="f294" fmla="*/ 1155423 f222 1"/>
                  <a:gd name="f295" fmla="*/ 4693055 f223 1"/>
                  <a:gd name="f296" fmla="*/ 1220370 f222 1"/>
                  <a:gd name="f297" fmla="*/ 4644670 f223 1"/>
                  <a:gd name="f298" fmla="*/ 1235778 f222 1"/>
                  <a:gd name="f299" fmla="*/ 4596284 f223 1"/>
                  <a:gd name="f300" fmla="*/ 1250124 f222 1"/>
                  <a:gd name="f301" fmla="*/ 4547367 f223 1"/>
                  <a:gd name="f302" fmla="*/ 1263938 f222 1"/>
                  <a:gd name="f303" fmla="*/ 4522910 f223 1"/>
                  <a:gd name="f304" fmla="*/ 1270846 f222 1"/>
                  <a:gd name="f305" fmla="*/ 4510680 f223 1"/>
                  <a:gd name="f306" fmla="*/ 1274565 f222 1"/>
                  <a:gd name="f307" fmla="*/ 4498451 f223 1"/>
                  <a:gd name="f308" fmla="*/ 1277753 f222 1"/>
                  <a:gd name="f309" fmla="*/ 4400085 f223 1"/>
                  <a:gd name="f310" fmla="*/ 1302725 f222 1"/>
                  <a:gd name="f311" fmla="*/ 4375626 f223 1"/>
                  <a:gd name="f312" fmla="*/ 1309101 f222 1"/>
                  <a:gd name="f313" fmla="*/ 4351169 f223 1"/>
                  <a:gd name="f314" fmla="*/ 1314415 f222 1"/>
                  <a:gd name="f315" fmla="*/ 4301720 f223 1"/>
                  <a:gd name="f316" fmla="*/ 1325572 f222 1"/>
                  <a:gd name="f317" fmla="*/ 4252271 f223 1"/>
                  <a:gd name="f318" fmla="*/ 1336730 f222 1"/>
                  <a:gd name="f319" fmla="*/ 4227281 f223 1"/>
                  <a:gd name="f320" fmla="*/ 1342044 f222 1"/>
                  <a:gd name="f321" fmla="*/ 4202291 f223 1"/>
                  <a:gd name="f322" fmla="*/ 1346825 f222 1"/>
                  <a:gd name="f323" fmla="*/ 4102862 f223 1"/>
                  <a:gd name="f324" fmla="*/ 1365422 f222 1"/>
                  <a:gd name="f325" fmla="*/ 4002902 f223 1"/>
                  <a:gd name="f326" fmla="*/ 1380831 f222 1"/>
                  <a:gd name="f327" fmla="*/ 3952921 f223 1"/>
                  <a:gd name="f328" fmla="*/ 3902409 f223 1"/>
                  <a:gd name="f329" fmla="*/ 1394645 f222 1"/>
                  <a:gd name="f330" fmla="*/ 3801917 f223 1"/>
                  <a:gd name="f331" fmla="*/ 1406334 f222 1"/>
                  <a:gd name="f332" fmla="*/ 3700893 f223 1"/>
                  <a:gd name="f333" fmla="*/ 1414836 f222 1"/>
                  <a:gd name="f334" fmla="*/ 3650381 f223 1"/>
                  <a:gd name="f335" fmla="*/ 1419086 f222 1"/>
                  <a:gd name="f336" fmla="*/ 3599869 f223 1"/>
                  <a:gd name="f337" fmla="*/ 1421743 f222 1"/>
                  <a:gd name="f338" fmla="*/ 3498313 f223 1"/>
                  <a:gd name="f339" fmla="*/ 1425993 f222 1"/>
                  <a:gd name="f340" fmla="*/ 3092622 f223 1"/>
                  <a:gd name="f341" fmla="*/ 1416430 f222 1"/>
                  <a:gd name="f342" fmla="*/ 2689590 f223 1"/>
                  <a:gd name="f343" fmla="*/ 1364891 f222 1"/>
                  <a:gd name="f344" fmla="*/ 2294001 f223 1"/>
                  <a:gd name="f345" fmla="*/ 1538448 f223 1"/>
                  <a:gd name="f346" fmla="*/ 971177 f222 1"/>
                  <a:gd name="f347" fmla="*/ 834471 f223 1"/>
                  <a:gd name="f348" fmla="*/ 566305 f222 1"/>
                  <a:gd name="f349" fmla="*/ 163459 f223 1"/>
                  <a:gd name="f350" fmla="*/ 112750 f222 1"/>
                  <a:gd name="f351" fmla="*/ f224 1 f2"/>
                  <a:gd name="f352" fmla="*/ f227 1 5005729"/>
                  <a:gd name="f353" fmla="*/ f228 1 1427495"/>
                  <a:gd name="f354" fmla="*/ f229 1 5005729"/>
                  <a:gd name="f355" fmla="*/ f230 1 5005729"/>
                  <a:gd name="f356" fmla="*/ f231 1 1427495"/>
                  <a:gd name="f357" fmla="*/ f232 1 5005729"/>
                  <a:gd name="f358" fmla="*/ f233 1 1427495"/>
                  <a:gd name="f359" fmla="*/ f234 1 5005729"/>
                  <a:gd name="f360" fmla="*/ f235 1 1427495"/>
                  <a:gd name="f361" fmla="*/ f236 1 5005729"/>
                  <a:gd name="f362" fmla="*/ f237 1 1427495"/>
                  <a:gd name="f363" fmla="*/ f238 1 5005729"/>
                  <a:gd name="f364" fmla="*/ f239 1 1427495"/>
                  <a:gd name="f365" fmla="*/ f240 1 5005729"/>
                  <a:gd name="f366" fmla="*/ f241 1 1427495"/>
                  <a:gd name="f367" fmla="*/ f242 1 5005729"/>
                  <a:gd name="f368" fmla="*/ f243 1 1427495"/>
                  <a:gd name="f369" fmla="*/ f244 1 5005729"/>
                  <a:gd name="f370" fmla="*/ f245 1 1427495"/>
                  <a:gd name="f371" fmla="*/ f246 1 5005729"/>
                  <a:gd name="f372" fmla="*/ f247 1 1427495"/>
                  <a:gd name="f373" fmla="*/ f248 1 5005729"/>
                  <a:gd name="f374" fmla="*/ f249 1 1427495"/>
                  <a:gd name="f375" fmla="*/ f250 1 5005729"/>
                  <a:gd name="f376" fmla="*/ f251 1 1427495"/>
                  <a:gd name="f377" fmla="*/ f252 1 5005729"/>
                  <a:gd name="f378" fmla="*/ f253 1 1427495"/>
                  <a:gd name="f379" fmla="*/ f254 1 5005729"/>
                  <a:gd name="f380" fmla="*/ f255 1 1427495"/>
                  <a:gd name="f381" fmla="*/ f256 1 5005729"/>
                  <a:gd name="f382" fmla="*/ f257 1 1427495"/>
                  <a:gd name="f383" fmla="*/ f258 1 5005729"/>
                  <a:gd name="f384" fmla="*/ f259 1 1427495"/>
                  <a:gd name="f385" fmla="*/ f260 1 5005729"/>
                  <a:gd name="f386" fmla="*/ f261 1 1427495"/>
                  <a:gd name="f387" fmla="*/ f262 1 5005729"/>
                  <a:gd name="f388" fmla="*/ f263 1 1427495"/>
                  <a:gd name="f389" fmla="*/ f264 1 5005729"/>
                  <a:gd name="f390" fmla="*/ f265 1 1427495"/>
                  <a:gd name="f391" fmla="*/ f266 1 5005729"/>
                  <a:gd name="f392" fmla="*/ f267 1 1427495"/>
                  <a:gd name="f393" fmla="*/ f268 1 5005729"/>
                  <a:gd name="f394" fmla="*/ f269 1 1427495"/>
                  <a:gd name="f395" fmla="*/ f270 1 5005729"/>
                  <a:gd name="f396" fmla="*/ f271 1 1427495"/>
                  <a:gd name="f397" fmla="*/ f272 1 5005729"/>
                  <a:gd name="f398" fmla="*/ f273 1 1427495"/>
                  <a:gd name="f399" fmla="*/ f274 1 5005729"/>
                  <a:gd name="f400" fmla="*/ f275 1 1427495"/>
                  <a:gd name="f401" fmla="*/ f276 1 5005729"/>
                  <a:gd name="f402" fmla="*/ f277 1 1427495"/>
                  <a:gd name="f403" fmla="*/ f278 1 5005729"/>
                  <a:gd name="f404" fmla="*/ f279 1 1427495"/>
                  <a:gd name="f405" fmla="*/ f280 1 5005729"/>
                  <a:gd name="f406" fmla="*/ f281 1 1427495"/>
                  <a:gd name="f407" fmla="*/ f282 1 5005729"/>
                  <a:gd name="f408" fmla="*/ f283 1 1427495"/>
                  <a:gd name="f409" fmla="*/ f284 1 5005729"/>
                  <a:gd name="f410" fmla="*/ f285 1 1427495"/>
                  <a:gd name="f411" fmla="*/ f286 1 5005729"/>
                  <a:gd name="f412" fmla="*/ f287 1 1427495"/>
                  <a:gd name="f413" fmla="*/ f288 1 5005729"/>
                  <a:gd name="f414" fmla="*/ f289 1 1427495"/>
                  <a:gd name="f415" fmla="*/ f290 1 5005729"/>
                  <a:gd name="f416" fmla="*/ f291 1 1427495"/>
                  <a:gd name="f417" fmla="*/ f292 1 1427495"/>
                  <a:gd name="f418" fmla="*/ f293 1 5005729"/>
                  <a:gd name="f419" fmla="*/ f294 1 1427495"/>
                  <a:gd name="f420" fmla="*/ f295 1 5005729"/>
                  <a:gd name="f421" fmla="*/ f296 1 1427495"/>
                  <a:gd name="f422" fmla="*/ f297 1 5005729"/>
                  <a:gd name="f423" fmla="*/ f298 1 1427495"/>
                  <a:gd name="f424" fmla="*/ f299 1 5005729"/>
                  <a:gd name="f425" fmla="*/ f300 1 1427495"/>
                  <a:gd name="f426" fmla="*/ f301 1 5005729"/>
                  <a:gd name="f427" fmla="*/ f302 1 1427495"/>
                  <a:gd name="f428" fmla="*/ f303 1 5005729"/>
                  <a:gd name="f429" fmla="*/ f304 1 1427495"/>
                  <a:gd name="f430" fmla="*/ f305 1 5005729"/>
                  <a:gd name="f431" fmla="*/ f306 1 1427495"/>
                  <a:gd name="f432" fmla="*/ f307 1 5005729"/>
                  <a:gd name="f433" fmla="*/ f308 1 1427495"/>
                  <a:gd name="f434" fmla="*/ f309 1 5005729"/>
                  <a:gd name="f435" fmla="*/ f310 1 1427495"/>
                  <a:gd name="f436" fmla="*/ f311 1 5005729"/>
                  <a:gd name="f437" fmla="*/ f312 1 1427495"/>
                  <a:gd name="f438" fmla="*/ f313 1 5005729"/>
                  <a:gd name="f439" fmla="*/ f314 1 1427495"/>
                  <a:gd name="f440" fmla="*/ f315 1 5005729"/>
                  <a:gd name="f441" fmla="*/ f316 1 1427495"/>
                  <a:gd name="f442" fmla="*/ f317 1 5005729"/>
                  <a:gd name="f443" fmla="*/ f318 1 1427495"/>
                  <a:gd name="f444" fmla="*/ f319 1 5005729"/>
                  <a:gd name="f445" fmla="*/ f320 1 1427495"/>
                  <a:gd name="f446" fmla="*/ f321 1 5005729"/>
                  <a:gd name="f447" fmla="*/ f322 1 1427495"/>
                  <a:gd name="f448" fmla="*/ f323 1 5005729"/>
                  <a:gd name="f449" fmla="*/ f324 1 1427495"/>
                  <a:gd name="f450" fmla="*/ f325 1 5005729"/>
                  <a:gd name="f451" fmla="*/ f326 1 1427495"/>
                  <a:gd name="f452" fmla="*/ f327 1 5005729"/>
                  <a:gd name="f453" fmla="*/ f328 1 5005729"/>
                  <a:gd name="f454" fmla="*/ f329 1 1427495"/>
                  <a:gd name="f455" fmla="*/ f330 1 5005729"/>
                  <a:gd name="f456" fmla="*/ f331 1 1427495"/>
                  <a:gd name="f457" fmla="*/ f332 1 5005729"/>
                  <a:gd name="f458" fmla="*/ f333 1 1427495"/>
                  <a:gd name="f459" fmla="*/ f334 1 5005729"/>
                  <a:gd name="f460" fmla="*/ f335 1 1427495"/>
                  <a:gd name="f461" fmla="*/ f336 1 5005729"/>
                  <a:gd name="f462" fmla="*/ f337 1 1427495"/>
                  <a:gd name="f463" fmla="*/ f338 1 5005729"/>
                  <a:gd name="f464" fmla="*/ f339 1 1427495"/>
                  <a:gd name="f465" fmla="*/ f340 1 5005729"/>
                  <a:gd name="f466" fmla="*/ f341 1 1427495"/>
                  <a:gd name="f467" fmla="*/ f342 1 5005729"/>
                  <a:gd name="f468" fmla="*/ f343 1 1427495"/>
                  <a:gd name="f469" fmla="*/ f344 1 5005729"/>
                  <a:gd name="f470" fmla="*/ f345 1 5005729"/>
                  <a:gd name="f471" fmla="*/ f346 1 1427495"/>
                  <a:gd name="f472" fmla="*/ f347 1 5005729"/>
                  <a:gd name="f473" fmla="*/ f348 1 1427495"/>
                  <a:gd name="f474" fmla="*/ f349 1 5005729"/>
                  <a:gd name="f475" fmla="*/ f350 1 1427495"/>
                  <a:gd name="f476" fmla="*/ f5 1 f225"/>
                  <a:gd name="f477" fmla="*/ f6 1 f225"/>
                  <a:gd name="f478" fmla="*/ f5 1 f226"/>
                  <a:gd name="f479" fmla="*/ f7 1 f226"/>
                  <a:gd name="f480" fmla="+- f351 0 f1"/>
                  <a:gd name="f481" fmla="*/ f352 1 f225"/>
                  <a:gd name="f482" fmla="*/ f353 1 f226"/>
                  <a:gd name="f483" fmla="*/ f354 1 f225"/>
                  <a:gd name="f484" fmla="*/ f355 1 f225"/>
                  <a:gd name="f485" fmla="*/ f356 1 f226"/>
                  <a:gd name="f486" fmla="*/ f357 1 f225"/>
                  <a:gd name="f487" fmla="*/ f358 1 f226"/>
                  <a:gd name="f488" fmla="*/ f359 1 f225"/>
                  <a:gd name="f489" fmla="*/ f360 1 f226"/>
                  <a:gd name="f490" fmla="*/ f361 1 f225"/>
                  <a:gd name="f491" fmla="*/ f362 1 f226"/>
                  <a:gd name="f492" fmla="*/ f363 1 f225"/>
                  <a:gd name="f493" fmla="*/ f364 1 f226"/>
                  <a:gd name="f494" fmla="*/ f365 1 f225"/>
                  <a:gd name="f495" fmla="*/ f366 1 f226"/>
                  <a:gd name="f496" fmla="*/ f367 1 f225"/>
                  <a:gd name="f497" fmla="*/ f368 1 f226"/>
                  <a:gd name="f498" fmla="*/ f369 1 f225"/>
                  <a:gd name="f499" fmla="*/ f370 1 f226"/>
                  <a:gd name="f500" fmla="*/ f371 1 f225"/>
                  <a:gd name="f501" fmla="*/ f372 1 f226"/>
                  <a:gd name="f502" fmla="*/ f373 1 f225"/>
                  <a:gd name="f503" fmla="*/ f374 1 f226"/>
                  <a:gd name="f504" fmla="*/ f375 1 f225"/>
                  <a:gd name="f505" fmla="*/ f376 1 f226"/>
                  <a:gd name="f506" fmla="*/ f377 1 f225"/>
                  <a:gd name="f507" fmla="*/ f378 1 f226"/>
                  <a:gd name="f508" fmla="*/ f379 1 f225"/>
                  <a:gd name="f509" fmla="*/ f380 1 f226"/>
                  <a:gd name="f510" fmla="*/ f381 1 f225"/>
                  <a:gd name="f511" fmla="*/ f382 1 f226"/>
                  <a:gd name="f512" fmla="*/ f383 1 f225"/>
                  <a:gd name="f513" fmla="*/ f384 1 f226"/>
                  <a:gd name="f514" fmla="*/ f385 1 f225"/>
                  <a:gd name="f515" fmla="*/ f386 1 f226"/>
                  <a:gd name="f516" fmla="*/ f387 1 f225"/>
                  <a:gd name="f517" fmla="*/ f388 1 f226"/>
                  <a:gd name="f518" fmla="*/ f389 1 f225"/>
                  <a:gd name="f519" fmla="*/ f390 1 f226"/>
                  <a:gd name="f520" fmla="*/ f391 1 f225"/>
                  <a:gd name="f521" fmla="*/ f392 1 f226"/>
                  <a:gd name="f522" fmla="*/ f393 1 f225"/>
                  <a:gd name="f523" fmla="*/ f394 1 f226"/>
                  <a:gd name="f524" fmla="*/ f395 1 f225"/>
                  <a:gd name="f525" fmla="*/ f396 1 f226"/>
                  <a:gd name="f526" fmla="*/ f397 1 f225"/>
                  <a:gd name="f527" fmla="*/ f398 1 f226"/>
                  <a:gd name="f528" fmla="*/ f399 1 f225"/>
                  <a:gd name="f529" fmla="*/ f400 1 f226"/>
                  <a:gd name="f530" fmla="*/ f401 1 f225"/>
                  <a:gd name="f531" fmla="*/ f402 1 f226"/>
                  <a:gd name="f532" fmla="*/ f403 1 f225"/>
                  <a:gd name="f533" fmla="*/ f404 1 f226"/>
                  <a:gd name="f534" fmla="*/ f405 1 f225"/>
                  <a:gd name="f535" fmla="*/ f406 1 f226"/>
                  <a:gd name="f536" fmla="*/ f407 1 f225"/>
                  <a:gd name="f537" fmla="*/ f408 1 f226"/>
                  <a:gd name="f538" fmla="*/ f409 1 f225"/>
                  <a:gd name="f539" fmla="*/ f410 1 f226"/>
                  <a:gd name="f540" fmla="*/ f411 1 f225"/>
                  <a:gd name="f541" fmla="*/ f412 1 f226"/>
                  <a:gd name="f542" fmla="*/ f413 1 f225"/>
                  <a:gd name="f543" fmla="*/ f414 1 f226"/>
                  <a:gd name="f544" fmla="*/ f415 1 f225"/>
                  <a:gd name="f545" fmla="*/ f416 1 f226"/>
                  <a:gd name="f546" fmla="*/ f417 1 f226"/>
                  <a:gd name="f547" fmla="*/ f418 1 f225"/>
                  <a:gd name="f548" fmla="*/ f419 1 f226"/>
                  <a:gd name="f549" fmla="*/ f420 1 f225"/>
                  <a:gd name="f550" fmla="*/ f421 1 f226"/>
                  <a:gd name="f551" fmla="*/ f422 1 f225"/>
                  <a:gd name="f552" fmla="*/ f423 1 f226"/>
                  <a:gd name="f553" fmla="*/ f424 1 f225"/>
                  <a:gd name="f554" fmla="*/ f425 1 f226"/>
                  <a:gd name="f555" fmla="*/ f426 1 f225"/>
                  <a:gd name="f556" fmla="*/ f427 1 f226"/>
                  <a:gd name="f557" fmla="*/ f428 1 f225"/>
                  <a:gd name="f558" fmla="*/ f429 1 f226"/>
                  <a:gd name="f559" fmla="*/ f430 1 f225"/>
                  <a:gd name="f560" fmla="*/ f431 1 f226"/>
                  <a:gd name="f561" fmla="*/ f432 1 f225"/>
                  <a:gd name="f562" fmla="*/ f433 1 f226"/>
                  <a:gd name="f563" fmla="*/ f434 1 f225"/>
                  <a:gd name="f564" fmla="*/ f435 1 f226"/>
                  <a:gd name="f565" fmla="*/ f436 1 f225"/>
                  <a:gd name="f566" fmla="*/ f437 1 f226"/>
                  <a:gd name="f567" fmla="*/ f438 1 f225"/>
                  <a:gd name="f568" fmla="*/ f439 1 f226"/>
                  <a:gd name="f569" fmla="*/ f440 1 f225"/>
                  <a:gd name="f570" fmla="*/ f441 1 f226"/>
                  <a:gd name="f571" fmla="*/ f442 1 f225"/>
                  <a:gd name="f572" fmla="*/ f443 1 f226"/>
                  <a:gd name="f573" fmla="*/ f444 1 f225"/>
                  <a:gd name="f574" fmla="*/ f445 1 f226"/>
                  <a:gd name="f575" fmla="*/ f446 1 f225"/>
                  <a:gd name="f576" fmla="*/ f447 1 f226"/>
                  <a:gd name="f577" fmla="*/ f448 1 f225"/>
                  <a:gd name="f578" fmla="*/ f449 1 f226"/>
                  <a:gd name="f579" fmla="*/ f450 1 f225"/>
                  <a:gd name="f580" fmla="*/ f451 1 f226"/>
                  <a:gd name="f581" fmla="*/ f452 1 f225"/>
                  <a:gd name="f582" fmla="*/ f453 1 f225"/>
                  <a:gd name="f583" fmla="*/ f454 1 f226"/>
                  <a:gd name="f584" fmla="*/ f455 1 f225"/>
                  <a:gd name="f585" fmla="*/ f456 1 f226"/>
                  <a:gd name="f586" fmla="*/ f457 1 f225"/>
                  <a:gd name="f587" fmla="*/ f458 1 f226"/>
                  <a:gd name="f588" fmla="*/ f459 1 f225"/>
                  <a:gd name="f589" fmla="*/ f460 1 f226"/>
                  <a:gd name="f590" fmla="*/ f461 1 f225"/>
                  <a:gd name="f591" fmla="*/ f462 1 f226"/>
                  <a:gd name="f592" fmla="*/ f463 1 f225"/>
                  <a:gd name="f593" fmla="*/ f464 1 f226"/>
                  <a:gd name="f594" fmla="*/ f465 1 f225"/>
                  <a:gd name="f595" fmla="*/ f466 1 f226"/>
                  <a:gd name="f596" fmla="*/ f467 1 f225"/>
                  <a:gd name="f597" fmla="*/ f468 1 f226"/>
                  <a:gd name="f598" fmla="*/ f469 1 f225"/>
                  <a:gd name="f599" fmla="*/ f470 1 f225"/>
                  <a:gd name="f600" fmla="*/ f471 1 f226"/>
                  <a:gd name="f601" fmla="*/ f472 1 f225"/>
                  <a:gd name="f602" fmla="*/ f473 1 f226"/>
                  <a:gd name="f603" fmla="*/ f474 1 f225"/>
                  <a:gd name="f604" fmla="*/ f475 1 f226"/>
                  <a:gd name="f605" fmla="*/ f476 f220 1"/>
                  <a:gd name="f606" fmla="*/ f477 f220 1"/>
                  <a:gd name="f607" fmla="*/ f479 f221 1"/>
                  <a:gd name="f608" fmla="*/ f478 f221 1"/>
                  <a:gd name="f609" fmla="*/ f481 f220 1"/>
                  <a:gd name="f610" fmla="*/ f482 f221 1"/>
                  <a:gd name="f611" fmla="*/ f483 f220 1"/>
                  <a:gd name="f612" fmla="*/ f484 f220 1"/>
                  <a:gd name="f613" fmla="*/ f485 f221 1"/>
                  <a:gd name="f614" fmla="*/ f486 f220 1"/>
                  <a:gd name="f615" fmla="*/ f487 f221 1"/>
                  <a:gd name="f616" fmla="*/ f488 f220 1"/>
                  <a:gd name="f617" fmla="*/ f489 f221 1"/>
                  <a:gd name="f618" fmla="*/ f490 f220 1"/>
                  <a:gd name="f619" fmla="*/ f491 f221 1"/>
                  <a:gd name="f620" fmla="*/ f492 f220 1"/>
                  <a:gd name="f621" fmla="*/ f493 f221 1"/>
                  <a:gd name="f622" fmla="*/ f494 f220 1"/>
                  <a:gd name="f623" fmla="*/ f495 f221 1"/>
                  <a:gd name="f624" fmla="*/ f496 f220 1"/>
                  <a:gd name="f625" fmla="*/ f497 f221 1"/>
                  <a:gd name="f626" fmla="*/ f498 f220 1"/>
                  <a:gd name="f627" fmla="*/ f499 f221 1"/>
                  <a:gd name="f628" fmla="*/ f500 f220 1"/>
                  <a:gd name="f629" fmla="*/ f501 f221 1"/>
                  <a:gd name="f630" fmla="*/ f502 f220 1"/>
                  <a:gd name="f631" fmla="*/ f503 f221 1"/>
                  <a:gd name="f632" fmla="*/ f504 f220 1"/>
                  <a:gd name="f633" fmla="*/ f505 f221 1"/>
                  <a:gd name="f634" fmla="*/ f506 f220 1"/>
                  <a:gd name="f635" fmla="*/ f507 f221 1"/>
                  <a:gd name="f636" fmla="*/ f508 f220 1"/>
                  <a:gd name="f637" fmla="*/ f509 f221 1"/>
                  <a:gd name="f638" fmla="*/ f510 f220 1"/>
                  <a:gd name="f639" fmla="*/ f511 f221 1"/>
                  <a:gd name="f640" fmla="*/ f512 f220 1"/>
                  <a:gd name="f641" fmla="*/ f513 f221 1"/>
                  <a:gd name="f642" fmla="*/ f514 f220 1"/>
                  <a:gd name="f643" fmla="*/ f515 f221 1"/>
                  <a:gd name="f644" fmla="*/ f516 f220 1"/>
                  <a:gd name="f645" fmla="*/ f517 f221 1"/>
                  <a:gd name="f646" fmla="*/ f518 f220 1"/>
                  <a:gd name="f647" fmla="*/ f519 f221 1"/>
                  <a:gd name="f648" fmla="*/ f520 f220 1"/>
                  <a:gd name="f649" fmla="*/ f521 f221 1"/>
                  <a:gd name="f650" fmla="*/ f522 f220 1"/>
                  <a:gd name="f651" fmla="*/ f523 f221 1"/>
                  <a:gd name="f652" fmla="*/ f524 f220 1"/>
                  <a:gd name="f653" fmla="*/ f525 f221 1"/>
                  <a:gd name="f654" fmla="*/ f526 f220 1"/>
                  <a:gd name="f655" fmla="*/ f527 f221 1"/>
                  <a:gd name="f656" fmla="*/ f528 f220 1"/>
                  <a:gd name="f657" fmla="*/ f529 f221 1"/>
                  <a:gd name="f658" fmla="*/ f530 f220 1"/>
                  <a:gd name="f659" fmla="*/ f531 f221 1"/>
                  <a:gd name="f660" fmla="*/ f532 f220 1"/>
                  <a:gd name="f661" fmla="*/ f533 f221 1"/>
                  <a:gd name="f662" fmla="*/ f534 f220 1"/>
                  <a:gd name="f663" fmla="*/ f535 f221 1"/>
                  <a:gd name="f664" fmla="*/ f536 f220 1"/>
                  <a:gd name="f665" fmla="*/ f537 f221 1"/>
                  <a:gd name="f666" fmla="*/ f538 f220 1"/>
                  <a:gd name="f667" fmla="*/ f539 f221 1"/>
                  <a:gd name="f668" fmla="*/ f540 f220 1"/>
                  <a:gd name="f669" fmla="*/ f541 f221 1"/>
                  <a:gd name="f670" fmla="*/ f542 f220 1"/>
                  <a:gd name="f671" fmla="*/ f543 f221 1"/>
                  <a:gd name="f672" fmla="*/ f544 f220 1"/>
                  <a:gd name="f673" fmla="*/ f545 f221 1"/>
                  <a:gd name="f674" fmla="*/ f546 f221 1"/>
                  <a:gd name="f675" fmla="*/ f547 f220 1"/>
                  <a:gd name="f676" fmla="*/ f548 f221 1"/>
                  <a:gd name="f677" fmla="*/ f549 f220 1"/>
                  <a:gd name="f678" fmla="*/ f550 f221 1"/>
                  <a:gd name="f679" fmla="*/ f551 f220 1"/>
                  <a:gd name="f680" fmla="*/ f552 f221 1"/>
                  <a:gd name="f681" fmla="*/ f553 f220 1"/>
                  <a:gd name="f682" fmla="*/ f554 f221 1"/>
                  <a:gd name="f683" fmla="*/ f555 f220 1"/>
                  <a:gd name="f684" fmla="*/ f556 f221 1"/>
                  <a:gd name="f685" fmla="*/ f557 f220 1"/>
                  <a:gd name="f686" fmla="*/ f558 f221 1"/>
                  <a:gd name="f687" fmla="*/ f559 f220 1"/>
                  <a:gd name="f688" fmla="*/ f560 f221 1"/>
                  <a:gd name="f689" fmla="*/ f561 f220 1"/>
                  <a:gd name="f690" fmla="*/ f562 f221 1"/>
                  <a:gd name="f691" fmla="*/ f563 f220 1"/>
                  <a:gd name="f692" fmla="*/ f564 f221 1"/>
                  <a:gd name="f693" fmla="*/ f565 f220 1"/>
                  <a:gd name="f694" fmla="*/ f566 f221 1"/>
                  <a:gd name="f695" fmla="*/ f567 f220 1"/>
                  <a:gd name="f696" fmla="*/ f568 f221 1"/>
                  <a:gd name="f697" fmla="*/ f569 f220 1"/>
                  <a:gd name="f698" fmla="*/ f570 f221 1"/>
                  <a:gd name="f699" fmla="*/ f571 f220 1"/>
                  <a:gd name="f700" fmla="*/ f572 f221 1"/>
                  <a:gd name="f701" fmla="*/ f573 f220 1"/>
                  <a:gd name="f702" fmla="*/ f574 f221 1"/>
                  <a:gd name="f703" fmla="*/ f575 f220 1"/>
                  <a:gd name="f704" fmla="*/ f576 f221 1"/>
                  <a:gd name="f705" fmla="*/ f577 f220 1"/>
                  <a:gd name="f706" fmla="*/ f578 f221 1"/>
                  <a:gd name="f707" fmla="*/ f579 f220 1"/>
                  <a:gd name="f708" fmla="*/ f580 f221 1"/>
                  <a:gd name="f709" fmla="*/ f581 f220 1"/>
                  <a:gd name="f710" fmla="*/ f582 f220 1"/>
                  <a:gd name="f711" fmla="*/ f583 f221 1"/>
                  <a:gd name="f712" fmla="*/ f584 f220 1"/>
                  <a:gd name="f713" fmla="*/ f585 f221 1"/>
                  <a:gd name="f714" fmla="*/ f586 f220 1"/>
                  <a:gd name="f715" fmla="*/ f587 f221 1"/>
                  <a:gd name="f716" fmla="*/ f588 f220 1"/>
                  <a:gd name="f717" fmla="*/ f589 f221 1"/>
                  <a:gd name="f718" fmla="*/ f590 f220 1"/>
                  <a:gd name="f719" fmla="*/ f591 f221 1"/>
                  <a:gd name="f720" fmla="*/ f592 f220 1"/>
                  <a:gd name="f721" fmla="*/ f593 f221 1"/>
                  <a:gd name="f722" fmla="*/ f594 f220 1"/>
                  <a:gd name="f723" fmla="*/ f595 f221 1"/>
                  <a:gd name="f724" fmla="*/ f596 f220 1"/>
                  <a:gd name="f725" fmla="*/ f597 f221 1"/>
                  <a:gd name="f726" fmla="*/ f598 f220 1"/>
                  <a:gd name="f727" fmla="*/ f599 f220 1"/>
                  <a:gd name="f728" fmla="*/ f600 f221 1"/>
                  <a:gd name="f729" fmla="*/ f601 f220 1"/>
                  <a:gd name="f730" fmla="*/ f602 f221 1"/>
                  <a:gd name="f731" fmla="*/ f603 f220 1"/>
                  <a:gd name="f732" fmla="*/ f604 f221 1"/>
                </a:gdLst>
                <a:ahLst/>
                <a:cxnLst>
                  <a:cxn ang="3cd4">
                    <a:pos x="hc" y="t"/>
                  </a:cxn>
                  <a:cxn ang="0">
                    <a:pos x="r" y="vc"/>
                  </a:cxn>
                  <a:cxn ang="cd4">
                    <a:pos x="hc" y="b"/>
                  </a:cxn>
                  <a:cxn ang="cd2">
                    <a:pos x="l" y="vc"/>
                  </a:cxn>
                  <a:cxn ang="f480">
                    <a:pos x="f609" y="f610"/>
                  </a:cxn>
                  <a:cxn ang="f480">
                    <a:pos x="f611" y="f610"/>
                  </a:cxn>
                  <a:cxn ang="f480">
                    <a:pos x="f612" y="f613"/>
                  </a:cxn>
                  <a:cxn ang="f480">
                    <a:pos x="f614" y="f615"/>
                  </a:cxn>
                  <a:cxn ang="f480">
                    <a:pos x="f616" y="f617"/>
                  </a:cxn>
                  <a:cxn ang="f480">
                    <a:pos x="f618" y="f619"/>
                  </a:cxn>
                  <a:cxn ang="f480">
                    <a:pos x="f620" y="f621"/>
                  </a:cxn>
                  <a:cxn ang="f480">
                    <a:pos x="f622" y="f623"/>
                  </a:cxn>
                  <a:cxn ang="f480">
                    <a:pos x="f624" y="f625"/>
                  </a:cxn>
                  <a:cxn ang="f480">
                    <a:pos x="f626" y="f627"/>
                  </a:cxn>
                  <a:cxn ang="f480">
                    <a:pos x="f628" y="f629"/>
                  </a:cxn>
                  <a:cxn ang="f480">
                    <a:pos x="f630" y="f631"/>
                  </a:cxn>
                  <a:cxn ang="f480">
                    <a:pos x="f632" y="f633"/>
                  </a:cxn>
                  <a:cxn ang="f480">
                    <a:pos x="f634" y="f635"/>
                  </a:cxn>
                  <a:cxn ang="f480">
                    <a:pos x="f636" y="f637"/>
                  </a:cxn>
                  <a:cxn ang="f480">
                    <a:pos x="f638" y="f639"/>
                  </a:cxn>
                  <a:cxn ang="f480">
                    <a:pos x="f640" y="f641"/>
                  </a:cxn>
                  <a:cxn ang="f480">
                    <a:pos x="f642" y="f643"/>
                  </a:cxn>
                  <a:cxn ang="f480">
                    <a:pos x="f644" y="f645"/>
                  </a:cxn>
                  <a:cxn ang="f480">
                    <a:pos x="f646" y="f647"/>
                  </a:cxn>
                  <a:cxn ang="f480">
                    <a:pos x="f648" y="f649"/>
                  </a:cxn>
                  <a:cxn ang="f480">
                    <a:pos x="f650" y="f651"/>
                  </a:cxn>
                  <a:cxn ang="f480">
                    <a:pos x="f652" y="f653"/>
                  </a:cxn>
                  <a:cxn ang="f480">
                    <a:pos x="f654" y="f655"/>
                  </a:cxn>
                  <a:cxn ang="f480">
                    <a:pos x="f656" y="f657"/>
                  </a:cxn>
                  <a:cxn ang="f480">
                    <a:pos x="f658" y="f659"/>
                  </a:cxn>
                  <a:cxn ang="f480">
                    <a:pos x="f660" y="f661"/>
                  </a:cxn>
                  <a:cxn ang="f480">
                    <a:pos x="f662" y="f663"/>
                  </a:cxn>
                  <a:cxn ang="f480">
                    <a:pos x="f664" y="f665"/>
                  </a:cxn>
                  <a:cxn ang="f480">
                    <a:pos x="f666" y="f667"/>
                  </a:cxn>
                  <a:cxn ang="f480">
                    <a:pos x="f668" y="f669"/>
                  </a:cxn>
                  <a:cxn ang="f480">
                    <a:pos x="f670" y="f671"/>
                  </a:cxn>
                  <a:cxn ang="f480">
                    <a:pos x="f672" y="f673"/>
                  </a:cxn>
                  <a:cxn ang="f480">
                    <a:pos x="f672" y="f674"/>
                  </a:cxn>
                  <a:cxn ang="f480">
                    <a:pos x="f675" y="f676"/>
                  </a:cxn>
                  <a:cxn ang="f480">
                    <a:pos x="f677" y="f678"/>
                  </a:cxn>
                  <a:cxn ang="f480">
                    <a:pos x="f679" y="f680"/>
                  </a:cxn>
                  <a:cxn ang="f480">
                    <a:pos x="f681" y="f682"/>
                  </a:cxn>
                  <a:cxn ang="f480">
                    <a:pos x="f683" y="f684"/>
                  </a:cxn>
                  <a:cxn ang="f480">
                    <a:pos x="f685" y="f686"/>
                  </a:cxn>
                  <a:cxn ang="f480">
                    <a:pos x="f687" y="f688"/>
                  </a:cxn>
                  <a:cxn ang="f480">
                    <a:pos x="f689" y="f690"/>
                  </a:cxn>
                  <a:cxn ang="f480">
                    <a:pos x="f691" y="f692"/>
                  </a:cxn>
                  <a:cxn ang="f480">
                    <a:pos x="f693" y="f694"/>
                  </a:cxn>
                  <a:cxn ang="f480">
                    <a:pos x="f695" y="f696"/>
                  </a:cxn>
                  <a:cxn ang="f480">
                    <a:pos x="f697" y="f698"/>
                  </a:cxn>
                  <a:cxn ang="f480">
                    <a:pos x="f699" y="f700"/>
                  </a:cxn>
                  <a:cxn ang="f480">
                    <a:pos x="f701" y="f702"/>
                  </a:cxn>
                  <a:cxn ang="f480">
                    <a:pos x="f703" y="f704"/>
                  </a:cxn>
                  <a:cxn ang="f480">
                    <a:pos x="f705" y="f706"/>
                  </a:cxn>
                  <a:cxn ang="f480">
                    <a:pos x="f707" y="f708"/>
                  </a:cxn>
                  <a:cxn ang="f480">
                    <a:pos x="f709" y="f627"/>
                  </a:cxn>
                  <a:cxn ang="f480">
                    <a:pos x="f710" y="f711"/>
                  </a:cxn>
                  <a:cxn ang="f480">
                    <a:pos x="f712" y="f713"/>
                  </a:cxn>
                  <a:cxn ang="f480">
                    <a:pos x="f714" y="f715"/>
                  </a:cxn>
                  <a:cxn ang="f480">
                    <a:pos x="f716" y="f717"/>
                  </a:cxn>
                  <a:cxn ang="f480">
                    <a:pos x="f718" y="f719"/>
                  </a:cxn>
                  <a:cxn ang="f480">
                    <a:pos x="f720" y="f721"/>
                  </a:cxn>
                  <a:cxn ang="f480">
                    <a:pos x="f722" y="f723"/>
                  </a:cxn>
                  <a:cxn ang="f480">
                    <a:pos x="f724" y="f725"/>
                  </a:cxn>
                  <a:cxn ang="f480">
                    <a:pos x="f726" y="f686"/>
                  </a:cxn>
                  <a:cxn ang="f480">
                    <a:pos x="f727" y="f728"/>
                  </a:cxn>
                  <a:cxn ang="f480">
                    <a:pos x="f729" y="f730"/>
                  </a:cxn>
                  <a:cxn ang="f480">
                    <a:pos x="f731" y="f732"/>
                  </a:cxn>
                </a:cxnLst>
                <a:rect l="f605" t="f608" r="f606" b="f607"/>
                <a:pathLst>
                  <a:path w="5005729" h="1427495">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cubicBezTo>
                      <a:pt x="f41" y="f42"/>
                      <a:pt x="f43" y="f44"/>
                      <a:pt x="f45" y="f46"/>
                    </a:cubicBezTo>
                    <a:lnTo>
                      <a:pt x="f47" y="f48"/>
                    </a:lnTo>
                    <a:cubicBezTo>
                      <a:pt x="f49" y="f50"/>
                      <a:pt x="f51" y="f50"/>
                      <a:pt x="f52" y="f53"/>
                    </a:cubicBezTo>
                    <a:lnTo>
                      <a:pt x="f54" y="f55"/>
                    </a:lnTo>
                    <a:lnTo>
                      <a:pt x="f56" y="f57"/>
                    </a:lnTo>
                    <a:lnTo>
                      <a:pt x="f58" y="f59"/>
                    </a:lnTo>
                    <a:lnTo>
                      <a:pt x="f60" y="f61"/>
                    </a:lnTo>
                    <a:lnTo>
                      <a:pt x="f62" y="f63"/>
                    </a:lnTo>
                    <a:cubicBezTo>
                      <a:pt x="f64" y="f65"/>
                      <a:pt x="f66" y="f67"/>
                      <a:pt x="f68" y="f69"/>
                    </a:cubicBezTo>
                    <a:lnTo>
                      <a:pt x="f70" y="f71"/>
                    </a:lnTo>
                    <a:lnTo>
                      <a:pt x="f72" y="f73"/>
                    </a:lnTo>
                    <a:cubicBezTo>
                      <a:pt x="f74" y="f75"/>
                      <a:pt x="f76" y="f77"/>
                      <a:pt x="f78" y="f79"/>
                    </a:cubicBezTo>
                    <a:lnTo>
                      <a:pt x="f80" y="f81"/>
                    </a:lnTo>
                    <a:lnTo>
                      <a:pt x="f82" y="f83"/>
                    </a:lnTo>
                    <a:lnTo>
                      <a:pt x="f84" y="f85"/>
                    </a:lnTo>
                    <a:cubicBezTo>
                      <a:pt x="f86" y="f87"/>
                      <a:pt x="f88" y="f89"/>
                      <a:pt x="f90" y="f91"/>
                    </a:cubicBezTo>
                    <a:lnTo>
                      <a:pt x="f92" y="f93"/>
                    </a:lnTo>
                    <a:lnTo>
                      <a:pt x="f94" y="f95"/>
                    </a:lnTo>
                    <a:lnTo>
                      <a:pt x="f96" y="f97"/>
                    </a:lnTo>
                    <a:lnTo>
                      <a:pt x="f98" y="f99"/>
                    </a:lnTo>
                    <a:lnTo>
                      <a:pt x="f100" y="f101"/>
                    </a:lnTo>
                    <a:cubicBezTo>
                      <a:pt x="f102" y="f103"/>
                      <a:pt x="f104" y="f105"/>
                      <a:pt x="f106" y="f107"/>
                    </a:cubicBezTo>
                    <a:lnTo>
                      <a:pt x="f108" y="f109"/>
                    </a:lnTo>
                    <a:cubicBezTo>
                      <a:pt x="f110" y="f111"/>
                      <a:pt x="f112" y="f113"/>
                      <a:pt x="f114" y="f115"/>
                    </a:cubicBezTo>
                    <a:lnTo>
                      <a:pt x="f6" y="f116"/>
                    </a:lnTo>
                    <a:lnTo>
                      <a:pt x="f6" y="f117"/>
                    </a:lnTo>
                    <a:lnTo>
                      <a:pt x="f118" y="f119"/>
                    </a:lnTo>
                    <a:cubicBezTo>
                      <a:pt x="f120" y="f121"/>
                      <a:pt x="f122" y="f123"/>
                      <a:pt x="f124" y="f125"/>
                    </a:cubicBezTo>
                    <a:lnTo>
                      <a:pt x="f126" y="f127"/>
                    </a:lnTo>
                    <a:cubicBezTo>
                      <a:pt x="f128" y="f129"/>
                      <a:pt x="f130" y="f131"/>
                      <a:pt x="f132" y="f133"/>
                    </a:cubicBezTo>
                    <a:lnTo>
                      <a:pt x="f134" y="f135"/>
                    </a:lnTo>
                    <a:lnTo>
                      <a:pt x="f136" y="f137"/>
                    </a:lnTo>
                    <a:lnTo>
                      <a:pt x="f138" y="f139"/>
                    </a:lnTo>
                    <a:lnTo>
                      <a:pt x="f140" y="f141"/>
                    </a:lnTo>
                    <a:lnTo>
                      <a:pt x="f142" y="f143"/>
                    </a:lnTo>
                    <a:cubicBezTo>
                      <a:pt x="f144" y="f145"/>
                      <a:pt x="f146" y="f147"/>
                      <a:pt x="f148" y="f149"/>
                    </a:cubicBezTo>
                    <a:lnTo>
                      <a:pt x="f150" y="f151"/>
                    </a:lnTo>
                    <a:lnTo>
                      <a:pt x="f152" y="f153"/>
                    </a:lnTo>
                    <a:lnTo>
                      <a:pt x="f154" y="f155"/>
                    </a:lnTo>
                    <a:cubicBezTo>
                      <a:pt x="f156" y="f157"/>
                      <a:pt x="f158" y="f159"/>
                      <a:pt x="f160" y="f161"/>
                    </a:cubicBezTo>
                    <a:lnTo>
                      <a:pt x="f162" y="f163"/>
                    </a:lnTo>
                    <a:lnTo>
                      <a:pt x="f164" y="f165"/>
                    </a:lnTo>
                    <a:cubicBezTo>
                      <a:pt x="f166" y="f167"/>
                      <a:pt x="f168" y="f40"/>
                      <a:pt x="f169" y="f170"/>
                    </a:cubicBezTo>
                    <a:lnTo>
                      <a:pt x="f171" y="f48"/>
                    </a:lnTo>
                    <a:lnTo>
                      <a:pt x="f172" y="f173"/>
                    </a:lnTo>
                    <a:lnTo>
                      <a:pt x="f174" y="f175"/>
                    </a:lnTo>
                    <a:lnTo>
                      <a:pt x="f176" y="f177"/>
                    </a:lnTo>
                    <a:lnTo>
                      <a:pt x="f178" y="f179"/>
                    </a:lnTo>
                    <a:cubicBezTo>
                      <a:pt x="f180" y="f181"/>
                      <a:pt x="f182" y="f181"/>
                      <a:pt x="f183" y="f184"/>
                    </a:cubicBezTo>
                    <a:lnTo>
                      <a:pt x="f185" y="f186"/>
                    </a:lnTo>
                    <a:cubicBezTo>
                      <a:pt x="f187" y="f188"/>
                      <a:pt x="f41" y="f189"/>
                      <a:pt x="f190" y="f191"/>
                    </a:cubicBezTo>
                    <a:cubicBezTo>
                      <a:pt x="f192" y="f175"/>
                      <a:pt x="f193" y="f194"/>
                      <a:pt x="f195" y="f196"/>
                    </a:cubicBezTo>
                    <a:cubicBezTo>
                      <a:pt x="f197" y="f159"/>
                      <a:pt x="f198" y="f199"/>
                      <a:pt x="f200" y="f137"/>
                    </a:cubicBezTo>
                    <a:cubicBezTo>
                      <a:pt x="f201" y="f202"/>
                      <a:pt x="f203" y="f204"/>
                      <a:pt x="f205" y="f206"/>
                    </a:cubicBezTo>
                    <a:cubicBezTo>
                      <a:pt x="f207" y="f208"/>
                      <a:pt x="f209" y="f210"/>
                      <a:pt x="f211" y="f212"/>
                    </a:cubicBezTo>
                    <a:cubicBezTo>
                      <a:pt x="f213" y="f214"/>
                      <a:pt x="f215" y="f216"/>
                      <a:pt x="f217" y="f218"/>
                    </a:cubicBezTo>
                    <a:close/>
                  </a:path>
                </a:pathLst>
              </a:custGeom>
              <a:gradFill>
                <a:gsLst>
                  <a:gs pos="0">
                    <a:srgbClr val="F04115"/>
                  </a:gs>
                  <a:gs pos="100000">
                    <a:srgbClr val="F58366"/>
                  </a:gs>
                </a:gsLst>
                <a:lin ang="0"/>
              </a:gra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12" name="Freeform 36">
                <a:extLst>
                  <a:ext uri="{FF2B5EF4-FFF2-40B4-BE49-F238E27FC236}">
                    <a16:creationId xmlns:a16="http://schemas.microsoft.com/office/drawing/2014/main" id="{8EE6DFB0-5435-5A17-4A22-8F9CE5AC5DDD}"/>
                  </a:ext>
                </a:extLst>
              </p:cNvPr>
              <p:cNvSpPr/>
              <p:nvPr/>
            </p:nvSpPr>
            <p:spPr>
              <a:xfrm>
                <a:off x="7335298" y="0"/>
                <a:ext cx="4856698" cy="1387867"/>
              </a:xfrm>
              <a:custGeom>
                <a:avLst/>
                <a:gdLst>
                  <a:gd name="f0" fmla="val 10800000"/>
                  <a:gd name="f1" fmla="val 5400000"/>
                  <a:gd name="f2" fmla="val 180"/>
                  <a:gd name="f3" fmla="val w"/>
                  <a:gd name="f4" fmla="val h"/>
                  <a:gd name="f5" fmla="val 0"/>
                  <a:gd name="f6" fmla="val 4861820"/>
                  <a:gd name="f7" fmla="val 1389331"/>
                  <a:gd name="f8" fmla="val 229890"/>
                  <a:gd name="f9" fmla="val 373317"/>
                  <a:gd name="f10" fmla="val 108292"/>
                  <a:gd name="f11" fmla="val 482267"/>
                  <a:gd name="f12" fmla="val 189793"/>
                  <a:gd name="f13" fmla="val 591665"/>
                  <a:gd name="f14" fmla="val 270356"/>
                  <a:gd name="f15" fmla="val 702260"/>
                  <a:gd name="f16" fmla="val 348992"/>
                  <a:gd name="f17" fmla="val 923449"/>
                  <a:gd name="f18" fmla="val 506265"/>
                  <a:gd name="f19" fmla="val 1149423"/>
                  <a:gd name="f20" fmla="val 656099"/>
                  <a:gd name="f21" fmla="val 1384969"/>
                  <a:gd name="f22" fmla="val 788400"/>
                  <a:gd name="f23" fmla="val 1620515"/>
                  <a:gd name="f24" fmla="val 921232"/>
                  <a:gd name="f25" fmla="val 1866162"/>
                  <a:gd name="f26" fmla="val 1035999"/>
                  <a:gd name="f27" fmla="val 2120849"/>
                  <a:gd name="f28" fmla="val 1125262"/>
                  <a:gd name="f29" fmla="val 2630754"/>
                  <a:gd name="f30" fmla="val 1304850"/>
                  <a:gd name="f31" fmla="val 3179474"/>
                  <a:gd name="f32" fmla="val 1371798"/>
                  <a:gd name="f33" fmla="val 3720750"/>
                  <a:gd name="f34" fmla="val 1329823"/>
                  <a:gd name="f35" fmla="val 3737764"/>
                  <a:gd name="f36" fmla="val 1328760"/>
                  <a:gd name="f37" fmla="val 3754779"/>
                  <a:gd name="f38" fmla="val 1327698"/>
                  <a:gd name="f39" fmla="val 3771794"/>
                  <a:gd name="f40" fmla="val 1326104"/>
                  <a:gd name="f41" fmla="val 3822306"/>
                  <a:gd name="f42" fmla="val 1320790"/>
                  <a:gd name="f43" fmla="val 3872818"/>
                  <a:gd name="f44" fmla="val 1315477"/>
                  <a:gd name="f45" fmla="val 3898339"/>
                  <a:gd name="f46" fmla="val 1312820"/>
                  <a:gd name="f47" fmla="val 3906847"/>
                  <a:gd name="f48" fmla="val 1311758"/>
                  <a:gd name="f49" fmla="val 3915354"/>
                  <a:gd name="f50" fmla="val 1311226"/>
                  <a:gd name="f51" fmla="val 3923861"/>
                  <a:gd name="f52" fmla="val 1309632"/>
                  <a:gd name="f53" fmla="val 4024885"/>
                  <a:gd name="f54" fmla="val 1295818"/>
                  <a:gd name="f55" fmla="val 4050407"/>
                  <a:gd name="f56" fmla="val 1292630"/>
                  <a:gd name="f57" fmla="val 4058914"/>
                  <a:gd name="f58" fmla="val 1291567"/>
                  <a:gd name="f59" fmla="val 4067422"/>
                  <a:gd name="f60" fmla="val 1289973"/>
                  <a:gd name="f61" fmla="val 4075397"/>
                  <a:gd name="f62" fmla="val 1288379"/>
                  <a:gd name="f63" fmla="val 4125909"/>
                  <a:gd name="f64" fmla="val 1279878"/>
                  <a:gd name="f65" fmla="val 4159407"/>
                  <a:gd name="f66" fmla="val 1274034"/>
                  <a:gd name="f67" fmla="val 4192904"/>
                  <a:gd name="f68" fmla="val 1269251"/>
                  <a:gd name="f69" fmla="val 4226401"/>
                  <a:gd name="f70" fmla="val 1261813"/>
                  <a:gd name="f71" fmla="val 4326362"/>
                  <a:gd name="f72" fmla="val 1241622"/>
                  <a:gd name="f73" fmla="val 4425790"/>
                  <a:gd name="f74" fmla="val 1218775"/>
                  <a:gd name="f75" fmla="val 4450781"/>
                  <a:gd name="f76" fmla="val 1212931"/>
                  <a:gd name="f77" fmla="val 4475239"/>
                  <a:gd name="f78" fmla="val 1206555"/>
                  <a:gd name="f79" fmla="val 4524688"/>
                  <a:gd name="f80" fmla="val 1193803"/>
                  <a:gd name="f81" fmla="val 4590620"/>
                  <a:gd name="f82" fmla="val 1176535"/>
                  <a:gd name="f83" fmla="val 4656152"/>
                  <a:gd name="f84" fmla="val 1157939"/>
                  <a:gd name="f85" fmla="val 4721220"/>
                  <a:gd name="f86" fmla="val 1137947"/>
                  <a:gd name="f87" fmla="val 1091339"/>
                  <a:gd name="f88" fmla="val 1102902"/>
                  <a:gd name="f89" fmla="val 4725208"/>
                  <a:gd name="f90" fmla="val 1151761"/>
                  <a:gd name="f91" fmla="val 4660406"/>
                  <a:gd name="f92" fmla="val 1173347"/>
                  <a:gd name="f93" fmla="val 4595139"/>
                  <a:gd name="f94" fmla="val 1193537"/>
                  <a:gd name="f95" fmla="val 4529473"/>
                  <a:gd name="f96" fmla="val 1212399"/>
                  <a:gd name="f97" fmla="val 4480025"/>
                  <a:gd name="f98" fmla="val 1226214"/>
                  <a:gd name="f99" fmla="val 4455566"/>
                  <a:gd name="f100" fmla="val 1233121"/>
                  <a:gd name="f101" fmla="val 4430576"/>
                  <a:gd name="f102" fmla="val 1239497"/>
                  <a:gd name="f103" fmla="val 4331148"/>
                  <a:gd name="f104" fmla="val 1265001"/>
                  <a:gd name="f105" fmla="val 4231187"/>
                  <a:gd name="f106" fmla="val 1287848"/>
                  <a:gd name="f107" fmla="val 4197689"/>
                  <a:gd name="f108" fmla="val 4164192"/>
                  <a:gd name="f109" fmla="val 1301662"/>
                  <a:gd name="f110" fmla="val 4130694"/>
                  <a:gd name="f111" fmla="val 1308570"/>
                  <a:gd name="f112" fmla="val 4080182"/>
                  <a:gd name="f113" fmla="val 1318134"/>
                  <a:gd name="f114" fmla="val 4071675"/>
                  <a:gd name="f115" fmla="val 1319728"/>
                  <a:gd name="f116" fmla="val 4063168"/>
                  <a:gd name="f117" fmla="val 1321322"/>
                  <a:gd name="f118" fmla="val 4055192"/>
                  <a:gd name="f119" fmla="val 1322915"/>
                  <a:gd name="f120" fmla="val 4029670"/>
                  <a:gd name="f121" fmla="val 1327166"/>
                  <a:gd name="f122" fmla="val 3928115"/>
                  <a:gd name="f123" fmla="val 1343637"/>
                  <a:gd name="f124" fmla="val 3919607"/>
                  <a:gd name="f125" fmla="val 1345231"/>
                  <a:gd name="f126" fmla="val 3911100"/>
                  <a:gd name="f127" fmla="val 1346294"/>
                  <a:gd name="f128" fmla="val 3902593"/>
                  <a:gd name="f129" fmla="val 1347357"/>
                  <a:gd name="f130" fmla="val 3877071"/>
                  <a:gd name="f131" fmla="val 1350545"/>
                  <a:gd name="f132" fmla="val 3826027"/>
                  <a:gd name="f133" fmla="val 1356921"/>
                  <a:gd name="f134" fmla="val 3774984"/>
                  <a:gd name="f135" fmla="val 1363297"/>
                  <a:gd name="f136" fmla="val 3757969"/>
                  <a:gd name="f137" fmla="val 1364890"/>
                  <a:gd name="f138" fmla="val 3740954"/>
                  <a:gd name="f139" fmla="val 1366484"/>
                  <a:gd name="f140" fmla="val 3723940"/>
                  <a:gd name="f141" fmla="val 1368078"/>
                  <a:gd name="f142" fmla="val 3621321"/>
                  <a:gd name="f143" fmla="val 1377642"/>
                  <a:gd name="f144" fmla="val 3518702"/>
                  <a:gd name="f145" fmla="val 1383487"/>
                  <a:gd name="f146" fmla="val 3467126"/>
                  <a:gd name="f147" fmla="val 1386144"/>
                  <a:gd name="f148" fmla="val 3415551"/>
                  <a:gd name="f149" fmla="val 1387206"/>
                  <a:gd name="f150" fmla="val 3312400"/>
                  <a:gd name="f151" fmla="val 3175220"/>
                  <a:gd name="f152" fmla="val 3038040"/>
                  <a:gd name="f153" fmla="val 1382424"/>
                  <a:gd name="f154" fmla="val 2900860"/>
                  <a:gd name="f155" fmla="val 1368610"/>
                  <a:gd name="f156" fmla="val 2627564"/>
                  <a:gd name="f157" fmla="val 1340981"/>
                  <a:gd name="f158" fmla="val 2356394"/>
                  <a:gd name="f159" fmla="val 1284129"/>
                  <a:gd name="f160" fmla="val 2094264"/>
                  <a:gd name="f161" fmla="val 1199648"/>
                  <a:gd name="f162" fmla="val 1832133"/>
                  <a:gd name="f163" fmla="val 1115166"/>
                  <a:gd name="f164" fmla="val 1578510"/>
                  <a:gd name="f165" fmla="val 1003588"/>
                  <a:gd name="f166" fmla="val 1335520"/>
                  <a:gd name="f167" fmla="val 875006"/>
                  <a:gd name="f168" fmla="val 1092531"/>
                  <a:gd name="f169" fmla="val 745894"/>
                  <a:gd name="f170" fmla="val 859113"/>
                  <a:gd name="f171" fmla="val 599778"/>
                  <a:gd name="f172" fmla="val 632075"/>
                  <a:gd name="f173" fmla="val 446225"/>
                  <a:gd name="f174" fmla="val 518556"/>
                  <a:gd name="f175" fmla="val 369448"/>
                  <a:gd name="f176" fmla="val 406366"/>
                  <a:gd name="f177" fmla="val 290944"/>
                  <a:gd name="f178" fmla="val 294907"/>
                  <a:gd name="f179" fmla="val 211710"/>
                  <a:gd name="f180" fmla="+- 0 0 -90"/>
                  <a:gd name="f181" fmla="*/ f3 1 4861820"/>
                  <a:gd name="f182" fmla="*/ f4 1 1389331"/>
                  <a:gd name="f183" fmla="+- f7 0 f5"/>
                  <a:gd name="f184" fmla="+- f6 0 f5"/>
                  <a:gd name="f185" fmla="*/ f180 f0 1"/>
                  <a:gd name="f186" fmla="*/ f184 1 4861820"/>
                  <a:gd name="f187" fmla="*/ f183 1 1389331"/>
                  <a:gd name="f188" fmla="*/ 0 f184 1"/>
                  <a:gd name="f189" fmla="*/ 0 f183 1"/>
                  <a:gd name="f190" fmla="*/ 229890 f184 1"/>
                  <a:gd name="f191" fmla="*/ 373317 f184 1"/>
                  <a:gd name="f192" fmla="*/ 108292 f183 1"/>
                  <a:gd name="f193" fmla="*/ 702260 f184 1"/>
                  <a:gd name="f194" fmla="*/ 348992 f183 1"/>
                  <a:gd name="f195" fmla="*/ 1384969 f184 1"/>
                  <a:gd name="f196" fmla="*/ 788400 f183 1"/>
                  <a:gd name="f197" fmla="*/ 2120849 f184 1"/>
                  <a:gd name="f198" fmla="*/ 1125262 f183 1"/>
                  <a:gd name="f199" fmla="*/ 3720750 f184 1"/>
                  <a:gd name="f200" fmla="*/ 1329823 f183 1"/>
                  <a:gd name="f201" fmla="*/ 3771794 f184 1"/>
                  <a:gd name="f202" fmla="*/ 1326104 f183 1"/>
                  <a:gd name="f203" fmla="*/ 3822306 f184 1"/>
                  <a:gd name="f204" fmla="*/ 1320790 f183 1"/>
                  <a:gd name="f205" fmla="*/ 3872818 f184 1"/>
                  <a:gd name="f206" fmla="*/ 1315477 f183 1"/>
                  <a:gd name="f207" fmla="*/ 3898339 f184 1"/>
                  <a:gd name="f208" fmla="*/ 1312820 f183 1"/>
                  <a:gd name="f209" fmla="*/ 3923861 f184 1"/>
                  <a:gd name="f210" fmla="*/ 1309632 f183 1"/>
                  <a:gd name="f211" fmla="*/ 4024885 f184 1"/>
                  <a:gd name="f212" fmla="*/ 1295818 f183 1"/>
                  <a:gd name="f213" fmla="*/ 4050407 f184 1"/>
                  <a:gd name="f214" fmla="*/ 1292630 f183 1"/>
                  <a:gd name="f215" fmla="*/ 4075397 f184 1"/>
                  <a:gd name="f216" fmla="*/ 1288379 f183 1"/>
                  <a:gd name="f217" fmla="*/ 4125909 f184 1"/>
                  <a:gd name="f218" fmla="*/ 1279878 f183 1"/>
                  <a:gd name="f219" fmla="*/ 4226401 f184 1"/>
                  <a:gd name="f220" fmla="*/ 1261813 f183 1"/>
                  <a:gd name="f221" fmla="*/ 4326362 f184 1"/>
                  <a:gd name="f222" fmla="*/ 1241622 f183 1"/>
                  <a:gd name="f223" fmla="*/ 4425790 f184 1"/>
                  <a:gd name="f224" fmla="*/ 1218775 f183 1"/>
                  <a:gd name="f225" fmla="*/ 4450781 f184 1"/>
                  <a:gd name="f226" fmla="*/ 1212931 f183 1"/>
                  <a:gd name="f227" fmla="*/ 4475239 f184 1"/>
                  <a:gd name="f228" fmla="*/ 1206555 f183 1"/>
                  <a:gd name="f229" fmla="*/ 4524688 f184 1"/>
                  <a:gd name="f230" fmla="*/ 1193803 f183 1"/>
                  <a:gd name="f231" fmla="*/ 4721220 f184 1"/>
                  <a:gd name="f232" fmla="*/ 1137947 f183 1"/>
                  <a:gd name="f233" fmla="*/ 4861820 f184 1"/>
                  <a:gd name="f234" fmla="*/ 1091339 f183 1"/>
                  <a:gd name="f235" fmla="*/ 1102902 f183 1"/>
                  <a:gd name="f236" fmla="*/ 4725208 f184 1"/>
                  <a:gd name="f237" fmla="*/ 1151761 f183 1"/>
                  <a:gd name="f238" fmla="*/ 4529473 f184 1"/>
                  <a:gd name="f239" fmla="*/ 1212399 f183 1"/>
                  <a:gd name="f240" fmla="*/ 4480025 f184 1"/>
                  <a:gd name="f241" fmla="*/ 1226214 f183 1"/>
                  <a:gd name="f242" fmla="*/ 4455566 f184 1"/>
                  <a:gd name="f243" fmla="*/ 1233121 f183 1"/>
                  <a:gd name="f244" fmla="*/ 4430576 f184 1"/>
                  <a:gd name="f245" fmla="*/ 1239497 f183 1"/>
                  <a:gd name="f246" fmla="*/ 4331148 f184 1"/>
                  <a:gd name="f247" fmla="*/ 1265001 f183 1"/>
                  <a:gd name="f248" fmla="*/ 4231187 f184 1"/>
                  <a:gd name="f249" fmla="*/ 1287848 f183 1"/>
                  <a:gd name="f250" fmla="*/ 4130694 f184 1"/>
                  <a:gd name="f251" fmla="*/ 1308570 f183 1"/>
                  <a:gd name="f252" fmla="*/ 4080182 f184 1"/>
                  <a:gd name="f253" fmla="*/ 1318134 f183 1"/>
                  <a:gd name="f254" fmla="*/ 4055192 f184 1"/>
                  <a:gd name="f255" fmla="*/ 1322915 f183 1"/>
                  <a:gd name="f256" fmla="*/ 4029670 f184 1"/>
                  <a:gd name="f257" fmla="*/ 1327166 f183 1"/>
                  <a:gd name="f258" fmla="*/ 3928115 f184 1"/>
                  <a:gd name="f259" fmla="*/ 1343637 f183 1"/>
                  <a:gd name="f260" fmla="*/ 3902593 f184 1"/>
                  <a:gd name="f261" fmla="*/ 1347357 f183 1"/>
                  <a:gd name="f262" fmla="*/ 3877071 f184 1"/>
                  <a:gd name="f263" fmla="*/ 1350545 f183 1"/>
                  <a:gd name="f264" fmla="*/ 3826027 f184 1"/>
                  <a:gd name="f265" fmla="*/ 1356921 f183 1"/>
                  <a:gd name="f266" fmla="*/ 3774984 f184 1"/>
                  <a:gd name="f267" fmla="*/ 1363297 f183 1"/>
                  <a:gd name="f268" fmla="*/ 3723940 f184 1"/>
                  <a:gd name="f269" fmla="*/ 1368078 f183 1"/>
                  <a:gd name="f270" fmla="*/ 3621321 f184 1"/>
                  <a:gd name="f271" fmla="*/ 1377642 f183 1"/>
                  <a:gd name="f272" fmla="*/ 3518702 f184 1"/>
                  <a:gd name="f273" fmla="*/ 1383487 f183 1"/>
                  <a:gd name="f274" fmla="*/ 3467126 f184 1"/>
                  <a:gd name="f275" fmla="*/ 1386144 f183 1"/>
                  <a:gd name="f276" fmla="*/ 3415551 f184 1"/>
                  <a:gd name="f277" fmla="*/ 1387206 f183 1"/>
                  <a:gd name="f278" fmla="*/ 3312400 f184 1"/>
                  <a:gd name="f279" fmla="*/ 1389331 f183 1"/>
                  <a:gd name="f280" fmla="*/ 2900860 f184 1"/>
                  <a:gd name="f281" fmla="*/ 1368610 f183 1"/>
                  <a:gd name="f282" fmla="*/ 2094264 f184 1"/>
                  <a:gd name="f283" fmla="*/ 1199648 f183 1"/>
                  <a:gd name="f284" fmla="*/ 1335520 f184 1"/>
                  <a:gd name="f285" fmla="*/ 875006 f183 1"/>
                  <a:gd name="f286" fmla="*/ 632075 f184 1"/>
                  <a:gd name="f287" fmla="*/ 446225 f183 1"/>
                  <a:gd name="f288" fmla="*/ 294907 f184 1"/>
                  <a:gd name="f289" fmla="*/ 211710 f183 1"/>
                  <a:gd name="f290" fmla="*/ f185 1 f2"/>
                  <a:gd name="f291" fmla="*/ f188 1 4861820"/>
                  <a:gd name="f292" fmla="*/ f189 1 1389331"/>
                  <a:gd name="f293" fmla="*/ f190 1 4861820"/>
                  <a:gd name="f294" fmla="*/ f191 1 4861820"/>
                  <a:gd name="f295" fmla="*/ f192 1 1389331"/>
                  <a:gd name="f296" fmla="*/ f193 1 4861820"/>
                  <a:gd name="f297" fmla="*/ f194 1 1389331"/>
                  <a:gd name="f298" fmla="*/ f195 1 4861820"/>
                  <a:gd name="f299" fmla="*/ f196 1 1389331"/>
                  <a:gd name="f300" fmla="*/ f197 1 4861820"/>
                  <a:gd name="f301" fmla="*/ f198 1 1389331"/>
                  <a:gd name="f302" fmla="*/ f199 1 4861820"/>
                  <a:gd name="f303" fmla="*/ f200 1 1389331"/>
                  <a:gd name="f304" fmla="*/ f201 1 4861820"/>
                  <a:gd name="f305" fmla="*/ f202 1 1389331"/>
                  <a:gd name="f306" fmla="*/ f203 1 4861820"/>
                  <a:gd name="f307" fmla="*/ f204 1 1389331"/>
                  <a:gd name="f308" fmla="*/ f205 1 4861820"/>
                  <a:gd name="f309" fmla="*/ f206 1 1389331"/>
                  <a:gd name="f310" fmla="*/ f207 1 4861820"/>
                  <a:gd name="f311" fmla="*/ f208 1 1389331"/>
                  <a:gd name="f312" fmla="*/ f209 1 4861820"/>
                  <a:gd name="f313" fmla="*/ f210 1 1389331"/>
                  <a:gd name="f314" fmla="*/ f211 1 4861820"/>
                  <a:gd name="f315" fmla="*/ f212 1 1389331"/>
                  <a:gd name="f316" fmla="*/ f213 1 4861820"/>
                  <a:gd name="f317" fmla="*/ f214 1 1389331"/>
                  <a:gd name="f318" fmla="*/ f215 1 4861820"/>
                  <a:gd name="f319" fmla="*/ f216 1 1389331"/>
                  <a:gd name="f320" fmla="*/ f217 1 4861820"/>
                  <a:gd name="f321" fmla="*/ f218 1 1389331"/>
                  <a:gd name="f322" fmla="*/ f219 1 4861820"/>
                  <a:gd name="f323" fmla="*/ f220 1 1389331"/>
                  <a:gd name="f324" fmla="*/ f221 1 4861820"/>
                  <a:gd name="f325" fmla="*/ f222 1 1389331"/>
                  <a:gd name="f326" fmla="*/ f223 1 4861820"/>
                  <a:gd name="f327" fmla="*/ f224 1 1389331"/>
                  <a:gd name="f328" fmla="*/ f225 1 4861820"/>
                  <a:gd name="f329" fmla="*/ f226 1 1389331"/>
                  <a:gd name="f330" fmla="*/ f227 1 4861820"/>
                  <a:gd name="f331" fmla="*/ f228 1 1389331"/>
                  <a:gd name="f332" fmla="*/ f229 1 4861820"/>
                  <a:gd name="f333" fmla="*/ f230 1 1389331"/>
                  <a:gd name="f334" fmla="*/ f231 1 4861820"/>
                  <a:gd name="f335" fmla="*/ f232 1 1389331"/>
                  <a:gd name="f336" fmla="*/ f233 1 4861820"/>
                  <a:gd name="f337" fmla="*/ f234 1 1389331"/>
                  <a:gd name="f338" fmla="*/ f235 1 1389331"/>
                  <a:gd name="f339" fmla="*/ f236 1 4861820"/>
                  <a:gd name="f340" fmla="*/ f237 1 1389331"/>
                  <a:gd name="f341" fmla="*/ f238 1 4861820"/>
                  <a:gd name="f342" fmla="*/ f239 1 1389331"/>
                  <a:gd name="f343" fmla="*/ f240 1 4861820"/>
                  <a:gd name="f344" fmla="*/ f241 1 1389331"/>
                  <a:gd name="f345" fmla="*/ f242 1 4861820"/>
                  <a:gd name="f346" fmla="*/ f243 1 1389331"/>
                  <a:gd name="f347" fmla="*/ f244 1 4861820"/>
                  <a:gd name="f348" fmla="*/ f245 1 1389331"/>
                  <a:gd name="f349" fmla="*/ f246 1 4861820"/>
                  <a:gd name="f350" fmla="*/ f247 1 1389331"/>
                  <a:gd name="f351" fmla="*/ f248 1 4861820"/>
                  <a:gd name="f352" fmla="*/ f249 1 1389331"/>
                  <a:gd name="f353" fmla="*/ f250 1 4861820"/>
                  <a:gd name="f354" fmla="*/ f251 1 1389331"/>
                  <a:gd name="f355" fmla="*/ f252 1 4861820"/>
                  <a:gd name="f356" fmla="*/ f253 1 1389331"/>
                  <a:gd name="f357" fmla="*/ f254 1 4861820"/>
                  <a:gd name="f358" fmla="*/ f255 1 1389331"/>
                  <a:gd name="f359" fmla="*/ f256 1 4861820"/>
                  <a:gd name="f360" fmla="*/ f257 1 1389331"/>
                  <a:gd name="f361" fmla="*/ f258 1 4861820"/>
                  <a:gd name="f362" fmla="*/ f259 1 1389331"/>
                  <a:gd name="f363" fmla="*/ f260 1 4861820"/>
                  <a:gd name="f364" fmla="*/ f261 1 1389331"/>
                  <a:gd name="f365" fmla="*/ f262 1 4861820"/>
                  <a:gd name="f366" fmla="*/ f263 1 1389331"/>
                  <a:gd name="f367" fmla="*/ f264 1 4861820"/>
                  <a:gd name="f368" fmla="*/ f265 1 1389331"/>
                  <a:gd name="f369" fmla="*/ f266 1 4861820"/>
                  <a:gd name="f370" fmla="*/ f267 1 1389331"/>
                  <a:gd name="f371" fmla="*/ f268 1 4861820"/>
                  <a:gd name="f372" fmla="*/ f269 1 1389331"/>
                  <a:gd name="f373" fmla="*/ f270 1 4861820"/>
                  <a:gd name="f374" fmla="*/ f271 1 1389331"/>
                  <a:gd name="f375" fmla="*/ f272 1 4861820"/>
                  <a:gd name="f376" fmla="*/ f273 1 1389331"/>
                  <a:gd name="f377" fmla="*/ f274 1 4861820"/>
                  <a:gd name="f378" fmla="*/ f275 1 1389331"/>
                  <a:gd name="f379" fmla="*/ f276 1 4861820"/>
                  <a:gd name="f380" fmla="*/ f277 1 1389331"/>
                  <a:gd name="f381" fmla="*/ f278 1 4861820"/>
                  <a:gd name="f382" fmla="*/ f279 1 1389331"/>
                  <a:gd name="f383" fmla="*/ f280 1 4861820"/>
                  <a:gd name="f384" fmla="*/ f281 1 1389331"/>
                  <a:gd name="f385" fmla="*/ f282 1 4861820"/>
                  <a:gd name="f386" fmla="*/ f283 1 1389331"/>
                  <a:gd name="f387" fmla="*/ f284 1 4861820"/>
                  <a:gd name="f388" fmla="*/ f285 1 1389331"/>
                  <a:gd name="f389" fmla="*/ f286 1 4861820"/>
                  <a:gd name="f390" fmla="*/ f287 1 1389331"/>
                  <a:gd name="f391" fmla="*/ f288 1 4861820"/>
                  <a:gd name="f392" fmla="*/ f289 1 1389331"/>
                  <a:gd name="f393" fmla="*/ f5 1 f186"/>
                  <a:gd name="f394" fmla="*/ f6 1 f186"/>
                  <a:gd name="f395" fmla="*/ f5 1 f187"/>
                  <a:gd name="f396" fmla="*/ f7 1 f187"/>
                  <a:gd name="f397" fmla="+- f290 0 f1"/>
                  <a:gd name="f398" fmla="*/ f291 1 f186"/>
                  <a:gd name="f399" fmla="*/ f292 1 f187"/>
                  <a:gd name="f400" fmla="*/ f293 1 f186"/>
                  <a:gd name="f401" fmla="*/ f294 1 f186"/>
                  <a:gd name="f402" fmla="*/ f295 1 f187"/>
                  <a:gd name="f403" fmla="*/ f296 1 f186"/>
                  <a:gd name="f404" fmla="*/ f297 1 f187"/>
                  <a:gd name="f405" fmla="*/ f298 1 f186"/>
                  <a:gd name="f406" fmla="*/ f299 1 f187"/>
                  <a:gd name="f407" fmla="*/ f300 1 f186"/>
                  <a:gd name="f408" fmla="*/ f301 1 f187"/>
                  <a:gd name="f409" fmla="*/ f302 1 f186"/>
                  <a:gd name="f410" fmla="*/ f303 1 f187"/>
                  <a:gd name="f411" fmla="*/ f304 1 f186"/>
                  <a:gd name="f412" fmla="*/ f305 1 f187"/>
                  <a:gd name="f413" fmla="*/ f306 1 f186"/>
                  <a:gd name="f414" fmla="*/ f307 1 f187"/>
                  <a:gd name="f415" fmla="*/ f308 1 f186"/>
                  <a:gd name="f416" fmla="*/ f309 1 f187"/>
                  <a:gd name="f417" fmla="*/ f310 1 f186"/>
                  <a:gd name="f418" fmla="*/ f311 1 f187"/>
                  <a:gd name="f419" fmla="*/ f312 1 f186"/>
                  <a:gd name="f420" fmla="*/ f313 1 f187"/>
                  <a:gd name="f421" fmla="*/ f314 1 f186"/>
                  <a:gd name="f422" fmla="*/ f315 1 f187"/>
                  <a:gd name="f423" fmla="*/ f316 1 f186"/>
                  <a:gd name="f424" fmla="*/ f317 1 f187"/>
                  <a:gd name="f425" fmla="*/ f318 1 f186"/>
                  <a:gd name="f426" fmla="*/ f319 1 f187"/>
                  <a:gd name="f427" fmla="*/ f320 1 f186"/>
                  <a:gd name="f428" fmla="*/ f321 1 f187"/>
                  <a:gd name="f429" fmla="*/ f322 1 f186"/>
                  <a:gd name="f430" fmla="*/ f323 1 f187"/>
                  <a:gd name="f431" fmla="*/ f324 1 f186"/>
                  <a:gd name="f432" fmla="*/ f325 1 f187"/>
                  <a:gd name="f433" fmla="*/ f326 1 f186"/>
                  <a:gd name="f434" fmla="*/ f327 1 f187"/>
                  <a:gd name="f435" fmla="*/ f328 1 f186"/>
                  <a:gd name="f436" fmla="*/ f329 1 f187"/>
                  <a:gd name="f437" fmla="*/ f330 1 f186"/>
                  <a:gd name="f438" fmla="*/ f331 1 f187"/>
                  <a:gd name="f439" fmla="*/ f332 1 f186"/>
                  <a:gd name="f440" fmla="*/ f333 1 f187"/>
                  <a:gd name="f441" fmla="*/ f334 1 f186"/>
                  <a:gd name="f442" fmla="*/ f335 1 f187"/>
                  <a:gd name="f443" fmla="*/ f336 1 f186"/>
                  <a:gd name="f444" fmla="*/ f337 1 f187"/>
                  <a:gd name="f445" fmla="*/ f338 1 f187"/>
                  <a:gd name="f446" fmla="*/ f339 1 f186"/>
                  <a:gd name="f447" fmla="*/ f340 1 f187"/>
                  <a:gd name="f448" fmla="*/ f341 1 f186"/>
                  <a:gd name="f449" fmla="*/ f342 1 f187"/>
                  <a:gd name="f450" fmla="*/ f343 1 f186"/>
                  <a:gd name="f451" fmla="*/ f344 1 f187"/>
                  <a:gd name="f452" fmla="*/ f345 1 f186"/>
                  <a:gd name="f453" fmla="*/ f346 1 f187"/>
                  <a:gd name="f454" fmla="*/ f347 1 f186"/>
                  <a:gd name="f455" fmla="*/ f348 1 f187"/>
                  <a:gd name="f456" fmla="*/ f349 1 f186"/>
                  <a:gd name="f457" fmla="*/ f350 1 f187"/>
                  <a:gd name="f458" fmla="*/ f351 1 f186"/>
                  <a:gd name="f459" fmla="*/ f352 1 f187"/>
                  <a:gd name="f460" fmla="*/ f353 1 f186"/>
                  <a:gd name="f461" fmla="*/ f354 1 f187"/>
                  <a:gd name="f462" fmla="*/ f355 1 f186"/>
                  <a:gd name="f463" fmla="*/ f356 1 f187"/>
                  <a:gd name="f464" fmla="*/ f357 1 f186"/>
                  <a:gd name="f465" fmla="*/ f358 1 f187"/>
                  <a:gd name="f466" fmla="*/ f359 1 f186"/>
                  <a:gd name="f467" fmla="*/ f360 1 f187"/>
                  <a:gd name="f468" fmla="*/ f361 1 f186"/>
                  <a:gd name="f469" fmla="*/ f362 1 f187"/>
                  <a:gd name="f470" fmla="*/ f363 1 f186"/>
                  <a:gd name="f471" fmla="*/ f364 1 f187"/>
                  <a:gd name="f472" fmla="*/ f365 1 f186"/>
                  <a:gd name="f473" fmla="*/ f366 1 f187"/>
                  <a:gd name="f474" fmla="*/ f367 1 f186"/>
                  <a:gd name="f475" fmla="*/ f368 1 f187"/>
                  <a:gd name="f476" fmla="*/ f369 1 f186"/>
                  <a:gd name="f477" fmla="*/ f370 1 f187"/>
                  <a:gd name="f478" fmla="*/ f371 1 f186"/>
                  <a:gd name="f479" fmla="*/ f372 1 f187"/>
                  <a:gd name="f480" fmla="*/ f373 1 f186"/>
                  <a:gd name="f481" fmla="*/ f374 1 f187"/>
                  <a:gd name="f482" fmla="*/ f375 1 f186"/>
                  <a:gd name="f483" fmla="*/ f376 1 f187"/>
                  <a:gd name="f484" fmla="*/ f377 1 f186"/>
                  <a:gd name="f485" fmla="*/ f378 1 f187"/>
                  <a:gd name="f486" fmla="*/ f379 1 f186"/>
                  <a:gd name="f487" fmla="*/ f380 1 f187"/>
                  <a:gd name="f488" fmla="*/ f381 1 f186"/>
                  <a:gd name="f489" fmla="*/ f382 1 f187"/>
                  <a:gd name="f490" fmla="*/ f383 1 f186"/>
                  <a:gd name="f491" fmla="*/ f384 1 f187"/>
                  <a:gd name="f492" fmla="*/ f385 1 f186"/>
                  <a:gd name="f493" fmla="*/ f386 1 f187"/>
                  <a:gd name="f494" fmla="*/ f387 1 f186"/>
                  <a:gd name="f495" fmla="*/ f388 1 f187"/>
                  <a:gd name="f496" fmla="*/ f389 1 f186"/>
                  <a:gd name="f497" fmla="*/ f390 1 f187"/>
                  <a:gd name="f498" fmla="*/ f391 1 f186"/>
                  <a:gd name="f499" fmla="*/ f392 1 f187"/>
                  <a:gd name="f500" fmla="*/ f393 f181 1"/>
                  <a:gd name="f501" fmla="*/ f394 f181 1"/>
                  <a:gd name="f502" fmla="*/ f396 f182 1"/>
                  <a:gd name="f503" fmla="*/ f395 f182 1"/>
                  <a:gd name="f504" fmla="*/ f398 f181 1"/>
                  <a:gd name="f505" fmla="*/ f399 f182 1"/>
                  <a:gd name="f506" fmla="*/ f400 f181 1"/>
                  <a:gd name="f507" fmla="*/ f401 f181 1"/>
                  <a:gd name="f508" fmla="*/ f402 f182 1"/>
                  <a:gd name="f509" fmla="*/ f403 f181 1"/>
                  <a:gd name="f510" fmla="*/ f404 f182 1"/>
                  <a:gd name="f511" fmla="*/ f405 f181 1"/>
                  <a:gd name="f512" fmla="*/ f406 f182 1"/>
                  <a:gd name="f513" fmla="*/ f407 f181 1"/>
                  <a:gd name="f514" fmla="*/ f408 f182 1"/>
                  <a:gd name="f515" fmla="*/ f409 f181 1"/>
                  <a:gd name="f516" fmla="*/ f410 f182 1"/>
                  <a:gd name="f517" fmla="*/ f411 f181 1"/>
                  <a:gd name="f518" fmla="*/ f412 f182 1"/>
                  <a:gd name="f519" fmla="*/ f413 f181 1"/>
                  <a:gd name="f520" fmla="*/ f414 f182 1"/>
                  <a:gd name="f521" fmla="*/ f415 f181 1"/>
                  <a:gd name="f522" fmla="*/ f416 f182 1"/>
                  <a:gd name="f523" fmla="*/ f417 f181 1"/>
                  <a:gd name="f524" fmla="*/ f418 f182 1"/>
                  <a:gd name="f525" fmla="*/ f419 f181 1"/>
                  <a:gd name="f526" fmla="*/ f420 f182 1"/>
                  <a:gd name="f527" fmla="*/ f421 f181 1"/>
                  <a:gd name="f528" fmla="*/ f422 f182 1"/>
                  <a:gd name="f529" fmla="*/ f423 f181 1"/>
                  <a:gd name="f530" fmla="*/ f424 f182 1"/>
                  <a:gd name="f531" fmla="*/ f425 f181 1"/>
                  <a:gd name="f532" fmla="*/ f426 f182 1"/>
                  <a:gd name="f533" fmla="*/ f427 f181 1"/>
                  <a:gd name="f534" fmla="*/ f428 f182 1"/>
                  <a:gd name="f535" fmla="*/ f429 f181 1"/>
                  <a:gd name="f536" fmla="*/ f430 f182 1"/>
                  <a:gd name="f537" fmla="*/ f431 f181 1"/>
                  <a:gd name="f538" fmla="*/ f432 f182 1"/>
                  <a:gd name="f539" fmla="*/ f433 f181 1"/>
                  <a:gd name="f540" fmla="*/ f434 f182 1"/>
                  <a:gd name="f541" fmla="*/ f435 f181 1"/>
                  <a:gd name="f542" fmla="*/ f436 f182 1"/>
                  <a:gd name="f543" fmla="*/ f437 f181 1"/>
                  <a:gd name="f544" fmla="*/ f438 f182 1"/>
                  <a:gd name="f545" fmla="*/ f439 f181 1"/>
                  <a:gd name="f546" fmla="*/ f440 f182 1"/>
                  <a:gd name="f547" fmla="*/ f441 f181 1"/>
                  <a:gd name="f548" fmla="*/ f442 f182 1"/>
                  <a:gd name="f549" fmla="*/ f443 f181 1"/>
                  <a:gd name="f550" fmla="*/ f444 f182 1"/>
                  <a:gd name="f551" fmla="*/ f445 f182 1"/>
                  <a:gd name="f552" fmla="*/ f446 f181 1"/>
                  <a:gd name="f553" fmla="*/ f447 f182 1"/>
                  <a:gd name="f554" fmla="*/ f448 f181 1"/>
                  <a:gd name="f555" fmla="*/ f449 f182 1"/>
                  <a:gd name="f556" fmla="*/ f450 f181 1"/>
                  <a:gd name="f557" fmla="*/ f451 f182 1"/>
                  <a:gd name="f558" fmla="*/ f452 f181 1"/>
                  <a:gd name="f559" fmla="*/ f453 f182 1"/>
                  <a:gd name="f560" fmla="*/ f454 f181 1"/>
                  <a:gd name="f561" fmla="*/ f455 f182 1"/>
                  <a:gd name="f562" fmla="*/ f456 f181 1"/>
                  <a:gd name="f563" fmla="*/ f457 f182 1"/>
                  <a:gd name="f564" fmla="*/ f458 f181 1"/>
                  <a:gd name="f565" fmla="*/ f459 f182 1"/>
                  <a:gd name="f566" fmla="*/ f460 f181 1"/>
                  <a:gd name="f567" fmla="*/ f461 f182 1"/>
                  <a:gd name="f568" fmla="*/ f462 f181 1"/>
                  <a:gd name="f569" fmla="*/ f463 f182 1"/>
                  <a:gd name="f570" fmla="*/ f464 f181 1"/>
                  <a:gd name="f571" fmla="*/ f465 f182 1"/>
                  <a:gd name="f572" fmla="*/ f466 f181 1"/>
                  <a:gd name="f573" fmla="*/ f467 f182 1"/>
                  <a:gd name="f574" fmla="*/ f468 f181 1"/>
                  <a:gd name="f575" fmla="*/ f469 f182 1"/>
                  <a:gd name="f576" fmla="*/ f470 f181 1"/>
                  <a:gd name="f577" fmla="*/ f471 f182 1"/>
                  <a:gd name="f578" fmla="*/ f472 f181 1"/>
                  <a:gd name="f579" fmla="*/ f473 f182 1"/>
                  <a:gd name="f580" fmla="*/ f474 f181 1"/>
                  <a:gd name="f581" fmla="*/ f475 f182 1"/>
                  <a:gd name="f582" fmla="*/ f476 f181 1"/>
                  <a:gd name="f583" fmla="*/ f477 f182 1"/>
                  <a:gd name="f584" fmla="*/ f478 f181 1"/>
                  <a:gd name="f585" fmla="*/ f479 f182 1"/>
                  <a:gd name="f586" fmla="*/ f480 f181 1"/>
                  <a:gd name="f587" fmla="*/ f481 f182 1"/>
                  <a:gd name="f588" fmla="*/ f482 f181 1"/>
                  <a:gd name="f589" fmla="*/ f483 f182 1"/>
                  <a:gd name="f590" fmla="*/ f484 f181 1"/>
                  <a:gd name="f591" fmla="*/ f485 f182 1"/>
                  <a:gd name="f592" fmla="*/ f486 f181 1"/>
                  <a:gd name="f593" fmla="*/ f487 f182 1"/>
                  <a:gd name="f594" fmla="*/ f488 f181 1"/>
                  <a:gd name="f595" fmla="*/ f489 f182 1"/>
                  <a:gd name="f596" fmla="*/ f490 f181 1"/>
                  <a:gd name="f597" fmla="*/ f491 f182 1"/>
                  <a:gd name="f598" fmla="*/ f492 f181 1"/>
                  <a:gd name="f599" fmla="*/ f493 f182 1"/>
                  <a:gd name="f600" fmla="*/ f494 f181 1"/>
                  <a:gd name="f601" fmla="*/ f495 f182 1"/>
                  <a:gd name="f602" fmla="*/ f496 f181 1"/>
                  <a:gd name="f603" fmla="*/ f497 f182 1"/>
                  <a:gd name="f604" fmla="*/ f498 f181 1"/>
                  <a:gd name="f605" fmla="*/ f499 f182 1"/>
                </a:gdLst>
                <a:ahLst/>
                <a:cxnLst>
                  <a:cxn ang="3cd4">
                    <a:pos x="hc" y="t"/>
                  </a:cxn>
                  <a:cxn ang="0">
                    <a:pos x="r" y="vc"/>
                  </a:cxn>
                  <a:cxn ang="cd4">
                    <a:pos x="hc" y="b"/>
                  </a:cxn>
                  <a:cxn ang="cd2">
                    <a:pos x="l" y="vc"/>
                  </a:cxn>
                  <a:cxn ang="f397">
                    <a:pos x="f504" y="f505"/>
                  </a:cxn>
                  <a:cxn ang="f397">
                    <a:pos x="f506" y="f505"/>
                  </a:cxn>
                  <a:cxn ang="f397">
                    <a:pos x="f507" y="f508"/>
                  </a:cxn>
                  <a:cxn ang="f397">
                    <a:pos x="f509" y="f510"/>
                  </a:cxn>
                  <a:cxn ang="f397">
                    <a:pos x="f511" y="f512"/>
                  </a:cxn>
                  <a:cxn ang="f397">
                    <a:pos x="f513" y="f514"/>
                  </a:cxn>
                  <a:cxn ang="f397">
                    <a:pos x="f515" y="f516"/>
                  </a:cxn>
                  <a:cxn ang="f397">
                    <a:pos x="f517" y="f518"/>
                  </a:cxn>
                  <a:cxn ang="f397">
                    <a:pos x="f519" y="f520"/>
                  </a:cxn>
                  <a:cxn ang="f397">
                    <a:pos x="f521" y="f522"/>
                  </a:cxn>
                  <a:cxn ang="f397">
                    <a:pos x="f523" y="f524"/>
                  </a:cxn>
                  <a:cxn ang="f397">
                    <a:pos x="f525" y="f526"/>
                  </a:cxn>
                  <a:cxn ang="f397">
                    <a:pos x="f527" y="f528"/>
                  </a:cxn>
                  <a:cxn ang="f397">
                    <a:pos x="f529" y="f530"/>
                  </a:cxn>
                  <a:cxn ang="f397">
                    <a:pos x="f531" y="f532"/>
                  </a:cxn>
                  <a:cxn ang="f397">
                    <a:pos x="f533" y="f534"/>
                  </a:cxn>
                  <a:cxn ang="f397">
                    <a:pos x="f535" y="f536"/>
                  </a:cxn>
                  <a:cxn ang="f397">
                    <a:pos x="f537" y="f538"/>
                  </a:cxn>
                  <a:cxn ang="f397">
                    <a:pos x="f539" y="f540"/>
                  </a:cxn>
                  <a:cxn ang="f397">
                    <a:pos x="f541" y="f542"/>
                  </a:cxn>
                  <a:cxn ang="f397">
                    <a:pos x="f543" y="f544"/>
                  </a:cxn>
                  <a:cxn ang="f397">
                    <a:pos x="f545" y="f546"/>
                  </a:cxn>
                  <a:cxn ang="f397">
                    <a:pos x="f547" y="f548"/>
                  </a:cxn>
                  <a:cxn ang="f397">
                    <a:pos x="f549" y="f550"/>
                  </a:cxn>
                  <a:cxn ang="f397">
                    <a:pos x="f549" y="f551"/>
                  </a:cxn>
                  <a:cxn ang="f397">
                    <a:pos x="f552" y="f553"/>
                  </a:cxn>
                  <a:cxn ang="f397">
                    <a:pos x="f554" y="f555"/>
                  </a:cxn>
                  <a:cxn ang="f397">
                    <a:pos x="f556" y="f557"/>
                  </a:cxn>
                  <a:cxn ang="f397">
                    <a:pos x="f558" y="f559"/>
                  </a:cxn>
                  <a:cxn ang="f397">
                    <a:pos x="f560" y="f561"/>
                  </a:cxn>
                  <a:cxn ang="f397">
                    <a:pos x="f562" y="f563"/>
                  </a:cxn>
                  <a:cxn ang="f397">
                    <a:pos x="f564" y="f565"/>
                  </a:cxn>
                  <a:cxn ang="f397">
                    <a:pos x="f566" y="f567"/>
                  </a:cxn>
                  <a:cxn ang="f397">
                    <a:pos x="f568" y="f569"/>
                  </a:cxn>
                  <a:cxn ang="f397">
                    <a:pos x="f570" y="f571"/>
                  </a:cxn>
                  <a:cxn ang="f397">
                    <a:pos x="f572" y="f573"/>
                  </a:cxn>
                  <a:cxn ang="f397">
                    <a:pos x="f574" y="f575"/>
                  </a:cxn>
                  <a:cxn ang="f397">
                    <a:pos x="f576" y="f577"/>
                  </a:cxn>
                  <a:cxn ang="f397">
                    <a:pos x="f578" y="f579"/>
                  </a:cxn>
                  <a:cxn ang="f397">
                    <a:pos x="f580" y="f581"/>
                  </a:cxn>
                  <a:cxn ang="f397">
                    <a:pos x="f582" y="f583"/>
                  </a:cxn>
                  <a:cxn ang="f397">
                    <a:pos x="f584" y="f585"/>
                  </a:cxn>
                  <a:cxn ang="f397">
                    <a:pos x="f586" y="f587"/>
                  </a:cxn>
                  <a:cxn ang="f397">
                    <a:pos x="f588" y="f589"/>
                  </a:cxn>
                  <a:cxn ang="f397">
                    <a:pos x="f590" y="f591"/>
                  </a:cxn>
                  <a:cxn ang="f397">
                    <a:pos x="f592" y="f593"/>
                  </a:cxn>
                  <a:cxn ang="f397">
                    <a:pos x="f594" y="f595"/>
                  </a:cxn>
                  <a:cxn ang="f397">
                    <a:pos x="f596" y="f597"/>
                  </a:cxn>
                  <a:cxn ang="f397">
                    <a:pos x="f598" y="f599"/>
                  </a:cxn>
                  <a:cxn ang="f397">
                    <a:pos x="f600" y="f601"/>
                  </a:cxn>
                  <a:cxn ang="f397">
                    <a:pos x="f602" y="f603"/>
                  </a:cxn>
                  <a:cxn ang="f397">
                    <a:pos x="f604" y="f605"/>
                  </a:cxn>
                </a:cxnLst>
                <a:rect l="f500" t="f503" r="f501" b="f502"/>
                <a:pathLst>
                  <a:path w="4861820" h="1389331">
                    <a:moveTo>
                      <a:pt x="f5" y="f5"/>
                    </a:moveTo>
                    <a:lnTo>
                      <a:pt x="f8" y="f5"/>
                    </a:lnTo>
                    <a:lnTo>
                      <a:pt x="f9" y="f10"/>
                    </a:ln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40"/>
                    </a:cubicBezTo>
                    <a:lnTo>
                      <a:pt x="f41" y="f42"/>
                    </a:lnTo>
                    <a:lnTo>
                      <a:pt x="f43" y="f44"/>
                    </a:lnTo>
                    <a:lnTo>
                      <a:pt x="f45" y="f46"/>
                    </a:lnTo>
                    <a:cubicBezTo>
                      <a:pt x="f47" y="f48"/>
                      <a:pt x="f49" y="f50"/>
                      <a:pt x="f51" y="f52"/>
                    </a:cubicBezTo>
                    <a:lnTo>
                      <a:pt x="f53" y="f54"/>
                    </a:lnTo>
                    <a:lnTo>
                      <a:pt x="f55" y="f56"/>
                    </a:lnTo>
                    <a:cubicBezTo>
                      <a:pt x="f57" y="f58"/>
                      <a:pt x="f59" y="f60"/>
                      <a:pt x="f61" y="f62"/>
                    </a:cubicBezTo>
                    <a:lnTo>
                      <a:pt x="f63" y="f64"/>
                    </a:lnTo>
                    <a:cubicBezTo>
                      <a:pt x="f65" y="f66"/>
                      <a:pt x="f67" y="f68"/>
                      <a:pt x="f69" y="f70"/>
                    </a:cubicBezTo>
                    <a:lnTo>
                      <a:pt x="f71" y="f72"/>
                    </a:lnTo>
                    <a:lnTo>
                      <a:pt x="f73" y="f74"/>
                    </a:lnTo>
                    <a:lnTo>
                      <a:pt x="f75" y="f76"/>
                    </a:lnTo>
                    <a:lnTo>
                      <a:pt x="f77" y="f78"/>
                    </a:lnTo>
                    <a:lnTo>
                      <a:pt x="f79" y="f80"/>
                    </a:lnTo>
                    <a:cubicBezTo>
                      <a:pt x="f81" y="f82"/>
                      <a:pt x="f83" y="f84"/>
                      <a:pt x="f85" y="f86"/>
                    </a:cubicBezTo>
                    <a:lnTo>
                      <a:pt x="f6" y="f87"/>
                    </a:lnTo>
                    <a:lnTo>
                      <a:pt x="f6" y="f88"/>
                    </a:lnTo>
                    <a:lnTo>
                      <a:pt x="f89" y="f90"/>
                    </a:lnTo>
                    <a:cubicBezTo>
                      <a:pt x="f91" y="f92"/>
                      <a:pt x="f93" y="f94"/>
                      <a:pt x="f95" y="f96"/>
                    </a:cubicBezTo>
                    <a:lnTo>
                      <a:pt x="f97" y="f98"/>
                    </a:lnTo>
                    <a:lnTo>
                      <a:pt x="f99" y="f100"/>
                    </a:lnTo>
                    <a:lnTo>
                      <a:pt x="f101" y="f102"/>
                    </a:lnTo>
                    <a:lnTo>
                      <a:pt x="f103" y="f104"/>
                    </a:lnTo>
                    <a:lnTo>
                      <a:pt x="f105" y="f106"/>
                    </a:lnTo>
                    <a:cubicBezTo>
                      <a:pt x="f107" y="f54"/>
                      <a:pt x="f108" y="f109"/>
                      <a:pt x="f110" y="f111"/>
                    </a:cubicBezTo>
                    <a:lnTo>
                      <a:pt x="f112" y="f113"/>
                    </a:lnTo>
                    <a:cubicBezTo>
                      <a:pt x="f114" y="f115"/>
                      <a:pt x="f116" y="f117"/>
                      <a:pt x="f118" y="f119"/>
                    </a:cubicBezTo>
                    <a:lnTo>
                      <a:pt x="f120" y="f121"/>
                    </a:lnTo>
                    <a:lnTo>
                      <a:pt x="f122" y="f123"/>
                    </a:lnTo>
                    <a:cubicBezTo>
                      <a:pt x="f124" y="f125"/>
                      <a:pt x="f126" y="f127"/>
                      <a:pt x="f128" y="f129"/>
                    </a:cubicBezTo>
                    <a:lnTo>
                      <a:pt x="f130" y="f131"/>
                    </a:lnTo>
                    <a:lnTo>
                      <a:pt x="f132" y="f133"/>
                    </a:lnTo>
                    <a:lnTo>
                      <a:pt x="f134" y="f135"/>
                    </a:lnTo>
                    <a:cubicBezTo>
                      <a:pt x="f136" y="f137"/>
                      <a:pt x="f138" y="f139"/>
                      <a:pt x="f140" y="f141"/>
                    </a:cubicBezTo>
                    <a:lnTo>
                      <a:pt x="f142" y="f143"/>
                    </a:lnTo>
                    <a:lnTo>
                      <a:pt x="f144" y="f145"/>
                    </a:lnTo>
                    <a:lnTo>
                      <a:pt x="f146" y="f147"/>
                    </a:lnTo>
                    <a:lnTo>
                      <a:pt x="f148" y="f149"/>
                    </a:lnTo>
                    <a:lnTo>
                      <a:pt x="f150" y="f7"/>
                    </a:lnTo>
                    <a:cubicBezTo>
                      <a:pt x="f151" y="f7"/>
                      <a:pt x="f152" y="f153"/>
                      <a:pt x="f154" y="f155"/>
                    </a:cubicBezTo>
                    <a:cubicBezTo>
                      <a:pt x="f156" y="f157"/>
                      <a:pt x="f158" y="f159"/>
                      <a:pt x="f160" y="f161"/>
                    </a:cubicBezTo>
                    <a:cubicBezTo>
                      <a:pt x="f162" y="f163"/>
                      <a:pt x="f164" y="f165"/>
                      <a:pt x="f166" y="f167"/>
                    </a:cubicBezTo>
                    <a:cubicBezTo>
                      <a:pt x="f168" y="f169"/>
                      <a:pt x="f170" y="f171"/>
                      <a:pt x="f172" y="f173"/>
                    </a:cubicBezTo>
                    <a:cubicBezTo>
                      <a:pt x="f174" y="f175"/>
                      <a:pt x="f176" y="f177"/>
                      <a:pt x="f178" y="f179"/>
                    </a:cubicBezTo>
                    <a:close/>
                  </a:path>
                </a:pathLst>
              </a:custGeom>
              <a:solidFill>
                <a:srgbClr val="1C498B"/>
              </a:solidFill>
              <a:ln cap="flat">
                <a:noFill/>
                <a:prstDash val="solid"/>
              </a:ln>
            </p:spPr>
            <p:txBody>
              <a:bodyPr vert="horz" wrap="square" lIns="91440" tIns="45720" rIns="91440" bIns="45720" anchor="ctr"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grpSp>
      </p:grpSp>
      <p:pic>
        <p:nvPicPr>
          <p:cNvPr id="13" name="Graphic 8" descr="Open quotation mark with solid fill">
            <a:extLst>
              <a:ext uri="{FF2B5EF4-FFF2-40B4-BE49-F238E27FC236}">
                <a16:creationId xmlns:a16="http://schemas.microsoft.com/office/drawing/2014/main" id="{9AA108D1-9A3F-8580-CB64-745FE96599E4}"/>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512" y="136530"/>
            <a:ext cx="2036761" cy="2036761"/>
          </a:xfrm>
          <a:prstGeom prst="rect">
            <a:avLst/>
          </a:prstGeom>
          <a:noFill/>
          <a:ln cap="flat">
            <a:noFill/>
          </a:ln>
        </p:spPr>
      </p:pic>
    </p:spTree>
    <p:extLst>
      <p:ext uri="{BB962C8B-B14F-4D97-AF65-F5344CB8AC3E}">
        <p14:creationId xmlns:p14="http://schemas.microsoft.com/office/powerpoint/2010/main" val="1531155341"/>
      </p:ext>
    </p:extLst>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showMasterSp="0" preserve="1">
  <p:cSld name="8_Title Slide">
    <p:spTree>
      <p:nvGrpSpPr>
        <p:cNvPr id="1" name=""/>
        <p:cNvGrpSpPr/>
        <p:nvPr/>
      </p:nvGrpSpPr>
      <p:grpSpPr>
        <a:xfrm>
          <a:off x="0" y="0"/>
          <a:ext cx="0" cy="0"/>
          <a:chOff x="0" y="0"/>
          <a:chExt cx="0" cy="0"/>
        </a:xfrm>
      </p:grpSpPr>
      <p:graphicFrame>
        <p:nvGraphicFramePr>
          <p:cNvPr id="2" name="Object 7" hidden="1">
            <a:extLst>
              <a:ext uri="{FF2B5EF4-FFF2-40B4-BE49-F238E27FC236}">
                <a16:creationId xmlns:a16="http://schemas.microsoft.com/office/drawing/2014/main" id="{C51E9481-826F-E372-9147-93AB6C791F48}"/>
              </a:ext>
            </a:extLst>
          </p:cNvPr>
          <p:cNvGraphicFramePr/>
          <p:nvPr/>
        </p:nvGraphicFramePr>
        <p:xfrm>
          <a:off x="2121" y="2121"/>
          <a:ext cx="2112" cy="2112"/>
        </p:xfrm>
        <a:graphic>
          <a:graphicData uri="http://schemas.openxmlformats.org/presentationml/2006/ole">
            <mc:AlternateContent xmlns:mc="http://schemas.openxmlformats.org/markup-compatibility/2006">
              <mc:Choice xmlns:v="urn:schemas-microsoft-com:vml" Requires="v">
                <p:oleObj r:id="rId2" imgW="12700" imgH="12700" progId="">
                  <p:embed/>
                </p:oleObj>
              </mc:Choice>
              <mc:Fallback>
                <p:oleObj r:id="rId2" imgW="12700" imgH="12700" progId="">
                  <p:embed/>
                  <p:pic>
                    <p:nvPicPr>
                      <p:cNvPr id="2" name="Object 7" hidden="1">
                        <a:extLst>
                          <a:ext uri="{FF2B5EF4-FFF2-40B4-BE49-F238E27FC236}">
                            <a16:creationId xmlns:a16="http://schemas.microsoft.com/office/drawing/2014/main" id="{C51E9481-826F-E372-9147-93AB6C791F48}"/>
                          </a:ext>
                        </a:extLst>
                      </p:cNvPr>
                      <p:cNvPicPr/>
                      <p:nvPr/>
                    </p:nvPicPr>
                    <p:blipFill>
                      <a:blip r:embed="rId3"/>
                      <a:stretch>
                        <a:fillRect/>
                      </a:stretch>
                    </p:blipFill>
                    <p:spPr>
                      <a:xfrm>
                        <a:off x="2121" y="2121"/>
                        <a:ext cx="2112" cy="2112"/>
                      </a:xfrm>
                      <a:prstGeom prst="rect">
                        <a:avLst/>
                      </a:prstGeom>
                    </p:spPr>
                  </p:pic>
                </p:oleObj>
              </mc:Fallback>
            </mc:AlternateContent>
          </a:graphicData>
        </a:graphic>
      </p:graphicFrame>
      <p:sp>
        <p:nvSpPr>
          <p:cNvPr id="3" name="Rectangle 6">
            <a:extLst>
              <a:ext uri="{FF2B5EF4-FFF2-40B4-BE49-F238E27FC236}">
                <a16:creationId xmlns:a16="http://schemas.microsoft.com/office/drawing/2014/main" id="{F0A46599-74F0-ED4E-F215-98BC32C1A7D8}"/>
              </a:ext>
            </a:extLst>
          </p:cNvPr>
          <p:cNvSpPr/>
          <p:nvPr/>
        </p:nvSpPr>
        <p:spPr>
          <a:xfrm>
            <a:off x="-21168" y="6629400"/>
            <a:ext cx="12213165" cy="228600"/>
          </a:xfrm>
          <a:prstGeom prst="rect">
            <a:avLst/>
          </a:prstGeom>
          <a:solidFill>
            <a:srgbClr val="767676"/>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pic>
        <p:nvPicPr>
          <p:cNvPr id="4" name="Picture 13">
            <a:extLst>
              <a:ext uri="{FF2B5EF4-FFF2-40B4-BE49-F238E27FC236}">
                <a16:creationId xmlns:a16="http://schemas.microsoft.com/office/drawing/2014/main" id="{C36BE109-A984-B5CA-8275-290CE4557F2B}"/>
              </a:ext>
            </a:extLst>
          </p:cNvPr>
          <p:cNvPicPr>
            <a:picLocks noChangeAspect="1"/>
          </p:cNvPicPr>
          <p:nvPr/>
        </p:nvPicPr>
        <p:blipFill>
          <a:blip r:embed="rId4"/>
          <a:srcRect/>
          <a:stretch>
            <a:fillRect/>
          </a:stretch>
        </p:blipFill>
        <p:spPr>
          <a:xfrm>
            <a:off x="7945972" y="408517"/>
            <a:ext cx="3706282" cy="1813986"/>
          </a:xfrm>
          <a:prstGeom prst="rect">
            <a:avLst/>
          </a:prstGeom>
          <a:noFill/>
          <a:ln cap="flat">
            <a:noFill/>
          </a:ln>
        </p:spPr>
      </p:pic>
      <p:grpSp>
        <p:nvGrpSpPr>
          <p:cNvPr id="5" name="Group 11">
            <a:extLst>
              <a:ext uri="{FF2B5EF4-FFF2-40B4-BE49-F238E27FC236}">
                <a16:creationId xmlns:a16="http://schemas.microsoft.com/office/drawing/2014/main" id="{69033631-5905-022A-D21B-F9CAF7C63965}"/>
              </a:ext>
            </a:extLst>
          </p:cNvPr>
          <p:cNvGrpSpPr/>
          <p:nvPr/>
        </p:nvGrpSpPr>
        <p:grpSpPr>
          <a:xfrm>
            <a:off x="1" y="0"/>
            <a:ext cx="1862669" cy="6629400"/>
            <a:chOff x="0" y="0"/>
            <a:chExt cx="1862669" cy="6629400"/>
          </a:xfrm>
        </p:grpSpPr>
        <p:sp>
          <p:nvSpPr>
            <p:cNvPr id="6" name="Rectangle 9">
              <a:extLst>
                <a:ext uri="{FF2B5EF4-FFF2-40B4-BE49-F238E27FC236}">
                  <a16:creationId xmlns:a16="http://schemas.microsoft.com/office/drawing/2014/main" id="{FF1ED7C7-D8C4-4E3F-776C-6110CF523144}"/>
                </a:ext>
              </a:extLst>
            </p:cNvPr>
            <p:cNvSpPr/>
            <p:nvPr/>
          </p:nvSpPr>
          <p:spPr>
            <a:xfrm>
              <a:off x="0" y="0"/>
              <a:ext cx="1782229" cy="6629400"/>
            </a:xfrm>
            <a:prstGeom prst="rect">
              <a:avLst/>
            </a:prstGeom>
            <a:solidFill>
              <a:srgbClr val="800000"/>
            </a:solidFill>
            <a:ln cap="flat">
              <a:noFill/>
              <a:prstDash val="solid"/>
            </a:ln>
          </p:spPr>
          <p:txBody>
            <a:bodyPr vert="horz" wrap="square" lIns="91440" tIns="45720" rIns="91440" bIns="45720" anchor="t"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pic>
          <p:nvPicPr>
            <p:cNvPr id="7" name="Picture 7">
              <a:extLst>
                <a:ext uri="{FF2B5EF4-FFF2-40B4-BE49-F238E27FC236}">
                  <a16:creationId xmlns:a16="http://schemas.microsoft.com/office/drawing/2014/main" id="{ADED9076-1272-F428-C3BA-A17D10A64BD2}"/>
                </a:ext>
              </a:extLst>
            </p:cNvPr>
            <p:cNvPicPr>
              <a:picLocks noChangeAspect="1"/>
            </p:cNvPicPr>
            <p:nvPr/>
          </p:nvPicPr>
          <p:blipFill>
            <a:blip r:embed="rId5"/>
            <a:srcRect l="7219" t="16937" r="72250" b="20589"/>
            <a:stretch>
              <a:fillRect/>
            </a:stretch>
          </p:blipFill>
          <p:spPr>
            <a:xfrm>
              <a:off x="0" y="0"/>
              <a:ext cx="1862669" cy="6629400"/>
            </a:xfrm>
            <a:prstGeom prst="rect">
              <a:avLst/>
            </a:prstGeom>
            <a:solidFill>
              <a:srgbClr val="79818A"/>
            </a:solidFill>
            <a:ln cap="flat">
              <a:noFill/>
            </a:ln>
          </p:spPr>
        </p:pic>
      </p:grpSp>
      <p:sp>
        <p:nvSpPr>
          <p:cNvPr id="8" name="Subtitle 2">
            <a:extLst>
              <a:ext uri="{FF2B5EF4-FFF2-40B4-BE49-F238E27FC236}">
                <a16:creationId xmlns:a16="http://schemas.microsoft.com/office/drawing/2014/main" id="{892D79CD-D9D0-2782-51CF-1BBC51C98DC4}"/>
              </a:ext>
            </a:extLst>
          </p:cNvPr>
          <p:cNvSpPr txBox="1">
            <a:spLocks noGrp="1"/>
          </p:cNvSpPr>
          <p:nvPr>
            <p:ph type="subTitle" idx="4294967295"/>
          </p:nvPr>
        </p:nvSpPr>
        <p:spPr>
          <a:xfrm>
            <a:off x="3147492" y="4195760"/>
            <a:ext cx="5488512" cy="365760"/>
          </a:xfrm>
        </p:spPr>
        <p:txBody>
          <a:bodyPr/>
          <a:lstStyle>
            <a:lvl1pPr>
              <a:defRPr sz="1867"/>
            </a:lvl1pPr>
          </a:lstStyle>
          <a:p>
            <a:pPr lvl="0"/>
            <a:r>
              <a:rPr lang="en-US"/>
              <a:t>Click to edit Master subtitle style</a:t>
            </a:r>
          </a:p>
        </p:txBody>
      </p:sp>
      <p:sp>
        <p:nvSpPr>
          <p:cNvPr id="9" name="Title 1">
            <a:extLst>
              <a:ext uri="{FF2B5EF4-FFF2-40B4-BE49-F238E27FC236}">
                <a16:creationId xmlns:a16="http://schemas.microsoft.com/office/drawing/2014/main" id="{7F61041A-4192-F039-E010-AE4CA3CE98EA}"/>
              </a:ext>
            </a:extLst>
          </p:cNvPr>
          <p:cNvSpPr txBox="1">
            <a:spLocks noGrp="1"/>
          </p:cNvSpPr>
          <p:nvPr>
            <p:ph type="title"/>
          </p:nvPr>
        </p:nvSpPr>
        <p:spPr>
          <a:xfrm>
            <a:off x="1621872" y="1806434"/>
            <a:ext cx="10189826" cy="2278209"/>
          </a:xfrm>
        </p:spPr>
        <p:txBody>
          <a:bodyPr anchor="b"/>
          <a:lstStyle>
            <a:lvl1pPr>
              <a:defRPr sz="5334">
                <a:solidFill>
                  <a:srgbClr val="79818A"/>
                </a:solidFill>
              </a:defRPr>
            </a:lvl1pPr>
          </a:lstStyle>
          <a:p>
            <a:pPr lvl="0"/>
            <a:r>
              <a:rPr lang="en-US"/>
              <a:t>Click to edit Master title style</a:t>
            </a:r>
          </a:p>
        </p:txBody>
      </p:sp>
      <p:sp>
        <p:nvSpPr>
          <p:cNvPr id="10" name="Text Placeholder 3">
            <a:extLst>
              <a:ext uri="{FF2B5EF4-FFF2-40B4-BE49-F238E27FC236}">
                <a16:creationId xmlns:a16="http://schemas.microsoft.com/office/drawing/2014/main" id="{57EE542C-E91B-8CE0-64AB-DF3A8492FB82}"/>
              </a:ext>
            </a:extLst>
          </p:cNvPr>
          <p:cNvSpPr txBox="1">
            <a:spLocks noGrp="1"/>
          </p:cNvSpPr>
          <p:nvPr>
            <p:ph type="body" idx="4294967295"/>
          </p:nvPr>
        </p:nvSpPr>
        <p:spPr>
          <a:xfrm>
            <a:off x="3147483" y="4600575"/>
            <a:ext cx="5486400" cy="365760"/>
          </a:xfrm>
        </p:spPr>
        <p:txBody>
          <a:bodyPr/>
          <a:lstStyle>
            <a:lvl1pPr>
              <a:defRPr sz="1867"/>
            </a:lvl1pPr>
          </a:lstStyle>
          <a:p>
            <a:pPr lvl="0"/>
            <a:r>
              <a:rPr lang="en-US"/>
              <a:t>Edit Master text styles</a:t>
            </a:r>
          </a:p>
        </p:txBody>
      </p:sp>
      <p:sp>
        <p:nvSpPr>
          <p:cNvPr id="11" name="Text Placeholder 4">
            <a:extLst>
              <a:ext uri="{FF2B5EF4-FFF2-40B4-BE49-F238E27FC236}">
                <a16:creationId xmlns:a16="http://schemas.microsoft.com/office/drawing/2014/main" id="{64A54643-5065-1F73-9892-FDA4DCE3091A}"/>
              </a:ext>
            </a:extLst>
          </p:cNvPr>
          <p:cNvSpPr txBox="1">
            <a:spLocks noGrp="1"/>
          </p:cNvSpPr>
          <p:nvPr>
            <p:ph type="body" idx="4294967295"/>
          </p:nvPr>
        </p:nvSpPr>
        <p:spPr>
          <a:xfrm>
            <a:off x="3147483" y="5005389"/>
            <a:ext cx="5486400" cy="365760"/>
          </a:xfr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518399738"/>
      </p:ext>
    </p:extLst>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showMasterSp="0" preserve="1">
  <p:cSld name="5_Table of Content">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7935418D-E3E8-BA3D-6CCD-549788AE0ADD}"/>
              </a:ext>
            </a:extLst>
          </p:cNvPr>
          <p:cNvGraphicFramePr/>
          <p:nvPr/>
        </p:nvGraphicFramePr>
        <p:xfrm>
          <a:off x="2121" y="2121"/>
          <a:ext cx="2112" cy="2112"/>
        </p:xfrm>
        <a:graphic>
          <a:graphicData uri="http://schemas.openxmlformats.org/presentationml/2006/ole">
            <mc:AlternateContent xmlns:mc="http://schemas.openxmlformats.org/markup-compatibility/2006">
              <mc:Choice xmlns:v="urn:schemas-microsoft-com:vml" Requires="v">
                <p:oleObj r:id="rId2" imgW="12700" imgH="12700" progId="">
                  <p:embed/>
                </p:oleObj>
              </mc:Choice>
              <mc:Fallback>
                <p:oleObj r:id="rId2" imgW="12700" imgH="12700" progId="">
                  <p:embed/>
                  <p:pic>
                    <p:nvPicPr>
                      <p:cNvPr id="2" name="Object 2" hidden="1">
                        <a:extLst>
                          <a:ext uri="{FF2B5EF4-FFF2-40B4-BE49-F238E27FC236}">
                            <a16:creationId xmlns:a16="http://schemas.microsoft.com/office/drawing/2014/main" id="{7935418D-E3E8-BA3D-6CCD-549788AE0ADD}"/>
                          </a:ext>
                        </a:extLst>
                      </p:cNvPr>
                      <p:cNvPicPr/>
                      <p:nvPr/>
                    </p:nvPicPr>
                    <p:blipFill>
                      <a:blip r:embed="rId3"/>
                      <a:stretch>
                        <a:fillRect/>
                      </a:stretch>
                    </p:blipFill>
                    <p:spPr>
                      <a:xfrm>
                        <a:off x="2121" y="2121"/>
                        <a:ext cx="2112" cy="2112"/>
                      </a:xfrm>
                      <a:prstGeom prst="rect">
                        <a:avLst/>
                      </a:prstGeom>
                    </p:spPr>
                  </p:pic>
                </p:oleObj>
              </mc:Fallback>
            </mc:AlternateContent>
          </a:graphicData>
        </a:graphic>
      </p:graphicFrame>
      <p:sp>
        <p:nvSpPr>
          <p:cNvPr id="3" name="Rectangle 7">
            <a:extLst>
              <a:ext uri="{FF2B5EF4-FFF2-40B4-BE49-F238E27FC236}">
                <a16:creationId xmlns:a16="http://schemas.microsoft.com/office/drawing/2014/main" id="{33083470-F641-656A-861A-29BA5F76B202}"/>
              </a:ext>
            </a:extLst>
          </p:cNvPr>
          <p:cNvSpPr/>
          <p:nvPr/>
        </p:nvSpPr>
        <p:spPr>
          <a:xfrm>
            <a:off x="-10579" y="6620933"/>
            <a:ext cx="12213165" cy="237067"/>
          </a:xfrm>
          <a:prstGeom prst="rect">
            <a:avLst/>
          </a:prstGeom>
          <a:solidFill>
            <a:srgbClr val="767676"/>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graphicFrame>
        <p:nvGraphicFramePr>
          <p:cNvPr id="4" name="Object 7" hidden="1">
            <a:extLst>
              <a:ext uri="{FF2B5EF4-FFF2-40B4-BE49-F238E27FC236}">
                <a16:creationId xmlns:a16="http://schemas.microsoft.com/office/drawing/2014/main" id="{F45230DD-B55C-54E7-67D4-76AFF03FD2A9}"/>
              </a:ext>
            </a:extLst>
          </p:cNvPr>
          <p:cNvGraphicFramePr/>
          <p:nvPr/>
        </p:nvGraphicFramePr>
        <p:xfrm>
          <a:off x="2121" y="2121"/>
          <a:ext cx="2112" cy="2112"/>
        </p:xfrm>
        <a:graphic>
          <a:graphicData uri="http://schemas.openxmlformats.org/presentationml/2006/ole">
            <mc:AlternateContent xmlns:mc="http://schemas.openxmlformats.org/markup-compatibility/2006">
              <mc:Choice xmlns:v="urn:schemas-microsoft-com:vml" Requires="v">
                <p:oleObj r:id="rId4" imgW="12700" imgH="12700" progId="">
                  <p:embed/>
                </p:oleObj>
              </mc:Choice>
              <mc:Fallback>
                <p:oleObj r:id="rId4" imgW="12700" imgH="12700" progId="">
                  <p:embed/>
                  <p:pic>
                    <p:nvPicPr>
                      <p:cNvPr id="4" name="Object 7" hidden="1">
                        <a:extLst>
                          <a:ext uri="{FF2B5EF4-FFF2-40B4-BE49-F238E27FC236}">
                            <a16:creationId xmlns:a16="http://schemas.microsoft.com/office/drawing/2014/main" id="{F45230DD-B55C-54E7-67D4-76AFF03FD2A9}"/>
                          </a:ext>
                        </a:extLst>
                      </p:cNvPr>
                      <p:cNvPicPr/>
                      <p:nvPr/>
                    </p:nvPicPr>
                    <p:blipFill>
                      <a:blip r:embed="rId3"/>
                      <a:stretch>
                        <a:fillRect/>
                      </a:stretch>
                    </p:blipFill>
                    <p:spPr>
                      <a:xfrm>
                        <a:off x="2121" y="2121"/>
                        <a:ext cx="2112" cy="2112"/>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B95433B6-22FB-4787-1503-F21D568F42B1}"/>
              </a:ext>
            </a:extLst>
          </p:cNvPr>
          <p:cNvSpPr txBox="1">
            <a:spLocks noGrp="1"/>
          </p:cNvSpPr>
          <p:nvPr>
            <p:ph type="title"/>
          </p:nvPr>
        </p:nvSpPr>
        <p:spPr>
          <a:xfrm>
            <a:off x="218112" y="224842"/>
            <a:ext cx="11715722" cy="569323"/>
          </a:xfrm>
        </p:spPr>
        <p:txBody>
          <a:bodyPr/>
          <a:lstStyle>
            <a:lvl1pPr>
              <a:defRPr sz="2933">
                <a:solidFill>
                  <a:srgbClr val="79818A"/>
                </a:solidFill>
              </a:defRPr>
            </a:lvl1pPr>
          </a:lstStyle>
          <a:p>
            <a:pPr lvl="0"/>
            <a:r>
              <a:rPr lang="en-US"/>
              <a:t>Click to edit Master title style</a:t>
            </a:r>
          </a:p>
        </p:txBody>
      </p:sp>
      <p:sp>
        <p:nvSpPr>
          <p:cNvPr id="6" name="Content Placeholder 2">
            <a:extLst>
              <a:ext uri="{FF2B5EF4-FFF2-40B4-BE49-F238E27FC236}">
                <a16:creationId xmlns:a16="http://schemas.microsoft.com/office/drawing/2014/main" id="{CD3E7CA1-A636-CFA2-6B7E-3622D625AF15}"/>
              </a:ext>
            </a:extLst>
          </p:cNvPr>
          <p:cNvSpPr txBox="1">
            <a:spLocks noGrp="1"/>
          </p:cNvSpPr>
          <p:nvPr>
            <p:ph idx="4294967295"/>
          </p:nvPr>
        </p:nvSpPr>
        <p:spPr>
          <a:xfrm>
            <a:off x="218112" y="917198"/>
            <a:ext cx="11715722" cy="4958672"/>
          </a:xfrm>
        </p:spPr>
        <p:txBody>
          <a:bodyPr/>
          <a:lstStyle>
            <a:lvl1pPr marL="381031" indent="-381031">
              <a:buFont typeface="Wingdings" pitchFamily="2"/>
              <a:buChar char="§"/>
              <a:defRPr sz="1867" b="1"/>
            </a:lvl1pPr>
            <a:lvl2pPr marL="609642" indent="-296353">
              <a:buChar char="̶"/>
              <a:defRPr sz="1867"/>
            </a:lvl2pPr>
            <a:lvl3pPr marL="922931" indent="-313289">
              <a:defRPr sz="1867"/>
            </a:lvl3pPr>
            <a:lvl4pPr marL="1219294" indent="-296353">
              <a:buFont typeface="Wingdings" pitchFamily="2"/>
              <a:buChar char="ü"/>
              <a:defRPr sz="1867"/>
            </a:lvl4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781A0C41-F535-DCB8-CEA4-56BF59FEBF19}"/>
              </a:ext>
            </a:extLst>
          </p:cNvPr>
          <p:cNvSpPr txBox="1">
            <a:spLocks noGrp="1"/>
          </p:cNvSpPr>
          <p:nvPr>
            <p:ph type="body" idx="4294967295"/>
          </p:nvPr>
        </p:nvSpPr>
        <p:spPr>
          <a:xfrm>
            <a:off x="3858942" y="5969002"/>
            <a:ext cx="8074901" cy="649818"/>
          </a:xfrm>
        </p:spPr>
        <p:txBody>
          <a:bodyPr anchor="b"/>
          <a:lstStyle>
            <a:lvl1pPr>
              <a:defRPr sz="1333"/>
            </a:lvl1pPr>
          </a:lstStyle>
          <a:p>
            <a:pPr lvl="0"/>
            <a:r>
              <a:rPr lang="en-US"/>
              <a:t>Edit Master text styles</a:t>
            </a:r>
          </a:p>
        </p:txBody>
      </p:sp>
      <p:sp>
        <p:nvSpPr>
          <p:cNvPr id="8" name="Slide Number Placeholder 3">
            <a:extLst>
              <a:ext uri="{FF2B5EF4-FFF2-40B4-BE49-F238E27FC236}">
                <a16:creationId xmlns:a16="http://schemas.microsoft.com/office/drawing/2014/main" id="{8E1F4E01-2A6C-A822-3C0B-C55FF877A9FA}"/>
              </a:ext>
            </a:extLst>
          </p:cNvPr>
          <p:cNvSpPr txBox="1">
            <a:spLocks noGrp="1"/>
          </p:cNvSpPr>
          <p:nvPr>
            <p:ph type="sldNum" sz="quarter" idx="8"/>
          </p:nvPr>
        </p:nvSpPr>
        <p:spPr/>
        <p:txBody>
          <a:bodyPr/>
          <a:lstStyle>
            <a:lvl1pPr>
              <a:defRPr sz="1467">
                <a:solidFill>
                  <a:srgbClr val="FFFFFF"/>
                </a:solidFill>
              </a:defRPr>
            </a:lvl1pPr>
          </a:lstStyle>
          <a:p>
            <a:pPr lvl="0"/>
            <a:fld id="{0AB5583C-EB87-4888-8FE6-52C20A0FFE7F}" type="slidenum">
              <a:t>‹#›</a:t>
            </a:fld>
            <a:endParaRPr lang="en-US"/>
          </a:p>
        </p:txBody>
      </p:sp>
      <p:pic>
        <p:nvPicPr>
          <p:cNvPr id="9" name="Picture 3" descr="M:\Marketing Communication and Referral Access\Luis\newbrand\UCM_logo\master\horizontal\UCM_Logo_Master_Brand_Horizontal_Tagline_rgb.jpg">
            <a:extLst>
              <a:ext uri="{FF2B5EF4-FFF2-40B4-BE49-F238E27FC236}">
                <a16:creationId xmlns:a16="http://schemas.microsoft.com/office/drawing/2014/main" id="{99036464-93AF-A673-843A-78D4F369E606}"/>
              </a:ext>
            </a:extLst>
          </p:cNvPr>
          <p:cNvPicPr>
            <a:picLocks noChangeAspect="1"/>
          </p:cNvPicPr>
          <p:nvPr/>
        </p:nvPicPr>
        <p:blipFill>
          <a:blip r:embed="rId5"/>
          <a:srcRect/>
          <a:stretch>
            <a:fillRect/>
          </a:stretch>
        </p:blipFill>
        <p:spPr>
          <a:xfrm>
            <a:off x="101598" y="5969002"/>
            <a:ext cx="3704344" cy="651930"/>
          </a:xfrm>
          <a:prstGeom prst="rect">
            <a:avLst/>
          </a:prstGeom>
          <a:noFill/>
          <a:ln cap="flat">
            <a:noFill/>
          </a:ln>
        </p:spPr>
      </p:pic>
    </p:spTree>
    <p:extLst>
      <p:ext uri="{BB962C8B-B14F-4D97-AF65-F5344CB8AC3E}">
        <p14:creationId xmlns:p14="http://schemas.microsoft.com/office/powerpoint/2010/main" val="3273576778"/>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showMasterSp="0" preserve="1">
  <p:cSld name="4_Table of Content">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0C55AC4E-D74E-FDB2-09C8-7828FF448DA1}"/>
              </a:ext>
            </a:extLst>
          </p:cNvPr>
          <p:cNvGraphicFramePr/>
          <p:nvPr/>
        </p:nvGraphicFramePr>
        <p:xfrm>
          <a:off x="2121" y="2121"/>
          <a:ext cx="2112" cy="2112"/>
        </p:xfrm>
        <a:graphic>
          <a:graphicData uri="http://schemas.openxmlformats.org/presentationml/2006/ole">
            <mc:AlternateContent xmlns:mc="http://schemas.openxmlformats.org/markup-compatibility/2006">
              <mc:Choice xmlns:v="urn:schemas-microsoft-com:vml" Requires="v">
                <p:oleObj r:id="rId2" imgW="12700" imgH="12700" progId="">
                  <p:embed/>
                </p:oleObj>
              </mc:Choice>
              <mc:Fallback>
                <p:oleObj r:id="rId2" imgW="12700" imgH="12700" progId="">
                  <p:embed/>
                  <p:pic>
                    <p:nvPicPr>
                      <p:cNvPr id="2" name="Object 2" hidden="1">
                        <a:extLst>
                          <a:ext uri="{FF2B5EF4-FFF2-40B4-BE49-F238E27FC236}">
                            <a16:creationId xmlns:a16="http://schemas.microsoft.com/office/drawing/2014/main" id="{0C55AC4E-D74E-FDB2-09C8-7828FF448DA1}"/>
                          </a:ext>
                        </a:extLst>
                      </p:cNvPr>
                      <p:cNvPicPr/>
                      <p:nvPr/>
                    </p:nvPicPr>
                    <p:blipFill>
                      <a:blip r:embed="rId3"/>
                      <a:stretch>
                        <a:fillRect/>
                      </a:stretch>
                    </p:blipFill>
                    <p:spPr>
                      <a:xfrm>
                        <a:off x="2121" y="2121"/>
                        <a:ext cx="2112" cy="2112"/>
                      </a:xfrm>
                      <a:prstGeom prst="rect">
                        <a:avLst/>
                      </a:prstGeom>
                    </p:spPr>
                  </p:pic>
                </p:oleObj>
              </mc:Fallback>
            </mc:AlternateContent>
          </a:graphicData>
        </a:graphic>
      </p:graphicFrame>
      <p:sp>
        <p:nvSpPr>
          <p:cNvPr id="3" name="Rectangle 7">
            <a:extLst>
              <a:ext uri="{FF2B5EF4-FFF2-40B4-BE49-F238E27FC236}">
                <a16:creationId xmlns:a16="http://schemas.microsoft.com/office/drawing/2014/main" id="{8E2D75A4-4985-77C4-62ED-BAC71C5BAC06}"/>
              </a:ext>
            </a:extLst>
          </p:cNvPr>
          <p:cNvSpPr/>
          <p:nvPr/>
        </p:nvSpPr>
        <p:spPr>
          <a:xfrm>
            <a:off x="-10579" y="6620933"/>
            <a:ext cx="12213165" cy="237067"/>
          </a:xfrm>
          <a:prstGeom prst="rect">
            <a:avLst/>
          </a:prstGeom>
          <a:solidFill>
            <a:srgbClr val="767676"/>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graphicFrame>
        <p:nvGraphicFramePr>
          <p:cNvPr id="4" name="Object 7" hidden="1">
            <a:extLst>
              <a:ext uri="{FF2B5EF4-FFF2-40B4-BE49-F238E27FC236}">
                <a16:creationId xmlns:a16="http://schemas.microsoft.com/office/drawing/2014/main" id="{C57671F0-33D5-AF4A-1D5A-4B274BB93BA2}"/>
              </a:ext>
            </a:extLst>
          </p:cNvPr>
          <p:cNvGraphicFramePr/>
          <p:nvPr/>
        </p:nvGraphicFramePr>
        <p:xfrm>
          <a:off x="2121" y="2121"/>
          <a:ext cx="2112" cy="2112"/>
        </p:xfrm>
        <a:graphic>
          <a:graphicData uri="http://schemas.openxmlformats.org/presentationml/2006/ole">
            <mc:AlternateContent xmlns:mc="http://schemas.openxmlformats.org/markup-compatibility/2006">
              <mc:Choice xmlns:v="urn:schemas-microsoft-com:vml" Requires="v">
                <p:oleObj r:id="rId4" imgW="12700" imgH="12700" progId="">
                  <p:embed/>
                </p:oleObj>
              </mc:Choice>
              <mc:Fallback>
                <p:oleObj r:id="rId4" imgW="12700" imgH="12700" progId="">
                  <p:embed/>
                  <p:pic>
                    <p:nvPicPr>
                      <p:cNvPr id="4" name="Object 7" hidden="1">
                        <a:extLst>
                          <a:ext uri="{FF2B5EF4-FFF2-40B4-BE49-F238E27FC236}">
                            <a16:creationId xmlns:a16="http://schemas.microsoft.com/office/drawing/2014/main" id="{C57671F0-33D5-AF4A-1D5A-4B274BB93BA2}"/>
                          </a:ext>
                        </a:extLst>
                      </p:cNvPr>
                      <p:cNvPicPr/>
                      <p:nvPr/>
                    </p:nvPicPr>
                    <p:blipFill>
                      <a:blip r:embed="rId3"/>
                      <a:stretch>
                        <a:fillRect/>
                      </a:stretch>
                    </p:blipFill>
                    <p:spPr>
                      <a:xfrm>
                        <a:off x="2121" y="2121"/>
                        <a:ext cx="2112" cy="2112"/>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F2151B93-295D-C038-7BD2-0F548D996E2A}"/>
              </a:ext>
            </a:extLst>
          </p:cNvPr>
          <p:cNvSpPr txBox="1">
            <a:spLocks noGrp="1"/>
          </p:cNvSpPr>
          <p:nvPr>
            <p:ph type="title"/>
          </p:nvPr>
        </p:nvSpPr>
        <p:spPr>
          <a:xfrm>
            <a:off x="218112" y="224842"/>
            <a:ext cx="11715722" cy="569323"/>
          </a:xfrm>
        </p:spPr>
        <p:txBody>
          <a:bodyPr/>
          <a:lstStyle>
            <a:lvl1pPr>
              <a:defRPr sz="2933">
                <a:solidFill>
                  <a:srgbClr val="79818A"/>
                </a:solidFill>
              </a:defRPr>
            </a:lvl1pPr>
          </a:lstStyle>
          <a:p>
            <a:pPr lvl="0"/>
            <a:r>
              <a:rPr lang="en-US"/>
              <a:t>Click to edit Master title style</a:t>
            </a:r>
          </a:p>
        </p:txBody>
      </p:sp>
      <p:sp>
        <p:nvSpPr>
          <p:cNvPr id="6" name="Content Placeholder 2">
            <a:extLst>
              <a:ext uri="{FF2B5EF4-FFF2-40B4-BE49-F238E27FC236}">
                <a16:creationId xmlns:a16="http://schemas.microsoft.com/office/drawing/2014/main" id="{C9EB52F4-40F7-8567-F964-29CC64A0BFE8}"/>
              </a:ext>
            </a:extLst>
          </p:cNvPr>
          <p:cNvSpPr txBox="1">
            <a:spLocks noGrp="1"/>
          </p:cNvSpPr>
          <p:nvPr>
            <p:ph idx="4294967295"/>
          </p:nvPr>
        </p:nvSpPr>
        <p:spPr>
          <a:xfrm>
            <a:off x="218112" y="917198"/>
            <a:ext cx="11715722" cy="4958672"/>
          </a:xfrm>
        </p:spPr>
        <p:txBody>
          <a:bodyPr/>
          <a:lstStyle>
            <a:lvl1pPr marL="381012" indent="-381012">
              <a:buFont typeface="Wingdings" pitchFamily="2"/>
              <a:buChar char="§"/>
              <a:defRPr sz="1867" b="1"/>
            </a:lvl1pPr>
            <a:lvl2pPr marL="609614" indent="-296344">
              <a:buChar char="̶"/>
              <a:defRPr sz="1867"/>
            </a:lvl2pPr>
            <a:lvl3pPr marL="922885" indent="-313271">
              <a:defRPr sz="1867"/>
            </a:lvl3pPr>
            <a:lvl4pPr marL="1219230" indent="-296344">
              <a:buFont typeface="Wingdings" pitchFamily="2"/>
              <a:buChar char="ü"/>
              <a:defRPr sz="1867"/>
            </a:lvl4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343F8356-7E3B-27A8-10DA-BE045BCF1E3F}"/>
              </a:ext>
            </a:extLst>
          </p:cNvPr>
          <p:cNvSpPr txBox="1">
            <a:spLocks noGrp="1"/>
          </p:cNvSpPr>
          <p:nvPr>
            <p:ph type="body" idx="4294967295"/>
          </p:nvPr>
        </p:nvSpPr>
        <p:spPr>
          <a:xfrm>
            <a:off x="3858933" y="5969002"/>
            <a:ext cx="8074901" cy="649818"/>
          </a:xfrm>
        </p:spPr>
        <p:txBody>
          <a:bodyPr anchor="b"/>
          <a:lstStyle>
            <a:lvl1pPr>
              <a:defRPr sz="1333"/>
            </a:lvl1pPr>
          </a:lstStyle>
          <a:p>
            <a:pPr lvl="0"/>
            <a:r>
              <a:rPr lang="en-US"/>
              <a:t>Edit Master text styles</a:t>
            </a:r>
          </a:p>
        </p:txBody>
      </p:sp>
      <p:sp>
        <p:nvSpPr>
          <p:cNvPr id="8" name="Slide Number Placeholder 3">
            <a:extLst>
              <a:ext uri="{FF2B5EF4-FFF2-40B4-BE49-F238E27FC236}">
                <a16:creationId xmlns:a16="http://schemas.microsoft.com/office/drawing/2014/main" id="{C0562D1C-088E-9F3C-480A-905B27A596B0}"/>
              </a:ext>
            </a:extLst>
          </p:cNvPr>
          <p:cNvSpPr txBox="1">
            <a:spLocks noGrp="1"/>
          </p:cNvSpPr>
          <p:nvPr>
            <p:ph type="sldNum" sz="quarter" idx="8"/>
          </p:nvPr>
        </p:nvSpPr>
        <p:spPr/>
        <p:txBody>
          <a:bodyPr/>
          <a:lstStyle>
            <a:lvl1pPr>
              <a:defRPr sz="1467">
                <a:solidFill>
                  <a:srgbClr val="FFFFFF"/>
                </a:solidFill>
              </a:defRPr>
            </a:lvl1pPr>
          </a:lstStyle>
          <a:p>
            <a:pPr lvl="0"/>
            <a:fld id="{1A05ED93-2F70-4D85-AA45-3DD6AAA465AE}" type="slidenum">
              <a:t>‹#›</a:t>
            </a:fld>
            <a:endParaRPr lang="en-US"/>
          </a:p>
        </p:txBody>
      </p:sp>
      <p:pic>
        <p:nvPicPr>
          <p:cNvPr id="9" name="Picture 3" descr="M:\Marketing Communication and Referral Access\Luis\newbrand\UCM_logo\master\horizontal\UCM_Logo_Master_Brand_Horizontal_Tagline_rgb.jpg">
            <a:extLst>
              <a:ext uri="{FF2B5EF4-FFF2-40B4-BE49-F238E27FC236}">
                <a16:creationId xmlns:a16="http://schemas.microsoft.com/office/drawing/2014/main" id="{DF3E8318-F476-83F2-EF2C-60B56C09C44A}"/>
              </a:ext>
            </a:extLst>
          </p:cNvPr>
          <p:cNvPicPr>
            <a:picLocks noChangeAspect="1"/>
          </p:cNvPicPr>
          <p:nvPr/>
        </p:nvPicPr>
        <p:blipFill>
          <a:blip r:embed="rId5"/>
          <a:srcRect/>
          <a:stretch>
            <a:fillRect/>
          </a:stretch>
        </p:blipFill>
        <p:spPr>
          <a:xfrm>
            <a:off x="101598" y="5969002"/>
            <a:ext cx="3704344" cy="651930"/>
          </a:xfrm>
          <a:prstGeom prst="rect">
            <a:avLst/>
          </a:prstGeom>
          <a:noFill/>
          <a:ln cap="flat">
            <a:noFill/>
          </a:ln>
        </p:spPr>
      </p:pic>
    </p:spTree>
    <p:extLst>
      <p:ext uri="{BB962C8B-B14F-4D97-AF65-F5344CB8AC3E}">
        <p14:creationId xmlns:p14="http://schemas.microsoft.com/office/powerpoint/2010/main" val="2543142590"/>
      </p:ext>
    </p:extLst>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showMasterSp="0" preserve="1">
  <p:cSld name="8_EVERYDAY CONTENT ONLY">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992BD13C-6B70-DF95-F76F-08B9A311CE18}"/>
              </a:ext>
            </a:extLst>
          </p:cNvPr>
          <p:cNvSpPr/>
          <p:nvPr/>
        </p:nvSpPr>
        <p:spPr>
          <a:xfrm>
            <a:off x="0" y="0"/>
            <a:ext cx="12191996" cy="1313060"/>
          </a:xfrm>
          <a:prstGeom prst="rect">
            <a:avLst/>
          </a:prstGeom>
          <a:gradFill>
            <a:gsLst>
              <a:gs pos="0">
                <a:srgbClr val="1C498B"/>
              </a:gs>
              <a:gs pos="100000">
                <a:srgbClr val="79818A"/>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Shape">
            <a:extLst>
              <a:ext uri="{FF2B5EF4-FFF2-40B4-BE49-F238E27FC236}">
                <a16:creationId xmlns:a16="http://schemas.microsoft.com/office/drawing/2014/main" id="{2164ADBA-536B-EBB0-F698-BB6997C96036}"/>
              </a:ext>
            </a:extLst>
          </p:cNvPr>
          <p:cNvSpPr/>
          <p:nvPr/>
        </p:nvSpPr>
        <p:spPr>
          <a:xfrm>
            <a:off x="6863642" y="16268"/>
            <a:ext cx="5328355" cy="812270"/>
          </a:xfrm>
          <a:custGeom>
            <a:avLst/>
            <a:gdLst>
              <a:gd name="f0" fmla="val 10800000"/>
              <a:gd name="f1" fmla="val 5400000"/>
              <a:gd name="f2" fmla="val 180"/>
              <a:gd name="f3" fmla="val w"/>
              <a:gd name="f4" fmla="val h"/>
              <a:gd name="f5" fmla="val 0"/>
              <a:gd name="f6" fmla="val 21600"/>
              <a:gd name="f7" fmla="val 20619"/>
              <a:gd name="f8" fmla="val 7043"/>
              <a:gd name="f9" fmla="val 1599"/>
              <a:gd name="f10" fmla="val 10431"/>
              <a:gd name="f11" fmla="val 3359"/>
              <a:gd name="f12" fmla="val 12009"/>
              <a:gd name="f13" fmla="val 5125"/>
              <a:gd name="f14" fmla="val 11638"/>
              <a:gd name="f15" fmla="val 8965"/>
              <a:gd name="f16" fmla="val 10834"/>
              <a:gd name="f17" fmla="val 12429"/>
              <a:gd name="f18" fmla="val 1037"/>
              <a:gd name="f19" fmla="val 16255"/>
              <a:gd name="f20" fmla="val 77"/>
              <a:gd name="f21" fmla="val 18093"/>
              <a:gd name="f22" fmla="+- 0 0 385"/>
              <a:gd name="f23" fmla="val 19927"/>
              <a:gd name="f24" fmla="val 1227"/>
              <a:gd name="f25" fmla="val 21590"/>
              <a:gd name="f26" fmla="val 4766"/>
              <a:gd name="f27" fmla="val 14041"/>
              <a:gd name="f28" fmla="val 19718"/>
              <a:gd name="f29" fmla="val 9870"/>
              <a:gd name="f30" fmla="val 17612"/>
              <a:gd name="f31" fmla="val 8157"/>
              <a:gd name="f32" fmla="val 15523"/>
              <a:gd name="f33" fmla="val 9097"/>
              <a:gd name="f34" fmla="val 12138"/>
              <a:gd name="f35" fmla="val 10620"/>
              <a:gd name="f36" fmla="val 9076"/>
              <a:gd name="f37" fmla="val 19001"/>
              <a:gd name="f38" fmla="val 5674"/>
              <a:gd name="f39" fmla="val 20410"/>
              <a:gd name="f40" fmla="val 3728"/>
              <a:gd name="f41" fmla="val 21215"/>
              <a:gd name="f42" fmla="val 1770"/>
              <a:gd name="f43" fmla="val 19679"/>
              <a:gd name="f44" fmla="val 15961"/>
              <a:gd name="f45" fmla="+- 0 0 -90"/>
              <a:gd name="f46" fmla="+- 0 0 -180"/>
              <a:gd name="f47" fmla="+- 0 0 -270"/>
              <a:gd name="f48" fmla="+- 0 0 -360"/>
              <a:gd name="f49" fmla="*/ f3 1 21600"/>
              <a:gd name="f50" fmla="*/ f4 1 20619"/>
              <a:gd name="f51" fmla="+- f7 0 f5"/>
              <a:gd name="f52" fmla="+- f6 0 f5"/>
              <a:gd name="f53" fmla="*/ f45 f0 1"/>
              <a:gd name="f54" fmla="*/ f46 f0 1"/>
              <a:gd name="f55" fmla="*/ f47 f0 1"/>
              <a:gd name="f56" fmla="*/ f48 f0 1"/>
              <a:gd name="f57" fmla="*/ f51 1 2"/>
              <a:gd name="f58" fmla="*/ f52 1 2"/>
              <a:gd name="f59" fmla="*/ f52 1 21600"/>
              <a:gd name="f60" fmla="*/ f51 1 20619"/>
              <a:gd name="f61" fmla="*/ f53 1 f2"/>
              <a:gd name="f62" fmla="*/ f54 1 f2"/>
              <a:gd name="f63" fmla="*/ f55 1 f2"/>
              <a:gd name="f64" fmla="*/ f56 1 f2"/>
              <a:gd name="f65" fmla="*/ f58 1 f59"/>
              <a:gd name="f66" fmla="*/ f57 1 f60"/>
              <a:gd name="f67" fmla="*/ 0 1 f59"/>
              <a:gd name="f68" fmla="*/ f6 1 f59"/>
              <a:gd name="f69" fmla="*/ 0 1 f60"/>
              <a:gd name="f70" fmla="*/ f7 1 f60"/>
              <a:gd name="f71" fmla="+- f61 0 f1"/>
              <a:gd name="f72" fmla="+- f62 0 f1"/>
              <a:gd name="f73" fmla="+- f63 0 f1"/>
              <a:gd name="f74" fmla="+- f64 0 f1"/>
              <a:gd name="f75" fmla="*/ f67 f49 1"/>
              <a:gd name="f76" fmla="*/ f68 f49 1"/>
              <a:gd name="f77" fmla="*/ f70 f50 1"/>
              <a:gd name="f78" fmla="*/ f69 f50 1"/>
              <a:gd name="f79" fmla="*/ f65 f49 1"/>
              <a:gd name="f80" fmla="*/ f66 f50 1"/>
            </a:gdLst>
            <a:ahLst/>
            <a:cxnLst>
              <a:cxn ang="3cd4">
                <a:pos x="hc" y="t"/>
              </a:cxn>
              <a:cxn ang="0">
                <a:pos x="r" y="vc"/>
              </a:cxn>
              <a:cxn ang="cd4">
                <a:pos x="hc" y="b"/>
              </a:cxn>
              <a:cxn ang="cd2">
                <a:pos x="l" y="vc"/>
              </a:cxn>
              <a:cxn ang="f71">
                <a:pos x="f79" y="f80"/>
              </a:cxn>
              <a:cxn ang="f72">
                <a:pos x="f79" y="f80"/>
              </a:cxn>
              <a:cxn ang="f73">
                <a:pos x="f79" y="f80"/>
              </a:cxn>
              <a:cxn ang="f74">
                <a:pos x="f79" y="f80"/>
              </a:cxn>
            </a:cxnLst>
            <a:rect l="f75" t="f78" r="f76" b="f77"/>
            <a:pathLst>
              <a:path w="21600" h="20619">
                <a:moveTo>
                  <a:pt x="f5" y="f8"/>
                </a:moveTo>
                <a:cubicBezTo>
                  <a:pt x="f9" y="f10"/>
                  <a:pt x="f11" y="f12"/>
                  <a:pt x="f13" y="f14"/>
                </a:cubicBezTo>
                <a:cubicBezTo>
                  <a:pt x="f15" y="f16"/>
                  <a:pt x="f17" y="f18"/>
                  <a:pt x="f19" y="f20"/>
                </a:cubicBezTo>
                <a:cubicBezTo>
                  <a:pt x="f21" y="f22"/>
                  <a:pt x="f23" y="f24"/>
                  <a:pt x="f25" y="f26"/>
                </a:cubicBezTo>
                <a:lnTo>
                  <a:pt x="f6" y="f27"/>
                </a:lnTo>
                <a:cubicBezTo>
                  <a:pt x="f28" y="f29"/>
                  <a:pt x="f30" y="f31"/>
                  <a:pt x="f32" y="f33"/>
                </a:cubicBezTo>
                <a:cubicBezTo>
                  <a:pt x="f34" y="f35"/>
                  <a:pt x="f36" y="f37"/>
                  <a:pt x="f38" y="f39"/>
                </a:cubicBezTo>
                <a:cubicBezTo>
                  <a:pt x="f40" y="f41"/>
                  <a:pt x="f42" y="f43"/>
                  <a:pt x="f5" y="f44"/>
                </a:cubicBezTo>
                <a:lnTo>
                  <a:pt x="f5" y="f8"/>
                </a:lnTo>
                <a:close/>
              </a:path>
            </a:pathLst>
          </a:custGeom>
          <a:gradFill>
            <a:gsLst>
              <a:gs pos="0">
                <a:srgbClr val="1C498B">
                  <a:alpha val="0"/>
                </a:srgbClr>
              </a:gs>
              <a:gs pos="100000">
                <a:srgbClr val="1C498B">
                  <a:alpha val="63000"/>
                </a:srgbClr>
              </a:gs>
            </a:gsLst>
            <a:lin ang="0"/>
          </a:gradFill>
          <a:ln cap="flat">
            <a:noFill/>
            <a:prstDash val="solid"/>
          </a:ln>
        </p:spPr>
        <p:txBody>
          <a:bodyPr vert="horz" wrap="square" lIns="0" tIns="0" rIns="0" bIns="0" anchor="ctr" anchorCtr="1" compatLnSpc="1">
            <a:noAutofit/>
          </a:bodyPr>
          <a:lstStyle/>
          <a:p>
            <a:pPr marL="0" marR="0" lvl="0" indent="0" algn="ctr" defTabSz="412772" rtl="0" fontAlgn="auto" hangingPunct="0">
              <a:lnSpc>
                <a:spcPct val="100000"/>
              </a:lnSpc>
              <a:spcBef>
                <a:spcPts val="0"/>
              </a:spcBef>
              <a:spcAft>
                <a:spcPts val="0"/>
              </a:spcAft>
              <a:buNone/>
              <a:tabLst/>
              <a:defRPr sz="2400" b="0" i="0" u="none" strike="noStrike" kern="0" cap="none" spc="0" baseline="0">
                <a:solidFill>
                  <a:srgbClr val="FFFFFF"/>
                </a:solidFill>
                <a:uFillTx/>
                <a:latin typeface="Helvetica Neue Medium"/>
                <a:ea typeface="Helvetica Neue Medium"/>
                <a:cs typeface="Helvetica Neue Medium"/>
              </a:defRPr>
            </a:pPr>
            <a:endParaRPr lang="en-US" sz="1525" b="0" i="0" u="none" strike="noStrike" kern="0" cap="none" spc="0" baseline="0">
              <a:solidFill>
                <a:srgbClr val="FFFFFF"/>
              </a:solidFill>
              <a:uFillTx/>
              <a:latin typeface="Helvetica Neue Medium"/>
              <a:ea typeface="Helvetica Neue Medium"/>
              <a:cs typeface="Helvetica Neue Medium"/>
            </a:endParaRPr>
          </a:p>
        </p:txBody>
      </p:sp>
      <p:sp>
        <p:nvSpPr>
          <p:cNvPr id="4" name="Content Placeholder 2">
            <a:extLst>
              <a:ext uri="{FF2B5EF4-FFF2-40B4-BE49-F238E27FC236}">
                <a16:creationId xmlns:a16="http://schemas.microsoft.com/office/drawing/2014/main" id="{F06E2022-3A29-1B86-6365-929358C6E632}"/>
              </a:ext>
            </a:extLst>
          </p:cNvPr>
          <p:cNvSpPr txBox="1">
            <a:spLocks noGrp="1"/>
          </p:cNvSpPr>
          <p:nvPr>
            <p:ph idx="4294967295"/>
          </p:nvPr>
        </p:nvSpPr>
        <p:spPr>
          <a:xfrm>
            <a:off x="508544" y="1707789"/>
            <a:ext cx="11203667" cy="4648571"/>
          </a:xfrm>
        </p:spPr>
        <p:txBody>
          <a:bodyPr/>
          <a:lstStyle>
            <a:lvl1pPr>
              <a:defRPr>
                <a:solidFill>
                  <a:srgbClr val="4C555F"/>
                </a:solidFill>
              </a:defRPr>
            </a:lvl1pPr>
            <a:lvl2pPr>
              <a:defRPr>
                <a:solidFill>
                  <a:srgbClr val="4C555F"/>
                </a:solidFill>
              </a:defRPr>
            </a:lvl2pPr>
            <a:lvl3pPr>
              <a:defRPr>
                <a:solidFill>
                  <a:srgbClr val="4C555F"/>
                </a:solidFill>
              </a:defRPr>
            </a:lvl3pPr>
            <a:lvl4pPr>
              <a:defRPr>
                <a:solidFill>
                  <a:srgbClr val="4C555F"/>
                </a:solidFill>
              </a:defRPr>
            </a:lvl4pPr>
            <a:lvl5pPr>
              <a:defRPr>
                <a:solidFill>
                  <a:srgbClr val="4C555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hape">
            <a:extLst>
              <a:ext uri="{FF2B5EF4-FFF2-40B4-BE49-F238E27FC236}">
                <a16:creationId xmlns:a16="http://schemas.microsoft.com/office/drawing/2014/main" id="{0832400C-5737-C412-1D31-C9CBAF70DF78}"/>
              </a:ext>
            </a:extLst>
          </p:cNvPr>
          <p:cNvSpPr/>
          <p:nvPr/>
        </p:nvSpPr>
        <p:spPr>
          <a:xfrm>
            <a:off x="6863642" y="519644"/>
            <a:ext cx="5328355" cy="812270"/>
          </a:xfrm>
          <a:custGeom>
            <a:avLst/>
            <a:gdLst>
              <a:gd name="f0" fmla="val 10800000"/>
              <a:gd name="f1" fmla="val 5400000"/>
              <a:gd name="f2" fmla="val 180"/>
              <a:gd name="f3" fmla="val w"/>
              <a:gd name="f4" fmla="val h"/>
              <a:gd name="f5" fmla="val 0"/>
              <a:gd name="f6" fmla="val 21600"/>
              <a:gd name="f7" fmla="val 20619"/>
              <a:gd name="f8" fmla="val 7043"/>
              <a:gd name="f9" fmla="val 1599"/>
              <a:gd name="f10" fmla="val 10431"/>
              <a:gd name="f11" fmla="val 3359"/>
              <a:gd name="f12" fmla="val 12009"/>
              <a:gd name="f13" fmla="val 5125"/>
              <a:gd name="f14" fmla="val 11638"/>
              <a:gd name="f15" fmla="val 8965"/>
              <a:gd name="f16" fmla="val 10834"/>
              <a:gd name="f17" fmla="val 12429"/>
              <a:gd name="f18" fmla="val 1037"/>
              <a:gd name="f19" fmla="val 16255"/>
              <a:gd name="f20" fmla="val 77"/>
              <a:gd name="f21" fmla="val 18093"/>
              <a:gd name="f22" fmla="+- 0 0 385"/>
              <a:gd name="f23" fmla="val 19927"/>
              <a:gd name="f24" fmla="val 1227"/>
              <a:gd name="f25" fmla="val 21590"/>
              <a:gd name="f26" fmla="val 4766"/>
              <a:gd name="f27" fmla="val 14041"/>
              <a:gd name="f28" fmla="val 19718"/>
              <a:gd name="f29" fmla="val 9870"/>
              <a:gd name="f30" fmla="val 17612"/>
              <a:gd name="f31" fmla="val 8157"/>
              <a:gd name="f32" fmla="val 15523"/>
              <a:gd name="f33" fmla="val 9097"/>
              <a:gd name="f34" fmla="val 12138"/>
              <a:gd name="f35" fmla="val 10620"/>
              <a:gd name="f36" fmla="val 9076"/>
              <a:gd name="f37" fmla="val 19001"/>
              <a:gd name="f38" fmla="val 5674"/>
              <a:gd name="f39" fmla="val 20410"/>
              <a:gd name="f40" fmla="val 3728"/>
              <a:gd name="f41" fmla="val 21215"/>
              <a:gd name="f42" fmla="val 1770"/>
              <a:gd name="f43" fmla="val 19679"/>
              <a:gd name="f44" fmla="val 15961"/>
              <a:gd name="f45" fmla="+- 0 0 -90"/>
              <a:gd name="f46" fmla="+- 0 0 -180"/>
              <a:gd name="f47" fmla="+- 0 0 -270"/>
              <a:gd name="f48" fmla="+- 0 0 -360"/>
              <a:gd name="f49" fmla="*/ f3 1 21600"/>
              <a:gd name="f50" fmla="*/ f4 1 20619"/>
              <a:gd name="f51" fmla="+- f7 0 f5"/>
              <a:gd name="f52" fmla="+- f6 0 f5"/>
              <a:gd name="f53" fmla="*/ f45 f0 1"/>
              <a:gd name="f54" fmla="*/ f46 f0 1"/>
              <a:gd name="f55" fmla="*/ f47 f0 1"/>
              <a:gd name="f56" fmla="*/ f48 f0 1"/>
              <a:gd name="f57" fmla="*/ f51 1 2"/>
              <a:gd name="f58" fmla="*/ f52 1 2"/>
              <a:gd name="f59" fmla="*/ f52 1 21600"/>
              <a:gd name="f60" fmla="*/ f51 1 20619"/>
              <a:gd name="f61" fmla="*/ f53 1 f2"/>
              <a:gd name="f62" fmla="*/ f54 1 f2"/>
              <a:gd name="f63" fmla="*/ f55 1 f2"/>
              <a:gd name="f64" fmla="*/ f56 1 f2"/>
              <a:gd name="f65" fmla="*/ f58 1 f59"/>
              <a:gd name="f66" fmla="*/ f57 1 f60"/>
              <a:gd name="f67" fmla="*/ 0 1 f59"/>
              <a:gd name="f68" fmla="*/ f6 1 f59"/>
              <a:gd name="f69" fmla="*/ 0 1 f60"/>
              <a:gd name="f70" fmla="*/ f7 1 f60"/>
              <a:gd name="f71" fmla="+- f61 0 f1"/>
              <a:gd name="f72" fmla="+- f62 0 f1"/>
              <a:gd name="f73" fmla="+- f63 0 f1"/>
              <a:gd name="f74" fmla="+- f64 0 f1"/>
              <a:gd name="f75" fmla="*/ f67 f49 1"/>
              <a:gd name="f76" fmla="*/ f68 f49 1"/>
              <a:gd name="f77" fmla="*/ f70 f50 1"/>
              <a:gd name="f78" fmla="*/ f69 f50 1"/>
              <a:gd name="f79" fmla="*/ f65 f49 1"/>
              <a:gd name="f80" fmla="*/ f66 f50 1"/>
            </a:gdLst>
            <a:ahLst/>
            <a:cxnLst>
              <a:cxn ang="3cd4">
                <a:pos x="hc" y="t"/>
              </a:cxn>
              <a:cxn ang="0">
                <a:pos x="r" y="vc"/>
              </a:cxn>
              <a:cxn ang="cd4">
                <a:pos x="hc" y="b"/>
              </a:cxn>
              <a:cxn ang="cd2">
                <a:pos x="l" y="vc"/>
              </a:cxn>
              <a:cxn ang="f71">
                <a:pos x="f79" y="f80"/>
              </a:cxn>
              <a:cxn ang="f72">
                <a:pos x="f79" y="f80"/>
              </a:cxn>
              <a:cxn ang="f73">
                <a:pos x="f79" y="f80"/>
              </a:cxn>
              <a:cxn ang="f74">
                <a:pos x="f79" y="f80"/>
              </a:cxn>
            </a:cxnLst>
            <a:rect l="f75" t="f78" r="f76" b="f77"/>
            <a:pathLst>
              <a:path w="21600" h="20619">
                <a:moveTo>
                  <a:pt x="f5" y="f8"/>
                </a:moveTo>
                <a:cubicBezTo>
                  <a:pt x="f9" y="f10"/>
                  <a:pt x="f11" y="f12"/>
                  <a:pt x="f13" y="f14"/>
                </a:cubicBezTo>
                <a:cubicBezTo>
                  <a:pt x="f15" y="f16"/>
                  <a:pt x="f17" y="f18"/>
                  <a:pt x="f19" y="f20"/>
                </a:cubicBezTo>
                <a:cubicBezTo>
                  <a:pt x="f21" y="f22"/>
                  <a:pt x="f23" y="f24"/>
                  <a:pt x="f25" y="f26"/>
                </a:cubicBezTo>
                <a:lnTo>
                  <a:pt x="f6" y="f27"/>
                </a:lnTo>
                <a:cubicBezTo>
                  <a:pt x="f28" y="f29"/>
                  <a:pt x="f30" y="f31"/>
                  <a:pt x="f32" y="f33"/>
                </a:cubicBezTo>
                <a:cubicBezTo>
                  <a:pt x="f34" y="f35"/>
                  <a:pt x="f36" y="f37"/>
                  <a:pt x="f38" y="f39"/>
                </a:cubicBezTo>
                <a:cubicBezTo>
                  <a:pt x="f40" y="f41"/>
                  <a:pt x="f42" y="f43"/>
                  <a:pt x="f5" y="f44"/>
                </a:cubicBezTo>
                <a:lnTo>
                  <a:pt x="f5" y="f8"/>
                </a:lnTo>
                <a:close/>
              </a:path>
            </a:pathLst>
          </a:custGeom>
          <a:gradFill>
            <a:gsLst>
              <a:gs pos="0">
                <a:srgbClr val="1C498B">
                  <a:alpha val="0"/>
                </a:srgbClr>
              </a:gs>
              <a:gs pos="100000">
                <a:srgbClr val="1C498B">
                  <a:alpha val="63000"/>
                </a:srgbClr>
              </a:gs>
            </a:gsLst>
            <a:lin ang="0"/>
          </a:gradFill>
          <a:ln cap="flat">
            <a:noFill/>
            <a:prstDash val="solid"/>
          </a:ln>
        </p:spPr>
        <p:txBody>
          <a:bodyPr vert="horz" wrap="square" lIns="0" tIns="0" rIns="0" bIns="0" anchor="ctr" anchorCtr="1" compatLnSpc="1">
            <a:noAutofit/>
          </a:bodyPr>
          <a:lstStyle/>
          <a:p>
            <a:pPr marL="0" marR="0" lvl="0" indent="0" algn="ctr" defTabSz="412772" rtl="0" fontAlgn="auto" hangingPunct="0">
              <a:lnSpc>
                <a:spcPct val="100000"/>
              </a:lnSpc>
              <a:spcBef>
                <a:spcPts val="0"/>
              </a:spcBef>
              <a:spcAft>
                <a:spcPts val="0"/>
              </a:spcAft>
              <a:buNone/>
              <a:tabLst/>
              <a:defRPr sz="2400" b="0" i="0" u="none" strike="noStrike" kern="0" cap="none" spc="0" baseline="0">
                <a:solidFill>
                  <a:srgbClr val="FFFFFF"/>
                </a:solidFill>
                <a:uFillTx/>
                <a:latin typeface="Helvetica Neue Medium"/>
                <a:ea typeface="Helvetica Neue Medium"/>
                <a:cs typeface="Helvetica Neue Medium"/>
              </a:defRPr>
            </a:pPr>
            <a:endParaRPr lang="en-US" sz="1525" b="0" i="0" u="none" strike="noStrike" kern="0" cap="none" spc="0" baseline="0">
              <a:solidFill>
                <a:srgbClr val="FFFFFF"/>
              </a:solidFill>
              <a:uFillTx/>
              <a:latin typeface="Helvetica Neue Medium"/>
              <a:ea typeface="Helvetica Neue Medium"/>
              <a:cs typeface="Helvetica Neue Medium"/>
            </a:endParaRPr>
          </a:p>
        </p:txBody>
      </p:sp>
      <p:sp>
        <p:nvSpPr>
          <p:cNvPr id="6" name="Title 1">
            <a:extLst>
              <a:ext uri="{FF2B5EF4-FFF2-40B4-BE49-F238E27FC236}">
                <a16:creationId xmlns:a16="http://schemas.microsoft.com/office/drawing/2014/main" id="{E9B4B4B7-D56F-7EF8-41F1-6A79FD481602}"/>
              </a:ext>
            </a:extLst>
          </p:cNvPr>
          <p:cNvSpPr txBox="1">
            <a:spLocks noGrp="1"/>
          </p:cNvSpPr>
          <p:nvPr>
            <p:ph type="title"/>
          </p:nvPr>
        </p:nvSpPr>
        <p:spPr>
          <a:xfrm>
            <a:off x="304796" y="170060"/>
            <a:ext cx="11430000" cy="1143000"/>
          </a:xfrm>
        </p:spPr>
        <p:txBody>
          <a:bodyPr/>
          <a:lstStyle>
            <a:lvl1pPr>
              <a:defRPr sz="3200">
                <a:solidFill>
                  <a:srgbClr val="FFFFFF"/>
                </a:solidFill>
              </a:defRPr>
            </a:lvl1pPr>
          </a:lstStyle>
          <a:p>
            <a:pPr lvl="0"/>
            <a:r>
              <a:rPr lang="en-US"/>
              <a:t>Click to edit Master title style</a:t>
            </a:r>
          </a:p>
        </p:txBody>
      </p:sp>
      <p:sp>
        <p:nvSpPr>
          <p:cNvPr id="7" name="Text Placeholder 4">
            <a:extLst>
              <a:ext uri="{FF2B5EF4-FFF2-40B4-BE49-F238E27FC236}">
                <a16:creationId xmlns:a16="http://schemas.microsoft.com/office/drawing/2014/main" id="{6EB25328-7268-A2FA-7C06-4A507EFA3DD8}"/>
              </a:ext>
            </a:extLst>
          </p:cNvPr>
          <p:cNvSpPr txBox="1">
            <a:spLocks noGrp="1"/>
          </p:cNvSpPr>
          <p:nvPr>
            <p:ph type="body" idx="4294967295"/>
          </p:nvPr>
        </p:nvSpPr>
        <p:spPr>
          <a:xfrm>
            <a:off x="332184" y="953345"/>
            <a:ext cx="11430109" cy="415923"/>
          </a:xfrm>
        </p:spPr>
        <p:txBody>
          <a:bodyPr>
            <a:normAutofit/>
          </a:bodyPr>
          <a:lstStyle>
            <a:lvl1pPr marL="0" indent="0">
              <a:buNone/>
              <a:defRPr sz="1400">
                <a:solidFill>
                  <a:srgbClr val="FFFFFF"/>
                </a:solidFill>
              </a:defRPr>
            </a:lvl1pPr>
          </a:lstStyle>
          <a:p>
            <a:pPr lvl="0"/>
            <a:r>
              <a:rPr lang="en-US"/>
              <a:t>Subtitle</a:t>
            </a:r>
          </a:p>
        </p:txBody>
      </p:sp>
      <p:cxnSp>
        <p:nvCxnSpPr>
          <p:cNvPr id="8" name="Straight Connector 15">
            <a:extLst>
              <a:ext uri="{FF2B5EF4-FFF2-40B4-BE49-F238E27FC236}">
                <a16:creationId xmlns:a16="http://schemas.microsoft.com/office/drawing/2014/main" id="{CD74CA87-21A8-5E79-0416-6CB9B9A77109}"/>
              </a:ext>
            </a:extLst>
          </p:cNvPr>
          <p:cNvCxnSpPr/>
          <p:nvPr/>
        </p:nvCxnSpPr>
        <p:spPr>
          <a:xfrm>
            <a:off x="11311722" y="6447270"/>
            <a:ext cx="0" cy="267883"/>
          </a:xfrm>
          <a:prstGeom prst="straightConnector1">
            <a:avLst/>
          </a:prstGeom>
          <a:noFill/>
          <a:ln w="6345" cap="flat">
            <a:solidFill>
              <a:srgbClr val="7F7F7F"/>
            </a:solidFill>
            <a:prstDash val="solid"/>
            <a:miter/>
          </a:ln>
        </p:spPr>
      </p:cxnSp>
      <p:sp>
        <p:nvSpPr>
          <p:cNvPr id="9" name="Slide Number Placeholder 6">
            <a:extLst>
              <a:ext uri="{FF2B5EF4-FFF2-40B4-BE49-F238E27FC236}">
                <a16:creationId xmlns:a16="http://schemas.microsoft.com/office/drawing/2014/main" id="{EB606DEE-9D35-68D9-E821-2A9E089A6A52}"/>
              </a:ext>
            </a:extLst>
          </p:cNvPr>
          <p:cNvSpPr txBox="1">
            <a:spLocks noGrp="1"/>
          </p:cNvSpPr>
          <p:nvPr>
            <p:ph type="sldNum" sz="quarter" idx="8"/>
          </p:nvPr>
        </p:nvSpPr>
        <p:spPr>
          <a:xfrm>
            <a:off x="11202597" y="6454531"/>
            <a:ext cx="559704" cy="319171"/>
          </a:xfrm>
        </p:spPr>
        <p:txBody>
          <a:bodyPr/>
          <a:lstStyle>
            <a:lvl1pPr>
              <a:defRPr sz="1000">
                <a:solidFill>
                  <a:srgbClr val="7F7F7F"/>
                </a:solidFill>
              </a:defRPr>
            </a:lvl1pPr>
          </a:lstStyle>
          <a:p>
            <a:pPr lvl="0"/>
            <a:fld id="{1CE0637B-2845-406A-A7E1-1CF1D85AE90E}" type="slidenum">
              <a:t>‹#›</a:t>
            </a:fld>
            <a:endParaRPr lang="en-US"/>
          </a:p>
        </p:txBody>
      </p:sp>
      <p:pic>
        <p:nvPicPr>
          <p:cNvPr id="10" name="Picture 11">
            <a:extLst>
              <a:ext uri="{FF2B5EF4-FFF2-40B4-BE49-F238E27FC236}">
                <a16:creationId xmlns:a16="http://schemas.microsoft.com/office/drawing/2014/main" id="{6ADB741D-4BB3-2E6D-D364-E79C3FA76E60}"/>
              </a:ext>
            </a:extLst>
          </p:cNvPr>
          <p:cNvPicPr>
            <a:picLocks noChangeAspect="1"/>
          </p:cNvPicPr>
          <p:nvPr/>
        </p:nvPicPr>
        <p:blipFill>
          <a:blip r:embed="rId2"/>
          <a:stretch>
            <a:fillRect/>
          </a:stretch>
        </p:blipFill>
        <p:spPr>
          <a:xfrm>
            <a:off x="9596464" y="6492240"/>
            <a:ext cx="1606134" cy="229240"/>
          </a:xfrm>
          <a:prstGeom prst="rect">
            <a:avLst/>
          </a:prstGeom>
          <a:noFill/>
          <a:ln cap="flat">
            <a:noFill/>
          </a:ln>
        </p:spPr>
      </p:pic>
    </p:spTree>
    <p:extLst>
      <p:ext uri="{BB962C8B-B14F-4D97-AF65-F5344CB8AC3E}">
        <p14:creationId xmlns:p14="http://schemas.microsoft.com/office/powerpoint/2010/main" val="779877748"/>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showMasterSp="0" type="obj" preserve="1">
  <p:cSld name="9_Title Slide">
    <p:bg>
      <p:bgPr>
        <a:solidFill>
          <a:srgbClr val="FFFFFF"/>
        </a:solidFill>
        <a:effectLst/>
      </p:bgPr>
    </p:bg>
    <p:spTree>
      <p:nvGrpSpPr>
        <p:cNvPr id="1" name=""/>
        <p:cNvGrpSpPr/>
        <p:nvPr/>
      </p:nvGrpSpPr>
      <p:grpSpPr>
        <a:xfrm>
          <a:off x="0" y="0"/>
          <a:ext cx="0" cy="0"/>
          <a:chOff x="0" y="0"/>
          <a:chExt cx="0" cy="0"/>
        </a:xfrm>
      </p:grpSpPr>
      <p:sp>
        <p:nvSpPr>
          <p:cNvPr id="2" name="bg object 16">
            <a:extLst>
              <a:ext uri="{FF2B5EF4-FFF2-40B4-BE49-F238E27FC236}">
                <a16:creationId xmlns:a16="http://schemas.microsoft.com/office/drawing/2014/main" id="{EAD91C66-5B4B-2BCC-951D-D305767A740E}"/>
              </a:ext>
            </a:extLst>
          </p:cNvPr>
          <p:cNvSpPr/>
          <p:nvPr/>
        </p:nvSpPr>
        <p:spPr>
          <a:xfrm>
            <a:off x="0" y="0"/>
            <a:ext cx="12191996" cy="6858000"/>
          </a:xfrm>
          <a:custGeom>
            <a:avLst/>
            <a:gdLst>
              <a:gd name="f0" fmla="val w"/>
              <a:gd name="f1" fmla="val h"/>
              <a:gd name="f2" fmla="val 0"/>
              <a:gd name="f3" fmla="val 12192000"/>
              <a:gd name="f4" fmla="val 6858000"/>
              <a:gd name="f5" fmla="*/ f0 1 12192000"/>
              <a:gd name="f6" fmla="*/ f1 1 6858000"/>
              <a:gd name="f7" fmla="+- f4 0 f2"/>
              <a:gd name="f8" fmla="+- f3 0 f2"/>
              <a:gd name="f9" fmla="*/ f8 1 12192000"/>
              <a:gd name="f10" fmla="*/ f7 1 6858000"/>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12192000" h="6858000">
                <a:moveTo>
                  <a:pt x="f3" y="f2"/>
                </a:moveTo>
                <a:lnTo>
                  <a:pt x="f2" y="f2"/>
                </a:lnTo>
                <a:lnTo>
                  <a:pt x="f2" y="f4"/>
                </a:lnTo>
                <a:lnTo>
                  <a:pt x="f3" y="f4"/>
                </a:lnTo>
                <a:lnTo>
                  <a:pt x="f3" y="f2"/>
                </a:lnTo>
                <a:close/>
              </a:path>
            </a:pathLst>
          </a:custGeom>
          <a:solidFill>
            <a:srgbClr val="F3F6FA"/>
          </a:solidFill>
          <a:ln cap="flat">
            <a:noFill/>
            <a:prstDash val="solid"/>
          </a:ln>
        </p:spPr>
        <p:txBody>
          <a:bodyPr vert="horz" wrap="square" lIns="0" tIns="0" rIns="0" bIns="0" anchor="t"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3" name="bg object 17">
            <a:extLst>
              <a:ext uri="{FF2B5EF4-FFF2-40B4-BE49-F238E27FC236}">
                <a16:creationId xmlns:a16="http://schemas.microsoft.com/office/drawing/2014/main" id="{F8C8E4E1-A5A7-0D47-D2E6-C5BB97F0B2A5}"/>
              </a:ext>
            </a:extLst>
          </p:cNvPr>
          <p:cNvSpPr/>
          <p:nvPr/>
        </p:nvSpPr>
        <p:spPr>
          <a:xfrm>
            <a:off x="1" y="5100853"/>
            <a:ext cx="7111361" cy="1757677"/>
          </a:xfrm>
          <a:custGeom>
            <a:avLst/>
            <a:gdLst>
              <a:gd name="f0" fmla="val w"/>
              <a:gd name="f1" fmla="val h"/>
              <a:gd name="f2" fmla="val 0"/>
              <a:gd name="f3" fmla="val 7111365"/>
              <a:gd name="f4" fmla="val 1757679"/>
              <a:gd name="f5" fmla="val 612238"/>
              <a:gd name="f6" fmla="val 72"/>
              <a:gd name="f7" fmla="val 558414"/>
              <a:gd name="f8" fmla="val 504455"/>
              <a:gd name="f9" fmla="val 346"/>
              <a:gd name="f10" fmla="val 450360"/>
              <a:gd name="f11" fmla="val 1116"/>
              <a:gd name="f12" fmla="val 396127"/>
              <a:gd name="f13" fmla="val 2315"/>
              <a:gd name="f14" fmla="val 341757"/>
              <a:gd name="f15" fmla="val 3949"/>
              <a:gd name="f16" fmla="val 292962"/>
              <a:gd name="f17" fmla="val 5809"/>
              <a:gd name="f18" fmla="val 244267"/>
              <a:gd name="f19" fmla="val 8061"/>
              <a:gd name="f20" fmla="val 195669"/>
              <a:gd name="f21" fmla="val 10711"/>
              <a:gd name="f22" fmla="val 147165"/>
              <a:gd name="f23" fmla="val 13764"/>
              <a:gd name="f24" fmla="val 98753"/>
              <a:gd name="f25" fmla="val 17223"/>
              <a:gd name="f26" fmla="val 50431"/>
              <a:gd name="f27" fmla="val 21096"/>
              <a:gd name="f28" fmla="val 25666"/>
              <a:gd name="f29" fmla="val 1757146"/>
              <a:gd name="f30" fmla="val 7110983"/>
              <a:gd name="f31" fmla="val 6700405"/>
              <a:gd name="f32" fmla="val 1636344"/>
              <a:gd name="f33" fmla="val 6607186"/>
              <a:gd name="f34" fmla="val 1607300"/>
              <a:gd name="f35" fmla="val 6467358"/>
              <a:gd name="f36" fmla="val 1562910"/>
              <a:gd name="f37" fmla="val 6327483"/>
              <a:gd name="f38" fmla="val 1517588"/>
              <a:gd name="f39" fmla="val 6187509"/>
              <a:gd name="f40" fmla="val 1471399"/>
              <a:gd name="f41" fmla="val 6000630"/>
              <a:gd name="f42" fmla="val 1408578"/>
              <a:gd name="f43" fmla="val 5766459"/>
              <a:gd name="f44" fmla="val 1328280"/>
              <a:gd name="f45" fmla="val 5484294"/>
              <a:gd name="f46" fmla="val 1229723"/>
              <a:gd name="f47" fmla="val 4285873"/>
              <a:gd name="f48" fmla="val 804446"/>
              <a:gd name="f49" fmla="val 3990553"/>
              <a:gd name="f50" fmla="val 701631"/>
              <a:gd name="f51" fmla="val 3741532"/>
              <a:gd name="f52" fmla="val 616526"/>
              <a:gd name="f53" fmla="val 3543643"/>
              <a:gd name="f54" fmla="val 550199"/>
              <a:gd name="f55" fmla="val 3449272"/>
              <a:gd name="f56" fmla="val 519263"/>
              <a:gd name="f57" fmla="val 3354639"/>
              <a:gd name="f58" fmla="val 488840"/>
              <a:gd name="f59" fmla="val 3259736"/>
              <a:gd name="f60" fmla="val 458969"/>
              <a:gd name="f61" fmla="val 3164554"/>
              <a:gd name="f62" fmla="val 429687"/>
              <a:gd name="f63" fmla="val 3069083"/>
              <a:gd name="f64" fmla="val 401033"/>
              <a:gd name="f65" fmla="val 2973315"/>
              <a:gd name="f66" fmla="val 373045"/>
              <a:gd name="f67" fmla="val 2877241"/>
              <a:gd name="f68" fmla="val 345760"/>
              <a:gd name="f69" fmla="val 2780851"/>
              <a:gd name="f70" fmla="val 319217"/>
              <a:gd name="f71" fmla="val 2684137"/>
              <a:gd name="f72" fmla="val 293454"/>
              <a:gd name="f73" fmla="val 2587089"/>
              <a:gd name="f74" fmla="val 268509"/>
              <a:gd name="f75" fmla="val 2489699"/>
              <a:gd name="f76" fmla="val 244419"/>
              <a:gd name="f77" fmla="val 2391957"/>
              <a:gd name="f78" fmla="val 221224"/>
              <a:gd name="f79" fmla="val 2293855"/>
              <a:gd name="f80" fmla="val 198961"/>
              <a:gd name="f81" fmla="val 2244665"/>
              <a:gd name="f82" fmla="val 188191"/>
              <a:gd name="f83" fmla="val 2195383"/>
              <a:gd name="f84" fmla="val 177668"/>
              <a:gd name="f85" fmla="val 2146005"/>
              <a:gd name="f86" fmla="val 167398"/>
              <a:gd name="f87" fmla="val 2096532"/>
              <a:gd name="f88" fmla="val 157384"/>
              <a:gd name="f89" fmla="val 2046962"/>
              <a:gd name="f90" fmla="val 147632"/>
              <a:gd name="f91" fmla="val 1997294"/>
              <a:gd name="f92" fmla="val 138146"/>
              <a:gd name="f93" fmla="val 1947526"/>
              <a:gd name="f94" fmla="val 128931"/>
              <a:gd name="f95" fmla="val 1897659"/>
              <a:gd name="f96" fmla="val 119992"/>
              <a:gd name="f97" fmla="val 1847690"/>
              <a:gd name="f98" fmla="val 111333"/>
              <a:gd name="f99" fmla="val 1797618"/>
              <a:gd name="f100" fmla="val 102960"/>
              <a:gd name="f101" fmla="val 1747443"/>
              <a:gd name="f102" fmla="val 94877"/>
              <a:gd name="f103" fmla="val 1697163"/>
              <a:gd name="f104" fmla="val 87089"/>
              <a:gd name="f105" fmla="val 1646777"/>
              <a:gd name="f106" fmla="val 79601"/>
              <a:gd name="f107" fmla="val 1596283"/>
              <a:gd name="f108" fmla="val 72417"/>
              <a:gd name="f109" fmla="val 1545682"/>
              <a:gd name="f110" fmla="val 65542"/>
              <a:gd name="f111" fmla="val 1494971"/>
              <a:gd name="f112" fmla="val 58981"/>
              <a:gd name="f113" fmla="val 1444150"/>
              <a:gd name="f114" fmla="val 52739"/>
              <a:gd name="f115" fmla="val 1393217"/>
              <a:gd name="f116" fmla="val 46821"/>
              <a:gd name="f117" fmla="val 1342172"/>
              <a:gd name="f118" fmla="val 41230"/>
              <a:gd name="f119" fmla="val 1291013"/>
              <a:gd name="f120" fmla="val 35972"/>
              <a:gd name="f121" fmla="val 1239738"/>
              <a:gd name="f122" fmla="val 31052"/>
              <a:gd name="f123" fmla="val 1188348"/>
              <a:gd name="f124" fmla="val 26475"/>
              <a:gd name="f125" fmla="val 1136840"/>
              <a:gd name="f126" fmla="val 22245"/>
              <a:gd name="f127" fmla="val 1085214"/>
              <a:gd name="f128" fmla="val 18367"/>
              <a:gd name="f129" fmla="val 1033469"/>
              <a:gd name="f130" fmla="val 14845"/>
              <a:gd name="f131" fmla="val 981602"/>
              <a:gd name="f132" fmla="val 11685"/>
              <a:gd name="f133" fmla="val 929614"/>
              <a:gd name="f134" fmla="val 8891"/>
              <a:gd name="f135" fmla="val 877504"/>
              <a:gd name="f136" fmla="val 6469"/>
              <a:gd name="f137" fmla="val 825269"/>
              <a:gd name="f138" fmla="val 4422"/>
              <a:gd name="f139" fmla="val 772909"/>
              <a:gd name="f140" fmla="val 2755"/>
              <a:gd name="f141" fmla="val 719484"/>
              <a:gd name="f142" fmla="val 1455"/>
              <a:gd name="f143" fmla="val 665927"/>
              <a:gd name="f144" fmla="val 559"/>
              <a:gd name="f145" fmla="*/ f0 1 7111365"/>
              <a:gd name="f146" fmla="*/ f1 1 1757679"/>
              <a:gd name="f147" fmla="+- f4 0 f2"/>
              <a:gd name="f148" fmla="+- f3 0 f2"/>
              <a:gd name="f149" fmla="*/ f148 1 7111365"/>
              <a:gd name="f150" fmla="*/ f147 1 1757679"/>
              <a:gd name="f151" fmla="*/ f2 1 f149"/>
              <a:gd name="f152" fmla="*/ f3 1 f149"/>
              <a:gd name="f153" fmla="*/ f2 1 f150"/>
              <a:gd name="f154" fmla="*/ f4 1 f150"/>
              <a:gd name="f155" fmla="*/ f151 f145 1"/>
              <a:gd name="f156" fmla="*/ f152 f145 1"/>
              <a:gd name="f157" fmla="*/ f154 f146 1"/>
              <a:gd name="f158" fmla="*/ f153 f146 1"/>
            </a:gdLst>
            <a:ahLst/>
            <a:cxnLst>
              <a:cxn ang="3cd4">
                <a:pos x="hc" y="t"/>
              </a:cxn>
              <a:cxn ang="0">
                <a:pos x="r" y="vc"/>
              </a:cxn>
              <a:cxn ang="cd4">
                <a:pos x="hc" y="b"/>
              </a:cxn>
              <a:cxn ang="cd2">
                <a:pos x="l" y="vc"/>
              </a:cxn>
            </a:cxnLst>
            <a:rect l="f155" t="f158" r="f156" b="f157"/>
            <a:pathLst>
              <a:path w="7111365" h="1757679">
                <a:moveTo>
                  <a:pt x="f5" y="f6"/>
                </a:moveTo>
                <a:lnTo>
                  <a:pt x="f7" y="f2"/>
                </a:lnTo>
                <a:lnTo>
                  <a:pt x="f8" y="f9"/>
                </a:lnTo>
                <a:lnTo>
                  <a:pt x="f10" y="f11"/>
                </a:lnTo>
                <a:lnTo>
                  <a:pt x="f12" y="f13"/>
                </a:lnTo>
                <a:lnTo>
                  <a:pt x="f14" y="f15"/>
                </a:lnTo>
                <a:lnTo>
                  <a:pt x="f16" y="f17"/>
                </a:lnTo>
                <a:lnTo>
                  <a:pt x="f18" y="f19"/>
                </a:lnTo>
                <a:lnTo>
                  <a:pt x="f20" y="f21"/>
                </a:lnTo>
                <a:lnTo>
                  <a:pt x="f22" y="f23"/>
                </a:lnTo>
                <a:lnTo>
                  <a:pt x="f24" y="f25"/>
                </a:lnTo>
                <a:lnTo>
                  <a:pt x="f26" y="f27"/>
                </a:lnTo>
                <a:lnTo>
                  <a:pt x="f2" y="f28"/>
                </a:lnTo>
                <a:lnTo>
                  <a:pt x="f2" y="f29"/>
                </a:lnTo>
                <a:lnTo>
                  <a:pt x="f30" y="f29"/>
                </a:lnTo>
                <a:lnTo>
                  <a:pt x="f31" y="f32"/>
                </a:lnTo>
                <a:lnTo>
                  <a:pt x="f33" y="f34"/>
                </a:lnTo>
                <a:lnTo>
                  <a:pt x="f35" y="f36"/>
                </a:lnTo>
                <a:lnTo>
                  <a:pt x="f37" y="f38"/>
                </a:lnTo>
                <a:lnTo>
                  <a:pt x="f39" y="f40"/>
                </a:lnTo>
                <a:lnTo>
                  <a:pt x="f41" y="f42"/>
                </a:lnTo>
                <a:lnTo>
                  <a:pt x="f43" y="f44"/>
                </a:lnTo>
                <a:lnTo>
                  <a:pt x="f45" y="f46"/>
                </a:lnTo>
                <a:lnTo>
                  <a:pt x="f47" y="f48"/>
                </a:lnTo>
                <a:lnTo>
                  <a:pt x="f49" y="f50"/>
                </a:lnTo>
                <a:lnTo>
                  <a:pt x="f51" y="f52"/>
                </a:lnTo>
                <a:lnTo>
                  <a:pt x="f53" y="f54"/>
                </a:lnTo>
                <a:lnTo>
                  <a:pt x="f55" y="f56"/>
                </a:lnTo>
                <a:lnTo>
                  <a:pt x="f57" y="f58"/>
                </a:lnTo>
                <a:lnTo>
                  <a:pt x="f59" y="f60"/>
                </a:lnTo>
                <a:lnTo>
                  <a:pt x="f61" y="f62"/>
                </a:lnTo>
                <a:lnTo>
                  <a:pt x="f63" y="f64"/>
                </a:lnTo>
                <a:lnTo>
                  <a:pt x="f65" y="f66"/>
                </a:lnTo>
                <a:lnTo>
                  <a:pt x="f67" y="f68"/>
                </a:lnTo>
                <a:lnTo>
                  <a:pt x="f69" y="f70"/>
                </a:lnTo>
                <a:lnTo>
                  <a:pt x="f71" y="f72"/>
                </a:lnTo>
                <a:lnTo>
                  <a:pt x="f73" y="f74"/>
                </a:lnTo>
                <a:lnTo>
                  <a:pt x="f75" y="f76"/>
                </a:lnTo>
                <a:lnTo>
                  <a:pt x="f77" y="f78"/>
                </a:lnTo>
                <a:lnTo>
                  <a:pt x="f79" y="f80"/>
                </a:lnTo>
                <a:lnTo>
                  <a:pt x="f81" y="f82"/>
                </a:lnTo>
                <a:lnTo>
                  <a:pt x="f83" y="f84"/>
                </a:lnTo>
                <a:lnTo>
                  <a:pt x="f85" y="f86"/>
                </a:lnTo>
                <a:lnTo>
                  <a:pt x="f87" y="f88"/>
                </a:lnTo>
                <a:lnTo>
                  <a:pt x="f89" y="f90"/>
                </a:lnTo>
                <a:lnTo>
                  <a:pt x="f91" y="f92"/>
                </a:lnTo>
                <a:lnTo>
                  <a:pt x="f93" y="f94"/>
                </a:lnTo>
                <a:lnTo>
                  <a:pt x="f95" y="f96"/>
                </a:lnTo>
                <a:lnTo>
                  <a:pt x="f97" y="f98"/>
                </a:lnTo>
                <a:lnTo>
                  <a:pt x="f99" y="f100"/>
                </a:lnTo>
                <a:lnTo>
                  <a:pt x="f101" y="f102"/>
                </a:lnTo>
                <a:lnTo>
                  <a:pt x="f103" y="f104"/>
                </a:lnTo>
                <a:lnTo>
                  <a:pt x="f105" y="f106"/>
                </a:lnTo>
                <a:lnTo>
                  <a:pt x="f107" y="f108"/>
                </a:lnTo>
                <a:lnTo>
                  <a:pt x="f109" y="f110"/>
                </a:lnTo>
                <a:lnTo>
                  <a:pt x="f111" y="f112"/>
                </a:lnTo>
                <a:lnTo>
                  <a:pt x="f113" y="f114"/>
                </a:lnTo>
                <a:lnTo>
                  <a:pt x="f115" y="f116"/>
                </a:lnTo>
                <a:lnTo>
                  <a:pt x="f117" y="f118"/>
                </a:lnTo>
                <a:lnTo>
                  <a:pt x="f119" y="f120"/>
                </a:lnTo>
                <a:lnTo>
                  <a:pt x="f121" y="f122"/>
                </a:lnTo>
                <a:lnTo>
                  <a:pt x="f123" y="f124"/>
                </a:lnTo>
                <a:lnTo>
                  <a:pt x="f125" y="f126"/>
                </a:lnTo>
                <a:lnTo>
                  <a:pt x="f127" y="f128"/>
                </a:lnTo>
                <a:lnTo>
                  <a:pt x="f129" y="f130"/>
                </a:lnTo>
                <a:lnTo>
                  <a:pt x="f131" y="f132"/>
                </a:lnTo>
                <a:lnTo>
                  <a:pt x="f133" y="f134"/>
                </a:lnTo>
                <a:lnTo>
                  <a:pt x="f135" y="f136"/>
                </a:lnTo>
                <a:lnTo>
                  <a:pt x="f137" y="f138"/>
                </a:lnTo>
                <a:lnTo>
                  <a:pt x="f139" y="f140"/>
                </a:lnTo>
                <a:lnTo>
                  <a:pt x="f141" y="f142"/>
                </a:lnTo>
                <a:lnTo>
                  <a:pt x="f143" y="f144"/>
                </a:lnTo>
                <a:lnTo>
                  <a:pt x="f5" y="f6"/>
                </a:lnTo>
                <a:close/>
              </a:path>
            </a:pathLst>
          </a:custGeom>
          <a:solidFill>
            <a:srgbClr val="FFFFFF"/>
          </a:solidFill>
          <a:ln cap="flat">
            <a:noFill/>
            <a:prstDash val="solid"/>
          </a:ln>
        </p:spPr>
        <p:txBody>
          <a:bodyPr vert="horz" wrap="square" lIns="0" tIns="0" rIns="0" bIns="0" anchor="t"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pic>
        <p:nvPicPr>
          <p:cNvPr id="4" name="bg object 18">
            <a:extLst>
              <a:ext uri="{FF2B5EF4-FFF2-40B4-BE49-F238E27FC236}">
                <a16:creationId xmlns:a16="http://schemas.microsoft.com/office/drawing/2014/main" id="{F5D9EF11-CDEF-7C1F-0C97-763B12B4F093}"/>
              </a:ext>
            </a:extLst>
          </p:cNvPr>
          <p:cNvPicPr>
            <a:picLocks noChangeAspect="1"/>
          </p:cNvPicPr>
          <p:nvPr/>
        </p:nvPicPr>
        <p:blipFill>
          <a:blip r:embed="rId2"/>
          <a:stretch>
            <a:fillRect/>
          </a:stretch>
        </p:blipFill>
        <p:spPr>
          <a:xfrm>
            <a:off x="0" y="5041902"/>
            <a:ext cx="12191996" cy="1816098"/>
          </a:xfrm>
          <a:prstGeom prst="rect">
            <a:avLst/>
          </a:prstGeom>
          <a:noFill/>
          <a:ln cap="flat">
            <a:noFill/>
          </a:ln>
        </p:spPr>
      </p:pic>
      <p:sp>
        <p:nvSpPr>
          <p:cNvPr id="5" name="bg object 19">
            <a:extLst>
              <a:ext uri="{FF2B5EF4-FFF2-40B4-BE49-F238E27FC236}">
                <a16:creationId xmlns:a16="http://schemas.microsoft.com/office/drawing/2014/main" id="{A5D57704-58C0-FC32-923F-CF43E1138F62}"/>
              </a:ext>
            </a:extLst>
          </p:cNvPr>
          <p:cNvSpPr/>
          <p:nvPr/>
        </p:nvSpPr>
        <p:spPr>
          <a:xfrm>
            <a:off x="0" y="5020056"/>
            <a:ext cx="12191996" cy="1838328"/>
          </a:xfrm>
          <a:custGeom>
            <a:avLst/>
            <a:gdLst>
              <a:gd name="f0" fmla="val w"/>
              <a:gd name="f1" fmla="val h"/>
              <a:gd name="f2" fmla="val 0"/>
              <a:gd name="f3" fmla="val 12192000"/>
              <a:gd name="f4" fmla="val 1838325"/>
              <a:gd name="f5" fmla="val 682693"/>
              <a:gd name="f6" fmla="val 631977"/>
              <a:gd name="f7" fmla="val 191"/>
              <a:gd name="f8" fmla="val 584149"/>
              <a:gd name="f9" fmla="val 737"/>
              <a:gd name="f10" fmla="val 536385"/>
              <a:gd name="f11" fmla="val 1641"/>
              <a:gd name="f12" fmla="val 488688"/>
              <a:gd name="f13" fmla="val 2908"/>
              <a:gd name="f14" fmla="val 441056"/>
              <a:gd name="f15" fmla="val 4541"/>
              <a:gd name="f16" fmla="val 393493"/>
              <a:gd name="f17" fmla="val 6547"/>
              <a:gd name="f18" fmla="val 345998"/>
              <a:gd name="f19" fmla="val 8929"/>
              <a:gd name="f20" fmla="val 38164"/>
              <a:gd name="f21" fmla="val 105627"/>
              <a:gd name="f22" fmla="val 50435"/>
              <a:gd name="f23" fmla="val 101057"/>
              <a:gd name="f24" fmla="val 98761"/>
              <a:gd name="f25" fmla="val 97184"/>
              <a:gd name="f26" fmla="val 147175"/>
              <a:gd name="f27" fmla="val 93724"/>
              <a:gd name="f28" fmla="val 195680"/>
              <a:gd name="f29" fmla="val 90672"/>
              <a:gd name="f30" fmla="val 244280"/>
              <a:gd name="f31" fmla="val 88022"/>
              <a:gd name="f32" fmla="val 292975"/>
              <a:gd name="f33" fmla="val 85770"/>
              <a:gd name="f34" fmla="val 341769"/>
              <a:gd name="f35" fmla="val 83910"/>
              <a:gd name="f36" fmla="val 394500"/>
              <a:gd name="f37" fmla="val 82318"/>
              <a:gd name="f38" fmla="val 447099"/>
              <a:gd name="f39" fmla="val 81134"/>
              <a:gd name="f40" fmla="val 499569"/>
              <a:gd name="f41" fmla="val 80355"/>
              <a:gd name="f42" fmla="val 551910"/>
              <a:gd name="f43" fmla="val 79975"/>
              <a:gd name="f44" fmla="val 604123"/>
              <a:gd name="f45" fmla="val 79990"/>
              <a:gd name="f46" fmla="val 656210"/>
              <a:gd name="f47" fmla="val 80395"/>
              <a:gd name="f48" fmla="val 708172"/>
              <a:gd name="f49" fmla="val 81187"/>
              <a:gd name="f50" fmla="val 760009"/>
              <a:gd name="f51" fmla="val 82360"/>
              <a:gd name="f52" fmla="val 811723"/>
              <a:gd name="f53" fmla="val 83909"/>
              <a:gd name="f54" fmla="val 863315"/>
              <a:gd name="f55" fmla="val 85830"/>
              <a:gd name="f56" fmla="val 914785"/>
              <a:gd name="f57" fmla="val 88119"/>
              <a:gd name="f58" fmla="val 966136"/>
              <a:gd name="f59" fmla="val 90771"/>
              <a:gd name="f60" fmla="val 1017368"/>
              <a:gd name="f61" fmla="val 93782"/>
              <a:gd name="f62" fmla="val 1068481"/>
              <a:gd name="f63" fmla="val 97146"/>
              <a:gd name="f64" fmla="val 1119478"/>
              <a:gd name="f65" fmla="val 100859"/>
              <a:gd name="f66" fmla="val 1170360"/>
              <a:gd name="f67" fmla="val 104917"/>
              <a:gd name="f68" fmla="val 1221127"/>
              <a:gd name="f69" fmla="val 109315"/>
              <a:gd name="f70" fmla="val 1271780"/>
              <a:gd name="f71" fmla="val 114049"/>
              <a:gd name="f72" fmla="val 1322321"/>
              <a:gd name="f73" fmla="val 119113"/>
              <a:gd name="f74" fmla="val 1372750"/>
              <a:gd name="f75" fmla="val 124504"/>
              <a:gd name="f76" fmla="val 1423070"/>
              <a:gd name="f77" fmla="val 130217"/>
              <a:gd name="f78" fmla="val 1473280"/>
              <a:gd name="f79" fmla="val 136247"/>
              <a:gd name="f80" fmla="val 1523382"/>
              <a:gd name="f81" fmla="val 142589"/>
              <a:gd name="f82" fmla="val 1573377"/>
              <a:gd name="f83" fmla="val 149239"/>
              <a:gd name="f84" fmla="val 1623266"/>
              <a:gd name="f85" fmla="val 156193"/>
              <a:gd name="f86" fmla="val 1673051"/>
              <a:gd name="f87" fmla="val 163446"/>
              <a:gd name="f88" fmla="val 1722731"/>
              <a:gd name="f89" fmla="val 170993"/>
              <a:gd name="f90" fmla="val 1772309"/>
              <a:gd name="f91" fmla="val 178830"/>
              <a:gd name="f92" fmla="val 1821786"/>
              <a:gd name="f93" fmla="val 186951"/>
              <a:gd name="f94" fmla="val 1871162"/>
              <a:gd name="f95" fmla="val 195354"/>
              <a:gd name="f96" fmla="val 1920438"/>
              <a:gd name="f97" fmla="val 204032"/>
              <a:gd name="f98" fmla="val 1969617"/>
              <a:gd name="f99" fmla="val 212982"/>
              <a:gd name="f100" fmla="val 2018698"/>
              <a:gd name="f101" fmla="val 222199"/>
              <a:gd name="f102" fmla="val 2067683"/>
              <a:gd name="f103" fmla="val 231677"/>
              <a:gd name="f104" fmla="val 2116573"/>
              <a:gd name="f105" fmla="val 241414"/>
              <a:gd name="f106" fmla="val 2165369"/>
              <a:gd name="f107" fmla="val 251404"/>
              <a:gd name="f108" fmla="val 2214072"/>
              <a:gd name="f109" fmla="val 261642"/>
              <a:gd name="f110" fmla="val 2262683"/>
              <a:gd name="f111" fmla="val 272124"/>
              <a:gd name="f112" fmla="val 2359634"/>
              <a:gd name="f113" fmla="val 293801"/>
              <a:gd name="f114" fmla="val 2456232"/>
              <a:gd name="f115" fmla="val 316400"/>
              <a:gd name="f116" fmla="val 2552484"/>
              <a:gd name="f117" fmla="val 339883"/>
              <a:gd name="f118" fmla="val 2648399"/>
              <a:gd name="f119" fmla="val 364213"/>
              <a:gd name="f120" fmla="val 2743986"/>
              <a:gd name="f121" fmla="val 389354"/>
              <a:gd name="f122" fmla="val 2839253"/>
              <a:gd name="f123" fmla="val 415270"/>
              <a:gd name="f124" fmla="val 2934210"/>
              <a:gd name="f125" fmla="val 441923"/>
              <a:gd name="f126" fmla="val 3028865"/>
              <a:gd name="f127" fmla="val 469277"/>
              <a:gd name="f128" fmla="val 3123226"/>
              <a:gd name="f129" fmla="val 497296"/>
              <a:gd name="f130" fmla="val 3217303"/>
              <a:gd name="f131" fmla="val 525943"/>
              <a:gd name="f132" fmla="val 3311104"/>
              <a:gd name="f133" fmla="val 555181"/>
              <a:gd name="f134" fmla="val 3404637"/>
              <a:gd name="f135" fmla="val 584973"/>
              <a:gd name="f136" fmla="val 3497912"/>
              <a:gd name="f137" fmla="val 615284"/>
              <a:gd name="f138" fmla="val 3590937"/>
              <a:gd name="f139" fmla="val 646075"/>
              <a:gd name="f140" fmla="val 3791774"/>
              <a:gd name="f141" fmla="val 713748"/>
              <a:gd name="f142" fmla="val 4040254"/>
              <a:gd name="f143" fmla="val 799025"/>
              <a:gd name="f144" fmla="val 4334988"/>
              <a:gd name="f145" fmla="val 901968"/>
              <a:gd name="f146" fmla="val 5625866"/>
              <a:gd name="f147" fmla="val 1359840"/>
              <a:gd name="f148" fmla="val 5907371"/>
              <a:gd name="f149" fmla="val 1457295"/>
              <a:gd name="f150" fmla="val 6094441"/>
              <a:gd name="f151" fmla="val 1520802"/>
              <a:gd name="f152" fmla="val 6281177"/>
              <a:gd name="f153" fmla="val 1582959"/>
              <a:gd name="f154" fmla="val 6421085"/>
              <a:gd name="f155" fmla="val 1628599"/>
              <a:gd name="f156" fmla="val 6560929"/>
              <a:gd name="f157" fmla="val 1673327"/>
              <a:gd name="f158" fmla="val 6700761"/>
              <a:gd name="f159" fmla="val 1717079"/>
              <a:gd name="f160" fmla="val 7111365"/>
              <a:gd name="f161" fmla="val 1837945"/>
              <a:gd name="f162" fmla="val 1008838"/>
              <a:gd name="f163" fmla="val 12147976"/>
              <a:gd name="f164" fmla="val 1027873"/>
              <a:gd name="f165" fmla="val 12103695"/>
              <a:gd name="f166" fmla="val 1046580"/>
              <a:gd name="f167" fmla="val 12059162"/>
              <a:gd name="f168" fmla="val 1064960"/>
              <a:gd name="f169" fmla="val 12014382"/>
              <a:gd name="f170" fmla="val 1083015"/>
              <a:gd name="f171" fmla="val 11969360"/>
              <a:gd name="f172" fmla="val 1100744"/>
              <a:gd name="f173" fmla="val 11924100"/>
              <a:gd name="f174" fmla="val 1118147"/>
              <a:gd name="f175" fmla="val 11878609"/>
              <a:gd name="f176" fmla="val 1135227"/>
              <a:gd name="f177" fmla="val 11832891"/>
              <a:gd name="f178" fmla="val 1151982"/>
              <a:gd name="f179" fmla="val 11786951"/>
              <a:gd name="f180" fmla="val 1168414"/>
              <a:gd name="f181" fmla="val 11740793"/>
              <a:gd name="f182" fmla="val 1184523"/>
              <a:gd name="f183" fmla="val 11694424"/>
              <a:gd name="f184" fmla="val 1200309"/>
              <a:gd name="f185" fmla="val 11647847"/>
              <a:gd name="f186" fmla="val 1215774"/>
              <a:gd name="f187" fmla="val 11601068"/>
              <a:gd name="f188" fmla="val 1230917"/>
              <a:gd name="f189" fmla="val 11554093"/>
              <a:gd name="f190" fmla="val 1245740"/>
              <a:gd name="f191" fmla="val 11506925"/>
              <a:gd name="f192" fmla="val 1260242"/>
              <a:gd name="f193" fmla="val 11459569"/>
              <a:gd name="f194" fmla="val 1274425"/>
              <a:gd name="f195" fmla="val 11412032"/>
              <a:gd name="f196" fmla="val 1288288"/>
              <a:gd name="f197" fmla="val 11364318"/>
              <a:gd name="f198" fmla="val 1301833"/>
              <a:gd name="f199" fmla="val 11316431"/>
              <a:gd name="f200" fmla="val 1315060"/>
              <a:gd name="f201" fmla="val 11268377"/>
              <a:gd name="f202" fmla="val 1327969"/>
              <a:gd name="f203" fmla="val 11220161"/>
              <a:gd name="f204" fmla="val 1340561"/>
              <a:gd name="f205" fmla="val 11171788"/>
              <a:gd name="f206" fmla="val 1352836"/>
              <a:gd name="f207" fmla="val 11123263"/>
              <a:gd name="f208" fmla="val 1364796"/>
              <a:gd name="f209" fmla="val 11074590"/>
              <a:gd name="f210" fmla="val 1376440"/>
              <a:gd name="f211" fmla="val 11025776"/>
              <a:gd name="f212" fmla="val 1387769"/>
              <a:gd name="f213" fmla="val 10976824"/>
              <a:gd name="f214" fmla="val 1398783"/>
              <a:gd name="f215" fmla="val 10927740"/>
              <a:gd name="f216" fmla="val 1409484"/>
              <a:gd name="f217" fmla="val 10878528"/>
              <a:gd name="f218" fmla="val 1419872"/>
              <a:gd name="f219" fmla="val 10829194"/>
              <a:gd name="f220" fmla="val 1429946"/>
              <a:gd name="f221" fmla="val 10779744"/>
              <a:gd name="f222" fmla="val 1439709"/>
              <a:gd name="f223" fmla="val 10730180"/>
              <a:gd name="f224" fmla="val 1449159"/>
              <a:gd name="f225" fmla="val 10680510"/>
              <a:gd name="f226" fmla="val 1458299"/>
              <a:gd name="f227" fmla="val 10630737"/>
              <a:gd name="f228" fmla="val 1467128"/>
              <a:gd name="f229" fmla="val 10580867"/>
              <a:gd name="f230" fmla="val 1475646"/>
              <a:gd name="f231" fmla="val 10530905"/>
              <a:gd name="f232" fmla="val 1483856"/>
              <a:gd name="f233" fmla="val 10480855"/>
              <a:gd name="f234" fmla="val 1491756"/>
              <a:gd name="f235" fmla="val 10430723"/>
              <a:gd name="f236" fmla="val 1499347"/>
              <a:gd name="f237" fmla="val 10380514"/>
              <a:gd name="f238" fmla="val 1506631"/>
              <a:gd name="f239" fmla="val 10330232"/>
              <a:gd name="f240" fmla="val 1513607"/>
              <a:gd name="f241" fmla="val 10279883"/>
              <a:gd name="f242" fmla="val 1520276"/>
              <a:gd name="f243" fmla="val 10229472"/>
              <a:gd name="f244" fmla="val 1526638"/>
              <a:gd name="f245" fmla="val 10179004"/>
              <a:gd name="f246" fmla="val 1532695"/>
              <a:gd name="f247" fmla="val 10128483"/>
              <a:gd name="f248" fmla="val 1538447"/>
              <a:gd name="f249" fmla="val 10077914"/>
              <a:gd name="f250" fmla="val 1543893"/>
              <a:gd name="f251" fmla="val 10027304"/>
              <a:gd name="f252" fmla="val 1549036"/>
              <a:gd name="f253" fmla="val 9976655"/>
              <a:gd name="f254" fmla="val 1553875"/>
              <a:gd name="f255" fmla="val 9925975"/>
              <a:gd name="f256" fmla="val 1558410"/>
              <a:gd name="f257" fmla="val 9875267"/>
              <a:gd name="f258" fmla="val 1562643"/>
              <a:gd name="f259" fmla="val 9824537"/>
              <a:gd name="f260" fmla="val 1566574"/>
              <a:gd name="f261" fmla="val 9773789"/>
              <a:gd name="f262" fmla="val 1570203"/>
              <a:gd name="f263" fmla="val 9723029"/>
              <a:gd name="f264" fmla="val 1573531"/>
              <a:gd name="f265" fmla="val 9672261"/>
              <a:gd name="f266" fmla="val 1576558"/>
              <a:gd name="f267" fmla="val 9621491"/>
              <a:gd name="f268" fmla="val 1579285"/>
              <a:gd name="f269" fmla="val 9570724"/>
              <a:gd name="f270" fmla="val 1581713"/>
              <a:gd name="f271" fmla="val 9519964"/>
              <a:gd name="f272" fmla="val 1583842"/>
              <a:gd name="f273" fmla="val 9469216"/>
              <a:gd name="f274" fmla="val 1585673"/>
              <a:gd name="f275" fmla="val 9418487"/>
              <a:gd name="f276" fmla="val 1587206"/>
              <a:gd name="f277" fmla="val 9367779"/>
              <a:gd name="f278" fmla="val 1588441"/>
              <a:gd name="f279" fmla="val 9317099"/>
              <a:gd name="f280" fmla="val 1589380"/>
              <a:gd name="f281" fmla="val 9266452"/>
              <a:gd name="f282" fmla="val 1590022"/>
              <a:gd name="f283" fmla="val 9215842"/>
              <a:gd name="f284" fmla="val 1590369"/>
              <a:gd name="f285" fmla="val 9165275"/>
              <a:gd name="f286" fmla="val 1590420"/>
              <a:gd name="f287" fmla="val 9114755"/>
              <a:gd name="f288" fmla="val 1590177"/>
              <a:gd name="f289" fmla="val 9064287"/>
              <a:gd name="f290" fmla="val 1589639"/>
              <a:gd name="f291" fmla="val 9013877"/>
              <a:gd name="f292" fmla="val 1588808"/>
              <a:gd name="f293" fmla="val 8963530"/>
              <a:gd name="f294" fmla="val 1587684"/>
              <a:gd name="f295" fmla="val 8913250"/>
              <a:gd name="f296" fmla="val 1586267"/>
              <a:gd name="f297" fmla="val 8863042"/>
              <a:gd name="f298" fmla="val 1584559"/>
              <a:gd name="f299" fmla="val 8812912"/>
              <a:gd name="f300" fmla="val 1582559"/>
              <a:gd name="f301" fmla="val 8762864"/>
              <a:gd name="f302" fmla="val 1580267"/>
              <a:gd name="f303" fmla="val 8712904"/>
              <a:gd name="f304" fmla="val 1577686"/>
              <a:gd name="f305" fmla="val 8663036"/>
              <a:gd name="f306" fmla="val 1574814"/>
              <a:gd name="f307" fmla="val 8613265"/>
              <a:gd name="f308" fmla="val 1571654"/>
              <a:gd name="f309" fmla="val 8563597"/>
              <a:gd name="f310" fmla="val 1568204"/>
              <a:gd name="f311" fmla="val 8514036"/>
              <a:gd name="f312" fmla="val 1564466"/>
              <a:gd name="f313" fmla="val 8464588"/>
              <a:gd name="f314" fmla="val 1560440"/>
              <a:gd name="f315" fmla="val 8415256"/>
              <a:gd name="f316" fmla="val 1556128"/>
              <a:gd name="f317" fmla="val 8366048"/>
              <a:gd name="f318" fmla="val 1551528"/>
              <a:gd name="f319" fmla="val 8316966"/>
              <a:gd name="f320" fmla="val 1546642"/>
              <a:gd name="f321" fmla="val 8268017"/>
              <a:gd name="f322" fmla="val 1541471"/>
              <a:gd name="f323" fmla="val 8219205"/>
              <a:gd name="f324" fmla="val 1536015"/>
              <a:gd name="f325" fmla="val 8170536"/>
              <a:gd name="f326" fmla="val 1530274"/>
              <a:gd name="f327" fmla="val 8122014"/>
              <a:gd name="f328" fmla="val 1524249"/>
              <a:gd name="f329" fmla="val 8073644"/>
              <a:gd name="f330" fmla="val 1517940"/>
              <a:gd name="f331" fmla="val 8025431"/>
              <a:gd name="f332" fmla="val 1511349"/>
              <a:gd name="f333" fmla="val 7977381"/>
              <a:gd name="f334" fmla="val 1504475"/>
              <a:gd name="f335" fmla="val 7929498"/>
              <a:gd name="f336" fmla="val 1497319"/>
              <a:gd name="f337" fmla="val 7881788"/>
              <a:gd name="f338" fmla="val 1489882"/>
              <a:gd name="f339" fmla="val 7834254"/>
              <a:gd name="f340" fmla="val 1482164"/>
              <a:gd name="f341" fmla="val 7786903"/>
              <a:gd name="f342" fmla="val 1474166"/>
              <a:gd name="f343" fmla="val 7738126"/>
              <a:gd name="f344" fmla="val 1465660"/>
              <a:gd name="f345" fmla="val 7640491"/>
              <a:gd name="f346" fmla="val 1448021"/>
              <a:gd name="f347" fmla="val 7542751"/>
              <a:gd name="f348" fmla="val 1429573"/>
              <a:gd name="f349" fmla="val 7444910"/>
              <a:gd name="f350" fmla="val 1410348"/>
              <a:gd name="f351" fmla="val 7346973"/>
              <a:gd name="f352" fmla="val 1390379"/>
              <a:gd name="f353" fmla="val 7248943"/>
              <a:gd name="f354" fmla="val 1369697"/>
              <a:gd name="f355" fmla="val 7150826"/>
              <a:gd name="f356" fmla="val 1348335"/>
              <a:gd name="f357" fmla="val 7052624"/>
              <a:gd name="f358" fmla="val 1326325"/>
              <a:gd name="f359" fmla="val 6954344"/>
              <a:gd name="f360" fmla="val 1303699"/>
              <a:gd name="f361" fmla="val 6855988"/>
              <a:gd name="f362" fmla="val 1280488"/>
              <a:gd name="f363" fmla="val 6757561"/>
              <a:gd name="f364" fmla="val 1256726"/>
              <a:gd name="f365" fmla="val 6609797"/>
              <a:gd name="f366" fmla="val 1220118"/>
              <a:gd name="f367" fmla="val 6461898"/>
              <a:gd name="f368" fmla="val 1182449"/>
              <a:gd name="f369" fmla="val 6313878"/>
              <a:gd name="f370" fmla="val 1143828"/>
              <a:gd name="f371" fmla="val 6116354"/>
              <a:gd name="f372" fmla="val 1091037"/>
              <a:gd name="f373" fmla="val 5918674"/>
              <a:gd name="f374" fmla="val 1037003"/>
              <a:gd name="f375" fmla="val 5671408"/>
              <a:gd name="f376" fmla="val 968101"/>
              <a:gd name="f377" fmla="val 4632326"/>
              <a:gd name="f378" fmla="val 673191"/>
              <a:gd name="f379" fmla="val 4335739"/>
              <a:gd name="f380" fmla="val 590761"/>
              <a:gd name="f381" fmla="val 4138197"/>
              <a:gd name="f382" fmla="val 537088"/>
              <a:gd name="f383" fmla="val 3940841"/>
              <a:gd name="f384" fmla="val 484740"/>
              <a:gd name="f385" fmla="val 3792966"/>
              <a:gd name="f386" fmla="val 446503"/>
              <a:gd name="f387" fmla="val 3645230"/>
              <a:gd name="f388" fmla="val 409263"/>
              <a:gd name="f389" fmla="val 3497647"/>
              <a:gd name="f390" fmla="val 373130"/>
              <a:gd name="f391" fmla="val 3399350"/>
              <a:gd name="f392" fmla="val 349710"/>
              <a:gd name="f393" fmla="val 3301131"/>
              <a:gd name="f394" fmla="val 326862"/>
              <a:gd name="f395" fmla="val 3202995"/>
              <a:gd name="f396" fmla="val 304617"/>
              <a:gd name="f397" fmla="val 3104947"/>
              <a:gd name="f398" fmla="val 283009"/>
              <a:gd name="f399" fmla="val 3006989"/>
              <a:gd name="f400" fmla="val 262069"/>
              <a:gd name="f401" fmla="val 2909128"/>
              <a:gd name="f402" fmla="val 241830"/>
              <a:gd name="f403" fmla="val 2811366"/>
              <a:gd name="f404" fmla="val 222323"/>
              <a:gd name="f405" fmla="val 2713708"/>
              <a:gd name="f406" fmla="val 203581"/>
              <a:gd name="f407" fmla="val 2616159"/>
              <a:gd name="f408" fmla="val 185635"/>
              <a:gd name="f409" fmla="val 2518722"/>
              <a:gd name="f410" fmla="val 168518"/>
              <a:gd name="f411" fmla="val 2421402"/>
              <a:gd name="f412" fmla="val 152263"/>
              <a:gd name="f413" fmla="val 2324204"/>
              <a:gd name="f414" fmla="val 136900"/>
              <a:gd name="f415" fmla="val 2227131"/>
              <a:gd name="f416" fmla="val 122463"/>
              <a:gd name="f417" fmla="val 2130188"/>
              <a:gd name="f418" fmla="val 108983"/>
              <a:gd name="f419" fmla="val 2033378"/>
              <a:gd name="f420" fmla="val 96492"/>
              <a:gd name="f421" fmla="val 1936708"/>
              <a:gd name="f422" fmla="val 85023"/>
              <a:gd name="f423" fmla="val 1888425"/>
              <a:gd name="f424" fmla="val 79682"/>
              <a:gd name="f425" fmla="val 1840179"/>
              <a:gd name="f426" fmla="val 74608"/>
              <a:gd name="f427" fmla="val 1791970"/>
              <a:gd name="f428" fmla="val 69805"/>
              <a:gd name="f429" fmla="val 1743798"/>
              <a:gd name="f430" fmla="val 65278"/>
              <a:gd name="f431" fmla="val 1695663"/>
              <a:gd name="f432" fmla="val 61030"/>
              <a:gd name="f433" fmla="val 1647567"/>
              <a:gd name="f434" fmla="val 57066"/>
              <a:gd name="f435" fmla="val 1599510"/>
              <a:gd name="f436" fmla="val 53390"/>
              <a:gd name="f437" fmla="val 1551492"/>
              <a:gd name="f438" fmla="val 50004"/>
              <a:gd name="f439" fmla="val 1503514"/>
              <a:gd name="f440" fmla="val 46915"/>
              <a:gd name="f441" fmla="val 1451727"/>
              <a:gd name="f442" fmla="val 41426"/>
              <a:gd name="f443" fmla="val 1400000"/>
              <a:gd name="f444" fmla="val 36255"/>
              <a:gd name="f445" fmla="val 1348336"/>
              <a:gd name="f446" fmla="val 31407"/>
              <a:gd name="f447" fmla="val 1296735"/>
              <a:gd name="f448" fmla="val 26886"/>
              <a:gd name="f449" fmla="val 1245197"/>
              <a:gd name="f450" fmla="val 22697"/>
              <a:gd name="f451" fmla="val 1193723"/>
              <a:gd name="f452" fmla="val 18846"/>
              <a:gd name="f453" fmla="val 1142315"/>
              <a:gd name="f454" fmla="val 15337"/>
              <a:gd name="f455" fmla="val 1090973"/>
              <a:gd name="f456" fmla="val 12176"/>
              <a:gd name="f457" fmla="val 1039697"/>
              <a:gd name="f458" fmla="val 9368"/>
              <a:gd name="f459" fmla="val 988488"/>
              <a:gd name="f460" fmla="val 6917"/>
              <a:gd name="f461" fmla="val 937348"/>
              <a:gd name="f462" fmla="val 4828"/>
              <a:gd name="f463" fmla="val 886276"/>
              <a:gd name="f464" fmla="val 3107"/>
              <a:gd name="f465" fmla="val 835274"/>
              <a:gd name="f466" fmla="val 1759"/>
              <a:gd name="f467" fmla="val 784343"/>
              <a:gd name="f468" fmla="val 788"/>
              <a:gd name="f469" fmla="val 733482"/>
              <a:gd name="f470" fmla="val 200"/>
              <a:gd name="f471" fmla="*/ f0 1 12192000"/>
              <a:gd name="f472" fmla="*/ f1 1 1838325"/>
              <a:gd name="f473" fmla="+- f4 0 f2"/>
              <a:gd name="f474" fmla="+- f3 0 f2"/>
              <a:gd name="f475" fmla="*/ f474 1 12192000"/>
              <a:gd name="f476" fmla="*/ f473 1 1838325"/>
              <a:gd name="f477" fmla="*/ f2 1 f475"/>
              <a:gd name="f478" fmla="*/ f3 1 f475"/>
              <a:gd name="f479" fmla="*/ f2 1 f476"/>
              <a:gd name="f480" fmla="*/ f4 1 f476"/>
              <a:gd name="f481" fmla="*/ f477 f471 1"/>
              <a:gd name="f482" fmla="*/ f478 f471 1"/>
              <a:gd name="f483" fmla="*/ f480 f472 1"/>
              <a:gd name="f484" fmla="*/ f479 f472 1"/>
            </a:gdLst>
            <a:ahLst/>
            <a:cxnLst>
              <a:cxn ang="3cd4">
                <a:pos x="hc" y="t"/>
              </a:cxn>
              <a:cxn ang="0">
                <a:pos x="r" y="vc"/>
              </a:cxn>
              <a:cxn ang="cd4">
                <a:pos x="hc" y="b"/>
              </a:cxn>
              <a:cxn ang="cd2">
                <a:pos x="l" y="vc"/>
              </a:cxn>
            </a:cxnLst>
            <a:rect l="f481" t="f484" r="f482" b="f483"/>
            <a:pathLst>
              <a:path w="12192000" h="1838325">
                <a:moveTo>
                  <a:pt x="f5" y="f2"/>
                </a:moveTo>
                <a:lnTo>
                  <a:pt x="f6" y="f7"/>
                </a:lnTo>
                <a:lnTo>
                  <a:pt x="f8" y="f9"/>
                </a:lnTo>
                <a:lnTo>
                  <a:pt x="f10" y="f11"/>
                </a:lnTo>
                <a:lnTo>
                  <a:pt x="f12" y="f13"/>
                </a:lnTo>
                <a:lnTo>
                  <a:pt x="f14" y="f15"/>
                </a:lnTo>
                <a:lnTo>
                  <a:pt x="f16" y="f17"/>
                </a:lnTo>
                <a:lnTo>
                  <a:pt x="f18" y="f19"/>
                </a:lnTo>
                <a:lnTo>
                  <a:pt x="f2" y="f20"/>
                </a:lnTo>
                <a:lnTo>
                  <a:pt x="f2" y="f21"/>
                </a:lnTo>
                <a:lnTo>
                  <a:pt x="f22" y="f23"/>
                </a:lnTo>
                <a:lnTo>
                  <a:pt x="f24" y="f25"/>
                </a:lnTo>
                <a:lnTo>
                  <a:pt x="f26" y="f27"/>
                </a:lnTo>
                <a:lnTo>
                  <a:pt x="f28" y="f29"/>
                </a:lnTo>
                <a:lnTo>
                  <a:pt x="f30" y="f31"/>
                </a:lnTo>
                <a:lnTo>
                  <a:pt x="f32" y="f33"/>
                </a:lnTo>
                <a:lnTo>
                  <a:pt x="f34" y="f35"/>
                </a:lnTo>
                <a:lnTo>
                  <a:pt x="f36" y="f37"/>
                </a:lnTo>
                <a:lnTo>
                  <a:pt x="f38" y="f39"/>
                </a:lnTo>
                <a:lnTo>
                  <a:pt x="f40" y="f41"/>
                </a:lnTo>
                <a:lnTo>
                  <a:pt x="f42" y="f43"/>
                </a:lnTo>
                <a:lnTo>
                  <a:pt x="f44" y="f45"/>
                </a:lnTo>
                <a:lnTo>
                  <a:pt x="f46" y="f47"/>
                </a:lnTo>
                <a:lnTo>
                  <a:pt x="f48" y="f49"/>
                </a:lnTo>
                <a:lnTo>
                  <a:pt x="f50" y="f51"/>
                </a:lnTo>
                <a:lnTo>
                  <a:pt x="f52" y="f53"/>
                </a:lnTo>
                <a:lnTo>
                  <a:pt x="f54" y="f55"/>
                </a:lnTo>
                <a:lnTo>
                  <a:pt x="f56" y="f57"/>
                </a:lnTo>
                <a:lnTo>
                  <a:pt x="f58" y="f59"/>
                </a:lnTo>
                <a:lnTo>
                  <a:pt x="f60" y="f61"/>
                </a:lnTo>
                <a:lnTo>
                  <a:pt x="f62" y="f63"/>
                </a:lnTo>
                <a:lnTo>
                  <a:pt x="f64" y="f65"/>
                </a:lnTo>
                <a:lnTo>
                  <a:pt x="f66" y="f67"/>
                </a:lnTo>
                <a:lnTo>
                  <a:pt x="f68" y="f69"/>
                </a:lnTo>
                <a:lnTo>
                  <a:pt x="f70" y="f71"/>
                </a:lnTo>
                <a:lnTo>
                  <a:pt x="f72" y="f73"/>
                </a:lnTo>
                <a:lnTo>
                  <a:pt x="f74" y="f75"/>
                </a:lnTo>
                <a:lnTo>
                  <a:pt x="f76" y="f77"/>
                </a:lnTo>
                <a:lnTo>
                  <a:pt x="f78" y="f79"/>
                </a:lnTo>
                <a:lnTo>
                  <a:pt x="f80" y="f81"/>
                </a:lnTo>
                <a:lnTo>
                  <a:pt x="f82" y="f83"/>
                </a:lnTo>
                <a:lnTo>
                  <a:pt x="f84" y="f85"/>
                </a:lnTo>
                <a:lnTo>
                  <a:pt x="f86" y="f87"/>
                </a:lnTo>
                <a:lnTo>
                  <a:pt x="f88" y="f89"/>
                </a:lnTo>
                <a:lnTo>
                  <a:pt x="f90" y="f91"/>
                </a:lnTo>
                <a:lnTo>
                  <a:pt x="f92" y="f93"/>
                </a:lnTo>
                <a:lnTo>
                  <a:pt x="f94" y="f95"/>
                </a:lnTo>
                <a:lnTo>
                  <a:pt x="f96" y="f97"/>
                </a:lnTo>
                <a:lnTo>
                  <a:pt x="f98" y="f99"/>
                </a:lnTo>
                <a:lnTo>
                  <a:pt x="f100" y="f101"/>
                </a:lnTo>
                <a:lnTo>
                  <a:pt x="f102" y="f103"/>
                </a:lnTo>
                <a:lnTo>
                  <a:pt x="f104" y="f105"/>
                </a:lnTo>
                <a:lnTo>
                  <a:pt x="f106" y="f107"/>
                </a:lnTo>
                <a:lnTo>
                  <a:pt x="f108" y="f109"/>
                </a:lnTo>
                <a:lnTo>
                  <a:pt x="f110" y="f111"/>
                </a:lnTo>
                <a:lnTo>
                  <a:pt x="f112" y="f113"/>
                </a:lnTo>
                <a:lnTo>
                  <a:pt x="f114" y="f115"/>
                </a:lnTo>
                <a:lnTo>
                  <a:pt x="f116" y="f117"/>
                </a:lnTo>
                <a:lnTo>
                  <a:pt x="f118" y="f119"/>
                </a:lnTo>
                <a:lnTo>
                  <a:pt x="f120" y="f121"/>
                </a:lnTo>
                <a:lnTo>
                  <a:pt x="f122" y="f123"/>
                </a:lnTo>
                <a:lnTo>
                  <a:pt x="f124" y="f125"/>
                </a:lnTo>
                <a:lnTo>
                  <a:pt x="f126" y="f127"/>
                </a:lnTo>
                <a:lnTo>
                  <a:pt x="f128" y="f129"/>
                </a:lnTo>
                <a:lnTo>
                  <a:pt x="f130" y="f131"/>
                </a:lnTo>
                <a:lnTo>
                  <a:pt x="f132" y="f133"/>
                </a:lnTo>
                <a:lnTo>
                  <a:pt x="f134" y="f135"/>
                </a:lnTo>
                <a:lnTo>
                  <a:pt x="f136" y="f137"/>
                </a:lnTo>
                <a:lnTo>
                  <a:pt x="f138" y="f139"/>
                </a:lnTo>
                <a:lnTo>
                  <a:pt x="f140" y="f141"/>
                </a:lnTo>
                <a:lnTo>
                  <a:pt x="f142" y="f143"/>
                </a:lnTo>
                <a:lnTo>
                  <a:pt x="f144" y="f145"/>
                </a:lnTo>
                <a:lnTo>
                  <a:pt x="f146" y="f147"/>
                </a:lnTo>
                <a:lnTo>
                  <a:pt x="f148" y="f149"/>
                </a:lnTo>
                <a:lnTo>
                  <a:pt x="f150" y="f151"/>
                </a:lnTo>
                <a:lnTo>
                  <a:pt x="f152" y="f153"/>
                </a:lnTo>
                <a:lnTo>
                  <a:pt x="f154" y="f155"/>
                </a:lnTo>
                <a:lnTo>
                  <a:pt x="f156" y="f157"/>
                </a:lnTo>
                <a:lnTo>
                  <a:pt x="f158" y="f159"/>
                </a:lnTo>
                <a:lnTo>
                  <a:pt x="f160" y="f161"/>
                </a:lnTo>
                <a:lnTo>
                  <a:pt x="f3" y="f161"/>
                </a:lnTo>
                <a:lnTo>
                  <a:pt x="f3" y="f162"/>
                </a:lnTo>
                <a:lnTo>
                  <a:pt x="f163" y="f164"/>
                </a:lnTo>
                <a:lnTo>
                  <a:pt x="f165" y="f166"/>
                </a:lnTo>
                <a:lnTo>
                  <a:pt x="f167" y="f168"/>
                </a:lnTo>
                <a:lnTo>
                  <a:pt x="f169" y="f170"/>
                </a:lnTo>
                <a:lnTo>
                  <a:pt x="f171" y="f172"/>
                </a:lnTo>
                <a:lnTo>
                  <a:pt x="f173" y="f174"/>
                </a:lnTo>
                <a:lnTo>
                  <a:pt x="f175" y="f176"/>
                </a:lnTo>
                <a:lnTo>
                  <a:pt x="f177" y="f178"/>
                </a:lnTo>
                <a:lnTo>
                  <a:pt x="f179" y="f180"/>
                </a:lnTo>
                <a:lnTo>
                  <a:pt x="f181" y="f182"/>
                </a:lnTo>
                <a:lnTo>
                  <a:pt x="f183" y="f184"/>
                </a:lnTo>
                <a:lnTo>
                  <a:pt x="f185" y="f186"/>
                </a:lnTo>
                <a:lnTo>
                  <a:pt x="f187" y="f188"/>
                </a:lnTo>
                <a:lnTo>
                  <a:pt x="f189" y="f190"/>
                </a:lnTo>
                <a:lnTo>
                  <a:pt x="f191" y="f192"/>
                </a:lnTo>
                <a:lnTo>
                  <a:pt x="f193" y="f194"/>
                </a:lnTo>
                <a:lnTo>
                  <a:pt x="f195" y="f196"/>
                </a:lnTo>
                <a:lnTo>
                  <a:pt x="f197" y="f198"/>
                </a:lnTo>
                <a:lnTo>
                  <a:pt x="f199" y="f200"/>
                </a:lnTo>
                <a:lnTo>
                  <a:pt x="f201" y="f202"/>
                </a:lnTo>
                <a:lnTo>
                  <a:pt x="f203" y="f204"/>
                </a:lnTo>
                <a:lnTo>
                  <a:pt x="f205" y="f206"/>
                </a:lnTo>
                <a:lnTo>
                  <a:pt x="f207" y="f208"/>
                </a:lnTo>
                <a:lnTo>
                  <a:pt x="f209" y="f210"/>
                </a:lnTo>
                <a:lnTo>
                  <a:pt x="f211" y="f212"/>
                </a:lnTo>
                <a:lnTo>
                  <a:pt x="f213" y="f214"/>
                </a:lnTo>
                <a:lnTo>
                  <a:pt x="f215" y="f216"/>
                </a:lnTo>
                <a:lnTo>
                  <a:pt x="f217" y="f218"/>
                </a:lnTo>
                <a:lnTo>
                  <a:pt x="f219" y="f220"/>
                </a:lnTo>
                <a:lnTo>
                  <a:pt x="f221" y="f222"/>
                </a:lnTo>
                <a:lnTo>
                  <a:pt x="f223" y="f224"/>
                </a:lnTo>
                <a:lnTo>
                  <a:pt x="f225" y="f226"/>
                </a:lnTo>
                <a:lnTo>
                  <a:pt x="f227" y="f228"/>
                </a:lnTo>
                <a:lnTo>
                  <a:pt x="f229" y="f230"/>
                </a:lnTo>
                <a:lnTo>
                  <a:pt x="f231" y="f232"/>
                </a:lnTo>
                <a:lnTo>
                  <a:pt x="f233" y="f234"/>
                </a:lnTo>
                <a:lnTo>
                  <a:pt x="f235" y="f236"/>
                </a:lnTo>
                <a:lnTo>
                  <a:pt x="f237" y="f238"/>
                </a:lnTo>
                <a:lnTo>
                  <a:pt x="f239" y="f240"/>
                </a:lnTo>
                <a:lnTo>
                  <a:pt x="f241" y="f242"/>
                </a:lnTo>
                <a:lnTo>
                  <a:pt x="f243" y="f244"/>
                </a:lnTo>
                <a:lnTo>
                  <a:pt x="f245" y="f246"/>
                </a:lnTo>
                <a:lnTo>
                  <a:pt x="f247" y="f248"/>
                </a:lnTo>
                <a:lnTo>
                  <a:pt x="f249" y="f250"/>
                </a:lnTo>
                <a:lnTo>
                  <a:pt x="f251" y="f252"/>
                </a:lnTo>
                <a:lnTo>
                  <a:pt x="f253" y="f254"/>
                </a:lnTo>
                <a:lnTo>
                  <a:pt x="f255" y="f256"/>
                </a:lnTo>
                <a:lnTo>
                  <a:pt x="f257" y="f258"/>
                </a:lnTo>
                <a:lnTo>
                  <a:pt x="f259" y="f260"/>
                </a:lnTo>
                <a:lnTo>
                  <a:pt x="f261" y="f262"/>
                </a:lnTo>
                <a:lnTo>
                  <a:pt x="f263" y="f264"/>
                </a:lnTo>
                <a:lnTo>
                  <a:pt x="f265" y="f266"/>
                </a:lnTo>
                <a:lnTo>
                  <a:pt x="f267" y="f268"/>
                </a:lnTo>
                <a:lnTo>
                  <a:pt x="f269" y="f270"/>
                </a:lnTo>
                <a:lnTo>
                  <a:pt x="f271" y="f272"/>
                </a:lnTo>
                <a:lnTo>
                  <a:pt x="f273" y="f274"/>
                </a:lnTo>
                <a:lnTo>
                  <a:pt x="f275" y="f276"/>
                </a:lnTo>
                <a:lnTo>
                  <a:pt x="f277" y="f278"/>
                </a:lnTo>
                <a:lnTo>
                  <a:pt x="f279" y="f280"/>
                </a:lnTo>
                <a:lnTo>
                  <a:pt x="f281" y="f282"/>
                </a:lnTo>
                <a:lnTo>
                  <a:pt x="f283" y="f284"/>
                </a:lnTo>
                <a:lnTo>
                  <a:pt x="f285" y="f286"/>
                </a:lnTo>
                <a:lnTo>
                  <a:pt x="f287" y="f288"/>
                </a:lnTo>
                <a:lnTo>
                  <a:pt x="f289" y="f290"/>
                </a:lnTo>
                <a:lnTo>
                  <a:pt x="f291" y="f292"/>
                </a:lnTo>
                <a:lnTo>
                  <a:pt x="f293" y="f294"/>
                </a:lnTo>
                <a:lnTo>
                  <a:pt x="f295" y="f296"/>
                </a:lnTo>
                <a:lnTo>
                  <a:pt x="f297" y="f298"/>
                </a:lnTo>
                <a:lnTo>
                  <a:pt x="f299" y="f300"/>
                </a:lnTo>
                <a:lnTo>
                  <a:pt x="f301" y="f302"/>
                </a:lnTo>
                <a:lnTo>
                  <a:pt x="f303" y="f304"/>
                </a:lnTo>
                <a:lnTo>
                  <a:pt x="f305" y="f306"/>
                </a:lnTo>
                <a:lnTo>
                  <a:pt x="f307" y="f308"/>
                </a:lnTo>
                <a:lnTo>
                  <a:pt x="f309" y="f310"/>
                </a:lnTo>
                <a:lnTo>
                  <a:pt x="f311" y="f312"/>
                </a:lnTo>
                <a:lnTo>
                  <a:pt x="f313" y="f314"/>
                </a:lnTo>
                <a:lnTo>
                  <a:pt x="f315" y="f316"/>
                </a:lnTo>
                <a:lnTo>
                  <a:pt x="f317" y="f318"/>
                </a:lnTo>
                <a:lnTo>
                  <a:pt x="f319" y="f320"/>
                </a:lnTo>
                <a:lnTo>
                  <a:pt x="f321" y="f322"/>
                </a:lnTo>
                <a:lnTo>
                  <a:pt x="f323" y="f324"/>
                </a:lnTo>
                <a:lnTo>
                  <a:pt x="f325" y="f326"/>
                </a:lnTo>
                <a:lnTo>
                  <a:pt x="f327" y="f328"/>
                </a:lnTo>
                <a:lnTo>
                  <a:pt x="f329" y="f330"/>
                </a:lnTo>
                <a:lnTo>
                  <a:pt x="f331" y="f332"/>
                </a:lnTo>
                <a:lnTo>
                  <a:pt x="f333" y="f334"/>
                </a:lnTo>
                <a:lnTo>
                  <a:pt x="f335" y="f336"/>
                </a:lnTo>
                <a:lnTo>
                  <a:pt x="f337" y="f338"/>
                </a:lnTo>
                <a:lnTo>
                  <a:pt x="f339" y="f340"/>
                </a:lnTo>
                <a:lnTo>
                  <a:pt x="f341" y="f342"/>
                </a:lnTo>
                <a:lnTo>
                  <a:pt x="f343" y="f344"/>
                </a:lnTo>
                <a:lnTo>
                  <a:pt x="f345" y="f346"/>
                </a:lnTo>
                <a:lnTo>
                  <a:pt x="f347" y="f348"/>
                </a:lnTo>
                <a:lnTo>
                  <a:pt x="f349" y="f350"/>
                </a:lnTo>
                <a:lnTo>
                  <a:pt x="f351" y="f352"/>
                </a:lnTo>
                <a:lnTo>
                  <a:pt x="f353" y="f354"/>
                </a:lnTo>
                <a:lnTo>
                  <a:pt x="f355" y="f356"/>
                </a:lnTo>
                <a:lnTo>
                  <a:pt x="f357" y="f358"/>
                </a:lnTo>
                <a:lnTo>
                  <a:pt x="f359" y="f360"/>
                </a:lnTo>
                <a:lnTo>
                  <a:pt x="f361" y="f362"/>
                </a:lnTo>
                <a:lnTo>
                  <a:pt x="f363" y="f364"/>
                </a:lnTo>
                <a:lnTo>
                  <a:pt x="f365" y="f366"/>
                </a:lnTo>
                <a:lnTo>
                  <a:pt x="f367" y="f368"/>
                </a:lnTo>
                <a:lnTo>
                  <a:pt x="f369" y="f370"/>
                </a:lnTo>
                <a:lnTo>
                  <a:pt x="f371" y="f372"/>
                </a:lnTo>
                <a:lnTo>
                  <a:pt x="f373" y="f374"/>
                </a:lnTo>
                <a:lnTo>
                  <a:pt x="f375" y="f376"/>
                </a:lnTo>
                <a:lnTo>
                  <a:pt x="f377" y="f378"/>
                </a:lnTo>
                <a:lnTo>
                  <a:pt x="f379" y="f380"/>
                </a:lnTo>
                <a:lnTo>
                  <a:pt x="f381" y="f382"/>
                </a:lnTo>
                <a:lnTo>
                  <a:pt x="f383" y="f384"/>
                </a:lnTo>
                <a:lnTo>
                  <a:pt x="f385" y="f386"/>
                </a:lnTo>
                <a:lnTo>
                  <a:pt x="f387" y="f388"/>
                </a:lnTo>
                <a:lnTo>
                  <a:pt x="f389" y="f390"/>
                </a:lnTo>
                <a:lnTo>
                  <a:pt x="f391" y="f392"/>
                </a:lnTo>
                <a:lnTo>
                  <a:pt x="f393" y="f394"/>
                </a:lnTo>
                <a:lnTo>
                  <a:pt x="f395" y="f396"/>
                </a:lnTo>
                <a:lnTo>
                  <a:pt x="f397" y="f398"/>
                </a:lnTo>
                <a:lnTo>
                  <a:pt x="f399" y="f400"/>
                </a:lnTo>
                <a:lnTo>
                  <a:pt x="f401" y="f402"/>
                </a:lnTo>
                <a:lnTo>
                  <a:pt x="f403" y="f404"/>
                </a:lnTo>
                <a:lnTo>
                  <a:pt x="f405" y="f406"/>
                </a:lnTo>
                <a:lnTo>
                  <a:pt x="f407" y="f408"/>
                </a:lnTo>
                <a:lnTo>
                  <a:pt x="f409" y="f410"/>
                </a:lnTo>
                <a:lnTo>
                  <a:pt x="f411" y="f412"/>
                </a:lnTo>
                <a:lnTo>
                  <a:pt x="f413" y="f414"/>
                </a:lnTo>
                <a:lnTo>
                  <a:pt x="f415" y="f416"/>
                </a:lnTo>
                <a:lnTo>
                  <a:pt x="f417" y="f418"/>
                </a:lnTo>
                <a:lnTo>
                  <a:pt x="f419" y="f420"/>
                </a:lnTo>
                <a:lnTo>
                  <a:pt x="f421" y="f422"/>
                </a:lnTo>
                <a:lnTo>
                  <a:pt x="f423" y="f424"/>
                </a:lnTo>
                <a:lnTo>
                  <a:pt x="f425" y="f426"/>
                </a:lnTo>
                <a:lnTo>
                  <a:pt x="f427" y="f428"/>
                </a:lnTo>
                <a:lnTo>
                  <a:pt x="f429" y="f430"/>
                </a:lnTo>
                <a:lnTo>
                  <a:pt x="f431" y="f432"/>
                </a:lnTo>
                <a:lnTo>
                  <a:pt x="f433" y="f434"/>
                </a:lnTo>
                <a:lnTo>
                  <a:pt x="f435" y="f436"/>
                </a:lnTo>
                <a:lnTo>
                  <a:pt x="f437" y="f438"/>
                </a:lnTo>
                <a:lnTo>
                  <a:pt x="f439" y="f440"/>
                </a:lnTo>
                <a:lnTo>
                  <a:pt x="f441" y="f442"/>
                </a:lnTo>
                <a:lnTo>
                  <a:pt x="f443" y="f444"/>
                </a:lnTo>
                <a:lnTo>
                  <a:pt x="f445" y="f446"/>
                </a:lnTo>
                <a:lnTo>
                  <a:pt x="f447" y="f448"/>
                </a:lnTo>
                <a:lnTo>
                  <a:pt x="f449" y="f450"/>
                </a:lnTo>
                <a:lnTo>
                  <a:pt x="f451" y="f452"/>
                </a:lnTo>
                <a:lnTo>
                  <a:pt x="f453" y="f454"/>
                </a:lnTo>
                <a:lnTo>
                  <a:pt x="f455" y="f456"/>
                </a:lnTo>
                <a:lnTo>
                  <a:pt x="f457" y="f458"/>
                </a:lnTo>
                <a:lnTo>
                  <a:pt x="f459" y="f460"/>
                </a:lnTo>
                <a:lnTo>
                  <a:pt x="f461" y="f462"/>
                </a:lnTo>
                <a:lnTo>
                  <a:pt x="f463" y="f464"/>
                </a:lnTo>
                <a:lnTo>
                  <a:pt x="f465" y="f466"/>
                </a:lnTo>
                <a:lnTo>
                  <a:pt x="f467" y="f468"/>
                </a:lnTo>
                <a:lnTo>
                  <a:pt x="f469" y="f470"/>
                </a:lnTo>
                <a:lnTo>
                  <a:pt x="f5" y="f2"/>
                </a:lnTo>
                <a:close/>
              </a:path>
            </a:pathLst>
          </a:custGeom>
          <a:solidFill>
            <a:srgbClr val="1C488A"/>
          </a:solidFill>
          <a:ln cap="flat">
            <a:noFill/>
            <a:prstDash val="solid"/>
          </a:ln>
        </p:spPr>
        <p:txBody>
          <a:bodyPr vert="horz" wrap="square" lIns="0" tIns="0" rIns="0" bIns="0" anchor="t"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pic>
        <p:nvPicPr>
          <p:cNvPr id="6" name="bg object 20">
            <a:extLst>
              <a:ext uri="{FF2B5EF4-FFF2-40B4-BE49-F238E27FC236}">
                <a16:creationId xmlns:a16="http://schemas.microsoft.com/office/drawing/2014/main" id="{C23C3005-E785-E64F-66BE-F30CB1F92580}"/>
              </a:ext>
            </a:extLst>
          </p:cNvPr>
          <p:cNvPicPr>
            <a:picLocks noChangeAspect="1"/>
          </p:cNvPicPr>
          <p:nvPr/>
        </p:nvPicPr>
        <p:blipFill>
          <a:blip r:embed="rId3"/>
          <a:stretch>
            <a:fillRect/>
          </a:stretch>
        </p:blipFill>
        <p:spPr>
          <a:xfrm>
            <a:off x="313960" y="5564125"/>
            <a:ext cx="2025386" cy="911355"/>
          </a:xfrm>
          <a:prstGeom prst="rect">
            <a:avLst/>
          </a:prstGeom>
          <a:noFill/>
          <a:ln cap="flat">
            <a:noFill/>
          </a:ln>
        </p:spPr>
      </p:pic>
      <p:sp>
        <p:nvSpPr>
          <p:cNvPr id="7" name="bg object 21">
            <a:extLst>
              <a:ext uri="{FF2B5EF4-FFF2-40B4-BE49-F238E27FC236}">
                <a16:creationId xmlns:a16="http://schemas.microsoft.com/office/drawing/2014/main" id="{7EAA7644-0348-3C1E-8999-13953C796287}"/>
              </a:ext>
            </a:extLst>
          </p:cNvPr>
          <p:cNvSpPr/>
          <p:nvPr/>
        </p:nvSpPr>
        <p:spPr>
          <a:xfrm>
            <a:off x="1520190" y="2812538"/>
            <a:ext cx="2286000" cy="0"/>
          </a:xfrm>
          <a:custGeom>
            <a:avLst/>
            <a:gdLst>
              <a:gd name="f0" fmla="val w"/>
              <a:gd name="f1" fmla="val h"/>
              <a:gd name="f2" fmla="val ss"/>
              <a:gd name="f3" fmla="val 0"/>
              <a:gd name="f4" fmla="val 2286000"/>
              <a:gd name="f5" fmla="abs f0"/>
              <a:gd name="f6" fmla="abs f1"/>
              <a:gd name="f7" fmla="abs f2"/>
              <a:gd name="f8" fmla="*/ f0 1 2286000"/>
              <a:gd name="f9" fmla="val f3"/>
              <a:gd name="f10" fmla="+- f3 0 f3"/>
              <a:gd name="f11" fmla="+- f4 0 f3"/>
              <a:gd name="f12" fmla="?: f5 f0 1"/>
              <a:gd name="f13" fmla="?: f6 f1 1"/>
              <a:gd name="f14" fmla="?: f7 f2 1"/>
              <a:gd name="f15" fmla="*/ f11 1 2286000"/>
              <a:gd name="f16" fmla="*/ f10 1 0"/>
              <a:gd name="f17" fmla="*/ f12 1 2286000"/>
              <a:gd name="f18" fmla="*/ f13 1 21600"/>
              <a:gd name="f19" fmla="*/ 21600 f13 1"/>
              <a:gd name="f20" fmla="*/ 0 1 f15"/>
              <a:gd name="f21" fmla="*/ 2286000 1 f15"/>
              <a:gd name="f22" fmla="*/ 0 1 f16"/>
              <a:gd name="f23" fmla="*/ 1 1 f16"/>
              <a:gd name="f24" fmla="min f18 f17"/>
              <a:gd name="f25" fmla="*/ f19 1 f14"/>
              <a:gd name="f26" fmla="*/ f20 f8 1"/>
              <a:gd name="f27" fmla="*/ f21 f8 1"/>
              <a:gd name="f28" fmla="val f25"/>
              <a:gd name="f29" fmla="*/ f3 f24 1"/>
              <a:gd name="f30" fmla="+- f28 0 f9"/>
              <a:gd name="f31" fmla="*/ f30 1 0"/>
              <a:gd name="f32" fmla="*/ f23 f31 1"/>
              <a:gd name="f33" fmla="*/ f22 f31 1"/>
              <a:gd name="f34" fmla="*/ f33 f24 1"/>
              <a:gd name="f35" fmla="*/ f32 f24 1"/>
            </a:gdLst>
            <a:ahLst/>
            <a:cxnLst>
              <a:cxn ang="3cd4">
                <a:pos x="hc" y="t"/>
              </a:cxn>
              <a:cxn ang="0">
                <a:pos x="r" y="vc"/>
              </a:cxn>
              <a:cxn ang="cd4">
                <a:pos x="hc" y="b"/>
              </a:cxn>
              <a:cxn ang="cd2">
                <a:pos x="l" y="vc"/>
              </a:cxn>
            </a:cxnLst>
            <a:rect l="f26" t="f34" r="f27" b="f35"/>
            <a:pathLst>
              <a:path w="2286000">
                <a:moveTo>
                  <a:pt x="f3" y="f29"/>
                </a:moveTo>
                <a:lnTo>
                  <a:pt x="f4" y="f29"/>
                </a:lnTo>
              </a:path>
            </a:pathLst>
          </a:custGeom>
          <a:noFill/>
          <a:ln w="32004" cap="flat">
            <a:solidFill>
              <a:srgbClr val="F58366"/>
            </a:solidFill>
            <a:prstDash val="solid"/>
            <a:miter/>
          </a:ln>
        </p:spPr>
        <p:txBody>
          <a:bodyPr vert="horz" wrap="square" lIns="0" tIns="0" rIns="0" bIns="0" anchor="t"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ndParaRPr>
          </a:p>
        </p:txBody>
      </p:sp>
      <p:sp>
        <p:nvSpPr>
          <p:cNvPr id="8" name="Holder 2">
            <a:extLst>
              <a:ext uri="{FF2B5EF4-FFF2-40B4-BE49-F238E27FC236}">
                <a16:creationId xmlns:a16="http://schemas.microsoft.com/office/drawing/2014/main" id="{35076307-130A-726E-7330-8B5D7FDDC833}"/>
              </a:ext>
            </a:extLst>
          </p:cNvPr>
          <p:cNvSpPr txBox="1">
            <a:spLocks noGrp="1"/>
          </p:cNvSpPr>
          <p:nvPr>
            <p:ph type="title"/>
          </p:nvPr>
        </p:nvSpPr>
        <p:spPr>
          <a:xfrm>
            <a:off x="471694" y="493922"/>
            <a:ext cx="11248619" cy="574042"/>
          </a:xfrm>
        </p:spPr>
        <p:txBody>
          <a:bodyPr wrap="square" lIns="0" tIns="0" rIns="0" bIns="0">
            <a:spAutoFit/>
          </a:bodyPr>
          <a:lstStyle>
            <a:lvl1pPr>
              <a:defRPr b="0">
                <a:solidFill>
                  <a:srgbClr val="444C55"/>
                </a:solidFill>
              </a:defRPr>
            </a:lvl1pPr>
          </a:lstStyle>
          <a:p>
            <a:pPr lvl="0"/>
            <a:endParaRPr lang="en-US"/>
          </a:p>
        </p:txBody>
      </p:sp>
      <p:sp>
        <p:nvSpPr>
          <p:cNvPr id="9" name="Holder 3">
            <a:extLst>
              <a:ext uri="{FF2B5EF4-FFF2-40B4-BE49-F238E27FC236}">
                <a16:creationId xmlns:a16="http://schemas.microsoft.com/office/drawing/2014/main" id="{35720E54-0F7A-8F61-6594-5671908BDA0E}"/>
              </a:ext>
            </a:extLst>
          </p:cNvPr>
          <p:cNvSpPr txBox="1">
            <a:spLocks noGrp="1"/>
          </p:cNvSpPr>
          <p:nvPr>
            <p:ph type="subTitle" idx="4294967295"/>
          </p:nvPr>
        </p:nvSpPr>
        <p:spPr>
          <a:xfrm>
            <a:off x="1828800" y="3840480"/>
            <a:ext cx="8534396" cy="369332"/>
          </a:xfrm>
        </p:spPr>
        <p:txBody>
          <a:bodyPr wrap="square" lIns="0" tIns="0" rIns="0" bIns="0">
            <a:spAutoFit/>
          </a:bodyPr>
          <a:lstStyle>
            <a:lvl1pPr>
              <a:defRPr/>
            </a:lvl1pPr>
          </a:lstStyle>
          <a:p>
            <a:pPr lvl="0"/>
            <a:endParaRPr lang="en-US"/>
          </a:p>
        </p:txBody>
      </p:sp>
      <p:sp>
        <p:nvSpPr>
          <p:cNvPr id="10" name="Holder 4">
            <a:extLst>
              <a:ext uri="{FF2B5EF4-FFF2-40B4-BE49-F238E27FC236}">
                <a16:creationId xmlns:a16="http://schemas.microsoft.com/office/drawing/2014/main" id="{2F10C6B6-260B-8B47-1436-3997344380C6}"/>
              </a:ext>
            </a:extLst>
          </p:cNvPr>
          <p:cNvSpPr txBox="1">
            <a:spLocks noGrp="1"/>
          </p:cNvSpPr>
          <p:nvPr>
            <p:ph type="ftr" sz="quarter" idx="9"/>
          </p:nvPr>
        </p:nvSpPr>
        <p:spPr/>
        <p:txBody>
          <a:bodyPr lIns="0" tIns="0" rIns="0" bIns="0" anchorCtr="1"/>
          <a:lstStyle>
            <a:lvl1pPr algn="ctr">
              <a:defRPr/>
            </a:lvl1pPr>
          </a:lstStyle>
          <a:p>
            <a:pPr lvl="0"/>
            <a:endParaRPr lang="en-US"/>
          </a:p>
        </p:txBody>
      </p:sp>
      <p:sp>
        <p:nvSpPr>
          <p:cNvPr id="11" name="Holder 5">
            <a:extLst>
              <a:ext uri="{FF2B5EF4-FFF2-40B4-BE49-F238E27FC236}">
                <a16:creationId xmlns:a16="http://schemas.microsoft.com/office/drawing/2014/main" id="{8FDBD953-E303-E702-49C3-600B0D7C0223}"/>
              </a:ext>
            </a:extLst>
          </p:cNvPr>
          <p:cNvSpPr txBox="1">
            <a:spLocks noGrp="1"/>
          </p:cNvSpPr>
          <p:nvPr>
            <p:ph type="dt" sz="quarter" idx="7"/>
          </p:nvPr>
        </p:nvSpPr>
        <p:spPr>
          <a:xfrm>
            <a:off x="0" y="0"/>
            <a:ext cx="0" cy="0"/>
          </a:xfrm>
          <a:prstGeom prst="rect">
            <a:avLst/>
          </a:prstGeom>
          <a:noFill/>
          <a:ln>
            <a:noFill/>
          </a:ln>
        </p:spPr>
        <p:txBody>
          <a:bodyPr vert="horz" wrap="square" lIns="0" tIns="0" rIns="0" bIns="0" anchor="t" anchorCtr="0" compatLnSpc="1">
            <a:noAutofit/>
          </a:bodyPr>
          <a:lstStyle>
            <a:lvl1pPr marL="0" marR="0" lvl="0" indent="0" algn="l" defTabSz="914446" rtl="0" fontAlgn="auto" hangingPunct="1">
              <a:lnSpc>
                <a:spcPct val="100000"/>
              </a:lnSpc>
              <a:spcBef>
                <a:spcPts val="0"/>
              </a:spcBef>
              <a:spcAft>
                <a:spcPts val="0"/>
              </a:spcAft>
              <a:buNone/>
              <a:tabLst/>
              <a:defRPr lang="en-US" sz="1800" b="0" i="0" u="none" strike="noStrike" kern="1200" cap="none" spc="0" baseline="0">
                <a:solidFill>
                  <a:srgbClr val="939699"/>
                </a:solidFill>
                <a:uFillTx/>
                <a:latin typeface="Calibri"/>
              </a:defRPr>
            </a:lvl1pPr>
          </a:lstStyle>
          <a:p>
            <a:pPr lvl="0"/>
            <a:fld id="{54E26786-2315-48FF-AE98-6C610E6AB8B6}" type="datetime1">
              <a:rPr lang="en-US"/>
              <a:pPr lvl="0"/>
              <a:t>5/20/2026</a:t>
            </a:fld>
            <a:endParaRPr lang="en-US"/>
          </a:p>
        </p:txBody>
      </p:sp>
      <p:sp>
        <p:nvSpPr>
          <p:cNvPr id="12" name="Holder 6">
            <a:extLst>
              <a:ext uri="{FF2B5EF4-FFF2-40B4-BE49-F238E27FC236}">
                <a16:creationId xmlns:a16="http://schemas.microsoft.com/office/drawing/2014/main" id="{06734B11-9A0B-09D6-E42E-B8F8F569250D}"/>
              </a:ext>
            </a:extLst>
          </p:cNvPr>
          <p:cNvSpPr txBox="1">
            <a:spLocks noGrp="1"/>
          </p:cNvSpPr>
          <p:nvPr>
            <p:ph type="sldNum" sz="quarter" idx="8"/>
          </p:nvPr>
        </p:nvSpPr>
        <p:spPr/>
        <p:txBody>
          <a:bodyPr lIns="0" tIns="0" rIns="0" bIns="0"/>
          <a:lstStyle>
            <a:lvl1pPr marL="38105">
              <a:lnSpc>
                <a:spcPts val="1425"/>
              </a:lnSpc>
              <a:defRPr spc="-5">
                <a:solidFill>
                  <a:srgbClr val="929599"/>
                </a:solidFill>
                <a:latin typeface="Arial"/>
                <a:cs typeface="Arial"/>
              </a:defRPr>
            </a:lvl1pPr>
          </a:lstStyle>
          <a:p>
            <a:pPr lvl="0"/>
            <a:fld id="{DA73A09C-DBB9-4F4D-BC17-1DDAB8FA73EF}" type="slidenum">
              <a:t>‹#›</a:t>
            </a:fld>
            <a:endParaRPr lang="en-US"/>
          </a:p>
        </p:txBody>
      </p:sp>
    </p:spTree>
    <p:extLst>
      <p:ext uri="{BB962C8B-B14F-4D97-AF65-F5344CB8AC3E}">
        <p14:creationId xmlns:p14="http://schemas.microsoft.com/office/powerpoint/2010/main" val="1931453261"/>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p:cSld name="21_Title Slide_Yale Blue">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ABC6781C-A492-7A4A-2117-A6EC2D0CB924}"/>
              </a:ext>
            </a:extLst>
          </p:cNvPr>
          <p:cNvSpPr txBox="1">
            <a:spLocks noGrp="1"/>
          </p:cNvSpPr>
          <p:nvPr>
            <p:ph type="body" idx="4294967295"/>
          </p:nvPr>
        </p:nvSpPr>
        <p:spPr>
          <a:xfrm>
            <a:off x="2826557" y="5400857"/>
            <a:ext cx="8178613" cy="379656"/>
          </a:xfrm>
        </p:spPr>
        <p:txBody>
          <a:bodyPr wrap="square">
            <a:spAutoFit/>
          </a:bodyPr>
          <a:lstStyle>
            <a:lvl1pPr marL="0" indent="0" algn="r">
              <a:buNone/>
              <a:defRPr sz="1867">
                <a:solidFill>
                  <a:srgbClr val="616364"/>
                </a:solidFill>
                <a:latin typeface="Verdana"/>
                <a:ea typeface="Verdana"/>
                <a:cs typeface="Verdana"/>
              </a:defRPr>
            </a:lvl1pPr>
          </a:lstStyle>
          <a:p>
            <a:pPr lvl="0"/>
            <a:r>
              <a:rPr lang="en-US"/>
              <a:t>Date | Presenter Information (14 pt)</a:t>
            </a:r>
          </a:p>
        </p:txBody>
      </p:sp>
      <p:sp>
        <p:nvSpPr>
          <p:cNvPr id="3" name="Title 1">
            <a:extLst>
              <a:ext uri="{FF2B5EF4-FFF2-40B4-BE49-F238E27FC236}">
                <a16:creationId xmlns:a16="http://schemas.microsoft.com/office/drawing/2014/main" id="{6727E854-603A-F6FC-144F-D4FC22090019}"/>
              </a:ext>
            </a:extLst>
          </p:cNvPr>
          <p:cNvSpPr txBox="1">
            <a:spLocks noGrp="1"/>
          </p:cNvSpPr>
          <p:nvPr>
            <p:ph type="title"/>
          </p:nvPr>
        </p:nvSpPr>
        <p:spPr>
          <a:xfrm>
            <a:off x="2826557" y="1807147"/>
            <a:ext cx="8178613" cy="1629460"/>
          </a:xfrm>
        </p:spPr>
        <p:txBody>
          <a:bodyPr anchor="b"/>
          <a:lstStyle>
            <a:lvl1pPr>
              <a:defRPr sz="5334">
                <a:solidFill>
                  <a:srgbClr val="00314C"/>
                </a:solidFill>
                <a:latin typeface="Verdana"/>
                <a:ea typeface="Verdana"/>
                <a:cs typeface="Verdana"/>
              </a:defRPr>
            </a:lvl1pPr>
          </a:lstStyle>
          <a:p>
            <a:pPr lvl="0"/>
            <a:r>
              <a:rPr lang="en-US"/>
              <a:t>Presentation Title (40pt)</a:t>
            </a:r>
          </a:p>
        </p:txBody>
      </p:sp>
      <p:sp>
        <p:nvSpPr>
          <p:cNvPr id="4" name="Date Placeholder 3">
            <a:extLst>
              <a:ext uri="{FF2B5EF4-FFF2-40B4-BE49-F238E27FC236}">
                <a16:creationId xmlns:a16="http://schemas.microsoft.com/office/drawing/2014/main" id="{EC79B9C4-EB03-BB76-1C15-3A8543434E89}"/>
              </a:ext>
            </a:extLst>
          </p:cNvPr>
          <p:cNvSpPr txBox="1">
            <a:spLocks noGrp="1"/>
          </p:cNvSpPr>
          <p:nvPr>
            <p:ph type="dt" sz="quarter" idx="7"/>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914446"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defRPr>
            </a:lvl1pPr>
          </a:lstStyle>
          <a:p>
            <a:pPr lvl="0"/>
            <a:fld id="{8917C8F6-9A74-4D2D-A4D1-DC906461289D}" type="datetime1">
              <a:rPr lang="en-US"/>
              <a:pPr lvl="0"/>
              <a:t>5/20/2026</a:t>
            </a:fld>
            <a:endParaRPr lang="en-US"/>
          </a:p>
        </p:txBody>
      </p:sp>
      <p:sp>
        <p:nvSpPr>
          <p:cNvPr id="5" name="Footer Placeholder 4">
            <a:extLst>
              <a:ext uri="{FF2B5EF4-FFF2-40B4-BE49-F238E27FC236}">
                <a16:creationId xmlns:a16="http://schemas.microsoft.com/office/drawing/2014/main" id="{E4385427-8FCB-D4B8-2CD4-29DCF045C96B}"/>
              </a:ext>
            </a:extLst>
          </p:cNvPr>
          <p:cNvSpPr txBox="1">
            <a:spLocks noGrp="1"/>
          </p:cNvSpPr>
          <p:nvPr>
            <p:ph type="ftr" sz="quarter" idx="9"/>
          </p:nvPr>
        </p:nvSpPr>
        <p:spPr/>
        <p:txBody>
          <a:bodyPr anchorCtr="1"/>
          <a:lstStyle>
            <a:lvl1pPr algn="ctr">
              <a:defRPr/>
            </a:lvl1pPr>
          </a:lstStyle>
          <a:p>
            <a:pPr lvl="0"/>
            <a:endParaRPr lang="en-US"/>
          </a:p>
        </p:txBody>
      </p:sp>
      <p:sp>
        <p:nvSpPr>
          <p:cNvPr id="6" name="Slide Number Placeholder 5">
            <a:extLst>
              <a:ext uri="{FF2B5EF4-FFF2-40B4-BE49-F238E27FC236}">
                <a16:creationId xmlns:a16="http://schemas.microsoft.com/office/drawing/2014/main" id="{F77134FD-E0FB-EB19-2DD5-A5A45D508FE6}"/>
              </a:ext>
            </a:extLst>
          </p:cNvPr>
          <p:cNvSpPr txBox="1">
            <a:spLocks noGrp="1"/>
          </p:cNvSpPr>
          <p:nvPr>
            <p:ph type="sldNum" sz="quarter" idx="8"/>
          </p:nvPr>
        </p:nvSpPr>
        <p:spPr/>
        <p:txBody>
          <a:bodyPr/>
          <a:lstStyle>
            <a:lvl1pPr>
              <a:defRPr/>
            </a:lvl1pPr>
          </a:lstStyle>
          <a:p>
            <a:pPr lvl="0"/>
            <a:fld id="{FCB0AC7A-7E23-481C-9F41-178E6B4EA33D}" type="slidenum">
              <a:t>‹#›</a:t>
            </a:fld>
            <a:endParaRPr lang="en-US"/>
          </a:p>
        </p:txBody>
      </p:sp>
      <p:sp>
        <p:nvSpPr>
          <p:cNvPr id="7" name="Rectangle 12">
            <a:extLst>
              <a:ext uri="{FF2B5EF4-FFF2-40B4-BE49-F238E27FC236}">
                <a16:creationId xmlns:a16="http://schemas.microsoft.com/office/drawing/2014/main" id="{168B6FB2-FC54-4AB6-7499-113C9BE09421}"/>
              </a:ext>
            </a:extLst>
          </p:cNvPr>
          <p:cNvSpPr/>
          <p:nvPr/>
        </p:nvSpPr>
        <p:spPr>
          <a:xfrm rot="10799991">
            <a:off x="-19" y="2000233"/>
            <a:ext cx="2785070" cy="2042851"/>
          </a:xfrm>
          <a:custGeom>
            <a:avLst/>
            <a:gdLst>
              <a:gd name="f0" fmla="val 10800000"/>
              <a:gd name="f1" fmla="val 5400000"/>
              <a:gd name="f2" fmla="val 180"/>
              <a:gd name="f3" fmla="val w"/>
              <a:gd name="f4" fmla="val h"/>
              <a:gd name="f5" fmla="val 0"/>
              <a:gd name="f6" fmla="val 10293751"/>
              <a:gd name="f7" fmla="val 1031873"/>
              <a:gd name="f8" fmla="val 3579068"/>
              <a:gd name="f9" fmla="val 1"/>
              <a:gd name="f10" fmla="val 1031872"/>
              <a:gd name="f11" fmla="+- 0 0 -90"/>
              <a:gd name="f12" fmla="*/ f3 1 10293751"/>
              <a:gd name="f13" fmla="*/ f4 1 1031873"/>
              <a:gd name="f14" fmla="+- f7 0 f5"/>
              <a:gd name="f15" fmla="+- f6 0 f5"/>
              <a:gd name="f16" fmla="*/ f11 f0 1"/>
              <a:gd name="f17" fmla="*/ f15 1 10293751"/>
              <a:gd name="f18" fmla="*/ f14 1 1031873"/>
              <a:gd name="f19" fmla="*/ 10293751 f15 1"/>
              <a:gd name="f20" fmla="*/ 0 f15 1"/>
              <a:gd name="f21" fmla="*/ 0 f14 1"/>
              <a:gd name="f22" fmla="*/ 1 f14 1"/>
              <a:gd name="f23" fmla="*/ 1031873 f14 1"/>
              <a:gd name="f24" fmla="*/ 1031872 f14 1"/>
              <a:gd name="f25" fmla="*/ 3579068 f15 1"/>
              <a:gd name="f26" fmla="*/ f16 1 f2"/>
              <a:gd name="f27" fmla="*/ f19 1 10293751"/>
              <a:gd name="f28" fmla="*/ f20 1 10293751"/>
              <a:gd name="f29" fmla="*/ f21 1 1031873"/>
              <a:gd name="f30" fmla="*/ f22 1 1031873"/>
              <a:gd name="f31" fmla="*/ f23 1 1031873"/>
              <a:gd name="f32" fmla="*/ f24 1 1031873"/>
              <a:gd name="f33" fmla="*/ f25 1 10293751"/>
              <a:gd name="f34" fmla="*/ f5 1 f17"/>
              <a:gd name="f35" fmla="*/ f6 1 f17"/>
              <a:gd name="f36" fmla="*/ f5 1 f18"/>
              <a:gd name="f37" fmla="*/ f7 1 f18"/>
              <a:gd name="f38" fmla="+- f26 0 f1"/>
              <a:gd name="f39" fmla="*/ f33 1 f17"/>
              <a:gd name="f40" fmla="*/ f29 1 f18"/>
              <a:gd name="f41" fmla="*/ f27 1 f17"/>
              <a:gd name="f42" fmla="*/ f30 1 f18"/>
              <a:gd name="f43" fmla="*/ f31 1 f18"/>
              <a:gd name="f44" fmla="*/ f28 1 f17"/>
              <a:gd name="f45" fmla="*/ f32 1 f18"/>
              <a:gd name="f46" fmla="*/ f34 f12 1"/>
              <a:gd name="f47" fmla="*/ f35 f12 1"/>
              <a:gd name="f48" fmla="*/ f37 f13 1"/>
              <a:gd name="f49" fmla="*/ f36 f13 1"/>
              <a:gd name="f50" fmla="*/ f39 f12 1"/>
              <a:gd name="f51" fmla="*/ f40 f13 1"/>
              <a:gd name="f52" fmla="*/ f41 f12 1"/>
              <a:gd name="f53" fmla="*/ f42 f13 1"/>
              <a:gd name="f54" fmla="*/ f43 f13 1"/>
              <a:gd name="f55" fmla="*/ f44 f12 1"/>
              <a:gd name="f56" fmla="*/ f45 f13 1"/>
            </a:gdLst>
            <a:ahLst/>
            <a:cxnLst>
              <a:cxn ang="3cd4">
                <a:pos x="hc" y="t"/>
              </a:cxn>
              <a:cxn ang="0">
                <a:pos x="r" y="vc"/>
              </a:cxn>
              <a:cxn ang="cd4">
                <a:pos x="hc" y="b"/>
              </a:cxn>
              <a:cxn ang="cd2">
                <a:pos x="l" y="vc"/>
              </a:cxn>
              <a:cxn ang="f38">
                <a:pos x="f50" y="f51"/>
              </a:cxn>
              <a:cxn ang="f38">
                <a:pos x="f52" y="f53"/>
              </a:cxn>
              <a:cxn ang="f38">
                <a:pos x="f52" y="f54"/>
              </a:cxn>
              <a:cxn ang="f38">
                <a:pos x="f55" y="f56"/>
              </a:cxn>
              <a:cxn ang="f38">
                <a:pos x="f50" y="f51"/>
              </a:cxn>
            </a:cxnLst>
            <a:rect l="f46" t="f49" r="f47" b="f48"/>
            <a:pathLst>
              <a:path w="10293751" h="1031873">
                <a:moveTo>
                  <a:pt x="f8" y="f5"/>
                </a:moveTo>
                <a:lnTo>
                  <a:pt x="f6" y="f9"/>
                </a:lnTo>
                <a:lnTo>
                  <a:pt x="f6" y="f7"/>
                </a:lnTo>
                <a:lnTo>
                  <a:pt x="f5" y="f10"/>
                </a:lnTo>
                <a:lnTo>
                  <a:pt x="f8" y="f5"/>
                </a:lnTo>
                <a:close/>
              </a:path>
            </a:pathLst>
          </a:cu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8" name="Rectangle 8">
            <a:extLst>
              <a:ext uri="{FF2B5EF4-FFF2-40B4-BE49-F238E27FC236}">
                <a16:creationId xmlns:a16="http://schemas.microsoft.com/office/drawing/2014/main" id="{8DB4250B-98DE-B720-2D92-2359C76E71B3}"/>
              </a:ext>
            </a:extLst>
          </p:cNvPr>
          <p:cNvSpPr/>
          <p:nvPr/>
        </p:nvSpPr>
        <p:spPr>
          <a:xfrm>
            <a:off x="0" y="6115050"/>
            <a:ext cx="12191996" cy="742950"/>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9" name="Text Placeholder 11">
            <a:extLst>
              <a:ext uri="{FF2B5EF4-FFF2-40B4-BE49-F238E27FC236}">
                <a16:creationId xmlns:a16="http://schemas.microsoft.com/office/drawing/2014/main" id="{C417041B-7105-DEB5-8975-870CB844455F}"/>
              </a:ext>
            </a:extLst>
          </p:cNvPr>
          <p:cNvSpPr txBox="1">
            <a:spLocks noGrp="1"/>
          </p:cNvSpPr>
          <p:nvPr>
            <p:ph type="body" idx="4294967295"/>
          </p:nvPr>
        </p:nvSpPr>
        <p:spPr>
          <a:xfrm>
            <a:off x="2826557" y="3447397"/>
            <a:ext cx="8178613" cy="713314"/>
          </a:xfrm>
        </p:spPr>
        <p:txBody>
          <a:bodyPr/>
          <a:lstStyle>
            <a:lvl1pPr marL="0" indent="0">
              <a:buNone/>
              <a:defRPr sz="3200">
                <a:solidFill>
                  <a:srgbClr val="00314C"/>
                </a:solidFill>
                <a:latin typeface="Verdana"/>
                <a:ea typeface="Verdana"/>
                <a:cs typeface="Verdana"/>
              </a:defRPr>
            </a:lvl1pPr>
          </a:lstStyle>
          <a:p>
            <a:pPr lvl="0"/>
            <a:r>
              <a:rPr lang="en-US"/>
              <a:t>Subtitle (24)</a:t>
            </a:r>
          </a:p>
        </p:txBody>
      </p:sp>
      <p:pic>
        <p:nvPicPr>
          <p:cNvPr id="10" name="Picture 12">
            <a:extLst>
              <a:ext uri="{FF2B5EF4-FFF2-40B4-BE49-F238E27FC236}">
                <a16:creationId xmlns:a16="http://schemas.microsoft.com/office/drawing/2014/main" id="{30A1092C-B6A7-7C32-4570-AF63B7425379}"/>
              </a:ext>
            </a:extLst>
          </p:cNvPr>
          <p:cNvPicPr>
            <a:picLocks noChangeAspect="1"/>
          </p:cNvPicPr>
          <p:nvPr/>
        </p:nvPicPr>
        <p:blipFill>
          <a:blip r:embed="rId2"/>
          <a:srcRect/>
          <a:stretch>
            <a:fillRect/>
          </a:stretch>
        </p:blipFill>
        <p:spPr>
          <a:xfrm>
            <a:off x="2829831" y="4178333"/>
            <a:ext cx="4395959" cy="1140165"/>
          </a:xfrm>
          <a:prstGeom prst="rect">
            <a:avLst/>
          </a:prstGeom>
          <a:noFill/>
          <a:ln cap="flat">
            <a:noFill/>
          </a:ln>
        </p:spPr>
      </p:pic>
    </p:spTree>
    <p:extLst>
      <p:ext uri="{BB962C8B-B14F-4D97-AF65-F5344CB8AC3E}">
        <p14:creationId xmlns:p14="http://schemas.microsoft.com/office/powerpoint/2010/main" val="2598849463"/>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p:cSld name="30_Title Slide_Yale Blue">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42709B17-8B74-5200-1AE9-5224ABB3E80F}"/>
              </a:ext>
            </a:extLst>
          </p:cNvPr>
          <p:cNvSpPr txBox="1">
            <a:spLocks noGrp="1"/>
          </p:cNvSpPr>
          <p:nvPr>
            <p:ph type="body" idx="4294967295"/>
          </p:nvPr>
        </p:nvSpPr>
        <p:spPr>
          <a:xfrm>
            <a:off x="2826557" y="5400857"/>
            <a:ext cx="8178613" cy="379656"/>
          </a:xfrm>
        </p:spPr>
        <p:txBody>
          <a:bodyPr wrap="square">
            <a:spAutoFit/>
          </a:bodyPr>
          <a:lstStyle>
            <a:lvl1pPr marL="0" indent="0" algn="r">
              <a:buNone/>
              <a:defRPr sz="1867">
                <a:solidFill>
                  <a:srgbClr val="616364"/>
                </a:solidFill>
                <a:latin typeface="Verdana"/>
                <a:ea typeface="Verdana"/>
                <a:cs typeface="Verdana"/>
              </a:defRPr>
            </a:lvl1pPr>
          </a:lstStyle>
          <a:p>
            <a:pPr lvl="0"/>
            <a:r>
              <a:rPr lang="en-US"/>
              <a:t>Date | Presenter Information (14 pt)</a:t>
            </a:r>
          </a:p>
        </p:txBody>
      </p:sp>
      <p:sp>
        <p:nvSpPr>
          <p:cNvPr id="3" name="Title 1">
            <a:extLst>
              <a:ext uri="{FF2B5EF4-FFF2-40B4-BE49-F238E27FC236}">
                <a16:creationId xmlns:a16="http://schemas.microsoft.com/office/drawing/2014/main" id="{B07C83E7-F4D9-EBCC-20BD-70F986C271DD}"/>
              </a:ext>
            </a:extLst>
          </p:cNvPr>
          <p:cNvSpPr txBox="1">
            <a:spLocks noGrp="1"/>
          </p:cNvSpPr>
          <p:nvPr>
            <p:ph type="title"/>
          </p:nvPr>
        </p:nvSpPr>
        <p:spPr>
          <a:xfrm>
            <a:off x="2826557" y="1807147"/>
            <a:ext cx="8178613" cy="1629460"/>
          </a:xfrm>
        </p:spPr>
        <p:txBody>
          <a:bodyPr anchor="b"/>
          <a:lstStyle>
            <a:lvl1pPr>
              <a:defRPr sz="5334">
                <a:solidFill>
                  <a:srgbClr val="00314C"/>
                </a:solidFill>
                <a:latin typeface="Verdana"/>
                <a:ea typeface="Verdana"/>
                <a:cs typeface="Verdana"/>
              </a:defRPr>
            </a:lvl1pPr>
          </a:lstStyle>
          <a:p>
            <a:pPr lvl="0"/>
            <a:r>
              <a:rPr lang="en-US"/>
              <a:t>Presentation Title (40pt)</a:t>
            </a:r>
          </a:p>
        </p:txBody>
      </p:sp>
      <p:sp>
        <p:nvSpPr>
          <p:cNvPr id="4" name="Date Placeholder 3">
            <a:extLst>
              <a:ext uri="{FF2B5EF4-FFF2-40B4-BE49-F238E27FC236}">
                <a16:creationId xmlns:a16="http://schemas.microsoft.com/office/drawing/2014/main" id="{15C5514B-6319-B782-D5DE-D5F0FFA20F61}"/>
              </a:ext>
            </a:extLst>
          </p:cNvPr>
          <p:cNvSpPr txBox="1">
            <a:spLocks noGrp="1"/>
          </p:cNvSpPr>
          <p:nvPr>
            <p:ph type="dt" sz="quarter" idx="7"/>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914446"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defRPr>
            </a:lvl1pPr>
          </a:lstStyle>
          <a:p>
            <a:pPr lvl="0"/>
            <a:fld id="{AFD32F3A-296E-46EA-B86A-9B1BF5328E35}" type="datetime1">
              <a:rPr lang="en-US"/>
              <a:pPr lvl="0"/>
              <a:t>5/20/2026</a:t>
            </a:fld>
            <a:endParaRPr lang="en-US"/>
          </a:p>
        </p:txBody>
      </p:sp>
      <p:sp>
        <p:nvSpPr>
          <p:cNvPr id="5" name="Footer Placeholder 4">
            <a:extLst>
              <a:ext uri="{FF2B5EF4-FFF2-40B4-BE49-F238E27FC236}">
                <a16:creationId xmlns:a16="http://schemas.microsoft.com/office/drawing/2014/main" id="{8A70550E-0359-869D-3C6D-9B6130231410}"/>
              </a:ext>
            </a:extLst>
          </p:cNvPr>
          <p:cNvSpPr txBox="1">
            <a:spLocks noGrp="1"/>
          </p:cNvSpPr>
          <p:nvPr>
            <p:ph type="ftr" sz="quarter" idx="9"/>
          </p:nvPr>
        </p:nvSpPr>
        <p:spPr/>
        <p:txBody>
          <a:bodyPr anchorCtr="1"/>
          <a:lstStyle>
            <a:lvl1pPr algn="ctr">
              <a:defRPr/>
            </a:lvl1pPr>
          </a:lstStyle>
          <a:p>
            <a:pPr lvl="0"/>
            <a:endParaRPr lang="en-US"/>
          </a:p>
        </p:txBody>
      </p:sp>
      <p:sp>
        <p:nvSpPr>
          <p:cNvPr id="6" name="Slide Number Placeholder 5">
            <a:extLst>
              <a:ext uri="{FF2B5EF4-FFF2-40B4-BE49-F238E27FC236}">
                <a16:creationId xmlns:a16="http://schemas.microsoft.com/office/drawing/2014/main" id="{6855D143-D451-1CD8-8E24-6C0235296E01}"/>
              </a:ext>
            </a:extLst>
          </p:cNvPr>
          <p:cNvSpPr txBox="1">
            <a:spLocks noGrp="1"/>
          </p:cNvSpPr>
          <p:nvPr>
            <p:ph type="sldNum" sz="quarter" idx="8"/>
          </p:nvPr>
        </p:nvSpPr>
        <p:spPr/>
        <p:txBody>
          <a:bodyPr/>
          <a:lstStyle>
            <a:lvl1pPr>
              <a:defRPr/>
            </a:lvl1pPr>
          </a:lstStyle>
          <a:p>
            <a:pPr lvl="0"/>
            <a:fld id="{948A056E-5CC8-4F61-B56D-AF86F9AAE7B8}" type="slidenum">
              <a:t>‹#›</a:t>
            </a:fld>
            <a:endParaRPr lang="en-US"/>
          </a:p>
        </p:txBody>
      </p:sp>
      <p:sp>
        <p:nvSpPr>
          <p:cNvPr id="7" name="Rectangle 12">
            <a:extLst>
              <a:ext uri="{FF2B5EF4-FFF2-40B4-BE49-F238E27FC236}">
                <a16:creationId xmlns:a16="http://schemas.microsoft.com/office/drawing/2014/main" id="{87701415-A6DF-DB8B-D5F6-D9F50940E9E3}"/>
              </a:ext>
            </a:extLst>
          </p:cNvPr>
          <p:cNvSpPr/>
          <p:nvPr/>
        </p:nvSpPr>
        <p:spPr>
          <a:xfrm rot="10799991">
            <a:off x="-19" y="2000233"/>
            <a:ext cx="2785070" cy="2042851"/>
          </a:xfrm>
          <a:custGeom>
            <a:avLst/>
            <a:gdLst>
              <a:gd name="f0" fmla="val 10800000"/>
              <a:gd name="f1" fmla="val 5400000"/>
              <a:gd name="f2" fmla="val 180"/>
              <a:gd name="f3" fmla="val w"/>
              <a:gd name="f4" fmla="val h"/>
              <a:gd name="f5" fmla="val 0"/>
              <a:gd name="f6" fmla="val 10293751"/>
              <a:gd name="f7" fmla="val 1031873"/>
              <a:gd name="f8" fmla="val 3579068"/>
              <a:gd name="f9" fmla="val 1"/>
              <a:gd name="f10" fmla="val 1031872"/>
              <a:gd name="f11" fmla="+- 0 0 -90"/>
              <a:gd name="f12" fmla="*/ f3 1 10293751"/>
              <a:gd name="f13" fmla="*/ f4 1 1031873"/>
              <a:gd name="f14" fmla="+- f7 0 f5"/>
              <a:gd name="f15" fmla="+- f6 0 f5"/>
              <a:gd name="f16" fmla="*/ f11 f0 1"/>
              <a:gd name="f17" fmla="*/ f15 1 10293751"/>
              <a:gd name="f18" fmla="*/ f14 1 1031873"/>
              <a:gd name="f19" fmla="*/ 10293751 f15 1"/>
              <a:gd name="f20" fmla="*/ 0 f15 1"/>
              <a:gd name="f21" fmla="*/ 0 f14 1"/>
              <a:gd name="f22" fmla="*/ 1 f14 1"/>
              <a:gd name="f23" fmla="*/ 1031873 f14 1"/>
              <a:gd name="f24" fmla="*/ 1031872 f14 1"/>
              <a:gd name="f25" fmla="*/ 3579068 f15 1"/>
              <a:gd name="f26" fmla="*/ f16 1 f2"/>
              <a:gd name="f27" fmla="*/ f19 1 10293751"/>
              <a:gd name="f28" fmla="*/ f20 1 10293751"/>
              <a:gd name="f29" fmla="*/ f21 1 1031873"/>
              <a:gd name="f30" fmla="*/ f22 1 1031873"/>
              <a:gd name="f31" fmla="*/ f23 1 1031873"/>
              <a:gd name="f32" fmla="*/ f24 1 1031873"/>
              <a:gd name="f33" fmla="*/ f25 1 10293751"/>
              <a:gd name="f34" fmla="*/ f5 1 f17"/>
              <a:gd name="f35" fmla="*/ f6 1 f17"/>
              <a:gd name="f36" fmla="*/ f5 1 f18"/>
              <a:gd name="f37" fmla="*/ f7 1 f18"/>
              <a:gd name="f38" fmla="+- f26 0 f1"/>
              <a:gd name="f39" fmla="*/ f33 1 f17"/>
              <a:gd name="f40" fmla="*/ f29 1 f18"/>
              <a:gd name="f41" fmla="*/ f27 1 f17"/>
              <a:gd name="f42" fmla="*/ f30 1 f18"/>
              <a:gd name="f43" fmla="*/ f31 1 f18"/>
              <a:gd name="f44" fmla="*/ f28 1 f17"/>
              <a:gd name="f45" fmla="*/ f32 1 f18"/>
              <a:gd name="f46" fmla="*/ f34 f12 1"/>
              <a:gd name="f47" fmla="*/ f35 f12 1"/>
              <a:gd name="f48" fmla="*/ f37 f13 1"/>
              <a:gd name="f49" fmla="*/ f36 f13 1"/>
              <a:gd name="f50" fmla="*/ f39 f12 1"/>
              <a:gd name="f51" fmla="*/ f40 f13 1"/>
              <a:gd name="f52" fmla="*/ f41 f12 1"/>
              <a:gd name="f53" fmla="*/ f42 f13 1"/>
              <a:gd name="f54" fmla="*/ f43 f13 1"/>
              <a:gd name="f55" fmla="*/ f44 f12 1"/>
              <a:gd name="f56" fmla="*/ f45 f13 1"/>
            </a:gdLst>
            <a:ahLst/>
            <a:cxnLst>
              <a:cxn ang="3cd4">
                <a:pos x="hc" y="t"/>
              </a:cxn>
              <a:cxn ang="0">
                <a:pos x="r" y="vc"/>
              </a:cxn>
              <a:cxn ang="cd4">
                <a:pos x="hc" y="b"/>
              </a:cxn>
              <a:cxn ang="cd2">
                <a:pos x="l" y="vc"/>
              </a:cxn>
              <a:cxn ang="f38">
                <a:pos x="f50" y="f51"/>
              </a:cxn>
              <a:cxn ang="f38">
                <a:pos x="f52" y="f53"/>
              </a:cxn>
              <a:cxn ang="f38">
                <a:pos x="f52" y="f54"/>
              </a:cxn>
              <a:cxn ang="f38">
                <a:pos x="f55" y="f56"/>
              </a:cxn>
              <a:cxn ang="f38">
                <a:pos x="f50" y="f51"/>
              </a:cxn>
            </a:cxnLst>
            <a:rect l="f46" t="f49" r="f47" b="f48"/>
            <a:pathLst>
              <a:path w="10293751" h="1031873">
                <a:moveTo>
                  <a:pt x="f8" y="f5"/>
                </a:moveTo>
                <a:lnTo>
                  <a:pt x="f6" y="f9"/>
                </a:lnTo>
                <a:lnTo>
                  <a:pt x="f6" y="f7"/>
                </a:lnTo>
                <a:lnTo>
                  <a:pt x="f5" y="f10"/>
                </a:lnTo>
                <a:lnTo>
                  <a:pt x="f8" y="f5"/>
                </a:lnTo>
                <a:close/>
              </a:path>
            </a:pathLst>
          </a:cu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8" name="Rectangle 8">
            <a:extLst>
              <a:ext uri="{FF2B5EF4-FFF2-40B4-BE49-F238E27FC236}">
                <a16:creationId xmlns:a16="http://schemas.microsoft.com/office/drawing/2014/main" id="{609C304D-3A2C-FE6E-0DA1-61383181E5E7}"/>
              </a:ext>
            </a:extLst>
          </p:cNvPr>
          <p:cNvSpPr/>
          <p:nvPr/>
        </p:nvSpPr>
        <p:spPr>
          <a:xfrm>
            <a:off x="0" y="6115050"/>
            <a:ext cx="12191996" cy="742950"/>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9" name="Text Placeholder 11">
            <a:extLst>
              <a:ext uri="{FF2B5EF4-FFF2-40B4-BE49-F238E27FC236}">
                <a16:creationId xmlns:a16="http://schemas.microsoft.com/office/drawing/2014/main" id="{F8220553-7898-E3CD-6243-EDE22A278641}"/>
              </a:ext>
            </a:extLst>
          </p:cNvPr>
          <p:cNvSpPr txBox="1">
            <a:spLocks noGrp="1"/>
          </p:cNvSpPr>
          <p:nvPr>
            <p:ph type="body" idx="4294967295"/>
          </p:nvPr>
        </p:nvSpPr>
        <p:spPr>
          <a:xfrm>
            <a:off x="2826557" y="3447397"/>
            <a:ext cx="8178613" cy="713314"/>
          </a:xfrm>
        </p:spPr>
        <p:txBody>
          <a:bodyPr/>
          <a:lstStyle>
            <a:lvl1pPr marL="0" indent="0">
              <a:buNone/>
              <a:defRPr sz="3200">
                <a:solidFill>
                  <a:srgbClr val="00314C"/>
                </a:solidFill>
                <a:latin typeface="Verdana"/>
                <a:ea typeface="Verdana"/>
                <a:cs typeface="Verdana"/>
              </a:defRPr>
            </a:lvl1pPr>
          </a:lstStyle>
          <a:p>
            <a:pPr lvl="0"/>
            <a:r>
              <a:rPr lang="en-US"/>
              <a:t>Subtitle (24)</a:t>
            </a:r>
          </a:p>
        </p:txBody>
      </p:sp>
      <p:pic>
        <p:nvPicPr>
          <p:cNvPr id="10" name="Picture 12">
            <a:extLst>
              <a:ext uri="{FF2B5EF4-FFF2-40B4-BE49-F238E27FC236}">
                <a16:creationId xmlns:a16="http://schemas.microsoft.com/office/drawing/2014/main" id="{C510D03A-16C5-9D7B-1E53-FD9262EC98C8}"/>
              </a:ext>
            </a:extLst>
          </p:cNvPr>
          <p:cNvPicPr>
            <a:picLocks noChangeAspect="1"/>
          </p:cNvPicPr>
          <p:nvPr/>
        </p:nvPicPr>
        <p:blipFill>
          <a:blip r:embed="rId2"/>
          <a:srcRect/>
          <a:stretch>
            <a:fillRect/>
          </a:stretch>
        </p:blipFill>
        <p:spPr>
          <a:xfrm>
            <a:off x="2829831" y="4178333"/>
            <a:ext cx="4395959" cy="1140165"/>
          </a:xfrm>
          <a:prstGeom prst="rect">
            <a:avLst/>
          </a:prstGeom>
          <a:noFill/>
          <a:ln cap="flat">
            <a:noFill/>
          </a:ln>
        </p:spPr>
      </p:pic>
    </p:spTree>
    <p:extLst>
      <p:ext uri="{BB962C8B-B14F-4D97-AF65-F5344CB8AC3E}">
        <p14:creationId xmlns:p14="http://schemas.microsoft.com/office/powerpoint/2010/main" val="1478416435"/>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p:cSld name="31_Title Slide_Yale Blue">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BF71FBC7-6453-3F0C-371B-73933F00546F}"/>
              </a:ext>
            </a:extLst>
          </p:cNvPr>
          <p:cNvSpPr txBox="1">
            <a:spLocks noGrp="1"/>
          </p:cNvSpPr>
          <p:nvPr>
            <p:ph type="body" idx="4294967295"/>
          </p:nvPr>
        </p:nvSpPr>
        <p:spPr>
          <a:xfrm>
            <a:off x="2826557" y="5400857"/>
            <a:ext cx="8178613" cy="379656"/>
          </a:xfrm>
        </p:spPr>
        <p:txBody>
          <a:bodyPr wrap="square">
            <a:spAutoFit/>
          </a:bodyPr>
          <a:lstStyle>
            <a:lvl1pPr marL="0" indent="0" algn="r">
              <a:buNone/>
              <a:defRPr sz="1867">
                <a:solidFill>
                  <a:srgbClr val="616364"/>
                </a:solidFill>
                <a:latin typeface="Verdana"/>
                <a:ea typeface="Verdana"/>
                <a:cs typeface="Verdana"/>
              </a:defRPr>
            </a:lvl1pPr>
          </a:lstStyle>
          <a:p>
            <a:pPr lvl="0"/>
            <a:r>
              <a:rPr lang="en-US"/>
              <a:t>Date | Presenter Information (14 pt)</a:t>
            </a:r>
          </a:p>
        </p:txBody>
      </p:sp>
      <p:sp>
        <p:nvSpPr>
          <p:cNvPr id="3" name="Title 1">
            <a:extLst>
              <a:ext uri="{FF2B5EF4-FFF2-40B4-BE49-F238E27FC236}">
                <a16:creationId xmlns:a16="http://schemas.microsoft.com/office/drawing/2014/main" id="{667C3B74-95FC-B872-50A6-DCE6A04D263E}"/>
              </a:ext>
            </a:extLst>
          </p:cNvPr>
          <p:cNvSpPr txBox="1">
            <a:spLocks noGrp="1"/>
          </p:cNvSpPr>
          <p:nvPr>
            <p:ph type="title"/>
          </p:nvPr>
        </p:nvSpPr>
        <p:spPr>
          <a:xfrm>
            <a:off x="2826557" y="1807147"/>
            <a:ext cx="8178613" cy="1629460"/>
          </a:xfrm>
        </p:spPr>
        <p:txBody>
          <a:bodyPr anchor="b"/>
          <a:lstStyle>
            <a:lvl1pPr>
              <a:defRPr sz="5334">
                <a:solidFill>
                  <a:srgbClr val="00314C"/>
                </a:solidFill>
                <a:latin typeface="Verdana"/>
                <a:ea typeface="Verdana"/>
                <a:cs typeface="Verdana"/>
              </a:defRPr>
            </a:lvl1pPr>
          </a:lstStyle>
          <a:p>
            <a:pPr lvl="0"/>
            <a:r>
              <a:rPr lang="en-US"/>
              <a:t>Presentation Title (40pt)</a:t>
            </a:r>
          </a:p>
        </p:txBody>
      </p:sp>
      <p:sp>
        <p:nvSpPr>
          <p:cNvPr id="4" name="Date Placeholder 3">
            <a:extLst>
              <a:ext uri="{FF2B5EF4-FFF2-40B4-BE49-F238E27FC236}">
                <a16:creationId xmlns:a16="http://schemas.microsoft.com/office/drawing/2014/main" id="{8F324D09-3F85-F535-01EE-88C7CE1AF833}"/>
              </a:ext>
            </a:extLst>
          </p:cNvPr>
          <p:cNvSpPr txBox="1">
            <a:spLocks noGrp="1"/>
          </p:cNvSpPr>
          <p:nvPr>
            <p:ph type="dt" sz="quarter" idx="7"/>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914446"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defRPr>
            </a:lvl1pPr>
          </a:lstStyle>
          <a:p>
            <a:pPr lvl="0"/>
            <a:fld id="{56C26305-D956-4373-A58A-1B3FA9BD20C9}" type="datetime1">
              <a:rPr lang="en-US"/>
              <a:pPr lvl="0"/>
              <a:t>5/20/2026</a:t>
            </a:fld>
            <a:endParaRPr lang="en-US"/>
          </a:p>
        </p:txBody>
      </p:sp>
      <p:sp>
        <p:nvSpPr>
          <p:cNvPr id="5" name="Footer Placeholder 4">
            <a:extLst>
              <a:ext uri="{FF2B5EF4-FFF2-40B4-BE49-F238E27FC236}">
                <a16:creationId xmlns:a16="http://schemas.microsoft.com/office/drawing/2014/main" id="{668BD641-1A27-3FFB-3836-9ECF279CA0F0}"/>
              </a:ext>
            </a:extLst>
          </p:cNvPr>
          <p:cNvSpPr txBox="1">
            <a:spLocks noGrp="1"/>
          </p:cNvSpPr>
          <p:nvPr>
            <p:ph type="ftr" sz="quarter" idx="9"/>
          </p:nvPr>
        </p:nvSpPr>
        <p:spPr/>
        <p:txBody>
          <a:bodyPr anchorCtr="1"/>
          <a:lstStyle>
            <a:lvl1pPr algn="ctr">
              <a:defRPr/>
            </a:lvl1pPr>
          </a:lstStyle>
          <a:p>
            <a:pPr lvl="0"/>
            <a:endParaRPr lang="en-US"/>
          </a:p>
        </p:txBody>
      </p:sp>
      <p:sp>
        <p:nvSpPr>
          <p:cNvPr id="6" name="Slide Number Placeholder 5">
            <a:extLst>
              <a:ext uri="{FF2B5EF4-FFF2-40B4-BE49-F238E27FC236}">
                <a16:creationId xmlns:a16="http://schemas.microsoft.com/office/drawing/2014/main" id="{A29BE074-470C-6463-AE7E-D1029FA5FCC9}"/>
              </a:ext>
            </a:extLst>
          </p:cNvPr>
          <p:cNvSpPr txBox="1">
            <a:spLocks noGrp="1"/>
          </p:cNvSpPr>
          <p:nvPr>
            <p:ph type="sldNum" sz="quarter" idx="8"/>
          </p:nvPr>
        </p:nvSpPr>
        <p:spPr/>
        <p:txBody>
          <a:bodyPr/>
          <a:lstStyle>
            <a:lvl1pPr>
              <a:defRPr/>
            </a:lvl1pPr>
          </a:lstStyle>
          <a:p>
            <a:pPr lvl="0"/>
            <a:fld id="{B67E9F02-F99E-48BB-B9A0-B9070CAF6CA8}" type="slidenum">
              <a:t>‹#›</a:t>
            </a:fld>
            <a:endParaRPr lang="en-US"/>
          </a:p>
        </p:txBody>
      </p:sp>
      <p:sp>
        <p:nvSpPr>
          <p:cNvPr id="7" name="Rectangle 12">
            <a:extLst>
              <a:ext uri="{FF2B5EF4-FFF2-40B4-BE49-F238E27FC236}">
                <a16:creationId xmlns:a16="http://schemas.microsoft.com/office/drawing/2014/main" id="{2B5DC289-0BCA-0936-7752-8E352554A285}"/>
              </a:ext>
            </a:extLst>
          </p:cNvPr>
          <p:cNvSpPr/>
          <p:nvPr/>
        </p:nvSpPr>
        <p:spPr>
          <a:xfrm rot="10799991">
            <a:off x="-19" y="2000233"/>
            <a:ext cx="2785070" cy="2042851"/>
          </a:xfrm>
          <a:custGeom>
            <a:avLst/>
            <a:gdLst>
              <a:gd name="f0" fmla="val 10800000"/>
              <a:gd name="f1" fmla="val 5400000"/>
              <a:gd name="f2" fmla="val 180"/>
              <a:gd name="f3" fmla="val w"/>
              <a:gd name="f4" fmla="val h"/>
              <a:gd name="f5" fmla="val 0"/>
              <a:gd name="f6" fmla="val 10293751"/>
              <a:gd name="f7" fmla="val 1031873"/>
              <a:gd name="f8" fmla="val 3579068"/>
              <a:gd name="f9" fmla="val 1"/>
              <a:gd name="f10" fmla="val 1031872"/>
              <a:gd name="f11" fmla="+- 0 0 -90"/>
              <a:gd name="f12" fmla="*/ f3 1 10293751"/>
              <a:gd name="f13" fmla="*/ f4 1 1031873"/>
              <a:gd name="f14" fmla="+- f7 0 f5"/>
              <a:gd name="f15" fmla="+- f6 0 f5"/>
              <a:gd name="f16" fmla="*/ f11 f0 1"/>
              <a:gd name="f17" fmla="*/ f15 1 10293751"/>
              <a:gd name="f18" fmla="*/ f14 1 1031873"/>
              <a:gd name="f19" fmla="*/ 10293751 f15 1"/>
              <a:gd name="f20" fmla="*/ 0 f15 1"/>
              <a:gd name="f21" fmla="*/ 0 f14 1"/>
              <a:gd name="f22" fmla="*/ 1 f14 1"/>
              <a:gd name="f23" fmla="*/ 1031873 f14 1"/>
              <a:gd name="f24" fmla="*/ 1031872 f14 1"/>
              <a:gd name="f25" fmla="*/ 3579068 f15 1"/>
              <a:gd name="f26" fmla="*/ f16 1 f2"/>
              <a:gd name="f27" fmla="*/ f19 1 10293751"/>
              <a:gd name="f28" fmla="*/ f20 1 10293751"/>
              <a:gd name="f29" fmla="*/ f21 1 1031873"/>
              <a:gd name="f30" fmla="*/ f22 1 1031873"/>
              <a:gd name="f31" fmla="*/ f23 1 1031873"/>
              <a:gd name="f32" fmla="*/ f24 1 1031873"/>
              <a:gd name="f33" fmla="*/ f25 1 10293751"/>
              <a:gd name="f34" fmla="*/ f5 1 f17"/>
              <a:gd name="f35" fmla="*/ f6 1 f17"/>
              <a:gd name="f36" fmla="*/ f5 1 f18"/>
              <a:gd name="f37" fmla="*/ f7 1 f18"/>
              <a:gd name="f38" fmla="+- f26 0 f1"/>
              <a:gd name="f39" fmla="*/ f33 1 f17"/>
              <a:gd name="f40" fmla="*/ f29 1 f18"/>
              <a:gd name="f41" fmla="*/ f27 1 f17"/>
              <a:gd name="f42" fmla="*/ f30 1 f18"/>
              <a:gd name="f43" fmla="*/ f31 1 f18"/>
              <a:gd name="f44" fmla="*/ f28 1 f17"/>
              <a:gd name="f45" fmla="*/ f32 1 f18"/>
              <a:gd name="f46" fmla="*/ f34 f12 1"/>
              <a:gd name="f47" fmla="*/ f35 f12 1"/>
              <a:gd name="f48" fmla="*/ f37 f13 1"/>
              <a:gd name="f49" fmla="*/ f36 f13 1"/>
              <a:gd name="f50" fmla="*/ f39 f12 1"/>
              <a:gd name="f51" fmla="*/ f40 f13 1"/>
              <a:gd name="f52" fmla="*/ f41 f12 1"/>
              <a:gd name="f53" fmla="*/ f42 f13 1"/>
              <a:gd name="f54" fmla="*/ f43 f13 1"/>
              <a:gd name="f55" fmla="*/ f44 f12 1"/>
              <a:gd name="f56" fmla="*/ f45 f13 1"/>
            </a:gdLst>
            <a:ahLst/>
            <a:cxnLst>
              <a:cxn ang="3cd4">
                <a:pos x="hc" y="t"/>
              </a:cxn>
              <a:cxn ang="0">
                <a:pos x="r" y="vc"/>
              </a:cxn>
              <a:cxn ang="cd4">
                <a:pos x="hc" y="b"/>
              </a:cxn>
              <a:cxn ang="cd2">
                <a:pos x="l" y="vc"/>
              </a:cxn>
              <a:cxn ang="f38">
                <a:pos x="f50" y="f51"/>
              </a:cxn>
              <a:cxn ang="f38">
                <a:pos x="f52" y="f53"/>
              </a:cxn>
              <a:cxn ang="f38">
                <a:pos x="f52" y="f54"/>
              </a:cxn>
              <a:cxn ang="f38">
                <a:pos x="f55" y="f56"/>
              </a:cxn>
              <a:cxn ang="f38">
                <a:pos x="f50" y="f51"/>
              </a:cxn>
            </a:cxnLst>
            <a:rect l="f46" t="f49" r="f47" b="f48"/>
            <a:pathLst>
              <a:path w="10293751" h="1031873">
                <a:moveTo>
                  <a:pt x="f8" y="f5"/>
                </a:moveTo>
                <a:lnTo>
                  <a:pt x="f6" y="f9"/>
                </a:lnTo>
                <a:lnTo>
                  <a:pt x="f6" y="f7"/>
                </a:lnTo>
                <a:lnTo>
                  <a:pt x="f5" y="f10"/>
                </a:lnTo>
                <a:lnTo>
                  <a:pt x="f8" y="f5"/>
                </a:lnTo>
                <a:close/>
              </a:path>
            </a:pathLst>
          </a:cu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8" name="Rectangle 8">
            <a:extLst>
              <a:ext uri="{FF2B5EF4-FFF2-40B4-BE49-F238E27FC236}">
                <a16:creationId xmlns:a16="http://schemas.microsoft.com/office/drawing/2014/main" id="{6820477F-9C3C-7029-8A31-65ED14CA6AFC}"/>
              </a:ext>
            </a:extLst>
          </p:cNvPr>
          <p:cNvSpPr/>
          <p:nvPr/>
        </p:nvSpPr>
        <p:spPr>
          <a:xfrm>
            <a:off x="0" y="6115050"/>
            <a:ext cx="12191996" cy="742950"/>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9" name="Text Placeholder 11">
            <a:extLst>
              <a:ext uri="{FF2B5EF4-FFF2-40B4-BE49-F238E27FC236}">
                <a16:creationId xmlns:a16="http://schemas.microsoft.com/office/drawing/2014/main" id="{1A0CBB3B-67DE-DFCE-21D7-5BE2C3EFE353}"/>
              </a:ext>
            </a:extLst>
          </p:cNvPr>
          <p:cNvSpPr txBox="1">
            <a:spLocks noGrp="1"/>
          </p:cNvSpPr>
          <p:nvPr>
            <p:ph type="body" idx="4294967295"/>
          </p:nvPr>
        </p:nvSpPr>
        <p:spPr>
          <a:xfrm>
            <a:off x="2826557" y="3447397"/>
            <a:ext cx="8178613" cy="713314"/>
          </a:xfrm>
        </p:spPr>
        <p:txBody>
          <a:bodyPr/>
          <a:lstStyle>
            <a:lvl1pPr marL="0" indent="0">
              <a:buNone/>
              <a:defRPr sz="3200">
                <a:solidFill>
                  <a:srgbClr val="00314C"/>
                </a:solidFill>
                <a:latin typeface="Verdana"/>
                <a:ea typeface="Verdana"/>
                <a:cs typeface="Verdana"/>
              </a:defRPr>
            </a:lvl1pPr>
          </a:lstStyle>
          <a:p>
            <a:pPr lvl="0"/>
            <a:r>
              <a:rPr lang="en-US"/>
              <a:t>Subtitle (24)</a:t>
            </a:r>
          </a:p>
        </p:txBody>
      </p:sp>
      <p:pic>
        <p:nvPicPr>
          <p:cNvPr id="10" name="Picture 12">
            <a:extLst>
              <a:ext uri="{FF2B5EF4-FFF2-40B4-BE49-F238E27FC236}">
                <a16:creationId xmlns:a16="http://schemas.microsoft.com/office/drawing/2014/main" id="{709BE931-1B23-C1C0-EB1A-6D14DD7D2A33}"/>
              </a:ext>
            </a:extLst>
          </p:cNvPr>
          <p:cNvPicPr>
            <a:picLocks noChangeAspect="1"/>
          </p:cNvPicPr>
          <p:nvPr/>
        </p:nvPicPr>
        <p:blipFill>
          <a:blip r:embed="rId2"/>
          <a:srcRect/>
          <a:stretch>
            <a:fillRect/>
          </a:stretch>
        </p:blipFill>
        <p:spPr>
          <a:xfrm>
            <a:off x="2829831" y="4178333"/>
            <a:ext cx="4395959" cy="1140165"/>
          </a:xfrm>
          <a:prstGeom prst="rect">
            <a:avLst/>
          </a:prstGeom>
          <a:noFill/>
          <a:ln cap="flat">
            <a:noFill/>
          </a:ln>
        </p:spPr>
      </p:pic>
    </p:spTree>
    <p:extLst>
      <p:ext uri="{BB962C8B-B14F-4D97-AF65-F5344CB8AC3E}">
        <p14:creationId xmlns:p14="http://schemas.microsoft.com/office/powerpoint/2010/main" val="271948371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Quotation">
  <p:cSld name="Quotation 4 2">
    <p:spTree>
      <p:nvGrpSpPr>
        <p:cNvPr id="1" name="Shape 9614"/>
        <p:cNvGrpSpPr/>
        <p:nvPr/>
      </p:nvGrpSpPr>
      <p:grpSpPr>
        <a:xfrm>
          <a:off x="0" y="0"/>
          <a:ext cx="0" cy="0"/>
          <a:chOff x="0" y="0"/>
          <a:chExt cx="0" cy="0"/>
        </a:xfrm>
      </p:grpSpPr>
      <p:sp>
        <p:nvSpPr>
          <p:cNvPr id="9615" name="Google Shape;9615;p137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616" name="Google Shape;9616;p137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17" name="Google Shape;9617;p137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618" name="Google Shape;9618;p13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619" name="Google Shape;9619;p13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620" name="Google Shape;9620;p13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621" name="Google Shape;9621;p1371"/>
          <p:cNvGrpSpPr/>
          <p:nvPr/>
        </p:nvGrpSpPr>
        <p:grpSpPr>
          <a:xfrm>
            <a:off x="7191542" y="1"/>
            <a:ext cx="5000459" cy="1425992"/>
            <a:chOff x="7191542" y="1"/>
            <a:chExt cx="5000459" cy="1425992"/>
          </a:xfrm>
        </p:grpSpPr>
        <p:pic>
          <p:nvPicPr>
            <p:cNvPr id="9622" name="Google Shape;9622;p13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623" name="Google Shape;9623;p1371"/>
            <p:cNvGrpSpPr/>
            <p:nvPr/>
          </p:nvGrpSpPr>
          <p:grpSpPr>
            <a:xfrm>
              <a:off x="7191542" y="1"/>
              <a:ext cx="5000459" cy="1425992"/>
              <a:chOff x="7186272" y="0"/>
              <a:chExt cx="5005729" cy="1427495"/>
            </a:xfrm>
          </p:grpSpPr>
          <p:sp>
            <p:nvSpPr>
              <p:cNvPr id="9624" name="Google Shape;9624;p13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625" name="Google Shape;9625;p13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626" name="Google Shape;9626;p137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p:cSld name="32_Title Slide_Yale Blue">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B64DE370-090A-F662-3438-E2F91AA03849}"/>
              </a:ext>
            </a:extLst>
          </p:cNvPr>
          <p:cNvSpPr txBox="1">
            <a:spLocks noGrp="1"/>
          </p:cNvSpPr>
          <p:nvPr>
            <p:ph type="body" idx="4294967295"/>
          </p:nvPr>
        </p:nvSpPr>
        <p:spPr>
          <a:xfrm>
            <a:off x="2826557" y="5400857"/>
            <a:ext cx="8178613" cy="379656"/>
          </a:xfrm>
        </p:spPr>
        <p:txBody>
          <a:bodyPr wrap="square">
            <a:spAutoFit/>
          </a:bodyPr>
          <a:lstStyle>
            <a:lvl1pPr marL="0" indent="0" algn="r">
              <a:buNone/>
              <a:defRPr sz="1867">
                <a:solidFill>
                  <a:srgbClr val="616364"/>
                </a:solidFill>
                <a:latin typeface="Verdana"/>
                <a:ea typeface="Verdana"/>
                <a:cs typeface="Verdana"/>
              </a:defRPr>
            </a:lvl1pPr>
          </a:lstStyle>
          <a:p>
            <a:pPr lvl="0"/>
            <a:r>
              <a:rPr lang="en-US"/>
              <a:t>Date | Presenter Information (14 pt)</a:t>
            </a:r>
          </a:p>
        </p:txBody>
      </p:sp>
      <p:sp>
        <p:nvSpPr>
          <p:cNvPr id="3" name="Title 1">
            <a:extLst>
              <a:ext uri="{FF2B5EF4-FFF2-40B4-BE49-F238E27FC236}">
                <a16:creationId xmlns:a16="http://schemas.microsoft.com/office/drawing/2014/main" id="{BEF1207C-74A9-D04E-0A19-ACAA1D1AA9C2}"/>
              </a:ext>
            </a:extLst>
          </p:cNvPr>
          <p:cNvSpPr txBox="1">
            <a:spLocks noGrp="1"/>
          </p:cNvSpPr>
          <p:nvPr>
            <p:ph type="title"/>
          </p:nvPr>
        </p:nvSpPr>
        <p:spPr>
          <a:xfrm>
            <a:off x="2826557" y="1807147"/>
            <a:ext cx="8178613" cy="1629460"/>
          </a:xfrm>
        </p:spPr>
        <p:txBody>
          <a:bodyPr anchor="b"/>
          <a:lstStyle>
            <a:lvl1pPr>
              <a:defRPr sz="5334">
                <a:solidFill>
                  <a:srgbClr val="00314C"/>
                </a:solidFill>
                <a:latin typeface="Verdana"/>
                <a:ea typeface="Verdana"/>
                <a:cs typeface="Verdana"/>
              </a:defRPr>
            </a:lvl1pPr>
          </a:lstStyle>
          <a:p>
            <a:pPr lvl="0"/>
            <a:r>
              <a:rPr lang="en-US"/>
              <a:t>Presentation Title (40pt)</a:t>
            </a:r>
          </a:p>
        </p:txBody>
      </p:sp>
      <p:sp>
        <p:nvSpPr>
          <p:cNvPr id="4" name="Date Placeholder 3">
            <a:extLst>
              <a:ext uri="{FF2B5EF4-FFF2-40B4-BE49-F238E27FC236}">
                <a16:creationId xmlns:a16="http://schemas.microsoft.com/office/drawing/2014/main" id="{DD074255-E4D5-906F-A440-6E59901416D7}"/>
              </a:ext>
            </a:extLst>
          </p:cNvPr>
          <p:cNvSpPr txBox="1">
            <a:spLocks noGrp="1"/>
          </p:cNvSpPr>
          <p:nvPr>
            <p:ph type="dt" sz="quarter" idx="7"/>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914446"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defRPr>
            </a:lvl1pPr>
          </a:lstStyle>
          <a:p>
            <a:pPr lvl="0"/>
            <a:fld id="{7DF41549-0055-4E91-BC69-3E23D0547648}" type="datetime1">
              <a:rPr lang="en-US"/>
              <a:pPr lvl="0"/>
              <a:t>5/20/2026</a:t>
            </a:fld>
            <a:endParaRPr lang="en-US"/>
          </a:p>
        </p:txBody>
      </p:sp>
      <p:sp>
        <p:nvSpPr>
          <p:cNvPr id="5" name="Footer Placeholder 4">
            <a:extLst>
              <a:ext uri="{FF2B5EF4-FFF2-40B4-BE49-F238E27FC236}">
                <a16:creationId xmlns:a16="http://schemas.microsoft.com/office/drawing/2014/main" id="{636478F2-FF20-F845-CDAF-3CCB909A0DF2}"/>
              </a:ext>
            </a:extLst>
          </p:cNvPr>
          <p:cNvSpPr txBox="1">
            <a:spLocks noGrp="1"/>
          </p:cNvSpPr>
          <p:nvPr>
            <p:ph type="ftr" sz="quarter" idx="9"/>
          </p:nvPr>
        </p:nvSpPr>
        <p:spPr/>
        <p:txBody>
          <a:bodyPr anchorCtr="1"/>
          <a:lstStyle>
            <a:lvl1pPr algn="ctr">
              <a:defRPr/>
            </a:lvl1pPr>
          </a:lstStyle>
          <a:p>
            <a:pPr lvl="0"/>
            <a:endParaRPr lang="en-US"/>
          </a:p>
        </p:txBody>
      </p:sp>
      <p:sp>
        <p:nvSpPr>
          <p:cNvPr id="6" name="Slide Number Placeholder 5">
            <a:extLst>
              <a:ext uri="{FF2B5EF4-FFF2-40B4-BE49-F238E27FC236}">
                <a16:creationId xmlns:a16="http://schemas.microsoft.com/office/drawing/2014/main" id="{43DA7476-CF77-FC32-153D-EB328DE201BF}"/>
              </a:ext>
            </a:extLst>
          </p:cNvPr>
          <p:cNvSpPr txBox="1">
            <a:spLocks noGrp="1"/>
          </p:cNvSpPr>
          <p:nvPr>
            <p:ph type="sldNum" sz="quarter" idx="8"/>
          </p:nvPr>
        </p:nvSpPr>
        <p:spPr/>
        <p:txBody>
          <a:bodyPr/>
          <a:lstStyle>
            <a:lvl1pPr>
              <a:defRPr/>
            </a:lvl1pPr>
          </a:lstStyle>
          <a:p>
            <a:pPr lvl="0"/>
            <a:fld id="{861AFF7A-2AD7-4787-BBE7-B0E79B5E6C44}" type="slidenum">
              <a:t>‹#›</a:t>
            </a:fld>
            <a:endParaRPr lang="en-US"/>
          </a:p>
        </p:txBody>
      </p:sp>
      <p:sp>
        <p:nvSpPr>
          <p:cNvPr id="7" name="Rectangle 12">
            <a:extLst>
              <a:ext uri="{FF2B5EF4-FFF2-40B4-BE49-F238E27FC236}">
                <a16:creationId xmlns:a16="http://schemas.microsoft.com/office/drawing/2014/main" id="{831E916D-697F-694D-A57C-98FFB4980F0F}"/>
              </a:ext>
            </a:extLst>
          </p:cNvPr>
          <p:cNvSpPr/>
          <p:nvPr/>
        </p:nvSpPr>
        <p:spPr>
          <a:xfrm rot="10799991">
            <a:off x="-19" y="2000233"/>
            <a:ext cx="2785070" cy="2042851"/>
          </a:xfrm>
          <a:custGeom>
            <a:avLst/>
            <a:gdLst>
              <a:gd name="f0" fmla="val 10800000"/>
              <a:gd name="f1" fmla="val 5400000"/>
              <a:gd name="f2" fmla="val 180"/>
              <a:gd name="f3" fmla="val w"/>
              <a:gd name="f4" fmla="val h"/>
              <a:gd name="f5" fmla="val 0"/>
              <a:gd name="f6" fmla="val 10293751"/>
              <a:gd name="f7" fmla="val 1031873"/>
              <a:gd name="f8" fmla="val 3579068"/>
              <a:gd name="f9" fmla="val 1"/>
              <a:gd name="f10" fmla="val 1031872"/>
              <a:gd name="f11" fmla="+- 0 0 -90"/>
              <a:gd name="f12" fmla="*/ f3 1 10293751"/>
              <a:gd name="f13" fmla="*/ f4 1 1031873"/>
              <a:gd name="f14" fmla="+- f7 0 f5"/>
              <a:gd name="f15" fmla="+- f6 0 f5"/>
              <a:gd name="f16" fmla="*/ f11 f0 1"/>
              <a:gd name="f17" fmla="*/ f15 1 10293751"/>
              <a:gd name="f18" fmla="*/ f14 1 1031873"/>
              <a:gd name="f19" fmla="*/ 10293751 f15 1"/>
              <a:gd name="f20" fmla="*/ 0 f15 1"/>
              <a:gd name="f21" fmla="*/ 0 f14 1"/>
              <a:gd name="f22" fmla="*/ 1 f14 1"/>
              <a:gd name="f23" fmla="*/ 1031873 f14 1"/>
              <a:gd name="f24" fmla="*/ 1031872 f14 1"/>
              <a:gd name="f25" fmla="*/ 3579068 f15 1"/>
              <a:gd name="f26" fmla="*/ f16 1 f2"/>
              <a:gd name="f27" fmla="*/ f19 1 10293751"/>
              <a:gd name="f28" fmla="*/ f20 1 10293751"/>
              <a:gd name="f29" fmla="*/ f21 1 1031873"/>
              <a:gd name="f30" fmla="*/ f22 1 1031873"/>
              <a:gd name="f31" fmla="*/ f23 1 1031873"/>
              <a:gd name="f32" fmla="*/ f24 1 1031873"/>
              <a:gd name="f33" fmla="*/ f25 1 10293751"/>
              <a:gd name="f34" fmla="*/ f5 1 f17"/>
              <a:gd name="f35" fmla="*/ f6 1 f17"/>
              <a:gd name="f36" fmla="*/ f5 1 f18"/>
              <a:gd name="f37" fmla="*/ f7 1 f18"/>
              <a:gd name="f38" fmla="+- f26 0 f1"/>
              <a:gd name="f39" fmla="*/ f33 1 f17"/>
              <a:gd name="f40" fmla="*/ f29 1 f18"/>
              <a:gd name="f41" fmla="*/ f27 1 f17"/>
              <a:gd name="f42" fmla="*/ f30 1 f18"/>
              <a:gd name="f43" fmla="*/ f31 1 f18"/>
              <a:gd name="f44" fmla="*/ f28 1 f17"/>
              <a:gd name="f45" fmla="*/ f32 1 f18"/>
              <a:gd name="f46" fmla="*/ f34 f12 1"/>
              <a:gd name="f47" fmla="*/ f35 f12 1"/>
              <a:gd name="f48" fmla="*/ f37 f13 1"/>
              <a:gd name="f49" fmla="*/ f36 f13 1"/>
              <a:gd name="f50" fmla="*/ f39 f12 1"/>
              <a:gd name="f51" fmla="*/ f40 f13 1"/>
              <a:gd name="f52" fmla="*/ f41 f12 1"/>
              <a:gd name="f53" fmla="*/ f42 f13 1"/>
              <a:gd name="f54" fmla="*/ f43 f13 1"/>
              <a:gd name="f55" fmla="*/ f44 f12 1"/>
              <a:gd name="f56" fmla="*/ f45 f13 1"/>
            </a:gdLst>
            <a:ahLst/>
            <a:cxnLst>
              <a:cxn ang="3cd4">
                <a:pos x="hc" y="t"/>
              </a:cxn>
              <a:cxn ang="0">
                <a:pos x="r" y="vc"/>
              </a:cxn>
              <a:cxn ang="cd4">
                <a:pos x="hc" y="b"/>
              </a:cxn>
              <a:cxn ang="cd2">
                <a:pos x="l" y="vc"/>
              </a:cxn>
              <a:cxn ang="f38">
                <a:pos x="f50" y="f51"/>
              </a:cxn>
              <a:cxn ang="f38">
                <a:pos x="f52" y="f53"/>
              </a:cxn>
              <a:cxn ang="f38">
                <a:pos x="f52" y="f54"/>
              </a:cxn>
              <a:cxn ang="f38">
                <a:pos x="f55" y="f56"/>
              </a:cxn>
              <a:cxn ang="f38">
                <a:pos x="f50" y="f51"/>
              </a:cxn>
            </a:cxnLst>
            <a:rect l="f46" t="f49" r="f47" b="f48"/>
            <a:pathLst>
              <a:path w="10293751" h="1031873">
                <a:moveTo>
                  <a:pt x="f8" y="f5"/>
                </a:moveTo>
                <a:lnTo>
                  <a:pt x="f6" y="f9"/>
                </a:lnTo>
                <a:lnTo>
                  <a:pt x="f6" y="f7"/>
                </a:lnTo>
                <a:lnTo>
                  <a:pt x="f5" y="f10"/>
                </a:lnTo>
                <a:lnTo>
                  <a:pt x="f8" y="f5"/>
                </a:lnTo>
                <a:close/>
              </a:path>
            </a:pathLst>
          </a:cu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8" name="Rectangle 8">
            <a:extLst>
              <a:ext uri="{FF2B5EF4-FFF2-40B4-BE49-F238E27FC236}">
                <a16:creationId xmlns:a16="http://schemas.microsoft.com/office/drawing/2014/main" id="{ED53C71E-95B9-11D7-C96F-A5B9C5DEF41C}"/>
              </a:ext>
            </a:extLst>
          </p:cNvPr>
          <p:cNvSpPr/>
          <p:nvPr/>
        </p:nvSpPr>
        <p:spPr>
          <a:xfrm>
            <a:off x="0" y="6115050"/>
            <a:ext cx="12191996" cy="742950"/>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9" name="Text Placeholder 11">
            <a:extLst>
              <a:ext uri="{FF2B5EF4-FFF2-40B4-BE49-F238E27FC236}">
                <a16:creationId xmlns:a16="http://schemas.microsoft.com/office/drawing/2014/main" id="{4667B7FE-3F34-E19A-4316-A009260F7F2F}"/>
              </a:ext>
            </a:extLst>
          </p:cNvPr>
          <p:cNvSpPr txBox="1">
            <a:spLocks noGrp="1"/>
          </p:cNvSpPr>
          <p:nvPr>
            <p:ph type="body" idx="4294967295"/>
          </p:nvPr>
        </p:nvSpPr>
        <p:spPr>
          <a:xfrm>
            <a:off x="2826557" y="3447397"/>
            <a:ext cx="8178613" cy="713314"/>
          </a:xfrm>
        </p:spPr>
        <p:txBody>
          <a:bodyPr/>
          <a:lstStyle>
            <a:lvl1pPr marL="0" indent="0">
              <a:buNone/>
              <a:defRPr sz="3200">
                <a:solidFill>
                  <a:srgbClr val="00314C"/>
                </a:solidFill>
                <a:latin typeface="Verdana"/>
                <a:ea typeface="Verdana"/>
                <a:cs typeface="Verdana"/>
              </a:defRPr>
            </a:lvl1pPr>
          </a:lstStyle>
          <a:p>
            <a:pPr lvl="0"/>
            <a:r>
              <a:rPr lang="en-US"/>
              <a:t>Subtitle (24)</a:t>
            </a:r>
          </a:p>
        </p:txBody>
      </p:sp>
      <p:pic>
        <p:nvPicPr>
          <p:cNvPr id="10" name="Picture 12">
            <a:extLst>
              <a:ext uri="{FF2B5EF4-FFF2-40B4-BE49-F238E27FC236}">
                <a16:creationId xmlns:a16="http://schemas.microsoft.com/office/drawing/2014/main" id="{4D6DA7C1-CAD9-2732-79E1-64C19F9BFA9B}"/>
              </a:ext>
            </a:extLst>
          </p:cNvPr>
          <p:cNvPicPr>
            <a:picLocks noChangeAspect="1"/>
          </p:cNvPicPr>
          <p:nvPr/>
        </p:nvPicPr>
        <p:blipFill>
          <a:blip r:embed="rId2"/>
          <a:srcRect/>
          <a:stretch>
            <a:fillRect/>
          </a:stretch>
        </p:blipFill>
        <p:spPr>
          <a:xfrm>
            <a:off x="2829831" y="4178333"/>
            <a:ext cx="4395959" cy="1140165"/>
          </a:xfrm>
          <a:prstGeom prst="rect">
            <a:avLst/>
          </a:prstGeom>
          <a:noFill/>
          <a:ln cap="flat">
            <a:noFill/>
          </a:ln>
        </p:spPr>
      </p:pic>
    </p:spTree>
    <p:extLst>
      <p:ext uri="{BB962C8B-B14F-4D97-AF65-F5344CB8AC3E}">
        <p14:creationId xmlns:p14="http://schemas.microsoft.com/office/powerpoint/2010/main" val="889311419"/>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p:cSld name="33_Title Slide_Yale Blue">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823F1C59-DE3E-CDEB-13A9-2F6F4CEC799B}"/>
              </a:ext>
            </a:extLst>
          </p:cNvPr>
          <p:cNvSpPr txBox="1">
            <a:spLocks noGrp="1"/>
          </p:cNvSpPr>
          <p:nvPr>
            <p:ph type="body" idx="4294967295"/>
          </p:nvPr>
        </p:nvSpPr>
        <p:spPr>
          <a:xfrm>
            <a:off x="2826557" y="5400857"/>
            <a:ext cx="8178613" cy="379656"/>
          </a:xfrm>
        </p:spPr>
        <p:txBody>
          <a:bodyPr wrap="square">
            <a:spAutoFit/>
          </a:bodyPr>
          <a:lstStyle>
            <a:lvl1pPr marL="0" indent="0" algn="r">
              <a:buNone/>
              <a:defRPr sz="1867">
                <a:solidFill>
                  <a:srgbClr val="616364"/>
                </a:solidFill>
                <a:latin typeface="Verdana"/>
                <a:ea typeface="Verdana"/>
                <a:cs typeface="Verdana"/>
              </a:defRPr>
            </a:lvl1pPr>
          </a:lstStyle>
          <a:p>
            <a:pPr lvl="0"/>
            <a:r>
              <a:rPr lang="en-US"/>
              <a:t>Date | Presenter Information (14 pt)</a:t>
            </a:r>
          </a:p>
        </p:txBody>
      </p:sp>
      <p:sp>
        <p:nvSpPr>
          <p:cNvPr id="3" name="Title 1">
            <a:extLst>
              <a:ext uri="{FF2B5EF4-FFF2-40B4-BE49-F238E27FC236}">
                <a16:creationId xmlns:a16="http://schemas.microsoft.com/office/drawing/2014/main" id="{D7F4B008-44DA-6CAA-C72A-5E1CDC8B93BB}"/>
              </a:ext>
            </a:extLst>
          </p:cNvPr>
          <p:cNvSpPr txBox="1">
            <a:spLocks noGrp="1"/>
          </p:cNvSpPr>
          <p:nvPr>
            <p:ph type="title"/>
          </p:nvPr>
        </p:nvSpPr>
        <p:spPr>
          <a:xfrm>
            <a:off x="2826557" y="1807147"/>
            <a:ext cx="8178613" cy="1629460"/>
          </a:xfrm>
        </p:spPr>
        <p:txBody>
          <a:bodyPr anchor="b"/>
          <a:lstStyle>
            <a:lvl1pPr>
              <a:defRPr sz="5334">
                <a:solidFill>
                  <a:srgbClr val="00314C"/>
                </a:solidFill>
                <a:latin typeface="Verdana"/>
                <a:ea typeface="Verdana"/>
                <a:cs typeface="Verdana"/>
              </a:defRPr>
            </a:lvl1pPr>
          </a:lstStyle>
          <a:p>
            <a:pPr lvl="0"/>
            <a:r>
              <a:rPr lang="en-US"/>
              <a:t>Presentation Title (40pt)</a:t>
            </a:r>
          </a:p>
        </p:txBody>
      </p:sp>
      <p:sp>
        <p:nvSpPr>
          <p:cNvPr id="4" name="Date Placeholder 3">
            <a:extLst>
              <a:ext uri="{FF2B5EF4-FFF2-40B4-BE49-F238E27FC236}">
                <a16:creationId xmlns:a16="http://schemas.microsoft.com/office/drawing/2014/main" id="{DFFB5354-AB6D-1890-95DA-E8F1567605EB}"/>
              </a:ext>
            </a:extLst>
          </p:cNvPr>
          <p:cNvSpPr txBox="1">
            <a:spLocks noGrp="1"/>
          </p:cNvSpPr>
          <p:nvPr>
            <p:ph type="dt" sz="quarter" idx="7"/>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914446"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defRPr>
            </a:lvl1pPr>
          </a:lstStyle>
          <a:p>
            <a:pPr lvl="0"/>
            <a:fld id="{BAB3541E-B4BF-4611-930D-1D6D1954742F}" type="datetime1">
              <a:rPr lang="en-US"/>
              <a:pPr lvl="0"/>
              <a:t>5/20/2026</a:t>
            </a:fld>
            <a:endParaRPr lang="en-US"/>
          </a:p>
        </p:txBody>
      </p:sp>
      <p:sp>
        <p:nvSpPr>
          <p:cNvPr id="5" name="Footer Placeholder 4">
            <a:extLst>
              <a:ext uri="{FF2B5EF4-FFF2-40B4-BE49-F238E27FC236}">
                <a16:creationId xmlns:a16="http://schemas.microsoft.com/office/drawing/2014/main" id="{AE759FFE-2A6B-BEBB-5F56-D57F77EE0F9E}"/>
              </a:ext>
            </a:extLst>
          </p:cNvPr>
          <p:cNvSpPr txBox="1">
            <a:spLocks noGrp="1"/>
          </p:cNvSpPr>
          <p:nvPr>
            <p:ph type="ftr" sz="quarter" idx="9"/>
          </p:nvPr>
        </p:nvSpPr>
        <p:spPr/>
        <p:txBody>
          <a:bodyPr anchorCtr="1"/>
          <a:lstStyle>
            <a:lvl1pPr algn="ctr">
              <a:defRPr/>
            </a:lvl1pPr>
          </a:lstStyle>
          <a:p>
            <a:pPr lvl="0"/>
            <a:endParaRPr lang="en-US"/>
          </a:p>
        </p:txBody>
      </p:sp>
      <p:sp>
        <p:nvSpPr>
          <p:cNvPr id="6" name="Slide Number Placeholder 5">
            <a:extLst>
              <a:ext uri="{FF2B5EF4-FFF2-40B4-BE49-F238E27FC236}">
                <a16:creationId xmlns:a16="http://schemas.microsoft.com/office/drawing/2014/main" id="{876057CB-9201-28E0-9BC4-DADA6ABF96F3}"/>
              </a:ext>
            </a:extLst>
          </p:cNvPr>
          <p:cNvSpPr txBox="1">
            <a:spLocks noGrp="1"/>
          </p:cNvSpPr>
          <p:nvPr>
            <p:ph type="sldNum" sz="quarter" idx="8"/>
          </p:nvPr>
        </p:nvSpPr>
        <p:spPr/>
        <p:txBody>
          <a:bodyPr/>
          <a:lstStyle>
            <a:lvl1pPr>
              <a:defRPr/>
            </a:lvl1pPr>
          </a:lstStyle>
          <a:p>
            <a:pPr lvl="0"/>
            <a:fld id="{C96E3BB9-D42C-43E1-A92B-D38D18922D0D}" type="slidenum">
              <a:t>‹#›</a:t>
            </a:fld>
            <a:endParaRPr lang="en-US"/>
          </a:p>
        </p:txBody>
      </p:sp>
      <p:sp>
        <p:nvSpPr>
          <p:cNvPr id="7" name="Rectangle 12">
            <a:extLst>
              <a:ext uri="{FF2B5EF4-FFF2-40B4-BE49-F238E27FC236}">
                <a16:creationId xmlns:a16="http://schemas.microsoft.com/office/drawing/2014/main" id="{0C61C21D-0F89-FF75-20FA-12B7B1271691}"/>
              </a:ext>
            </a:extLst>
          </p:cNvPr>
          <p:cNvSpPr/>
          <p:nvPr/>
        </p:nvSpPr>
        <p:spPr>
          <a:xfrm rot="10799991">
            <a:off x="-19" y="2000233"/>
            <a:ext cx="2785070" cy="2042851"/>
          </a:xfrm>
          <a:custGeom>
            <a:avLst/>
            <a:gdLst>
              <a:gd name="f0" fmla="val 10800000"/>
              <a:gd name="f1" fmla="val 5400000"/>
              <a:gd name="f2" fmla="val 180"/>
              <a:gd name="f3" fmla="val w"/>
              <a:gd name="f4" fmla="val h"/>
              <a:gd name="f5" fmla="val 0"/>
              <a:gd name="f6" fmla="val 10293751"/>
              <a:gd name="f7" fmla="val 1031873"/>
              <a:gd name="f8" fmla="val 3579068"/>
              <a:gd name="f9" fmla="val 1"/>
              <a:gd name="f10" fmla="val 1031872"/>
              <a:gd name="f11" fmla="+- 0 0 -90"/>
              <a:gd name="f12" fmla="*/ f3 1 10293751"/>
              <a:gd name="f13" fmla="*/ f4 1 1031873"/>
              <a:gd name="f14" fmla="+- f7 0 f5"/>
              <a:gd name="f15" fmla="+- f6 0 f5"/>
              <a:gd name="f16" fmla="*/ f11 f0 1"/>
              <a:gd name="f17" fmla="*/ f15 1 10293751"/>
              <a:gd name="f18" fmla="*/ f14 1 1031873"/>
              <a:gd name="f19" fmla="*/ 10293751 f15 1"/>
              <a:gd name="f20" fmla="*/ 0 f15 1"/>
              <a:gd name="f21" fmla="*/ 0 f14 1"/>
              <a:gd name="f22" fmla="*/ 1 f14 1"/>
              <a:gd name="f23" fmla="*/ 1031873 f14 1"/>
              <a:gd name="f24" fmla="*/ 1031872 f14 1"/>
              <a:gd name="f25" fmla="*/ 3579068 f15 1"/>
              <a:gd name="f26" fmla="*/ f16 1 f2"/>
              <a:gd name="f27" fmla="*/ f19 1 10293751"/>
              <a:gd name="f28" fmla="*/ f20 1 10293751"/>
              <a:gd name="f29" fmla="*/ f21 1 1031873"/>
              <a:gd name="f30" fmla="*/ f22 1 1031873"/>
              <a:gd name="f31" fmla="*/ f23 1 1031873"/>
              <a:gd name="f32" fmla="*/ f24 1 1031873"/>
              <a:gd name="f33" fmla="*/ f25 1 10293751"/>
              <a:gd name="f34" fmla="*/ f5 1 f17"/>
              <a:gd name="f35" fmla="*/ f6 1 f17"/>
              <a:gd name="f36" fmla="*/ f5 1 f18"/>
              <a:gd name="f37" fmla="*/ f7 1 f18"/>
              <a:gd name="f38" fmla="+- f26 0 f1"/>
              <a:gd name="f39" fmla="*/ f33 1 f17"/>
              <a:gd name="f40" fmla="*/ f29 1 f18"/>
              <a:gd name="f41" fmla="*/ f27 1 f17"/>
              <a:gd name="f42" fmla="*/ f30 1 f18"/>
              <a:gd name="f43" fmla="*/ f31 1 f18"/>
              <a:gd name="f44" fmla="*/ f28 1 f17"/>
              <a:gd name="f45" fmla="*/ f32 1 f18"/>
              <a:gd name="f46" fmla="*/ f34 f12 1"/>
              <a:gd name="f47" fmla="*/ f35 f12 1"/>
              <a:gd name="f48" fmla="*/ f37 f13 1"/>
              <a:gd name="f49" fmla="*/ f36 f13 1"/>
              <a:gd name="f50" fmla="*/ f39 f12 1"/>
              <a:gd name="f51" fmla="*/ f40 f13 1"/>
              <a:gd name="f52" fmla="*/ f41 f12 1"/>
              <a:gd name="f53" fmla="*/ f42 f13 1"/>
              <a:gd name="f54" fmla="*/ f43 f13 1"/>
              <a:gd name="f55" fmla="*/ f44 f12 1"/>
              <a:gd name="f56" fmla="*/ f45 f13 1"/>
            </a:gdLst>
            <a:ahLst/>
            <a:cxnLst>
              <a:cxn ang="3cd4">
                <a:pos x="hc" y="t"/>
              </a:cxn>
              <a:cxn ang="0">
                <a:pos x="r" y="vc"/>
              </a:cxn>
              <a:cxn ang="cd4">
                <a:pos x="hc" y="b"/>
              </a:cxn>
              <a:cxn ang="cd2">
                <a:pos x="l" y="vc"/>
              </a:cxn>
              <a:cxn ang="f38">
                <a:pos x="f50" y="f51"/>
              </a:cxn>
              <a:cxn ang="f38">
                <a:pos x="f52" y="f53"/>
              </a:cxn>
              <a:cxn ang="f38">
                <a:pos x="f52" y="f54"/>
              </a:cxn>
              <a:cxn ang="f38">
                <a:pos x="f55" y="f56"/>
              </a:cxn>
              <a:cxn ang="f38">
                <a:pos x="f50" y="f51"/>
              </a:cxn>
            </a:cxnLst>
            <a:rect l="f46" t="f49" r="f47" b="f48"/>
            <a:pathLst>
              <a:path w="10293751" h="1031873">
                <a:moveTo>
                  <a:pt x="f8" y="f5"/>
                </a:moveTo>
                <a:lnTo>
                  <a:pt x="f6" y="f9"/>
                </a:lnTo>
                <a:lnTo>
                  <a:pt x="f6" y="f7"/>
                </a:lnTo>
                <a:lnTo>
                  <a:pt x="f5" y="f10"/>
                </a:lnTo>
                <a:lnTo>
                  <a:pt x="f8" y="f5"/>
                </a:lnTo>
                <a:close/>
              </a:path>
            </a:pathLst>
          </a:cu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8" name="Rectangle 8">
            <a:extLst>
              <a:ext uri="{FF2B5EF4-FFF2-40B4-BE49-F238E27FC236}">
                <a16:creationId xmlns:a16="http://schemas.microsoft.com/office/drawing/2014/main" id="{7940D813-8370-096D-8109-5C17275D3995}"/>
              </a:ext>
            </a:extLst>
          </p:cNvPr>
          <p:cNvSpPr/>
          <p:nvPr/>
        </p:nvSpPr>
        <p:spPr>
          <a:xfrm>
            <a:off x="0" y="6115050"/>
            <a:ext cx="12191996" cy="742950"/>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9" name="Text Placeholder 11">
            <a:extLst>
              <a:ext uri="{FF2B5EF4-FFF2-40B4-BE49-F238E27FC236}">
                <a16:creationId xmlns:a16="http://schemas.microsoft.com/office/drawing/2014/main" id="{26746334-2644-CC6C-6453-E0DA7B69F2FD}"/>
              </a:ext>
            </a:extLst>
          </p:cNvPr>
          <p:cNvSpPr txBox="1">
            <a:spLocks noGrp="1"/>
          </p:cNvSpPr>
          <p:nvPr>
            <p:ph type="body" idx="4294967295"/>
          </p:nvPr>
        </p:nvSpPr>
        <p:spPr>
          <a:xfrm>
            <a:off x="2826557" y="3447397"/>
            <a:ext cx="8178613" cy="713314"/>
          </a:xfrm>
        </p:spPr>
        <p:txBody>
          <a:bodyPr/>
          <a:lstStyle>
            <a:lvl1pPr marL="0" indent="0">
              <a:buNone/>
              <a:defRPr sz="3200">
                <a:solidFill>
                  <a:srgbClr val="00314C"/>
                </a:solidFill>
                <a:latin typeface="Verdana"/>
                <a:ea typeface="Verdana"/>
                <a:cs typeface="Verdana"/>
              </a:defRPr>
            </a:lvl1pPr>
          </a:lstStyle>
          <a:p>
            <a:pPr lvl="0"/>
            <a:r>
              <a:rPr lang="en-US"/>
              <a:t>Subtitle (24)</a:t>
            </a:r>
          </a:p>
        </p:txBody>
      </p:sp>
      <p:pic>
        <p:nvPicPr>
          <p:cNvPr id="10" name="Picture 12">
            <a:extLst>
              <a:ext uri="{FF2B5EF4-FFF2-40B4-BE49-F238E27FC236}">
                <a16:creationId xmlns:a16="http://schemas.microsoft.com/office/drawing/2014/main" id="{11E7F3B0-51DC-39F7-9D36-E64065C0FD14}"/>
              </a:ext>
            </a:extLst>
          </p:cNvPr>
          <p:cNvPicPr>
            <a:picLocks noChangeAspect="1"/>
          </p:cNvPicPr>
          <p:nvPr/>
        </p:nvPicPr>
        <p:blipFill>
          <a:blip r:embed="rId2"/>
          <a:srcRect/>
          <a:stretch>
            <a:fillRect/>
          </a:stretch>
        </p:blipFill>
        <p:spPr>
          <a:xfrm>
            <a:off x="2829831" y="4178333"/>
            <a:ext cx="4395959" cy="1140165"/>
          </a:xfrm>
          <a:prstGeom prst="rect">
            <a:avLst/>
          </a:prstGeom>
          <a:noFill/>
          <a:ln cap="flat">
            <a:noFill/>
          </a:ln>
        </p:spPr>
      </p:pic>
    </p:spTree>
    <p:extLst>
      <p:ext uri="{BB962C8B-B14F-4D97-AF65-F5344CB8AC3E}">
        <p14:creationId xmlns:p14="http://schemas.microsoft.com/office/powerpoint/2010/main" val="2140653136"/>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p:cSld name="34_Title Slide_Yale Blue">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CC97B162-E1E5-8631-5B38-BD76EA0DC1FE}"/>
              </a:ext>
            </a:extLst>
          </p:cNvPr>
          <p:cNvSpPr txBox="1">
            <a:spLocks noGrp="1"/>
          </p:cNvSpPr>
          <p:nvPr>
            <p:ph type="body" idx="4294967295"/>
          </p:nvPr>
        </p:nvSpPr>
        <p:spPr>
          <a:xfrm>
            <a:off x="2826557" y="5400857"/>
            <a:ext cx="8178613" cy="379656"/>
          </a:xfrm>
        </p:spPr>
        <p:txBody>
          <a:bodyPr wrap="square">
            <a:spAutoFit/>
          </a:bodyPr>
          <a:lstStyle>
            <a:lvl1pPr marL="0" indent="0" algn="r">
              <a:buNone/>
              <a:defRPr sz="1867">
                <a:solidFill>
                  <a:srgbClr val="616364"/>
                </a:solidFill>
                <a:latin typeface="Verdana"/>
                <a:ea typeface="Verdana"/>
                <a:cs typeface="Verdana"/>
              </a:defRPr>
            </a:lvl1pPr>
          </a:lstStyle>
          <a:p>
            <a:pPr lvl="0"/>
            <a:r>
              <a:rPr lang="en-US"/>
              <a:t>Date | Presenter Information (14 pt)</a:t>
            </a:r>
          </a:p>
        </p:txBody>
      </p:sp>
      <p:sp>
        <p:nvSpPr>
          <p:cNvPr id="3" name="Title 1">
            <a:extLst>
              <a:ext uri="{FF2B5EF4-FFF2-40B4-BE49-F238E27FC236}">
                <a16:creationId xmlns:a16="http://schemas.microsoft.com/office/drawing/2014/main" id="{A20D6986-D6E2-75C1-1666-9C0C672A55EE}"/>
              </a:ext>
            </a:extLst>
          </p:cNvPr>
          <p:cNvSpPr txBox="1">
            <a:spLocks noGrp="1"/>
          </p:cNvSpPr>
          <p:nvPr>
            <p:ph type="title"/>
          </p:nvPr>
        </p:nvSpPr>
        <p:spPr>
          <a:xfrm>
            <a:off x="2826557" y="1807147"/>
            <a:ext cx="8178613" cy="1629460"/>
          </a:xfrm>
        </p:spPr>
        <p:txBody>
          <a:bodyPr anchor="b"/>
          <a:lstStyle>
            <a:lvl1pPr>
              <a:defRPr sz="5334">
                <a:solidFill>
                  <a:srgbClr val="00314C"/>
                </a:solidFill>
                <a:latin typeface="Verdana"/>
                <a:ea typeface="Verdana"/>
                <a:cs typeface="Verdana"/>
              </a:defRPr>
            </a:lvl1pPr>
          </a:lstStyle>
          <a:p>
            <a:pPr lvl="0"/>
            <a:r>
              <a:rPr lang="en-US"/>
              <a:t>Presentation Title (40pt)</a:t>
            </a:r>
          </a:p>
        </p:txBody>
      </p:sp>
      <p:sp>
        <p:nvSpPr>
          <p:cNvPr id="4" name="Date Placeholder 3">
            <a:extLst>
              <a:ext uri="{FF2B5EF4-FFF2-40B4-BE49-F238E27FC236}">
                <a16:creationId xmlns:a16="http://schemas.microsoft.com/office/drawing/2014/main" id="{4B8764B3-EAB2-13BF-3980-3D05EE8870FD}"/>
              </a:ext>
            </a:extLst>
          </p:cNvPr>
          <p:cNvSpPr txBox="1">
            <a:spLocks noGrp="1"/>
          </p:cNvSpPr>
          <p:nvPr>
            <p:ph type="dt" sz="quarter" idx="7"/>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914446"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defRPr>
            </a:lvl1pPr>
          </a:lstStyle>
          <a:p>
            <a:pPr lvl="0"/>
            <a:fld id="{85602093-3724-4FCB-9787-B83371DBCC35}" type="datetime1">
              <a:rPr lang="en-US"/>
              <a:pPr lvl="0"/>
              <a:t>5/20/2026</a:t>
            </a:fld>
            <a:endParaRPr lang="en-US"/>
          </a:p>
        </p:txBody>
      </p:sp>
      <p:sp>
        <p:nvSpPr>
          <p:cNvPr id="5" name="Footer Placeholder 4">
            <a:extLst>
              <a:ext uri="{FF2B5EF4-FFF2-40B4-BE49-F238E27FC236}">
                <a16:creationId xmlns:a16="http://schemas.microsoft.com/office/drawing/2014/main" id="{BCD65BA7-0799-B4C3-EBC5-F6582B765528}"/>
              </a:ext>
            </a:extLst>
          </p:cNvPr>
          <p:cNvSpPr txBox="1">
            <a:spLocks noGrp="1"/>
          </p:cNvSpPr>
          <p:nvPr>
            <p:ph type="ftr" sz="quarter" idx="9"/>
          </p:nvPr>
        </p:nvSpPr>
        <p:spPr/>
        <p:txBody>
          <a:bodyPr anchorCtr="1"/>
          <a:lstStyle>
            <a:lvl1pPr algn="ctr">
              <a:defRPr/>
            </a:lvl1pPr>
          </a:lstStyle>
          <a:p>
            <a:pPr lvl="0"/>
            <a:endParaRPr lang="en-US"/>
          </a:p>
        </p:txBody>
      </p:sp>
      <p:sp>
        <p:nvSpPr>
          <p:cNvPr id="6" name="Slide Number Placeholder 5">
            <a:extLst>
              <a:ext uri="{FF2B5EF4-FFF2-40B4-BE49-F238E27FC236}">
                <a16:creationId xmlns:a16="http://schemas.microsoft.com/office/drawing/2014/main" id="{BA8AB45A-5B6D-C6BB-6476-A5CCF6F81DC9}"/>
              </a:ext>
            </a:extLst>
          </p:cNvPr>
          <p:cNvSpPr txBox="1">
            <a:spLocks noGrp="1"/>
          </p:cNvSpPr>
          <p:nvPr>
            <p:ph type="sldNum" sz="quarter" idx="8"/>
          </p:nvPr>
        </p:nvSpPr>
        <p:spPr/>
        <p:txBody>
          <a:bodyPr/>
          <a:lstStyle>
            <a:lvl1pPr>
              <a:defRPr/>
            </a:lvl1pPr>
          </a:lstStyle>
          <a:p>
            <a:pPr lvl="0"/>
            <a:fld id="{F845F99C-D643-4C63-9055-A57D8BF79C09}" type="slidenum">
              <a:t>‹#›</a:t>
            </a:fld>
            <a:endParaRPr lang="en-US"/>
          </a:p>
        </p:txBody>
      </p:sp>
      <p:sp>
        <p:nvSpPr>
          <p:cNvPr id="7" name="Rectangle 12">
            <a:extLst>
              <a:ext uri="{FF2B5EF4-FFF2-40B4-BE49-F238E27FC236}">
                <a16:creationId xmlns:a16="http://schemas.microsoft.com/office/drawing/2014/main" id="{B021EE3A-76C6-D4CF-D149-63595D085A5D}"/>
              </a:ext>
            </a:extLst>
          </p:cNvPr>
          <p:cNvSpPr/>
          <p:nvPr/>
        </p:nvSpPr>
        <p:spPr>
          <a:xfrm rot="10799991">
            <a:off x="-19" y="2000233"/>
            <a:ext cx="2785070" cy="2042851"/>
          </a:xfrm>
          <a:custGeom>
            <a:avLst/>
            <a:gdLst>
              <a:gd name="f0" fmla="val 10800000"/>
              <a:gd name="f1" fmla="val 5400000"/>
              <a:gd name="f2" fmla="val 180"/>
              <a:gd name="f3" fmla="val w"/>
              <a:gd name="f4" fmla="val h"/>
              <a:gd name="f5" fmla="val 0"/>
              <a:gd name="f6" fmla="val 10293751"/>
              <a:gd name="f7" fmla="val 1031873"/>
              <a:gd name="f8" fmla="val 3579068"/>
              <a:gd name="f9" fmla="val 1"/>
              <a:gd name="f10" fmla="val 1031872"/>
              <a:gd name="f11" fmla="+- 0 0 -90"/>
              <a:gd name="f12" fmla="*/ f3 1 10293751"/>
              <a:gd name="f13" fmla="*/ f4 1 1031873"/>
              <a:gd name="f14" fmla="+- f7 0 f5"/>
              <a:gd name="f15" fmla="+- f6 0 f5"/>
              <a:gd name="f16" fmla="*/ f11 f0 1"/>
              <a:gd name="f17" fmla="*/ f15 1 10293751"/>
              <a:gd name="f18" fmla="*/ f14 1 1031873"/>
              <a:gd name="f19" fmla="*/ 10293751 f15 1"/>
              <a:gd name="f20" fmla="*/ 0 f15 1"/>
              <a:gd name="f21" fmla="*/ 0 f14 1"/>
              <a:gd name="f22" fmla="*/ 1 f14 1"/>
              <a:gd name="f23" fmla="*/ 1031873 f14 1"/>
              <a:gd name="f24" fmla="*/ 1031872 f14 1"/>
              <a:gd name="f25" fmla="*/ 3579068 f15 1"/>
              <a:gd name="f26" fmla="*/ f16 1 f2"/>
              <a:gd name="f27" fmla="*/ f19 1 10293751"/>
              <a:gd name="f28" fmla="*/ f20 1 10293751"/>
              <a:gd name="f29" fmla="*/ f21 1 1031873"/>
              <a:gd name="f30" fmla="*/ f22 1 1031873"/>
              <a:gd name="f31" fmla="*/ f23 1 1031873"/>
              <a:gd name="f32" fmla="*/ f24 1 1031873"/>
              <a:gd name="f33" fmla="*/ f25 1 10293751"/>
              <a:gd name="f34" fmla="*/ f5 1 f17"/>
              <a:gd name="f35" fmla="*/ f6 1 f17"/>
              <a:gd name="f36" fmla="*/ f5 1 f18"/>
              <a:gd name="f37" fmla="*/ f7 1 f18"/>
              <a:gd name="f38" fmla="+- f26 0 f1"/>
              <a:gd name="f39" fmla="*/ f33 1 f17"/>
              <a:gd name="f40" fmla="*/ f29 1 f18"/>
              <a:gd name="f41" fmla="*/ f27 1 f17"/>
              <a:gd name="f42" fmla="*/ f30 1 f18"/>
              <a:gd name="f43" fmla="*/ f31 1 f18"/>
              <a:gd name="f44" fmla="*/ f28 1 f17"/>
              <a:gd name="f45" fmla="*/ f32 1 f18"/>
              <a:gd name="f46" fmla="*/ f34 f12 1"/>
              <a:gd name="f47" fmla="*/ f35 f12 1"/>
              <a:gd name="f48" fmla="*/ f37 f13 1"/>
              <a:gd name="f49" fmla="*/ f36 f13 1"/>
              <a:gd name="f50" fmla="*/ f39 f12 1"/>
              <a:gd name="f51" fmla="*/ f40 f13 1"/>
              <a:gd name="f52" fmla="*/ f41 f12 1"/>
              <a:gd name="f53" fmla="*/ f42 f13 1"/>
              <a:gd name="f54" fmla="*/ f43 f13 1"/>
              <a:gd name="f55" fmla="*/ f44 f12 1"/>
              <a:gd name="f56" fmla="*/ f45 f13 1"/>
            </a:gdLst>
            <a:ahLst/>
            <a:cxnLst>
              <a:cxn ang="3cd4">
                <a:pos x="hc" y="t"/>
              </a:cxn>
              <a:cxn ang="0">
                <a:pos x="r" y="vc"/>
              </a:cxn>
              <a:cxn ang="cd4">
                <a:pos x="hc" y="b"/>
              </a:cxn>
              <a:cxn ang="cd2">
                <a:pos x="l" y="vc"/>
              </a:cxn>
              <a:cxn ang="f38">
                <a:pos x="f50" y="f51"/>
              </a:cxn>
              <a:cxn ang="f38">
                <a:pos x="f52" y="f53"/>
              </a:cxn>
              <a:cxn ang="f38">
                <a:pos x="f52" y="f54"/>
              </a:cxn>
              <a:cxn ang="f38">
                <a:pos x="f55" y="f56"/>
              </a:cxn>
              <a:cxn ang="f38">
                <a:pos x="f50" y="f51"/>
              </a:cxn>
            </a:cxnLst>
            <a:rect l="f46" t="f49" r="f47" b="f48"/>
            <a:pathLst>
              <a:path w="10293751" h="1031873">
                <a:moveTo>
                  <a:pt x="f8" y="f5"/>
                </a:moveTo>
                <a:lnTo>
                  <a:pt x="f6" y="f9"/>
                </a:lnTo>
                <a:lnTo>
                  <a:pt x="f6" y="f7"/>
                </a:lnTo>
                <a:lnTo>
                  <a:pt x="f5" y="f10"/>
                </a:lnTo>
                <a:lnTo>
                  <a:pt x="f8" y="f5"/>
                </a:lnTo>
                <a:close/>
              </a:path>
            </a:pathLst>
          </a:cu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8" name="Rectangle 8">
            <a:extLst>
              <a:ext uri="{FF2B5EF4-FFF2-40B4-BE49-F238E27FC236}">
                <a16:creationId xmlns:a16="http://schemas.microsoft.com/office/drawing/2014/main" id="{65884128-2A90-E1CB-DC9C-9B0E116D3009}"/>
              </a:ext>
            </a:extLst>
          </p:cNvPr>
          <p:cNvSpPr/>
          <p:nvPr/>
        </p:nvSpPr>
        <p:spPr>
          <a:xfrm>
            <a:off x="0" y="6115050"/>
            <a:ext cx="12191996" cy="742950"/>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9" name="Text Placeholder 11">
            <a:extLst>
              <a:ext uri="{FF2B5EF4-FFF2-40B4-BE49-F238E27FC236}">
                <a16:creationId xmlns:a16="http://schemas.microsoft.com/office/drawing/2014/main" id="{CFF2D115-9BC0-B41D-DFFA-8D8B1CFB099D}"/>
              </a:ext>
            </a:extLst>
          </p:cNvPr>
          <p:cNvSpPr txBox="1">
            <a:spLocks noGrp="1"/>
          </p:cNvSpPr>
          <p:nvPr>
            <p:ph type="body" idx="4294967295"/>
          </p:nvPr>
        </p:nvSpPr>
        <p:spPr>
          <a:xfrm>
            <a:off x="2826557" y="3447397"/>
            <a:ext cx="8178613" cy="713314"/>
          </a:xfrm>
        </p:spPr>
        <p:txBody>
          <a:bodyPr/>
          <a:lstStyle>
            <a:lvl1pPr marL="0" indent="0">
              <a:buNone/>
              <a:defRPr sz="3200">
                <a:solidFill>
                  <a:srgbClr val="00314C"/>
                </a:solidFill>
                <a:latin typeface="Verdana"/>
                <a:ea typeface="Verdana"/>
                <a:cs typeface="Verdana"/>
              </a:defRPr>
            </a:lvl1pPr>
          </a:lstStyle>
          <a:p>
            <a:pPr lvl="0"/>
            <a:r>
              <a:rPr lang="en-US"/>
              <a:t>Subtitle (24)</a:t>
            </a:r>
          </a:p>
        </p:txBody>
      </p:sp>
      <p:pic>
        <p:nvPicPr>
          <p:cNvPr id="10" name="Picture 12">
            <a:extLst>
              <a:ext uri="{FF2B5EF4-FFF2-40B4-BE49-F238E27FC236}">
                <a16:creationId xmlns:a16="http://schemas.microsoft.com/office/drawing/2014/main" id="{6D0F9653-A67B-5352-9BA2-9361214F5044}"/>
              </a:ext>
            </a:extLst>
          </p:cNvPr>
          <p:cNvPicPr>
            <a:picLocks noChangeAspect="1"/>
          </p:cNvPicPr>
          <p:nvPr/>
        </p:nvPicPr>
        <p:blipFill>
          <a:blip r:embed="rId2"/>
          <a:srcRect/>
          <a:stretch>
            <a:fillRect/>
          </a:stretch>
        </p:blipFill>
        <p:spPr>
          <a:xfrm>
            <a:off x="2829831" y="4178333"/>
            <a:ext cx="4395959" cy="1140165"/>
          </a:xfrm>
          <a:prstGeom prst="rect">
            <a:avLst/>
          </a:prstGeom>
          <a:noFill/>
          <a:ln cap="flat">
            <a:noFill/>
          </a:ln>
        </p:spPr>
      </p:pic>
    </p:spTree>
    <p:extLst>
      <p:ext uri="{BB962C8B-B14F-4D97-AF65-F5344CB8AC3E}">
        <p14:creationId xmlns:p14="http://schemas.microsoft.com/office/powerpoint/2010/main" val="1417252626"/>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p:cSld name="35_Title Slide_Yale Blue">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A21CCC1C-BE19-C856-AC63-493D82B689E2}"/>
              </a:ext>
            </a:extLst>
          </p:cNvPr>
          <p:cNvSpPr txBox="1">
            <a:spLocks noGrp="1"/>
          </p:cNvSpPr>
          <p:nvPr>
            <p:ph type="body" idx="4294967295"/>
          </p:nvPr>
        </p:nvSpPr>
        <p:spPr>
          <a:xfrm>
            <a:off x="2826557" y="5400857"/>
            <a:ext cx="8178613" cy="379656"/>
          </a:xfrm>
        </p:spPr>
        <p:txBody>
          <a:bodyPr wrap="square">
            <a:spAutoFit/>
          </a:bodyPr>
          <a:lstStyle>
            <a:lvl1pPr marL="0" indent="0" algn="r">
              <a:buNone/>
              <a:defRPr sz="1867">
                <a:solidFill>
                  <a:srgbClr val="616364"/>
                </a:solidFill>
                <a:latin typeface="Verdana"/>
                <a:ea typeface="Verdana"/>
                <a:cs typeface="Verdana"/>
              </a:defRPr>
            </a:lvl1pPr>
          </a:lstStyle>
          <a:p>
            <a:pPr lvl="0"/>
            <a:r>
              <a:rPr lang="en-US"/>
              <a:t>Date | Presenter Information (14 pt)</a:t>
            </a:r>
          </a:p>
        </p:txBody>
      </p:sp>
      <p:sp>
        <p:nvSpPr>
          <p:cNvPr id="3" name="Title 1">
            <a:extLst>
              <a:ext uri="{FF2B5EF4-FFF2-40B4-BE49-F238E27FC236}">
                <a16:creationId xmlns:a16="http://schemas.microsoft.com/office/drawing/2014/main" id="{4EF62FFC-1D5F-DFD1-67E5-FDBD6868FFD4}"/>
              </a:ext>
            </a:extLst>
          </p:cNvPr>
          <p:cNvSpPr txBox="1">
            <a:spLocks noGrp="1"/>
          </p:cNvSpPr>
          <p:nvPr>
            <p:ph type="title"/>
          </p:nvPr>
        </p:nvSpPr>
        <p:spPr>
          <a:xfrm>
            <a:off x="2826557" y="1807147"/>
            <a:ext cx="8178613" cy="1629460"/>
          </a:xfrm>
        </p:spPr>
        <p:txBody>
          <a:bodyPr anchor="b"/>
          <a:lstStyle>
            <a:lvl1pPr>
              <a:defRPr sz="5334">
                <a:solidFill>
                  <a:srgbClr val="00314C"/>
                </a:solidFill>
                <a:latin typeface="Verdana"/>
                <a:ea typeface="Verdana"/>
                <a:cs typeface="Verdana"/>
              </a:defRPr>
            </a:lvl1pPr>
          </a:lstStyle>
          <a:p>
            <a:pPr lvl="0"/>
            <a:r>
              <a:rPr lang="en-US"/>
              <a:t>Presentation Title (40pt)</a:t>
            </a:r>
          </a:p>
        </p:txBody>
      </p:sp>
      <p:sp>
        <p:nvSpPr>
          <p:cNvPr id="4" name="Date Placeholder 3">
            <a:extLst>
              <a:ext uri="{FF2B5EF4-FFF2-40B4-BE49-F238E27FC236}">
                <a16:creationId xmlns:a16="http://schemas.microsoft.com/office/drawing/2014/main" id="{4ACDDD15-E6BD-AE1C-306B-4AD31A32F7AA}"/>
              </a:ext>
            </a:extLst>
          </p:cNvPr>
          <p:cNvSpPr txBox="1">
            <a:spLocks noGrp="1"/>
          </p:cNvSpPr>
          <p:nvPr>
            <p:ph type="dt" sz="quarter" idx="7"/>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914446"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defRPr>
            </a:lvl1pPr>
          </a:lstStyle>
          <a:p>
            <a:pPr lvl="0"/>
            <a:fld id="{A5445820-A4B8-429C-A229-5E509CDD4331}" type="datetime1">
              <a:rPr lang="en-US"/>
              <a:pPr lvl="0"/>
              <a:t>5/20/2026</a:t>
            </a:fld>
            <a:endParaRPr lang="en-US"/>
          </a:p>
        </p:txBody>
      </p:sp>
      <p:sp>
        <p:nvSpPr>
          <p:cNvPr id="5" name="Footer Placeholder 4">
            <a:extLst>
              <a:ext uri="{FF2B5EF4-FFF2-40B4-BE49-F238E27FC236}">
                <a16:creationId xmlns:a16="http://schemas.microsoft.com/office/drawing/2014/main" id="{CF3D6F50-1EF7-33E5-3FC7-3CAD8AA0E1A1}"/>
              </a:ext>
            </a:extLst>
          </p:cNvPr>
          <p:cNvSpPr txBox="1">
            <a:spLocks noGrp="1"/>
          </p:cNvSpPr>
          <p:nvPr>
            <p:ph type="ftr" sz="quarter" idx="9"/>
          </p:nvPr>
        </p:nvSpPr>
        <p:spPr/>
        <p:txBody>
          <a:bodyPr anchorCtr="1"/>
          <a:lstStyle>
            <a:lvl1pPr algn="ctr">
              <a:defRPr/>
            </a:lvl1pPr>
          </a:lstStyle>
          <a:p>
            <a:pPr lvl="0"/>
            <a:endParaRPr lang="en-US"/>
          </a:p>
        </p:txBody>
      </p:sp>
      <p:sp>
        <p:nvSpPr>
          <p:cNvPr id="6" name="Slide Number Placeholder 5">
            <a:extLst>
              <a:ext uri="{FF2B5EF4-FFF2-40B4-BE49-F238E27FC236}">
                <a16:creationId xmlns:a16="http://schemas.microsoft.com/office/drawing/2014/main" id="{75989783-37B1-4CAA-33F9-3BA4BB67C511}"/>
              </a:ext>
            </a:extLst>
          </p:cNvPr>
          <p:cNvSpPr txBox="1">
            <a:spLocks noGrp="1"/>
          </p:cNvSpPr>
          <p:nvPr>
            <p:ph type="sldNum" sz="quarter" idx="8"/>
          </p:nvPr>
        </p:nvSpPr>
        <p:spPr/>
        <p:txBody>
          <a:bodyPr/>
          <a:lstStyle>
            <a:lvl1pPr>
              <a:defRPr/>
            </a:lvl1pPr>
          </a:lstStyle>
          <a:p>
            <a:pPr lvl="0"/>
            <a:fld id="{F84C38E7-3AF2-4927-8444-2635C2E8B8A9}" type="slidenum">
              <a:t>‹#›</a:t>
            </a:fld>
            <a:endParaRPr lang="en-US"/>
          </a:p>
        </p:txBody>
      </p:sp>
      <p:sp>
        <p:nvSpPr>
          <p:cNvPr id="7" name="Rectangle 12">
            <a:extLst>
              <a:ext uri="{FF2B5EF4-FFF2-40B4-BE49-F238E27FC236}">
                <a16:creationId xmlns:a16="http://schemas.microsoft.com/office/drawing/2014/main" id="{3690AEFF-B725-1D7B-9898-E12F436AABFA}"/>
              </a:ext>
            </a:extLst>
          </p:cNvPr>
          <p:cNvSpPr/>
          <p:nvPr/>
        </p:nvSpPr>
        <p:spPr>
          <a:xfrm rot="10799991">
            <a:off x="-19" y="2000233"/>
            <a:ext cx="2785070" cy="2042851"/>
          </a:xfrm>
          <a:custGeom>
            <a:avLst/>
            <a:gdLst>
              <a:gd name="f0" fmla="val 10800000"/>
              <a:gd name="f1" fmla="val 5400000"/>
              <a:gd name="f2" fmla="val 180"/>
              <a:gd name="f3" fmla="val w"/>
              <a:gd name="f4" fmla="val h"/>
              <a:gd name="f5" fmla="val 0"/>
              <a:gd name="f6" fmla="val 10293751"/>
              <a:gd name="f7" fmla="val 1031873"/>
              <a:gd name="f8" fmla="val 3579068"/>
              <a:gd name="f9" fmla="val 1"/>
              <a:gd name="f10" fmla="val 1031872"/>
              <a:gd name="f11" fmla="+- 0 0 -90"/>
              <a:gd name="f12" fmla="*/ f3 1 10293751"/>
              <a:gd name="f13" fmla="*/ f4 1 1031873"/>
              <a:gd name="f14" fmla="+- f7 0 f5"/>
              <a:gd name="f15" fmla="+- f6 0 f5"/>
              <a:gd name="f16" fmla="*/ f11 f0 1"/>
              <a:gd name="f17" fmla="*/ f15 1 10293751"/>
              <a:gd name="f18" fmla="*/ f14 1 1031873"/>
              <a:gd name="f19" fmla="*/ 10293751 f15 1"/>
              <a:gd name="f20" fmla="*/ 0 f15 1"/>
              <a:gd name="f21" fmla="*/ 0 f14 1"/>
              <a:gd name="f22" fmla="*/ 1 f14 1"/>
              <a:gd name="f23" fmla="*/ 1031873 f14 1"/>
              <a:gd name="f24" fmla="*/ 1031872 f14 1"/>
              <a:gd name="f25" fmla="*/ 3579068 f15 1"/>
              <a:gd name="f26" fmla="*/ f16 1 f2"/>
              <a:gd name="f27" fmla="*/ f19 1 10293751"/>
              <a:gd name="f28" fmla="*/ f20 1 10293751"/>
              <a:gd name="f29" fmla="*/ f21 1 1031873"/>
              <a:gd name="f30" fmla="*/ f22 1 1031873"/>
              <a:gd name="f31" fmla="*/ f23 1 1031873"/>
              <a:gd name="f32" fmla="*/ f24 1 1031873"/>
              <a:gd name="f33" fmla="*/ f25 1 10293751"/>
              <a:gd name="f34" fmla="*/ f5 1 f17"/>
              <a:gd name="f35" fmla="*/ f6 1 f17"/>
              <a:gd name="f36" fmla="*/ f5 1 f18"/>
              <a:gd name="f37" fmla="*/ f7 1 f18"/>
              <a:gd name="f38" fmla="+- f26 0 f1"/>
              <a:gd name="f39" fmla="*/ f33 1 f17"/>
              <a:gd name="f40" fmla="*/ f29 1 f18"/>
              <a:gd name="f41" fmla="*/ f27 1 f17"/>
              <a:gd name="f42" fmla="*/ f30 1 f18"/>
              <a:gd name="f43" fmla="*/ f31 1 f18"/>
              <a:gd name="f44" fmla="*/ f28 1 f17"/>
              <a:gd name="f45" fmla="*/ f32 1 f18"/>
              <a:gd name="f46" fmla="*/ f34 f12 1"/>
              <a:gd name="f47" fmla="*/ f35 f12 1"/>
              <a:gd name="f48" fmla="*/ f37 f13 1"/>
              <a:gd name="f49" fmla="*/ f36 f13 1"/>
              <a:gd name="f50" fmla="*/ f39 f12 1"/>
              <a:gd name="f51" fmla="*/ f40 f13 1"/>
              <a:gd name="f52" fmla="*/ f41 f12 1"/>
              <a:gd name="f53" fmla="*/ f42 f13 1"/>
              <a:gd name="f54" fmla="*/ f43 f13 1"/>
              <a:gd name="f55" fmla="*/ f44 f12 1"/>
              <a:gd name="f56" fmla="*/ f45 f13 1"/>
            </a:gdLst>
            <a:ahLst/>
            <a:cxnLst>
              <a:cxn ang="3cd4">
                <a:pos x="hc" y="t"/>
              </a:cxn>
              <a:cxn ang="0">
                <a:pos x="r" y="vc"/>
              </a:cxn>
              <a:cxn ang="cd4">
                <a:pos x="hc" y="b"/>
              </a:cxn>
              <a:cxn ang="cd2">
                <a:pos x="l" y="vc"/>
              </a:cxn>
              <a:cxn ang="f38">
                <a:pos x="f50" y="f51"/>
              </a:cxn>
              <a:cxn ang="f38">
                <a:pos x="f52" y="f53"/>
              </a:cxn>
              <a:cxn ang="f38">
                <a:pos x="f52" y="f54"/>
              </a:cxn>
              <a:cxn ang="f38">
                <a:pos x="f55" y="f56"/>
              </a:cxn>
              <a:cxn ang="f38">
                <a:pos x="f50" y="f51"/>
              </a:cxn>
            </a:cxnLst>
            <a:rect l="f46" t="f49" r="f47" b="f48"/>
            <a:pathLst>
              <a:path w="10293751" h="1031873">
                <a:moveTo>
                  <a:pt x="f8" y="f5"/>
                </a:moveTo>
                <a:lnTo>
                  <a:pt x="f6" y="f9"/>
                </a:lnTo>
                <a:lnTo>
                  <a:pt x="f6" y="f7"/>
                </a:lnTo>
                <a:lnTo>
                  <a:pt x="f5" y="f10"/>
                </a:lnTo>
                <a:lnTo>
                  <a:pt x="f8" y="f5"/>
                </a:lnTo>
                <a:close/>
              </a:path>
            </a:pathLst>
          </a:cu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8" name="Rectangle 8">
            <a:extLst>
              <a:ext uri="{FF2B5EF4-FFF2-40B4-BE49-F238E27FC236}">
                <a16:creationId xmlns:a16="http://schemas.microsoft.com/office/drawing/2014/main" id="{441A40D0-2FF3-0BE1-6729-83EAF50A00A6}"/>
              </a:ext>
            </a:extLst>
          </p:cNvPr>
          <p:cNvSpPr/>
          <p:nvPr/>
        </p:nvSpPr>
        <p:spPr>
          <a:xfrm>
            <a:off x="0" y="6115050"/>
            <a:ext cx="12191996" cy="742950"/>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9" name="Text Placeholder 11">
            <a:extLst>
              <a:ext uri="{FF2B5EF4-FFF2-40B4-BE49-F238E27FC236}">
                <a16:creationId xmlns:a16="http://schemas.microsoft.com/office/drawing/2014/main" id="{316158BF-9A30-8E1A-05A8-5403F85EDAA2}"/>
              </a:ext>
            </a:extLst>
          </p:cNvPr>
          <p:cNvSpPr txBox="1">
            <a:spLocks noGrp="1"/>
          </p:cNvSpPr>
          <p:nvPr>
            <p:ph type="body" idx="4294967295"/>
          </p:nvPr>
        </p:nvSpPr>
        <p:spPr>
          <a:xfrm>
            <a:off x="2826557" y="3447397"/>
            <a:ext cx="8178613" cy="713314"/>
          </a:xfrm>
        </p:spPr>
        <p:txBody>
          <a:bodyPr/>
          <a:lstStyle>
            <a:lvl1pPr marL="0" indent="0">
              <a:buNone/>
              <a:defRPr sz="3200">
                <a:solidFill>
                  <a:srgbClr val="00314C"/>
                </a:solidFill>
                <a:latin typeface="Verdana"/>
                <a:ea typeface="Verdana"/>
                <a:cs typeface="Verdana"/>
              </a:defRPr>
            </a:lvl1pPr>
          </a:lstStyle>
          <a:p>
            <a:pPr lvl="0"/>
            <a:r>
              <a:rPr lang="en-US"/>
              <a:t>Subtitle (24)</a:t>
            </a:r>
          </a:p>
        </p:txBody>
      </p:sp>
      <p:pic>
        <p:nvPicPr>
          <p:cNvPr id="10" name="Picture 12">
            <a:extLst>
              <a:ext uri="{FF2B5EF4-FFF2-40B4-BE49-F238E27FC236}">
                <a16:creationId xmlns:a16="http://schemas.microsoft.com/office/drawing/2014/main" id="{B3D7B499-9B65-FCDE-3000-2996347C7766}"/>
              </a:ext>
            </a:extLst>
          </p:cNvPr>
          <p:cNvPicPr>
            <a:picLocks noChangeAspect="1"/>
          </p:cNvPicPr>
          <p:nvPr/>
        </p:nvPicPr>
        <p:blipFill>
          <a:blip r:embed="rId2"/>
          <a:srcRect/>
          <a:stretch>
            <a:fillRect/>
          </a:stretch>
        </p:blipFill>
        <p:spPr>
          <a:xfrm>
            <a:off x="2829831" y="4178333"/>
            <a:ext cx="4395959" cy="1140165"/>
          </a:xfrm>
          <a:prstGeom prst="rect">
            <a:avLst/>
          </a:prstGeom>
          <a:noFill/>
          <a:ln cap="flat">
            <a:noFill/>
          </a:ln>
        </p:spPr>
      </p:pic>
    </p:spTree>
    <p:extLst>
      <p:ext uri="{BB962C8B-B14F-4D97-AF65-F5344CB8AC3E}">
        <p14:creationId xmlns:p14="http://schemas.microsoft.com/office/powerpoint/2010/main" val="3408855579"/>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p:cSld name="36_Title Slide_Yale Blue">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BA7C561B-C8F8-B1EA-F21E-BBF7A935FBAB}"/>
              </a:ext>
            </a:extLst>
          </p:cNvPr>
          <p:cNvSpPr txBox="1">
            <a:spLocks noGrp="1"/>
          </p:cNvSpPr>
          <p:nvPr>
            <p:ph type="body" idx="4294967295"/>
          </p:nvPr>
        </p:nvSpPr>
        <p:spPr>
          <a:xfrm>
            <a:off x="2826557" y="5400857"/>
            <a:ext cx="8178613" cy="379656"/>
          </a:xfrm>
        </p:spPr>
        <p:txBody>
          <a:bodyPr wrap="square">
            <a:spAutoFit/>
          </a:bodyPr>
          <a:lstStyle>
            <a:lvl1pPr marL="0" indent="0" algn="r">
              <a:buNone/>
              <a:defRPr sz="1867">
                <a:solidFill>
                  <a:srgbClr val="616364"/>
                </a:solidFill>
                <a:latin typeface="Verdana"/>
                <a:ea typeface="Verdana"/>
                <a:cs typeface="Verdana"/>
              </a:defRPr>
            </a:lvl1pPr>
          </a:lstStyle>
          <a:p>
            <a:pPr lvl="0"/>
            <a:r>
              <a:rPr lang="en-US"/>
              <a:t>Date | Presenter Information (14 pt)</a:t>
            </a:r>
          </a:p>
        </p:txBody>
      </p:sp>
      <p:sp>
        <p:nvSpPr>
          <p:cNvPr id="3" name="Title 1">
            <a:extLst>
              <a:ext uri="{FF2B5EF4-FFF2-40B4-BE49-F238E27FC236}">
                <a16:creationId xmlns:a16="http://schemas.microsoft.com/office/drawing/2014/main" id="{84C514E9-3A81-A845-9269-3C6F3E964715}"/>
              </a:ext>
            </a:extLst>
          </p:cNvPr>
          <p:cNvSpPr txBox="1">
            <a:spLocks noGrp="1"/>
          </p:cNvSpPr>
          <p:nvPr>
            <p:ph type="title"/>
          </p:nvPr>
        </p:nvSpPr>
        <p:spPr>
          <a:xfrm>
            <a:off x="2826557" y="1807147"/>
            <a:ext cx="8178613" cy="1629460"/>
          </a:xfrm>
        </p:spPr>
        <p:txBody>
          <a:bodyPr anchor="b"/>
          <a:lstStyle>
            <a:lvl1pPr>
              <a:defRPr sz="5334">
                <a:solidFill>
                  <a:srgbClr val="00314C"/>
                </a:solidFill>
                <a:latin typeface="Verdana"/>
                <a:ea typeface="Verdana"/>
                <a:cs typeface="Verdana"/>
              </a:defRPr>
            </a:lvl1pPr>
          </a:lstStyle>
          <a:p>
            <a:pPr lvl="0"/>
            <a:r>
              <a:rPr lang="en-US"/>
              <a:t>Presentation Title (40pt)</a:t>
            </a:r>
          </a:p>
        </p:txBody>
      </p:sp>
      <p:sp>
        <p:nvSpPr>
          <p:cNvPr id="4" name="Date Placeholder 3">
            <a:extLst>
              <a:ext uri="{FF2B5EF4-FFF2-40B4-BE49-F238E27FC236}">
                <a16:creationId xmlns:a16="http://schemas.microsoft.com/office/drawing/2014/main" id="{4F06BAE0-1B95-7432-0B60-C7B83C10D249}"/>
              </a:ext>
            </a:extLst>
          </p:cNvPr>
          <p:cNvSpPr txBox="1">
            <a:spLocks noGrp="1"/>
          </p:cNvSpPr>
          <p:nvPr>
            <p:ph type="dt" sz="quarter" idx="7"/>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914446"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defRPr>
            </a:lvl1pPr>
          </a:lstStyle>
          <a:p>
            <a:pPr lvl="0"/>
            <a:fld id="{0699C2F6-3B3A-4CC9-A073-1435728FF6D9}" type="datetime1">
              <a:rPr lang="en-US"/>
              <a:pPr lvl="0"/>
              <a:t>5/20/2026</a:t>
            </a:fld>
            <a:endParaRPr lang="en-US"/>
          </a:p>
        </p:txBody>
      </p:sp>
      <p:sp>
        <p:nvSpPr>
          <p:cNvPr id="5" name="Footer Placeholder 4">
            <a:extLst>
              <a:ext uri="{FF2B5EF4-FFF2-40B4-BE49-F238E27FC236}">
                <a16:creationId xmlns:a16="http://schemas.microsoft.com/office/drawing/2014/main" id="{87A964D8-F06F-6DBA-77C8-1A3DC35A6655}"/>
              </a:ext>
            </a:extLst>
          </p:cNvPr>
          <p:cNvSpPr txBox="1">
            <a:spLocks noGrp="1"/>
          </p:cNvSpPr>
          <p:nvPr>
            <p:ph type="ftr" sz="quarter" idx="9"/>
          </p:nvPr>
        </p:nvSpPr>
        <p:spPr/>
        <p:txBody>
          <a:bodyPr anchorCtr="1"/>
          <a:lstStyle>
            <a:lvl1pPr algn="ctr">
              <a:defRPr/>
            </a:lvl1pPr>
          </a:lstStyle>
          <a:p>
            <a:pPr lvl="0"/>
            <a:endParaRPr lang="en-US"/>
          </a:p>
        </p:txBody>
      </p:sp>
      <p:sp>
        <p:nvSpPr>
          <p:cNvPr id="6" name="Slide Number Placeholder 5">
            <a:extLst>
              <a:ext uri="{FF2B5EF4-FFF2-40B4-BE49-F238E27FC236}">
                <a16:creationId xmlns:a16="http://schemas.microsoft.com/office/drawing/2014/main" id="{CBAF0530-4A84-8A51-9834-DE4D2B91394C}"/>
              </a:ext>
            </a:extLst>
          </p:cNvPr>
          <p:cNvSpPr txBox="1">
            <a:spLocks noGrp="1"/>
          </p:cNvSpPr>
          <p:nvPr>
            <p:ph type="sldNum" sz="quarter" idx="8"/>
          </p:nvPr>
        </p:nvSpPr>
        <p:spPr/>
        <p:txBody>
          <a:bodyPr/>
          <a:lstStyle>
            <a:lvl1pPr>
              <a:defRPr/>
            </a:lvl1pPr>
          </a:lstStyle>
          <a:p>
            <a:pPr lvl="0"/>
            <a:fld id="{B2FEBE38-1DEE-43B2-B6AA-39AB0BB7DB9A}" type="slidenum">
              <a:t>‹#›</a:t>
            </a:fld>
            <a:endParaRPr lang="en-US"/>
          </a:p>
        </p:txBody>
      </p:sp>
      <p:sp>
        <p:nvSpPr>
          <p:cNvPr id="7" name="Rectangle 12">
            <a:extLst>
              <a:ext uri="{FF2B5EF4-FFF2-40B4-BE49-F238E27FC236}">
                <a16:creationId xmlns:a16="http://schemas.microsoft.com/office/drawing/2014/main" id="{B348442F-262A-B675-E62A-ED54F59B1CB0}"/>
              </a:ext>
            </a:extLst>
          </p:cNvPr>
          <p:cNvSpPr/>
          <p:nvPr/>
        </p:nvSpPr>
        <p:spPr>
          <a:xfrm rot="10799991">
            <a:off x="-19" y="2000233"/>
            <a:ext cx="2785070" cy="2042851"/>
          </a:xfrm>
          <a:custGeom>
            <a:avLst/>
            <a:gdLst>
              <a:gd name="f0" fmla="val 10800000"/>
              <a:gd name="f1" fmla="val 5400000"/>
              <a:gd name="f2" fmla="val 180"/>
              <a:gd name="f3" fmla="val w"/>
              <a:gd name="f4" fmla="val h"/>
              <a:gd name="f5" fmla="val 0"/>
              <a:gd name="f6" fmla="val 10293751"/>
              <a:gd name="f7" fmla="val 1031873"/>
              <a:gd name="f8" fmla="val 3579068"/>
              <a:gd name="f9" fmla="val 1"/>
              <a:gd name="f10" fmla="val 1031872"/>
              <a:gd name="f11" fmla="+- 0 0 -90"/>
              <a:gd name="f12" fmla="*/ f3 1 10293751"/>
              <a:gd name="f13" fmla="*/ f4 1 1031873"/>
              <a:gd name="f14" fmla="+- f7 0 f5"/>
              <a:gd name="f15" fmla="+- f6 0 f5"/>
              <a:gd name="f16" fmla="*/ f11 f0 1"/>
              <a:gd name="f17" fmla="*/ f15 1 10293751"/>
              <a:gd name="f18" fmla="*/ f14 1 1031873"/>
              <a:gd name="f19" fmla="*/ 10293751 f15 1"/>
              <a:gd name="f20" fmla="*/ 0 f15 1"/>
              <a:gd name="f21" fmla="*/ 0 f14 1"/>
              <a:gd name="f22" fmla="*/ 1 f14 1"/>
              <a:gd name="f23" fmla="*/ 1031873 f14 1"/>
              <a:gd name="f24" fmla="*/ 1031872 f14 1"/>
              <a:gd name="f25" fmla="*/ 3579068 f15 1"/>
              <a:gd name="f26" fmla="*/ f16 1 f2"/>
              <a:gd name="f27" fmla="*/ f19 1 10293751"/>
              <a:gd name="f28" fmla="*/ f20 1 10293751"/>
              <a:gd name="f29" fmla="*/ f21 1 1031873"/>
              <a:gd name="f30" fmla="*/ f22 1 1031873"/>
              <a:gd name="f31" fmla="*/ f23 1 1031873"/>
              <a:gd name="f32" fmla="*/ f24 1 1031873"/>
              <a:gd name="f33" fmla="*/ f25 1 10293751"/>
              <a:gd name="f34" fmla="*/ f5 1 f17"/>
              <a:gd name="f35" fmla="*/ f6 1 f17"/>
              <a:gd name="f36" fmla="*/ f5 1 f18"/>
              <a:gd name="f37" fmla="*/ f7 1 f18"/>
              <a:gd name="f38" fmla="+- f26 0 f1"/>
              <a:gd name="f39" fmla="*/ f33 1 f17"/>
              <a:gd name="f40" fmla="*/ f29 1 f18"/>
              <a:gd name="f41" fmla="*/ f27 1 f17"/>
              <a:gd name="f42" fmla="*/ f30 1 f18"/>
              <a:gd name="f43" fmla="*/ f31 1 f18"/>
              <a:gd name="f44" fmla="*/ f28 1 f17"/>
              <a:gd name="f45" fmla="*/ f32 1 f18"/>
              <a:gd name="f46" fmla="*/ f34 f12 1"/>
              <a:gd name="f47" fmla="*/ f35 f12 1"/>
              <a:gd name="f48" fmla="*/ f37 f13 1"/>
              <a:gd name="f49" fmla="*/ f36 f13 1"/>
              <a:gd name="f50" fmla="*/ f39 f12 1"/>
              <a:gd name="f51" fmla="*/ f40 f13 1"/>
              <a:gd name="f52" fmla="*/ f41 f12 1"/>
              <a:gd name="f53" fmla="*/ f42 f13 1"/>
              <a:gd name="f54" fmla="*/ f43 f13 1"/>
              <a:gd name="f55" fmla="*/ f44 f12 1"/>
              <a:gd name="f56" fmla="*/ f45 f13 1"/>
            </a:gdLst>
            <a:ahLst/>
            <a:cxnLst>
              <a:cxn ang="3cd4">
                <a:pos x="hc" y="t"/>
              </a:cxn>
              <a:cxn ang="0">
                <a:pos x="r" y="vc"/>
              </a:cxn>
              <a:cxn ang="cd4">
                <a:pos x="hc" y="b"/>
              </a:cxn>
              <a:cxn ang="cd2">
                <a:pos x="l" y="vc"/>
              </a:cxn>
              <a:cxn ang="f38">
                <a:pos x="f50" y="f51"/>
              </a:cxn>
              <a:cxn ang="f38">
                <a:pos x="f52" y="f53"/>
              </a:cxn>
              <a:cxn ang="f38">
                <a:pos x="f52" y="f54"/>
              </a:cxn>
              <a:cxn ang="f38">
                <a:pos x="f55" y="f56"/>
              </a:cxn>
              <a:cxn ang="f38">
                <a:pos x="f50" y="f51"/>
              </a:cxn>
            </a:cxnLst>
            <a:rect l="f46" t="f49" r="f47" b="f48"/>
            <a:pathLst>
              <a:path w="10293751" h="1031873">
                <a:moveTo>
                  <a:pt x="f8" y="f5"/>
                </a:moveTo>
                <a:lnTo>
                  <a:pt x="f6" y="f9"/>
                </a:lnTo>
                <a:lnTo>
                  <a:pt x="f6" y="f7"/>
                </a:lnTo>
                <a:lnTo>
                  <a:pt x="f5" y="f10"/>
                </a:lnTo>
                <a:lnTo>
                  <a:pt x="f8" y="f5"/>
                </a:lnTo>
                <a:close/>
              </a:path>
            </a:pathLst>
          </a:cu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8" name="Rectangle 8">
            <a:extLst>
              <a:ext uri="{FF2B5EF4-FFF2-40B4-BE49-F238E27FC236}">
                <a16:creationId xmlns:a16="http://schemas.microsoft.com/office/drawing/2014/main" id="{F2FF799F-EA31-DC24-5BD7-7EC47649577E}"/>
              </a:ext>
            </a:extLst>
          </p:cNvPr>
          <p:cNvSpPr/>
          <p:nvPr/>
        </p:nvSpPr>
        <p:spPr>
          <a:xfrm>
            <a:off x="0" y="6115050"/>
            <a:ext cx="12191996" cy="742950"/>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9" name="Text Placeholder 11">
            <a:extLst>
              <a:ext uri="{FF2B5EF4-FFF2-40B4-BE49-F238E27FC236}">
                <a16:creationId xmlns:a16="http://schemas.microsoft.com/office/drawing/2014/main" id="{86CF0A4D-4F4B-3E66-59BB-AE1CE2F68E6A}"/>
              </a:ext>
            </a:extLst>
          </p:cNvPr>
          <p:cNvSpPr txBox="1">
            <a:spLocks noGrp="1"/>
          </p:cNvSpPr>
          <p:nvPr>
            <p:ph type="body" idx="4294967295"/>
          </p:nvPr>
        </p:nvSpPr>
        <p:spPr>
          <a:xfrm>
            <a:off x="2826557" y="3447397"/>
            <a:ext cx="8178613" cy="713314"/>
          </a:xfrm>
        </p:spPr>
        <p:txBody>
          <a:bodyPr/>
          <a:lstStyle>
            <a:lvl1pPr marL="0" indent="0">
              <a:buNone/>
              <a:defRPr sz="3200">
                <a:solidFill>
                  <a:srgbClr val="00314C"/>
                </a:solidFill>
                <a:latin typeface="Verdana"/>
                <a:ea typeface="Verdana"/>
                <a:cs typeface="Verdana"/>
              </a:defRPr>
            </a:lvl1pPr>
          </a:lstStyle>
          <a:p>
            <a:pPr lvl="0"/>
            <a:r>
              <a:rPr lang="en-US"/>
              <a:t>Subtitle (24)</a:t>
            </a:r>
          </a:p>
        </p:txBody>
      </p:sp>
      <p:pic>
        <p:nvPicPr>
          <p:cNvPr id="10" name="Picture 12">
            <a:extLst>
              <a:ext uri="{FF2B5EF4-FFF2-40B4-BE49-F238E27FC236}">
                <a16:creationId xmlns:a16="http://schemas.microsoft.com/office/drawing/2014/main" id="{F58F0873-25B5-3ED2-6E2F-C2369A4346B2}"/>
              </a:ext>
            </a:extLst>
          </p:cNvPr>
          <p:cNvPicPr>
            <a:picLocks noChangeAspect="1"/>
          </p:cNvPicPr>
          <p:nvPr/>
        </p:nvPicPr>
        <p:blipFill>
          <a:blip r:embed="rId2"/>
          <a:srcRect/>
          <a:stretch>
            <a:fillRect/>
          </a:stretch>
        </p:blipFill>
        <p:spPr>
          <a:xfrm>
            <a:off x="2829831" y="4178333"/>
            <a:ext cx="4395959" cy="1140165"/>
          </a:xfrm>
          <a:prstGeom prst="rect">
            <a:avLst/>
          </a:prstGeom>
          <a:noFill/>
          <a:ln cap="flat">
            <a:noFill/>
          </a:ln>
        </p:spPr>
      </p:pic>
    </p:spTree>
    <p:extLst>
      <p:ext uri="{BB962C8B-B14F-4D97-AF65-F5344CB8AC3E}">
        <p14:creationId xmlns:p14="http://schemas.microsoft.com/office/powerpoint/2010/main" val="1281012998"/>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showMasterSp="0" preserve="1">
  <p:cSld name="10_Title Slide">
    <p:spTree>
      <p:nvGrpSpPr>
        <p:cNvPr id="1" name=""/>
        <p:cNvGrpSpPr/>
        <p:nvPr/>
      </p:nvGrpSpPr>
      <p:grpSpPr>
        <a:xfrm>
          <a:off x="0" y="0"/>
          <a:ext cx="0" cy="0"/>
          <a:chOff x="0" y="0"/>
          <a:chExt cx="0" cy="0"/>
        </a:xfrm>
      </p:grpSpPr>
      <p:graphicFrame>
        <p:nvGraphicFramePr>
          <p:cNvPr id="2" name="Object 7" hidden="1">
            <a:extLst>
              <a:ext uri="{FF2B5EF4-FFF2-40B4-BE49-F238E27FC236}">
                <a16:creationId xmlns:a16="http://schemas.microsoft.com/office/drawing/2014/main" id="{C188097A-E63B-B664-1EC5-FC135A1E8DAA}"/>
              </a:ext>
            </a:extLst>
          </p:cNvPr>
          <p:cNvGraphicFramePr/>
          <p:nvPr/>
        </p:nvGraphicFramePr>
        <p:xfrm>
          <a:off x="2121" y="2121"/>
          <a:ext cx="2112" cy="2112"/>
        </p:xfrm>
        <a:graphic>
          <a:graphicData uri="http://schemas.openxmlformats.org/presentationml/2006/ole">
            <mc:AlternateContent xmlns:mc="http://schemas.openxmlformats.org/markup-compatibility/2006">
              <mc:Choice xmlns:v="urn:schemas-microsoft-com:vml" Requires="v">
                <p:oleObj r:id="rId2" imgW="12700" imgH="12700" progId="">
                  <p:embed/>
                </p:oleObj>
              </mc:Choice>
              <mc:Fallback>
                <p:oleObj r:id="rId2" imgW="12700" imgH="12700" progId="">
                  <p:embed/>
                  <p:pic>
                    <p:nvPicPr>
                      <p:cNvPr id="2" name="Object 7" hidden="1">
                        <a:extLst>
                          <a:ext uri="{FF2B5EF4-FFF2-40B4-BE49-F238E27FC236}">
                            <a16:creationId xmlns:a16="http://schemas.microsoft.com/office/drawing/2014/main" id="{C188097A-E63B-B664-1EC5-FC135A1E8DAA}"/>
                          </a:ext>
                        </a:extLst>
                      </p:cNvPr>
                      <p:cNvPicPr/>
                      <p:nvPr/>
                    </p:nvPicPr>
                    <p:blipFill>
                      <a:blip r:embed="rId3"/>
                      <a:stretch>
                        <a:fillRect/>
                      </a:stretch>
                    </p:blipFill>
                    <p:spPr>
                      <a:xfrm>
                        <a:off x="2121" y="2121"/>
                        <a:ext cx="2112" cy="2112"/>
                      </a:xfrm>
                      <a:prstGeom prst="rect">
                        <a:avLst/>
                      </a:prstGeom>
                    </p:spPr>
                  </p:pic>
                </p:oleObj>
              </mc:Fallback>
            </mc:AlternateContent>
          </a:graphicData>
        </a:graphic>
      </p:graphicFrame>
      <p:sp>
        <p:nvSpPr>
          <p:cNvPr id="3" name="Rectangle 6">
            <a:extLst>
              <a:ext uri="{FF2B5EF4-FFF2-40B4-BE49-F238E27FC236}">
                <a16:creationId xmlns:a16="http://schemas.microsoft.com/office/drawing/2014/main" id="{A177F6A7-DB23-78D1-32EC-0121F1201D13}"/>
              </a:ext>
            </a:extLst>
          </p:cNvPr>
          <p:cNvSpPr/>
          <p:nvPr/>
        </p:nvSpPr>
        <p:spPr>
          <a:xfrm>
            <a:off x="-21168" y="6629400"/>
            <a:ext cx="12213165" cy="228600"/>
          </a:xfrm>
          <a:prstGeom prst="rect">
            <a:avLst/>
          </a:prstGeom>
          <a:solidFill>
            <a:srgbClr val="767676"/>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pic>
        <p:nvPicPr>
          <p:cNvPr id="4" name="Picture 13">
            <a:extLst>
              <a:ext uri="{FF2B5EF4-FFF2-40B4-BE49-F238E27FC236}">
                <a16:creationId xmlns:a16="http://schemas.microsoft.com/office/drawing/2014/main" id="{B40BBC2E-A1DD-3754-B984-C91780FBF019}"/>
              </a:ext>
            </a:extLst>
          </p:cNvPr>
          <p:cNvPicPr>
            <a:picLocks noChangeAspect="1"/>
          </p:cNvPicPr>
          <p:nvPr/>
        </p:nvPicPr>
        <p:blipFill>
          <a:blip r:embed="rId4"/>
          <a:srcRect/>
          <a:stretch>
            <a:fillRect/>
          </a:stretch>
        </p:blipFill>
        <p:spPr>
          <a:xfrm>
            <a:off x="7945972" y="408517"/>
            <a:ext cx="3706282" cy="1813986"/>
          </a:xfrm>
          <a:prstGeom prst="rect">
            <a:avLst/>
          </a:prstGeom>
          <a:noFill/>
          <a:ln cap="flat">
            <a:noFill/>
          </a:ln>
        </p:spPr>
      </p:pic>
      <p:grpSp>
        <p:nvGrpSpPr>
          <p:cNvPr id="5" name="Group 11">
            <a:extLst>
              <a:ext uri="{FF2B5EF4-FFF2-40B4-BE49-F238E27FC236}">
                <a16:creationId xmlns:a16="http://schemas.microsoft.com/office/drawing/2014/main" id="{072B8110-3615-92E3-E5AC-0495E6F0214E}"/>
              </a:ext>
            </a:extLst>
          </p:cNvPr>
          <p:cNvGrpSpPr/>
          <p:nvPr/>
        </p:nvGrpSpPr>
        <p:grpSpPr>
          <a:xfrm>
            <a:off x="1" y="0"/>
            <a:ext cx="1862669" cy="6629400"/>
            <a:chOff x="0" y="0"/>
            <a:chExt cx="1862669" cy="6629400"/>
          </a:xfrm>
        </p:grpSpPr>
        <p:sp>
          <p:nvSpPr>
            <p:cNvPr id="6" name="Rectangle 9">
              <a:extLst>
                <a:ext uri="{FF2B5EF4-FFF2-40B4-BE49-F238E27FC236}">
                  <a16:creationId xmlns:a16="http://schemas.microsoft.com/office/drawing/2014/main" id="{CC1B70E4-CF6D-EC71-5DFE-D63DD7DFD63E}"/>
                </a:ext>
              </a:extLst>
            </p:cNvPr>
            <p:cNvSpPr/>
            <p:nvPr/>
          </p:nvSpPr>
          <p:spPr>
            <a:xfrm>
              <a:off x="0" y="0"/>
              <a:ext cx="1782229" cy="6629400"/>
            </a:xfrm>
            <a:prstGeom prst="rect">
              <a:avLst/>
            </a:prstGeom>
            <a:solidFill>
              <a:srgbClr val="800000"/>
            </a:solidFill>
            <a:ln cap="flat">
              <a:noFill/>
              <a:prstDash val="solid"/>
            </a:ln>
          </p:spPr>
          <p:txBody>
            <a:bodyPr vert="horz" wrap="square" lIns="91440" tIns="45720" rIns="91440" bIns="45720" anchor="t" anchorCtr="0" compatLnSpc="1">
              <a:noAutofit/>
            </a:bodyPr>
            <a:lstStyle/>
            <a:p>
              <a:pPr marL="0" marR="0" lvl="0" indent="0" algn="l"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pic>
          <p:nvPicPr>
            <p:cNvPr id="7" name="Picture 7">
              <a:extLst>
                <a:ext uri="{FF2B5EF4-FFF2-40B4-BE49-F238E27FC236}">
                  <a16:creationId xmlns:a16="http://schemas.microsoft.com/office/drawing/2014/main" id="{68516BFA-F316-6675-B853-95A08DD2DC45}"/>
                </a:ext>
              </a:extLst>
            </p:cNvPr>
            <p:cNvPicPr>
              <a:picLocks noChangeAspect="1"/>
            </p:cNvPicPr>
            <p:nvPr/>
          </p:nvPicPr>
          <p:blipFill>
            <a:blip r:embed="rId5"/>
            <a:srcRect l="7219" t="16937" r="72250" b="20589"/>
            <a:stretch>
              <a:fillRect/>
            </a:stretch>
          </p:blipFill>
          <p:spPr>
            <a:xfrm>
              <a:off x="0" y="0"/>
              <a:ext cx="1862669" cy="6629400"/>
            </a:xfrm>
            <a:prstGeom prst="rect">
              <a:avLst/>
            </a:prstGeom>
            <a:solidFill>
              <a:srgbClr val="79818A"/>
            </a:solidFill>
            <a:ln cap="flat">
              <a:noFill/>
            </a:ln>
          </p:spPr>
        </p:pic>
      </p:grpSp>
      <p:sp>
        <p:nvSpPr>
          <p:cNvPr id="8" name="Subtitle 2">
            <a:extLst>
              <a:ext uri="{FF2B5EF4-FFF2-40B4-BE49-F238E27FC236}">
                <a16:creationId xmlns:a16="http://schemas.microsoft.com/office/drawing/2014/main" id="{FE3C6ADE-809E-F13F-BF75-45E48B7038EA}"/>
              </a:ext>
            </a:extLst>
          </p:cNvPr>
          <p:cNvSpPr txBox="1">
            <a:spLocks noGrp="1"/>
          </p:cNvSpPr>
          <p:nvPr>
            <p:ph type="subTitle" idx="4294967295"/>
          </p:nvPr>
        </p:nvSpPr>
        <p:spPr>
          <a:xfrm>
            <a:off x="3147492" y="4195760"/>
            <a:ext cx="5488512" cy="365760"/>
          </a:xfrm>
        </p:spPr>
        <p:txBody>
          <a:bodyPr/>
          <a:lstStyle>
            <a:lvl1pPr>
              <a:defRPr sz="1867"/>
            </a:lvl1pPr>
          </a:lstStyle>
          <a:p>
            <a:pPr lvl="0"/>
            <a:r>
              <a:rPr lang="en-US"/>
              <a:t>Click to edit Master subtitle style</a:t>
            </a:r>
          </a:p>
        </p:txBody>
      </p:sp>
      <p:sp>
        <p:nvSpPr>
          <p:cNvPr id="9" name="Title 1">
            <a:extLst>
              <a:ext uri="{FF2B5EF4-FFF2-40B4-BE49-F238E27FC236}">
                <a16:creationId xmlns:a16="http://schemas.microsoft.com/office/drawing/2014/main" id="{CDC053FC-7CEC-4747-1634-CDD5ADD58DEE}"/>
              </a:ext>
            </a:extLst>
          </p:cNvPr>
          <p:cNvSpPr txBox="1">
            <a:spLocks noGrp="1"/>
          </p:cNvSpPr>
          <p:nvPr>
            <p:ph type="title"/>
          </p:nvPr>
        </p:nvSpPr>
        <p:spPr>
          <a:xfrm>
            <a:off x="1621872" y="1806425"/>
            <a:ext cx="10189826" cy="2278209"/>
          </a:xfrm>
        </p:spPr>
        <p:txBody>
          <a:bodyPr anchor="b"/>
          <a:lstStyle>
            <a:lvl1pPr>
              <a:defRPr sz="5334">
                <a:solidFill>
                  <a:srgbClr val="79818A"/>
                </a:solidFill>
              </a:defRPr>
            </a:lvl1pPr>
          </a:lstStyle>
          <a:p>
            <a:pPr lvl="0"/>
            <a:r>
              <a:rPr lang="en-US"/>
              <a:t>Click to edit Master title style</a:t>
            </a:r>
          </a:p>
        </p:txBody>
      </p:sp>
      <p:sp>
        <p:nvSpPr>
          <p:cNvPr id="10" name="Text Placeholder 3">
            <a:extLst>
              <a:ext uri="{FF2B5EF4-FFF2-40B4-BE49-F238E27FC236}">
                <a16:creationId xmlns:a16="http://schemas.microsoft.com/office/drawing/2014/main" id="{6969ABE8-06C8-FEDC-11EB-8047DF2F9923}"/>
              </a:ext>
            </a:extLst>
          </p:cNvPr>
          <p:cNvSpPr txBox="1">
            <a:spLocks noGrp="1"/>
          </p:cNvSpPr>
          <p:nvPr>
            <p:ph type="body" idx="4294967295"/>
          </p:nvPr>
        </p:nvSpPr>
        <p:spPr>
          <a:xfrm>
            <a:off x="3147483" y="4600575"/>
            <a:ext cx="5486400" cy="365760"/>
          </a:xfrm>
        </p:spPr>
        <p:txBody>
          <a:bodyPr/>
          <a:lstStyle>
            <a:lvl1pPr>
              <a:defRPr sz="1867"/>
            </a:lvl1pPr>
          </a:lstStyle>
          <a:p>
            <a:pPr lvl="0"/>
            <a:r>
              <a:rPr lang="en-US"/>
              <a:t>Edit Master text styles</a:t>
            </a:r>
          </a:p>
        </p:txBody>
      </p:sp>
      <p:sp>
        <p:nvSpPr>
          <p:cNvPr id="11" name="Text Placeholder 4">
            <a:extLst>
              <a:ext uri="{FF2B5EF4-FFF2-40B4-BE49-F238E27FC236}">
                <a16:creationId xmlns:a16="http://schemas.microsoft.com/office/drawing/2014/main" id="{D85E4A20-BD5D-AE72-0718-761E72925FDD}"/>
              </a:ext>
            </a:extLst>
          </p:cNvPr>
          <p:cNvSpPr txBox="1">
            <a:spLocks noGrp="1"/>
          </p:cNvSpPr>
          <p:nvPr>
            <p:ph type="body" idx="4294967295"/>
          </p:nvPr>
        </p:nvSpPr>
        <p:spPr>
          <a:xfrm>
            <a:off x="3147483" y="5005389"/>
            <a:ext cx="5486400" cy="365760"/>
          </a:xfr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049506748"/>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showMasterSp="0" preserve="1">
  <p:cSld name="6_Table of Content">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02926A6A-739B-A7DB-7834-D9F355F4E334}"/>
              </a:ext>
            </a:extLst>
          </p:cNvPr>
          <p:cNvGraphicFramePr/>
          <p:nvPr/>
        </p:nvGraphicFramePr>
        <p:xfrm>
          <a:off x="2121" y="2121"/>
          <a:ext cx="2112" cy="2112"/>
        </p:xfrm>
        <a:graphic>
          <a:graphicData uri="http://schemas.openxmlformats.org/presentationml/2006/ole">
            <mc:AlternateContent xmlns:mc="http://schemas.openxmlformats.org/markup-compatibility/2006">
              <mc:Choice xmlns:v="urn:schemas-microsoft-com:vml" Requires="v">
                <p:oleObj r:id="rId2" imgW="12700" imgH="12700" progId="">
                  <p:embed/>
                </p:oleObj>
              </mc:Choice>
              <mc:Fallback>
                <p:oleObj r:id="rId2" imgW="12700" imgH="12700" progId="">
                  <p:embed/>
                  <p:pic>
                    <p:nvPicPr>
                      <p:cNvPr id="2" name="Object 2" hidden="1">
                        <a:extLst>
                          <a:ext uri="{FF2B5EF4-FFF2-40B4-BE49-F238E27FC236}">
                            <a16:creationId xmlns:a16="http://schemas.microsoft.com/office/drawing/2014/main" id="{02926A6A-739B-A7DB-7834-D9F355F4E334}"/>
                          </a:ext>
                        </a:extLst>
                      </p:cNvPr>
                      <p:cNvPicPr/>
                      <p:nvPr/>
                    </p:nvPicPr>
                    <p:blipFill>
                      <a:blip r:embed="rId3"/>
                      <a:stretch>
                        <a:fillRect/>
                      </a:stretch>
                    </p:blipFill>
                    <p:spPr>
                      <a:xfrm>
                        <a:off x="2121" y="2121"/>
                        <a:ext cx="2112" cy="2112"/>
                      </a:xfrm>
                      <a:prstGeom prst="rect">
                        <a:avLst/>
                      </a:prstGeom>
                    </p:spPr>
                  </p:pic>
                </p:oleObj>
              </mc:Fallback>
            </mc:AlternateContent>
          </a:graphicData>
        </a:graphic>
      </p:graphicFrame>
      <p:sp>
        <p:nvSpPr>
          <p:cNvPr id="3" name="Rectangle 7">
            <a:extLst>
              <a:ext uri="{FF2B5EF4-FFF2-40B4-BE49-F238E27FC236}">
                <a16:creationId xmlns:a16="http://schemas.microsoft.com/office/drawing/2014/main" id="{C14EBA41-7383-53D7-714F-B97E7F43B368}"/>
              </a:ext>
            </a:extLst>
          </p:cNvPr>
          <p:cNvSpPr/>
          <p:nvPr/>
        </p:nvSpPr>
        <p:spPr>
          <a:xfrm>
            <a:off x="-10579" y="6620933"/>
            <a:ext cx="12213165" cy="237067"/>
          </a:xfrm>
          <a:prstGeom prst="rect">
            <a:avLst/>
          </a:prstGeom>
          <a:solidFill>
            <a:srgbClr val="767676"/>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graphicFrame>
        <p:nvGraphicFramePr>
          <p:cNvPr id="4" name="Object 7" hidden="1">
            <a:extLst>
              <a:ext uri="{FF2B5EF4-FFF2-40B4-BE49-F238E27FC236}">
                <a16:creationId xmlns:a16="http://schemas.microsoft.com/office/drawing/2014/main" id="{714D3383-D727-084C-52B8-27F6CE711183}"/>
              </a:ext>
            </a:extLst>
          </p:cNvPr>
          <p:cNvGraphicFramePr/>
          <p:nvPr/>
        </p:nvGraphicFramePr>
        <p:xfrm>
          <a:off x="2121" y="2121"/>
          <a:ext cx="2112" cy="2112"/>
        </p:xfrm>
        <a:graphic>
          <a:graphicData uri="http://schemas.openxmlformats.org/presentationml/2006/ole">
            <mc:AlternateContent xmlns:mc="http://schemas.openxmlformats.org/markup-compatibility/2006">
              <mc:Choice xmlns:v="urn:schemas-microsoft-com:vml" Requires="v">
                <p:oleObj r:id="rId4" imgW="12700" imgH="12700" progId="">
                  <p:embed/>
                </p:oleObj>
              </mc:Choice>
              <mc:Fallback>
                <p:oleObj r:id="rId4" imgW="12700" imgH="12700" progId="">
                  <p:embed/>
                  <p:pic>
                    <p:nvPicPr>
                      <p:cNvPr id="4" name="Object 7" hidden="1">
                        <a:extLst>
                          <a:ext uri="{FF2B5EF4-FFF2-40B4-BE49-F238E27FC236}">
                            <a16:creationId xmlns:a16="http://schemas.microsoft.com/office/drawing/2014/main" id="{714D3383-D727-084C-52B8-27F6CE711183}"/>
                          </a:ext>
                        </a:extLst>
                      </p:cNvPr>
                      <p:cNvPicPr/>
                      <p:nvPr/>
                    </p:nvPicPr>
                    <p:blipFill>
                      <a:blip r:embed="rId3"/>
                      <a:stretch>
                        <a:fillRect/>
                      </a:stretch>
                    </p:blipFill>
                    <p:spPr>
                      <a:xfrm>
                        <a:off x="2121" y="2121"/>
                        <a:ext cx="2112" cy="2112"/>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AC55DFB7-4420-56F3-C5E5-8564C6480B4A}"/>
              </a:ext>
            </a:extLst>
          </p:cNvPr>
          <p:cNvSpPr txBox="1">
            <a:spLocks noGrp="1"/>
          </p:cNvSpPr>
          <p:nvPr>
            <p:ph type="title"/>
          </p:nvPr>
        </p:nvSpPr>
        <p:spPr>
          <a:xfrm>
            <a:off x="218112" y="224842"/>
            <a:ext cx="11715722" cy="569323"/>
          </a:xfrm>
        </p:spPr>
        <p:txBody>
          <a:bodyPr/>
          <a:lstStyle>
            <a:lvl1pPr>
              <a:defRPr sz="2933">
                <a:solidFill>
                  <a:srgbClr val="79818A"/>
                </a:solidFill>
              </a:defRPr>
            </a:lvl1pPr>
          </a:lstStyle>
          <a:p>
            <a:pPr lvl="0"/>
            <a:r>
              <a:rPr lang="en-US"/>
              <a:t>Click to edit Master title style</a:t>
            </a:r>
          </a:p>
        </p:txBody>
      </p:sp>
      <p:sp>
        <p:nvSpPr>
          <p:cNvPr id="6" name="Content Placeholder 2">
            <a:extLst>
              <a:ext uri="{FF2B5EF4-FFF2-40B4-BE49-F238E27FC236}">
                <a16:creationId xmlns:a16="http://schemas.microsoft.com/office/drawing/2014/main" id="{51F3D4BB-DAF2-AB25-1DB5-226C50357A21}"/>
              </a:ext>
            </a:extLst>
          </p:cNvPr>
          <p:cNvSpPr txBox="1">
            <a:spLocks noGrp="1"/>
          </p:cNvSpPr>
          <p:nvPr>
            <p:ph idx="4294967295"/>
          </p:nvPr>
        </p:nvSpPr>
        <p:spPr>
          <a:xfrm>
            <a:off x="218112" y="917198"/>
            <a:ext cx="11715722" cy="4958672"/>
          </a:xfrm>
        </p:spPr>
        <p:txBody>
          <a:bodyPr/>
          <a:lstStyle>
            <a:lvl1pPr marL="381012" indent="-381012">
              <a:buFont typeface="Wingdings" pitchFamily="2"/>
              <a:buChar char="§"/>
              <a:defRPr sz="1867" b="1"/>
            </a:lvl1pPr>
            <a:lvl2pPr marL="609614" indent="-296344">
              <a:buChar char="̶"/>
              <a:defRPr sz="1867"/>
            </a:lvl2pPr>
            <a:lvl3pPr marL="922885" indent="-313271">
              <a:defRPr sz="1867"/>
            </a:lvl3pPr>
            <a:lvl4pPr marL="1219230" indent="-296344">
              <a:buFont typeface="Wingdings" pitchFamily="2"/>
              <a:buChar char="ü"/>
              <a:defRPr sz="1867"/>
            </a:lvl4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3A68A679-20EB-9CD4-9A8F-B62620E4DBFE}"/>
              </a:ext>
            </a:extLst>
          </p:cNvPr>
          <p:cNvSpPr txBox="1">
            <a:spLocks noGrp="1"/>
          </p:cNvSpPr>
          <p:nvPr>
            <p:ph type="body" idx="4294967295"/>
          </p:nvPr>
        </p:nvSpPr>
        <p:spPr>
          <a:xfrm>
            <a:off x="3858933" y="5969002"/>
            <a:ext cx="8074901" cy="649818"/>
          </a:xfrm>
        </p:spPr>
        <p:txBody>
          <a:bodyPr anchor="b"/>
          <a:lstStyle>
            <a:lvl1pPr>
              <a:defRPr sz="1333"/>
            </a:lvl1pPr>
          </a:lstStyle>
          <a:p>
            <a:pPr lvl="0"/>
            <a:r>
              <a:rPr lang="en-US"/>
              <a:t>Edit Master text styles</a:t>
            </a:r>
          </a:p>
        </p:txBody>
      </p:sp>
      <p:sp>
        <p:nvSpPr>
          <p:cNvPr id="8" name="Slide Number Placeholder 3">
            <a:extLst>
              <a:ext uri="{FF2B5EF4-FFF2-40B4-BE49-F238E27FC236}">
                <a16:creationId xmlns:a16="http://schemas.microsoft.com/office/drawing/2014/main" id="{1BFD4CB7-4E00-3D6B-257B-ECCF8DE66129}"/>
              </a:ext>
            </a:extLst>
          </p:cNvPr>
          <p:cNvSpPr txBox="1">
            <a:spLocks noGrp="1"/>
          </p:cNvSpPr>
          <p:nvPr>
            <p:ph type="sldNum" sz="quarter" idx="8"/>
          </p:nvPr>
        </p:nvSpPr>
        <p:spPr/>
        <p:txBody>
          <a:bodyPr/>
          <a:lstStyle>
            <a:lvl1pPr>
              <a:defRPr sz="1467">
                <a:solidFill>
                  <a:srgbClr val="FFFFFF"/>
                </a:solidFill>
              </a:defRPr>
            </a:lvl1pPr>
          </a:lstStyle>
          <a:p>
            <a:pPr lvl="0"/>
            <a:fld id="{95089A01-6062-4766-885C-D2C893BCDAB4}" type="slidenum">
              <a:t>‹#›</a:t>
            </a:fld>
            <a:endParaRPr lang="en-US"/>
          </a:p>
        </p:txBody>
      </p:sp>
      <p:pic>
        <p:nvPicPr>
          <p:cNvPr id="9" name="Picture 3" descr="M:\Marketing Communication and Referral Access\Luis\newbrand\UCM_logo\master\horizontal\UCM_Logo_Master_Brand_Horizontal_Tagline_rgb.jpg">
            <a:extLst>
              <a:ext uri="{FF2B5EF4-FFF2-40B4-BE49-F238E27FC236}">
                <a16:creationId xmlns:a16="http://schemas.microsoft.com/office/drawing/2014/main" id="{6F1E5F5A-D85B-1D39-7761-9887730BDF65}"/>
              </a:ext>
            </a:extLst>
          </p:cNvPr>
          <p:cNvPicPr>
            <a:picLocks noChangeAspect="1"/>
          </p:cNvPicPr>
          <p:nvPr/>
        </p:nvPicPr>
        <p:blipFill>
          <a:blip r:embed="rId5"/>
          <a:srcRect/>
          <a:stretch>
            <a:fillRect/>
          </a:stretch>
        </p:blipFill>
        <p:spPr>
          <a:xfrm>
            <a:off x="101598" y="5969002"/>
            <a:ext cx="3704344" cy="651930"/>
          </a:xfrm>
          <a:prstGeom prst="rect">
            <a:avLst/>
          </a:prstGeom>
          <a:noFill/>
          <a:ln cap="flat">
            <a:noFill/>
          </a:ln>
        </p:spPr>
      </p:pic>
    </p:spTree>
    <p:extLst>
      <p:ext uri="{BB962C8B-B14F-4D97-AF65-F5344CB8AC3E}">
        <p14:creationId xmlns:p14="http://schemas.microsoft.com/office/powerpoint/2010/main" val="3434622093"/>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p:cSld name="37_Title Slide_Yale Blue">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F1E4693B-1D78-31F1-F4EA-C491C52EBDF8}"/>
              </a:ext>
            </a:extLst>
          </p:cNvPr>
          <p:cNvSpPr txBox="1">
            <a:spLocks noGrp="1"/>
          </p:cNvSpPr>
          <p:nvPr>
            <p:ph type="body" idx="4294967295"/>
          </p:nvPr>
        </p:nvSpPr>
        <p:spPr>
          <a:xfrm>
            <a:off x="2826557" y="5400857"/>
            <a:ext cx="8178613" cy="379656"/>
          </a:xfrm>
        </p:spPr>
        <p:txBody>
          <a:bodyPr wrap="square">
            <a:spAutoFit/>
          </a:bodyPr>
          <a:lstStyle>
            <a:lvl1pPr marL="0" indent="0" algn="r">
              <a:buNone/>
              <a:defRPr sz="1867">
                <a:solidFill>
                  <a:srgbClr val="616364"/>
                </a:solidFill>
                <a:latin typeface="Verdana"/>
                <a:ea typeface="Verdana"/>
                <a:cs typeface="Verdana"/>
              </a:defRPr>
            </a:lvl1pPr>
          </a:lstStyle>
          <a:p>
            <a:pPr lvl="0"/>
            <a:r>
              <a:rPr lang="en-US"/>
              <a:t>Date | Presenter Information (14 pt)</a:t>
            </a:r>
          </a:p>
        </p:txBody>
      </p:sp>
      <p:sp>
        <p:nvSpPr>
          <p:cNvPr id="3" name="Title 1">
            <a:extLst>
              <a:ext uri="{FF2B5EF4-FFF2-40B4-BE49-F238E27FC236}">
                <a16:creationId xmlns:a16="http://schemas.microsoft.com/office/drawing/2014/main" id="{C1092F37-DE74-4C12-DE9A-4E95C4D811A9}"/>
              </a:ext>
            </a:extLst>
          </p:cNvPr>
          <p:cNvSpPr txBox="1">
            <a:spLocks noGrp="1"/>
          </p:cNvSpPr>
          <p:nvPr>
            <p:ph type="title"/>
          </p:nvPr>
        </p:nvSpPr>
        <p:spPr>
          <a:xfrm>
            <a:off x="2826557" y="1807156"/>
            <a:ext cx="8178613" cy="1629460"/>
          </a:xfrm>
        </p:spPr>
        <p:txBody>
          <a:bodyPr anchor="b"/>
          <a:lstStyle>
            <a:lvl1pPr>
              <a:defRPr sz="5334">
                <a:solidFill>
                  <a:srgbClr val="00314C"/>
                </a:solidFill>
                <a:latin typeface="Verdana"/>
                <a:ea typeface="Verdana"/>
                <a:cs typeface="Verdana"/>
              </a:defRPr>
            </a:lvl1pPr>
          </a:lstStyle>
          <a:p>
            <a:pPr lvl="0"/>
            <a:r>
              <a:rPr lang="en-US"/>
              <a:t>Presentation Title (40pt)</a:t>
            </a:r>
          </a:p>
        </p:txBody>
      </p:sp>
      <p:sp>
        <p:nvSpPr>
          <p:cNvPr id="4" name="Date Placeholder 3">
            <a:extLst>
              <a:ext uri="{FF2B5EF4-FFF2-40B4-BE49-F238E27FC236}">
                <a16:creationId xmlns:a16="http://schemas.microsoft.com/office/drawing/2014/main" id="{C0F8E523-BC9E-BA06-35E8-E15F75CECC88}"/>
              </a:ext>
            </a:extLst>
          </p:cNvPr>
          <p:cNvSpPr txBox="1">
            <a:spLocks noGrp="1"/>
          </p:cNvSpPr>
          <p:nvPr>
            <p:ph type="dt" sz="quarter" idx="7"/>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914446"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defRPr>
            </a:lvl1pPr>
          </a:lstStyle>
          <a:p>
            <a:pPr lvl="0"/>
            <a:fld id="{526ED253-3009-4D6C-9DE0-28BD7181EE49}" type="datetime1">
              <a:rPr lang="en-US"/>
              <a:pPr lvl="0"/>
              <a:t>5/20/2026</a:t>
            </a:fld>
            <a:endParaRPr lang="en-US"/>
          </a:p>
        </p:txBody>
      </p:sp>
      <p:sp>
        <p:nvSpPr>
          <p:cNvPr id="5" name="Footer Placeholder 4">
            <a:extLst>
              <a:ext uri="{FF2B5EF4-FFF2-40B4-BE49-F238E27FC236}">
                <a16:creationId xmlns:a16="http://schemas.microsoft.com/office/drawing/2014/main" id="{4972E405-F227-4380-D069-C2E1862C08DD}"/>
              </a:ext>
            </a:extLst>
          </p:cNvPr>
          <p:cNvSpPr txBox="1">
            <a:spLocks noGrp="1"/>
          </p:cNvSpPr>
          <p:nvPr>
            <p:ph type="ftr" sz="quarter" idx="9"/>
          </p:nvPr>
        </p:nvSpPr>
        <p:spPr/>
        <p:txBody>
          <a:bodyPr anchorCtr="1"/>
          <a:lstStyle>
            <a:lvl1pPr algn="ctr">
              <a:defRPr/>
            </a:lvl1pPr>
          </a:lstStyle>
          <a:p>
            <a:pPr lvl="0"/>
            <a:endParaRPr lang="en-US"/>
          </a:p>
        </p:txBody>
      </p:sp>
      <p:sp>
        <p:nvSpPr>
          <p:cNvPr id="6" name="Slide Number Placeholder 5">
            <a:extLst>
              <a:ext uri="{FF2B5EF4-FFF2-40B4-BE49-F238E27FC236}">
                <a16:creationId xmlns:a16="http://schemas.microsoft.com/office/drawing/2014/main" id="{3FE11FBB-38D4-4292-DD51-F5DC97E89CF0}"/>
              </a:ext>
            </a:extLst>
          </p:cNvPr>
          <p:cNvSpPr txBox="1">
            <a:spLocks noGrp="1"/>
          </p:cNvSpPr>
          <p:nvPr>
            <p:ph type="sldNum" sz="quarter" idx="8"/>
          </p:nvPr>
        </p:nvSpPr>
        <p:spPr/>
        <p:txBody>
          <a:bodyPr/>
          <a:lstStyle>
            <a:lvl1pPr>
              <a:defRPr/>
            </a:lvl1pPr>
          </a:lstStyle>
          <a:p>
            <a:pPr lvl="0"/>
            <a:fld id="{26B7B3CA-DA5C-47B4-8DCD-CE11AA9D4ED6}" type="slidenum">
              <a:t>‹#›</a:t>
            </a:fld>
            <a:endParaRPr lang="en-US"/>
          </a:p>
        </p:txBody>
      </p:sp>
      <p:sp>
        <p:nvSpPr>
          <p:cNvPr id="7" name="Rectangle 12">
            <a:extLst>
              <a:ext uri="{FF2B5EF4-FFF2-40B4-BE49-F238E27FC236}">
                <a16:creationId xmlns:a16="http://schemas.microsoft.com/office/drawing/2014/main" id="{E229E08E-A7D5-C639-ECCF-3E5FEA61D208}"/>
              </a:ext>
            </a:extLst>
          </p:cNvPr>
          <p:cNvSpPr/>
          <p:nvPr/>
        </p:nvSpPr>
        <p:spPr>
          <a:xfrm rot="10799991">
            <a:off x="-19" y="2000233"/>
            <a:ext cx="2785070" cy="2042851"/>
          </a:xfrm>
          <a:custGeom>
            <a:avLst/>
            <a:gdLst>
              <a:gd name="f0" fmla="val 10800000"/>
              <a:gd name="f1" fmla="val 5400000"/>
              <a:gd name="f2" fmla="val 180"/>
              <a:gd name="f3" fmla="val w"/>
              <a:gd name="f4" fmla="val h"/>
              <a:gd name="f5" fmla="val 0"/>
              <a:gd name="f6" fmla="val 10293751"/>
              <a:gd name="f7" fmla="val 1031873"/>
              <a:gd name="f8" fmla="val 3579068"/>
              <a:gd name="f9" fmla="val 1"/>
              <a:gd name="f10" fmla="val 1031872"/>
              <a:gd name="f11" fmla="+- 0 0 -90"/>
              <a:gd name="f12" fmla="*/ f3 1 10293751"/>
              <a:gd name="f13" fmla="*/ f4 1 1031873"/>
              <a:gd name="f14" fmla="+- f7 0 f5"/>
              <a:gd name="f15" fmla="+- f6 0 f5"/>
              <a:gd name="f16" fmla="*/ f11 f0 1"/>
              <a:gd name="f17" fmla="*/ f15 1 10293751"/>
              <a:gd name="f18" fmla="*/ f14 1 1031873"/>
              <a:gd name="f19" fmla="*/ 10293751 f15 1"/>
              <a:gd name="f20" fmla="*/ 0 f15 1"/>
              <a:gd name="f21" fmla="*/ 0 f14 1"/>
              <a:gd name="f22" fmla="*/ 1 f14 1"/>
              <a:gd name="f23" fmla="*/ 1031873 f14 1"/>
              <a:gd name="f24" fmla="*/ 1031872 f14 1"/>
              <a:gd name="f25" fmla="*/ 3579068 f15 1"/>
              <a:gd name="f26" fmla="*/ f16 1 f2"/>
              <a:gd name="f27" fmla="*/ f19 1 10293751"/>
              <a:gd name="f28" fmla="*/ f20 1 10293751"/>
              <a:gd name="f29" fmla="*/ f21 1 1031873"/>
              <a:gd name="f30" fmla="*/ f22 1 1031873"/>
              <a:gd name="f31" fmla="*/ f23 1 1031873"/>
              <a:gd name="f32" fmla="*/ f24 1 1031873"/>
              <a:gd name="f33" fmla="*/ f25 1 10293751"/>
              <a:gd name="f34" fmla="*/ f5 1 f17"/>
              <a:gd name="f35" fmla="*/ f6 1 f17"/>
              <a:gd name="f36" fmla="*/ f5 1 f18"/>
              <a:gd name="f37" fmla="*/ f7 1 f18"/>
              <a:gd name="f38" fmla="+- f26 0 f1"/>
              <a:gd name="f39" fmla="*/ f33 1 f17"/>
              <a:gd name="f40" fmla="*/ f29 1 f18"/>
              <a:gd name="f41" fmla="*/ f27 1 f17"/>
              <a:gd name="f42" fmla="*/ f30 1 f18"/>
              <a:gd name="f43" fmla="*/ f31 1 f18"/>
              <a:gd name="f44" fmla="*/ f28 1 f17"/>
              <a:gd name="f45" fmla="*/ f32 1 f18"/>
              <a:gd name="f46" fmla="*/ f34 f12 1"/>
              <a:gd name="f47" fmla="*/ f35 f12 1"/>
              <a:gd name="f48" fmla="*/ f37 f13 1"/>
              <a:gd name="f49" fmla="*/ f36 f13 1"/>
              <a:gd name="f50" fmla="*/ f39 f12 1"/>
              <a:gd name="f51" fmla="*/ f40 f13 1"/>
              <a:gd name="f52" fmla="*/ f41 f12 1"/>
              <a:gd name="f53" fmla="*/ f42 f13 1"/>
              <a:gd name="f54" fmla="*/ f43 f13 1"/>
              <a:gd name="f55" fmla="*/ f44 f12 1"/>
              <a:gd name="f56" fmla="*/ f45 f13 1"/>
            </a:gdLst>
            <a:ahLst/>
            <a:cxnLst>
              <a:cxn ang="3cd4">
                <a:pos x="hc" y="t"/>
              </a:cxn>
              <a:cxn ang="0">
                <a:pos x="r" y="vc"/>
              </a:cxn>
              <a:cxn ang="cd4">
                <a:pos x="hc" y="b"/>
              </a:cxn>
              <a:cxn ang="cd2">
                <a:pos x="l" y="vc"/>
              </a:cxn>
              <a:cxn ang="f38">
                <a:pos x="f50" y="f51"/>
              </a:cxn>
              <a:cxn ang="f38">
                <a:pos x="f52" y="f53"/>
              </a:cxn>
              <a:cxn ang="f38">
                <a:pos x="f52" y="f54"/>
              </a:cxn>
              <a:cxn ang="f38">
                <a:pos x="f55" y="f56"/>
              </a:cxn>
              <a:cxn ang="f38">
                <a:pos x="f50" y="f51"/>
              </a:cxn>
            </a:cxnLst>
            <a:rect l="f46" t="f49" r="f47" b="f48"/>
            <a:pathLst>
              <a:path w="10293751" h="1031873">
                <a:moveTo>
                  <a:pt x="f8" y="f5"/>
                </a:moveTo>
                <a:lnTo>
                  <a:pt x="f6" y="f9"/>
                </a:lnTo>
                <a:lnTo>
                  <a:pt x="f6" y="f7"/>
                </a:lnTo>
                <a:lnTo>
                  <a:pt x="f5" y="f10"/>
                </a:lnTo>
                <a:lnTo>
                  <a:pt x="f8" y="f5"/>
                </a:lnTo>
                <a:close/>
              </a:path>
            </a:pathLst>
          </a:cu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8" name="Rectangle 8">
            <a:extLst>
              <a:ext uri="{FF2B5EF4-FFF2-40B4-BE49-F238E27FC236}">
                <a16:creationId xmlns:a16="http://schemas.microsoft.com/office/drawing/2014/main" id="{0F272D25-771C-3DB7-2B74-9564FED14349}"/>
              </a:ext>
            </a:extLst>
          </p:cNvPr>
          <p:cNvSpPr/>
          <p:nvPr/>
        </p:nvSpPr>
        <p:spPr>
          <a:xfrm>
            <a:off x="0" y="6115050"/>
            <a:ext cx="12191996" cy="742950"/>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9" name="Text Placeholder 11">
            <a:extLst>
              <a:ext uri="{FF2B5EF4-FFF2-40B4-BE49-F238E27FC236}">
                <a16:creationId xmlns:a16="http://schemas.microsoft.com/office/drawing/2014/main" id="{56D45812-E144-5BBB-6454-10D982EEBDC5}"/>
              </a:ext>
            </a:extLst>
          </p:cNvPr>
          <p:cNvSpPr txBox="1">
            <a:spLocks noGrp="1"/>
          </p:cNvSpPr>
          <p:nvPr>
            <p:ph type="body" idx="4294967295"/>
          </p:nvPr>
        </p:nvSpPr>
        <p:spPr>
          <a:xfrm>
            <a:off x="2826557" y="3447397"/>
            <a:ext cx="8178613" cy="713314"/>
          </a:xfrm>
        </p:spPr>
        <p:txBody>
          <a:bodyPr/>
          <a:lstStyle>
            <a:lvl1pPr marL="0" indent="0">
              <a:buNone/>
              <a:defRPr sz="3200">
                <a:solidFill>
                  <a:srgbClr val="00314C"/>
                </a:solidFill>
                <a:latin typeface="Verdana"/>
                <a:ea typeface="Verdana"/>
                <a:cs typeface="Verdana"/>
              </a:defRPr>
            </a:lvl1pPr>
          </a:lstStyle>
          <a:p>
            <a:pPr lvl="0"/>
            <a:r>
              <a:rPr lang="en-US"/>
              <a:t>Subtitle (24)</a:t>
            </a:r>
          </a:p>
        </p:txBody>
      </p:sp>
      <p:pic>
        <p:nvPicPr>
          <p:cNvPr id="10" name="Picture 12">
            <a:extLst>
              <a:ext uri="{FF2B5EF4-FFF2-40B4-BE49-F238E27FC236}">
                <a16:creationId xmlns:a16="http://schemas.microsoft.com/office/drawing/2014/main" id="{68B68776-6C44-B0F5-D842-8790BA0A19BD}"/>
              </a:ext>
            </a:extLst>
          </p:cNvPr>
          <p:cNvPicPr>
            <a:picLocks noChangeAspect="1"/>
          </p:cNvPicPr>
          <p:nvPr/>
        </p:nvPicPr>
        <p:blipFill>
          <a:blip r:embed="rId2"/>
          <a:srcRect/>
          <a:stretch>
            <a:fillRect/>
          </a:stretch>
        </p:blipFill>
        <p:spPr>
          <a:xfrm>
            <a:off x="2829840" y="4178333"/>
            <a:ext cx="4395959" cy="1140165"/>
          </a:xfrm>
          <a:prstGeom prst="rect">
            <a:avLst/>
          </a:prstGeom>
          <a:noFill/>
          <a:ln cap="flat">
            <a:noFill/>
          </a:ln>
        </p:spPr>
      </p:pic>
    </p:spTree>
    <p:extLst>
      <p:ext uri="{BB962C8B-B14F-4D97-AF65-F5344CB8AC3E}">
        <p14:creationId xmlns:p14="http://schemas.microsoft.com/office/powerpoint/2010/main" val="1903203642"/>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showMasterSp="0" preserve="1">
  <p:cSld name="7_Table of Content">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42B3FD9A-3AE1-DCF0-4D82-D018FBC388A3}"/>
              </a:ext>
            </a:extLst>
          </p:cNvPr>
          <p:cNvGraphicFramePr/>
          <p:nvPr/>
        </p:nvGraphicFramePr>
        <p:xfrm>
          <a:off x="2121" y="2121"/>
          <a:ext cx="2112" cy="2112"/>
        </p:xfrm>
        <a:graphic>
          <a:graphicData uri="http://schemas.openxmlformats.org/presentationml/2006/ole">
            <mc:AlternateContent xmlns:mc="http://schemas.openxmlformats.org/markup-compatibility/2006">
              <mc:Choice xmlns:v="urn:schemas-microsoft-com:vml" Requires="v">
                <p:oleObj r:id="rId2" imgW="12700" imgH="12700" progId="">
                  <p:embed/>
                </p:oleObj>
              </mc:Choice>
              <mc:Fallback>
                <p:oleObj r:id="rId2" imgW="12700" imgH="12700" progId="">
                  <p:embed/>
                  <p:pic>
                    <p:nvPicPr>
                      <p:cNvPr id="2" name="Object 2" hidden="1">
                        <a:extLst>
                          <a:ext uri="{FF2B5EF4-FFF2-40B4-BE49-F238E27FC236}">
                            <a16:creationId xmlns:a16="http://schemas.microsoft.com/office/drawing/2014/main" id="{42B3FD9A-3AE1-DCF0-4D82-D018FBC388A3}"/>
                          </a:ext>
                        </a:extLst>
                      </p:cNvPr>
                      <p:cNvPicPr/>
                      <p:nvPr/>
                    </p:nvPicPr>
                    <p:blipFill>
                      <a:blip r:embed="rId3"/>
                      <a:stretch>
                        <a:fillRect/>
                      </a:stretch>
                    </p:blipFill>
                    <p:spPr>
                      <a:xfrm>
                        <a:off x="2121" y="2121"/>
                        <a:ext cx="2112" cy="2112"/>
                      </a:xfrm>
                      <a:prstGeom prst="rect">
                        <a:avLst/>
                      </a:prstGeom>
                    </p:spPr>
                  </p:pic>
                </p:oleObj>
              </mc:Fallback>
            </mc:AlternateContent>
          </a:graphicData>
        </a:graphic>
      </p:graphicFrame>
      <p:sp>
        <p:nvSpPr>
          <p:cNvPr id="3" name="Rectangle 7">
            <a:extLst>
              <a:ext uri="{FF2B5EF4-FFF2-40B4-BE49-F238E27FC236}">
                <a16:creationId xmlns:a16="http://schemas.microsoft.com/office/drawing/2014/main" id="{5183B204-F70F-981B-2E79-4BDB0606779C}"/>
              </a:ext>
            </a:extLst>
          </p:cNvPr>
          <p:cNvSpPr/>
          <p:nvPr/>
        </p:nvSpPr>
        <p:spPr>
          <a:xfrm>
            <a:off x="-10579" y="6620933"/>
            <a:ext cx="12213165" cy="237067"/>
          </a:xfrm>
          <a:prstGeom prst="rect">
            <a:avLst/>
          </a:prstGeom>
          <a:solidFill>
            <a:srgbClr val="767676"/>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graphicFrame>
        <p:nvGraphicFramePr>
          <p:cNvPr id="4" name="Object 7" hidden="1">
            <a:extLst>
              <a:ext uri="{FF2B5EF4-FFF2-40B4-BE49-F238E27FC236}">
                <a16:creationId xmlns:a16="http://schemas.microsoft.com/office/drawing/2014/main" id="{8B32AC06-B05C-CA59-1D1D-9F4AD87B32B6}"/>
              </a:ext>
            </a:extLst>
          </p:cNvPr>
          <p:cNvGraphicFramePr/>
          <p:nvPr/>
        </p:nvGraphicFramePr>
        <p:xfrm>
          <a:off x="2121" y="2121"/>
          <a:ext cx="2112" cy="2112"/>
        </p:xfrm>
        <a:graphic>
          <a:graphicData uri="http://schemas.openxmlformats.org/presentationml/2006/ole">
            <mc:AlternateContent xmlns:mc="http://schemas.openxmlformats.org/markup-compatibility/2006">
              <mc:Choice xmlns:v="urn:schemas-microsoft-com:vml" Requires="v">
                <p:oleObj r:id="rId4" imgW="12700" imgH="12700" progId="">
                  <p:embed/>
                </p:oleObj>
              </mc:Choice>
              <mc:Fallback>
                <p:oleObj r:id="rId4" imgW="12700" imgH="12700" progId="">
                  <p:embed/>
                  <p:pic>
                    <p:nvPicPr>
                      <p:cNvPr id="4" name="Object 7" hidden="1">
                        <a:extLst>
                          <a:ext uri="{FF2B5EF4-FFF2-40B4-BE49-F238E27FC236}">
                            <a16:creationId xmlns:a16="http://schemas.microsoft.com/office/drawing/2014/main" id="{8B32AC06-B05C-CA59-1D1D-9F4AD87B32B6}"/>
                          </a:ext>
                        </a:extLst>
                      </p:cNvPr>
                      <p:cNvPicPr/>
                      <p:nvPr/>
                    </p:nvPicPr>
                    <p:blipFill>
                      <a:blip r:embed="rId3"/>
                      <a:stretch>
                        <a:fillRect/>
                      </a:stretch>
                    </p:blipFill>
                    <p:spPr>
                      <a:xfrm>
                        <a:off x="2121" y="2121"/>
                        <a:ext cx="2112" cy="2112"/>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AD721915-DAFB-97B7-BD33-256EDAA69E1E}"/>
              </a:ext>
            </a:extLst>
          </p:cNvPr>
          <p:cNvSpPr txBox="1">
            <a:spLocks noGrp="1"/>
          </p:cNvSpPr>
          <p:nvPr>
            <p:ph type="title"/>
          </p:nvPr>
        </p:nvSpPr>
        <p:spPr>
          <a:xfrm>
            <a:off x="218112" y="224842"/>
            <a:ext cx="11715722" cy="569323"/>
          </a:xfrm>
        </p:spPr>
        <p:txBody>
          <a:bodyPr/>
          <a:lstStyle>
            <a:lvl1pPr>
              <a:defRPr sz="2933">
                <a:solidFill>
                  <a:srgbClr val="79818A"/>
                </a:solidFill>
              </a:defRPr>
            </a:lvl1pPr>
          </a:lstStyle>
          <a:p>
            <a:pPr lvl="0"/>
            <a:r>
              <a:rPr lang="en-US"/>
              <a:t>Click to edit Master title style</a:t>
            </a:r>
          </a:p>
        </p:txBody>
      </p:sp>
      <p:sp>
        <p:nvSpPr>
          <p:cNvPr id="6" name="Content Placeholder 2">
            <a:extLst>
              <a:ext uri="{FF2B5EF4-FFF2-40B4-BE49-F238E27FC236}">
                <a16:creationId xmlns:a16="http://schemas.microsoft.com/office/drawing/2014/main" id="{A4D056C0-3A3F-D1E7-4F11-51C7901BB0A9}"/>
              </a:ext>
            </a:extLst>
          </p:cNvPr>
          <p:cNvSpPr txBox="1">
            <a:spLocks noGrp="1"/>
          </p:cNvSpPr>
          <p:nvPr>
            <p:ph idx="4294967295"/>
          </p:nvPr>
        </p:nvSpPr>
        <p:spPr>
          <a:xfrm>
            <a:off x="218112" y="917198"/>
            <a:ext cx="11715722" cy="4958672"/>
          </a:xfrm>
        </p:spPr>
        <p:txBody>
          <a:bodyPr/>
          <a:lstStyle>
            <a:lvl1pPr marL="381031" indent="-381031">
              <a:buFont typeface="Wingdings" pitchFamily="2"/>
              <a:buChar char="§"/>
              <a:defRPr sz="1867" b="1"/>
            </a:lvl1pPr>
            <a:lvl2pPr marL="609642" indent="-296353">
              <a:buChar char="̶"/>
              <a:defRPr sz="1867"/>
            </a:lvl2pPr>
            <a:lvl3pPr marL="922931" indent="-313289">
              <a:defRPr sz="1867"/>
            </a:lvl3pPr>
            <a:lvl4pPr marL="1219294" indent="-296353">
              <a:buFont typeface="Wingdings" pitchFamily="2"/>
              <a:buChar char="ü"/>
              <a:defRPr sz="1867"/>
            </a:lvl4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481969E-6255-3F28-B3F6-8A4DD0C3FC8F}"/>
              </a:ext>
            </a:extLst>
          </p:cNvPr>
          <p:cNvSpPr txBox="1">
            <a:spLocks noGrp="1"/>
          </p:cNvSpPr>
          <p:nvPr>
            <p:ph type="body" idx="4294967295"/>
          </p:nvPr>
        </p:nvSpPr>
        <p:spPr>
          <a:xfrm>
            <a:off x="3858942" y="5969002"/>
            <a:ext cx="8074901" cy="649818"/>
          </a:xfrm>
        </p:spPr>
        <p:txBody>
          <a:bodyPr anchor="b"/>
          <a:lstStyle>
            <a:lvl1pPr>
              <a:defRPr sz="1333"/>
            </a:lvl1pPr>
          </a:lstStyle>
          <a:p>
            <a:pPr lvl="0"/>
            <a:r>
              <a:rPr lang="en-US"/>
              <a:t>Edit Master text styles</a:t>
            </a:r>
          </a:p>
        </p:txBody>
      </p:sp>
      <p:sp>
        <p:nvSpPr>
          <p:cNvPr id="8" name="Slide Number Placeholder 3">
            <a:extLst>
              <a:ext uri="{FF2B5EF4-FFF2-40B4-BE49-F238E27FC236}">
                <a16:creationId xmlns:a16="http://schemas.microsoft.com/office/drawing/2014/main" id="{0B87569D-0474-3586-F030-F24142A09781}"/>
              </a:ext>
            </a:extLst>
          </p:cNvPr>
          <p:cNvSpPr txBox="1">
            <a:spLocks noGrp="1"/>
          </p:cNvSpPr>
          <p:nvPr>
            <p:ph type="sldNum" sz="quarter" idx="8"/>
          </p:nvPr>
        </p:nvSpPr>
        <p:spPr/>
        <p:txBody>
          <a:bodyPr/>
          <a:lstStyle>
            <a:lvl1pPr>
              <a:defRPr sz="1467">
                <a:solidFill>
                  <a:srgbClr val="FFFFFF"/>
                </a:solidFill>
              </a:defRPr>
            </a:lvl1pPr>
          </a:lstStyle>
          <a:p>
            <a:pPr lvl="0"/>
            <a:fld id="{CDF13F7F-0334-4243-9430-CB16F81110FC}" type="slidenum">
              <a:t>‹#›</a:t>
            </a:fld>
            <a:endParaRPr lang="en-US"/>
          </a:p>
        </p:txBody>
      </p:sp>
      <p:pic>
        <p:nvPicPr>
          <p:cNvPr id="9" name="Picture 3" descr="M:\Marketing Communication and Referral Access\Luis\newbrand\UCM_logo\master\horizontal\UCM_Logo_Master_Brand_Horizontal_Tagline_rgb.jpg">
            <a:extLst>
              <a:ext uri="{FF2B5EF4-FFF2-40B4-BE49-F238E27FC236}">
                <a16:creationId xmlns:a16="http://schemas.microsoft.com/office/drawing/2014/main" id="{5E5D593F-A02F-50DC-D274-9DAD2EE92886}"/>
              </a:ext>
            </a:extLst>
          </p:cNvPr>
          <p:cNvPicPr>
            <a:picLocks noChangeAspect="1"/>
          </p:cNvPicPr>
          <p:nvPr/>
        </p:nvPicPr>
        <p:blipFill>
          <a:blip r:embed="rId5"/>
          <a:srcRect/>
          <a:stretch>
            <a:fillRect/>
          </a:stretch>
        </p:blipFill>
        <p:spPr>
          <a:xfrm>
            <a:off x="101598" y="5969002"/>
            <a:ext cx="3704344" cy="651930"/>
          </a:xfrm>
          <a:prstGeom prst="rect">
            <a:avLst/>
          </a:prstGeom>
          <a:noFill/>
          <a:ln cap="flat">
            <a:noFill/>
          </a:ln>
        </p:spPr>
      </p:pic>
    </p:spTree>
    <p:extLst>
      <p:ext uri="{BB962C8B-B14F-4D97-AF65-F5344CB8AC3E}">
        <p14:creationId xmlns:p14="http://schemas.microsoft.com/office/powerpoint/2010/main" val="966020225"/>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showMasterSp="0" preserve="1">
  <p:cSld name="6_EVERYDAY CONTENT ONLY">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48A9A700-BDDE-6175-C825-335F7A9B7D8D}"/>
              </a:ext>
            </a:extLst>
          </p:cNvPr>
          <p:cNvSpPr/>
          <p:nvPr/>
        </p:nvSpPr>
        <p:spPr>
          <a:xfrm>
            <a:off x="0" y="0"/>
            <a:ext cx="12191996" cy="1313060"/>
          </a:xfrm>
          <a:prstGeom prst="rect">
            <a:avLst/>
          </a:prstGeom>
          <a:gradFill>
            <a:gsLst>
              <a:gs pos="0">
                <a:srgbClr val="1C498B"/>
              </a:gs>
              <a:gs pos="100000">
                <a:srgbClr val="79818A"/>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Shape">
            <a:extLst>
              <a:ext uri="{FF2B5EF4-FFF2-40B4-BE49-F238E27FC236}">
                <a16:creationId xmlns:a16="http://schemas.microsoft.com/office/drawing/2014/main" id="{E8FF83B5-47DC-C3F6-FD10-42C6FE1A235A}"/>
              </a:ext>
            </a:extLst>
          </p:cNvPr>
          <p:cNvSpPr/>
          <p:nvPr/>
        </p:nvSpPr>
        <p:spPr>
          <a:xfrm>
            <a:off x="6863642" y="16268"/>
            <a:ext cx="5328355" cy="812270"/>
          </a:xfrm>
          <a:custGeom>
            <a:avLst/>
            <a:gdLst>
              <a:gd name="f0" fmla="val 10800000"/>
              <a:gd name="f1" fmla="val 5400000"/>
              <a:gd name="f2" fmla="val 180"/>
              <a:gd name="f3" fmla="val w"/>
              <a:gd name="f4" fmla="val h"/>
              <a:gd name="f5" fmla="val 0"/>
              <a:gd name="f6" fmla="val 21600"/>
              <a:gd name="f7" fmla="val 20619"/>
              <a:gd name="f8" fmla="val 7043"/>
              <a:gd name="f9" fmla="val 1599"/>
              <a:gd name="f10" fmla="val 10431"/>
              <a:gd name="f11" fmla="val 3359"/>
              <a:gd name="f12" fmla="val 12009"/>
              <a:gd name="f13" fmla="val 5125"/>
              <a:gd name="f14" fmla="val 11638"/>
              <a:gd name="f15" fmla="val 8965"/>
              <a:gd name="f16" fmla="val 10834"/>
              <a:gd name="f17" fmla="val 12429"/>
              <a:gd name="f18" fmla="val 1037"/>
              <a:gd name="f19" fmla="val 16255"/>
              <a:gd name="f20" fmla="val 77"/>
              <a:gd name="f21" fmla="val 18093"/>
              <a:gd name="f22" fmla="+- 0 0 385"/>
              <a:gd name="f23" fmla="val 19927"/>
              <a:gd name="f24" fmla="val 1227"/>
              <a:gd name="f25" fmla="val 21590"/>
              <a:gd name="f26" fmla="val 4766"/>
              <a:gd name="f27" fmla="val 14041"/>
              <a:gd name="f28" fmla="val 19718"/>
              <a:gd name="f29" fmla="val 9870"/>
              <a:gd name="f30" fmla="val 17612"/>
              <a:gd name="f31" fmla="val 8157"/>
              <a:gd name="f32" fmla="val 15523"/>
              <a:gd name="f33" fmla="val 9097"/>
              <a:gd name="f34" fmla="val 12138"/>
              <a:gd name="f35" fmla="val 10620"/>
              <a:gd name="f36" fmla="val 9076"/>
              <a:gd name="f37" fmla="val 19001"/>
              <a:gd name="f38" fmla="val 5674"/>
              <a:gd name="f39" fmla="val 20410"/>
              <a:gd name="f40" fmla="val 3728"/>
              <a:gd name="f41" fmla="val 21215"/>
              <a:gd name="f42" fmla="val 1770"/>
              <a:gd name="f43" fmla="val 19679"/>
              <a:gd name="f44" fmla="val 15961"/>
              <a:gd name="f45" fmla="+- 0 0 -90"/>
              <a:gd name="f46" fmla="+- 0 0 -180"/>
              <a:gd name="f47" fmla="+- 0 0 -270"/>
              <a:gd name="f48" fmla="+- 0 0 -360"/>
              <a:gd name="f49" fmla="*/ f3 1 21600"/>
              <a:gd name="f50" fmla="*/ f4 1 20619"/>
              <a:gd name="f51" fmla="+- f7 0 f5"/>
              <a:gd name="f52" fmla="+- f6 0 f5"/>
              <a:gd name="f53" fmla="*/ f45 f0 1"/>
              <a:gd name="f54" fmla="*/ f46 f0 1"/>
              <a:gd name="f55" fmla="*/ f47 f0 1"/>
              <a:gd name="f56" fmla="*/ f48 f0 1"/>
              <a:gd name="f57" fmla="*/ f51 1 2"/>
              <a:gd name="f58" fmla="*/ f52 1 2"/>
              <a:gd name="f59" fmla="*/ f52 1 21600"/>
              <a:gd name="f60" fmla="*/ f51 1 20619"/>
              <a:gd name="f61" fmla="*/ f53 1 f2"/>
              <a:gd name="f62" fmla="*/ f54 1 f2"/>
              <a:gd name="f63" fmla="*/ f55 1 f2"/>
              <a:gd name="f64" fmla="*/ f56 1 f2"/>
              <a:gd name="f65" fmla="*/ f58 1 f59"/>
              <a:gd name="f66" fmla="*/ f57 1 f60"/>
              <a:gd name="f67" fmla="*/ 0 1 f59"/>
              <a:gd name="f68" fmla="*/ f6 1 f59"/>
              <a:gd name="f69" fmla="*/ 0 1 f60"/>
              <a:gd name="f70" fmla="*/ f7 1 f60"/>
              <a:gd name="f71" fmla="+- f61 0 f1"/>
              <a:gd name="f72" fmla="+- f62 0 f1"/>
              <a:gd name="f73" fmla="+- f63 0 f1"/>
              <a:gd name="f74" fmla="+- f64 0 f1"/>
              <a:gd name="f75" fmla="*/ f67 f49 1"/>
              <a:gd name="f76" fmla="*/ f68 f49 1"/>
              <a:gd name="f77" fmla="*/ f70 f50 1"/>
              <a:gd name="f78" fmla="*/ f69 f50 1"/>
              <a:gd name="f79" fmla="*/ f65 f49 1"/>
              <a:gd name="f80" fmla="*/ f66 f50 1"/>
            </a:gdLst>
            <a:ahLst/>
            <a:cxnLst>
              <a:cxn ang="3cd4">
                <a:pos x="hc" y="t"/>
              </a:cxn>
              <a:cxn ang="0">
                <a:pos x="r" y="vc"/>
              </a:cxn>
              <a:cxn ang="cd4">
                <a:pos x="hc" y="b"/>
              </a:cxn>
              <a:cxn ang="cd2">
                <a:pos x="l" y="vc"/>
              </a:cxn>
              <a:cxn ang="f71">
                <a:pos x="f79" y="f80"/>
              </a:cxn>
              <a:cxn ang="f72">
                <a:pos x="f79" y="f80"/>
              </a:cxn>
              <a:cxn ang="f73">
                <a:pos x="f79" y="f80"/>
              </a:cxn>
              <a:cxn ang="f74">
                <a:pos x="f79" y="f80"/>
              </a:cxn>
            </a:cxnLst>
            <a:rect l="f75" t="f78" r="f76" b="f77"/>
            <a:pathLst>
              <a:path w="21600" h="20619">
                <a:moveTo>
                  <a:pt x="f5" y="f8"/>
                </a:moveTo>
                <a:cubicBezTo>
                  <a:pt x="f9" y="f10"/>
                  <a:pt x="f11" y="f12"/>
                  <a:pt x="f13" y="f14"/>
                </a:cubicBezTo>
                <a:cubicBezTo>
                  <a:pt x="f15" y="f16"/>
                  <a:pt x="f17" y="f18"/>
                  <a:pt x="f19" y="f20"/>
                </a:cubicBezTo>
                <a:cubicBezTo>
                  <a:pt x="f21" y="f22"/>
                  <a:pt x="f23" y="f24"/>
                  <a:pt x="f25" y="f26"/>
                </a:cubicBezTo>
                <a:lnTo>
                  <a:pt x="f6" y="f27"/>
                </a:lnTo>
                <a:cubicBezTo>
                  <a:pt x="f28" y="f29"/>
                  <a:pt x="f30" y="f31"/>
                  <a:pt x="f32" y="f33"/>
                </a:cubicBezTo>
                <a:cubicBezTo>
                  <a:pt x="f34" y="f35"/>
                  <a:pt x="f36" y="f37"/>
                  <a:pt x="f38" y="f39"/>
                </a:cubicBezTo>
                <a:cubicBezTo>
                  <a:pt x="f40" y="f41"/>
                  <a:pt x="f42" y="f43"/>
                  <a:pt x="f5" y="f44"/>
                </a:cubicBezTo>
                <a:lnTo>
                  <a:pt x="f5" y="f8"/>
                </a:lnTo>
                <a:close/>
              </a:path>
            </a:pathLst>
          </a:custGeom>
          <a:gradFill>
            <a:gsLst>
              <a:gs pos="0">
                <a:srgbClr val="1C498B">
                  <a:alpha val="0"/>
                </a:srgbClr>
              </a:gs>
              <a:gs pos="100000">
                <a:srgbClr val="1C498B">
                  <a:alpha val="63000"/>
                </a:srgbClr>
              </a:gs>
            </a:gsLst>
            <a:lin ang="0"/>
          </a:gradFill>
          <a:ln cap="flat">
            <a:noFill/>
            <a:prstDash val="solid"/>
          </a:ln>
        </p:spPr>
        <p:txBody>
          <a:bodyPr vert="horz" wrap="square" lIns="0" tIns="0" rIns="0" bIns="0" anchor="ctr" anchorCtr="1" compatLnSpc="1">
            <a:noAutofit/>
          </a:bodyPr>
          <a:lstStyle/>
          <a:p>
            <a:pPr marL="0" marR="0" lvl="0" indent="0" algn="ctr" defTabSz="412799" rtl="0" fontAlgn="auto" hangingPunct="0">
              <a:lnSpc>
                <a:spcPct val="100000"/>
              </a:lnSpc>
              <a:spcBef>
                <a:spcPts val="0"/>
              </a:spcBef>
              <a:spcAft>
                <a:spcPts val="0"/>
              </a:spcAft>
              <a:buNone/>
              <a:tabLst/>
              <a:defRPr sz="2400" b="0" i="0" u="none" strike="noStrike" kern="0" cap="none" spc="0" baseline="0">
                <a:solidFill>
                  <a:srgbClr val="FFFFFF"/>
                </a:solidFill>
                <a:uFillTx/>
                <a:latin typeface="Helvetica Neue Medium"/>
                <a:ea typeface="Helvetica Neue Medium"/>
                <a:cs typeface="Helvetica Neue Medium"/>
              </a:defRPr>
            </a:pPr>
            <a:endParaRPr lang="en-US" sz="1525" b="0" i="0" u="none" strike="noStrike" kern="0" cap="none" spc="0" baseline="0">
              <a:solidFill>
                <a:srgbClr val="FFFFFF"/>
              </a:solidFill>
              <a:uFillTx/>
              <a:latin typeface="Helvetica Neue Medium"/>
              <a:ea typeface="Helvetica Neue Medium"/>
              <a:cs typeface="Helvetica Neue Medium"/>
            </a:endParaRPr>
          </a:p>
        </p:txBody>
      </p:sp>
      <p:sp>
        <p:nvSpPr>
          <p:cNvPr id="4" name="Content Placeholder 2">
            <a:extLst>
              <a:ext uri="{FF2B5EF4-FFF2-40B4-BE49-F238E27FC236}">
                <a16:creationId xmlns:a16="http://schemas.microsoft.com/office/drawing/2014/main" id="{60CADD65-46A0-CEBB-D0B2-A5AB2BEA6989}"/>
              </a:ext>
            </a:extLst>
          </p:cNvPr>
          <p:cNvSpPr txBox="1">
            <a:spLocks noGrp="1"/>
          </p:cNvSpPr>
          <p:nvPr>
            <p:ph idx="4294967295"/>
          </p:nvPr>
        </p:nvSpPr>
        <p:spPr>
          <a:xfrm>
            <a:off x="508544" y="1707789"/>
            <a:ext cx="11203667" cy="4648571"/>
          </a:xfrm>
        </p:spPr>
        <p:txBody>
          <a:bodyPr/>
          <a:lstStyle>
            <a:lvl1pPr>
              <a:defRPr>
                <a:solidFill>
                  <a:srgbClr val="4C555F"/>
                </a:solidFill>
              </a:defRPr>
            </a:lvl1pPr>
            <a:lvl2pPr>
              <a:defRPr>
                <a:solidFill>
                  <a:srgbClr val="4C555F"/>
                </a:solidFill>
              </a:defRPr>
            </a:lvl2pPr>
            <a:lvl3pPr>
              <a:defRPr>
                <a:solidFill>
                  <a:srgbClr val="4C555F"/>
                </a:solidFill>
              </a:defRPr>
            </a:lvl3pPr>
            <a:lvl4pPr>
              <a:defRPr>
                <a:solidFill>
                  <a:srgbClr val="4C555F"/>
                </a:solidFill>
              </a:defRPr>
            </a:lvl4pPr>
            <a:lvl5pPr>
              <a:defRPr>
                <a:solidFill>
                  <a:srgbClr val="4C555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hape">
            <a:extLst>
              <a:ext uri="{FF2B5EF4-FFF2-40B4-BE49-F238E27FC236}">
                <a16:creationId xmlns:a16="http://schemas.microsoft.com/office/drawing/2014/main" id="{95BA1521-3542-E939-8DF9-CDA167D12D5A}"/>
              </a:ext>
            </a:extLst>
          </p:cNvPr>
          <p:cNvSpPr/>
          <p:nvPr/>
        </p:nvSpPr>
        <p:spPr>
          <a:xfrm>
            <a:off x="6863642" y="519644"/>
            <a:ext cx="5328355" cy="812270"/>
          </a:xfrm>
          <a:custGeom>
            <a:avLst/>
            <a:gdLst>
              <a:gd name="f0" fmla="val 10800000"/>
              <a:gd name="f1" fmla="val 5400000"/>
              <a:gd name="f2" fmla="val 180"/>
              <a:gd name="f3" fmla="val w"/>
              <a:gd name="f4" fmla="val h"/>
              <a:gd name="f5" fmla="val 0"/>
              <a:gd name="f6" fmla="val 21600"/>
              <a:gd name="f7" fmla="val 20619"/>
              <a:gd name="f8" fmla="val 7043"/>
              <a:gd name="f9" fmla="val 1599"/>
              <a:gd name="f10" fmla="val 10431"/>
              <a:gd name="f11" fmla="val 3359"/>
              <a:gd name="f12" fmla="val 12009"/>
              <a:gd name="f13" fmla="val 5125"/>
              <a:gd name="f14" fmla="val 11638"/>
              <a:gd name="f15" fmla="val 8965"/>
              <a:gd name="f16" fmla="val 10834"/>
              <a:gd name="f17" fmla="val 12429"/>
              <a:gd name="f18" fmla="val 1037"/>
              <a:gd name="f19" fmla="val 16255"/>
              <a:gd name="f20" fmla="val 77"/>
              <a:gd name="f21" fmla="val 18093"/>
              <a:gd name="f22" fmla="+- 0 0 385"/>
              <a:gd name="f23" fmla="val 19927"/>
              <a:gd name="f24" fmla="val 1227"/>
              <a:gd name="f25" fmla="val 21590"/>
              <a:gd name="f26" fmla="val 4766"/>
              <a:gd name="f27" fmla="val 14041"/>
              <a:gd name="f28" fmla="val 19718"/>
              <a:gd name="f29" fmla="val 9870"/>
              <a:gd name="f30" fmla="val 17612"/>
              <a:gd name="f31" fmla="val 8157"/>
              <a:gd name="f32" fmla="val 15523"/>
              <a:gd name="f33" fmla="val 9097"/>
              <a:gd name="f34" fmla="val 12138"/>
              <a:gd name="f35" fmla="val 10620"/>
              <a:gd name="f36" fmla="val 9076"/>
              <a:gd name="f37" fmla="val 19001"/>
              <a:gd name="f38" fmla="val 5674"/>
              <a:gd name="f39" fmla="val 20410"/>
              <a:gd name="f40" fmla="val 3728"/>
              <a:gd name="f41" fmla="val 21215"/>
              <a:gd name="f42" fmla="val 1770"/>
              <a:gd name="f43" fmla="val 19679"/>
              <a:gd name="f44" fmla="val 15961"/>
              <a:gd name="f45" fmla="+- 0 0 -90"/>
              <a:gd name="f46" fmla="+- 0 0 -180"/>
              <a:gd name="f47" fmla="+- 0 0 -270"/>
              <a:gd name="f48" fmla="+- 0 0 -360"/>
              <a:gd name="f49" fmla="*/ f3 1 21600"/>
              <a:gd name="f50" fmla="*/ f4 1 20619"/>
              <a:gd name="f51" fmla="+- f7 0 f5"/>
              <a:gd name="f52" fmla="+- f6 0 f5"/>
              <a:gd name="f53" fmla="*/ f45 f0 1"/>
              <a:gd name="f54" fmla="*/ f46 f0 1"/>
              <a:gd name="f55" fmla="*/ f47 f0 1"/>
              <a:gd name="f56" fmla="*/ f48 f0 1"/>
              <a:gd name="f57" fmla="*/ f51 1 2"/>
              <a:gd name="f58" fmla="*/ f52 1 2"/>
              <a:gd name="f59" fmla="*/ f52 1 21600"/>
              <a:gd name="f60" fmla="*/ f51 1 20619"/>
              <a:gd name="f61" fmla="*/ f53 1 f2"/>
              <a:gd name="f62" fmla="*/ f54 1 f2"/>
              <a:gd name="f63" fmla="*/ f55 1 f2"/>
              <a:gd name="f64" fmla="*/ f56 1 f2"/>
              <a:gd name="f65" fmla="*/ f58 1 f59"/>
              <a:gd name="f66" fmla="*/ f57 1 f60"/>
              <a:gd name="f67" fmla="*/ 0 1 f59"/>
              <a:gd name="f68" fmla="*/ f6 1 f59"/>
              <a:gd name="f69" fmla="*/ 0 1 f60"/>
              <a:gd name="f70" fmla="*/ f7 1 f60"/>
              <a:gd name="f71" fmla="+- f61 0 f1"/>
              <a:gd name="f72" fmla="+- f62 0 f1"/>
              <a:gd name="f73" fmla="+- f63 0 f1"/>
              <a:gd name="f74" fmla="+- f64 0 f1"/>
              <a:gd name="f75" fmla="*/ f67 f49 1"/>
              <a:gd name="f76" fmla="*/ f68 f49 1"/>
              <a:gd name="f77" fmla="*/ f70 f50 1"/>
              <a:gd name="f78" fmla="*/ f69 f50 1"/>
              <a:gd name="f79" fmla="*/ f65 f49 1"/>
              <a:gd name="f80" fmla="*/ f66 f50 1"/>
            </a:gdLst>
            <a:ahLst/>
            <a:cxnLst>
              <a:cxn ang="3cd4">
                <a:pos x="hc" y="t"/>
              </a:cxn>
              <a:cxn ang="0">
                <a:pos x="r" y="vc"/>
              </a:cxn>
              <a:cxn ang="cd4">
                <a:pos x="hc" y="b"/>
              </a:cxn>
              <a:cxn ang="cd2">
                <a:pos x="l" y="vc"/>
              </a:cxn>
              <a:cxn ang="f71">
                <a:pos x="f79" y="f80"/>
              </a:cxn>
              <a:cxn ang="f72">
                <a:pos x="f79" y="f80"/>
              </a:cxn>
              <a:cxn ang="f73">
                <a:pos x="f79" y="f80"/>
              </a:cxn>
              <a:cxn ang="f74">
                <a:pos x="f79" y="f80"/>
              </a:cxn>
            </a:cxnLst>
            <a:rect l="f75" t="f78" r="f76" b="f77"/>
            <a:pathLst>
              <a:path w="21600" h="20619">
                <a:moveTo>
                  <a:pt x="f5" y="f8"/>
                </a:moveTo>
                <a:cubicBezTo>
                  <a:pt x="f9" y="f10"/>
                  <a:pt x="f11" y="f12"/>
                  <a:pt x="f13" y="f14"/>
                </a:cubicBezTo>
                <a:cubicBezTo>
                  <a:pt x="f15" y="f16"/>
                  <a:pt x="f17" y="f18"/>
                  <a:pt x="f19" y="f20"/>
                </a:cubicBezTo>
                <a:cubicBezTo>
                  <a:pt x="f21" y="f22"/>
                  <a:pt x="f23" y="f24"/>
                  <a:pt x="f25" y="f26"/>
                </a:cubicBezTo>
                <a:lnTo>
                  <a:pt x="f6" y="f27"/>
                </a:lnTo>
                <a:cubicBezTo>
                  <a:pt x="f28" y="f29"/>
                  <a:pt x="f30" y="f31"/>
                  <a:pt x="f32" y="f33"/>
                </a:cubicBezTo>
                <a:cubicBezTo>
                  <a:pt x="f34" y="f35"/>
                  <a:pt x="f36" y="f37"/>
                  <a:pt x="f38" y="f39"/>
                </a:cubicBezTo>
                <a:cubicBezTo>
                  <a:pt x="f40" y="f41"/>
                  <a:pt x="f42" y="f43"/>
                  <a:pt x="f5" y="f44"/>
                </a:cubicBezTo>
                <a:lnTo>
                  <a:pt x="f5" y="f8"/>
                </a:lnTo>
                <a:close/>
              </a:path>
            </a:pathLst>
          </a:custGeom>
          <a:gradFill>
            <a:gsLst>
              <a:gs pos="0">
                <a:srgbClr val="1C498B">
                  <a:alpha val="0"/>
                </a:srgbClr>
              </a:gs>
              <a:gs pos="100000">
                <a:srgbClr val="1C498B">
                  <a:alpha val="63000"/>
                </a:srgbClr>
              </a:gs>
            </a:gsLst>
            <a:lin ang="0"/>
          </a:gradFill>
          <a:ln cap="flat">
            <a:noFill/>
            <a:prstDash val="solid"/>
          </a:ln>
        </p:spPr>
        <p:txBody>
          <a:bodyPr vert="horz" wrap="square" lIns="0" tIns="0" rIns="0" bIns="0" anchor="ctr" anchorCtr="1" compatLnSpc="1">
            <a:noAutofit/>
          </a:bodyPr>
          <a:lstStyle/>
          <a:p>
            <a:pPr marL="0" marR="0" lvl="0" indent="0" algn="ctr" defTabSz="412799" rtl="0" fontAlgn="auto" hangingPunct="0">
              <a:lnSpc>
                <a:spcPct val="100000"/>
              </a:lnSpc>
              <a:spcBef>
                <a:spcPts val="0"/>
              </a:spcBef>
              <a:spcAft>
                <a:spcPts val="0"/>
              </a:spcAft>
              <a:buNone/>
              <a:tabLst/>
              <a:defRPr sz="2400" b="0" i="0" u="none" strike="noStrike" kern="0" cap="none" spc="0" baseline="0">
                <a:solidFill>
                  <a:srgbClr val="FFFFFF"/>
                </a:solidFill>
                <a:uFillTx/>
                <a:latin typeface="Helvetica Neue Medium"/>
                <a:ea typeface="Helvetica Neue Medium"/>
                <a:cs typeface="Helvetica Neue Medium"/>
              </a:defRPr>
            </a:pPr>
            <a:endParaRPr lang="en-US" sz="1525" b="0" i="0" u="none" strike="noStrike" kern="0" cap="none" spc="0" baseline="0">
              <a:solidFill>
                <a:srgbClr val="FFFFFF"/>
              </a:solidFill>
              <a:uFillTx/>
              <a:latin typeface="Helvetica Neue Medium"/>
              <a:ea typeface="Helvetica Neue Medium"/>
              <a:cs typeface="Helvetica Neue Medium"/>
            </a:endParaRPr>
          </a:p>
        </p:txBody>
      </p:sp>
      <p:sp>
        <p:nvSpPr>
          <p:cNvPr id="6" name="Title 1">
            <a:extLst>
              <a:ext uri="{FF2B5EF4-FFF2-40B4-BE49-F238E27FC236}">
                <a16:creationId xmlns:a16="http://schemas.microsoft.com/office/drawing/2014/main" id="{18D2D433-7175-72DD-D284-27FD83D6B9A2}"/>
              </a:ext>
            </a:extLst>
          </p:cNvPr>
          <p:cNvSpPr txBox="1">
            <a:spLocks noGrp="1"/>
          </p:cNvSpPr>
          <p:nvPr>
            <p:ph type="title"/>
          </p:nvPr>
        </p:nvSpPr>
        <p:spPr>
          <a:xfrm>
            <a:off x="304796" y="170060"/>
            <a:ext cx="11430000" cy="1143000"/>
          </a:xfrm>
        </p:spPr>
        <p:txBody>
          <a:bodyPr/>
          <a:lstStyle>
            <a:lvl1pPr>
              <a:defRPr sz="3200">
                <a:solidFill>
                  <a:srgbClr val="FFFFFF"/>
                </a:solidFill>
              </a:defRPr>
            </a:lvl1pPr>
          </a:lstStyle>
          <a:p>
            <a:pPr lvl="0"/>
            <a:r>
              <a:rPr lang="en-US"/>
              <a:t>Click to edit Master title style</a:t>
            </a:r>
          </a:p>
        </p:txBody>
      </p:sp>
      <p:sp>
        <p:nvSpPr>
          <p:cNvPr id="7" name="Text Placeholder 4">
            <a:extLst>
              <a:ext uri="{FF2B5EF4-FFF2-40B4-BE49-F238E27FC236}">
                <a16:creationId xmlns:a16="http://schemas.microsoft.com/office/drawing/2014/main" id="{1B6F0ECC-2019-808E-F064-B6493FA38440}"/>
              </a:ext>
            </a:extLst>
          </p:cNvPr>
          <p:cNvSpPr txBox="1">
            <a:spLocks noGrp="1"/>
          </p:cNvSpPr>
          <p:nvPr>
            <p:ph type="body" idx="4294967295"/>
          </p:nvPr>
        </p:nvSpPr>
        <p:spPr>
          <a:xfrm>
            <a:off x="332184" y="953345"/>
            <a:ext cx="11430109" cy="415923"/>
          </a:xfrm>
        </p:spPr>
        <p:txBody>
          <a:bodyPr>
            <a:normAutofit/>
          </a:bodyPr>
          <a:lstStyle>
            <a:lvl1pPr marL="0" indent="0">
              <a:buNone/>
              <a:defRPr sz="1400">
                <a:solidFill>
                  <a:srgbClr val="FFFFFF"/>
                </a:solidFill>
              </a:defRPr>
            </a:lvl1pPr>
          </a:lstStyle>
          <a:p>
            <a:pPr lvl="0"/>
            <a:r>
              <a:rPr lang="en-US"/>
              <a:t>Subtitle</a:t>
            </a:r>
          </a:p>
        </p:txBody>
      </p:sp>
      <p:cxnSp>
        <p:nvCxnSpPr>
          <p:cNvPr id="8" name="Straight Connector 15">
            <a:extLst>
              <a:ext uri="{FF2B5EF4-FFF2-40B4-BE49-F238E27FC236}">
                <a16:creationId xmlns:a16="http://schemas.microsoft.com/office/drawing/2014/main" id="{DC6A3EE6-5A6F-EBF2-08F1-E7DD5B665539}"/>
              </a:ext>
            </a:extLst>
          </p:cNvPr>
          <p:cNvCxnSpPr/>
          <p:nvPr/>
        </p:nvCxnSpPr>
        <p:spPr>
          <a:xfrm>
            <a:off x="11311722" y="6447270"/>
            <a:ext cx="0" cy="267883"/>
          </a:xfrm>
          <a:prstGeom prst="straightConnector1">
            <a:avLst/>
          </a:prstGeom>
          <a:noFill/>
          <a:ln w="6345" cap="flat">
            <a:solidFill>
              <a:srgbClr val="7F7F7F"/>
            </a:solidFill>
            <a:prstDash val="solid"/>
            <a:miter/>
          </a:ln>
        </p:spPr>
      </p:cxnSp>
      <p:sp>
        <p:nvSpPr>
          <p:cNvPr id="9" name="Slide Number Placeholder 6">
            <a:extLst>
              <a:ext uri="{FF2B5EF4-FFF2-40B4-BE49-F238E27FC236}">
                <a16:creationId xmlns:a16="http://schemas.microsoft.com/office/drawing/2014/main" id="{2BE0998A-D979-6099-23F3-F22FBEED4C17}"/>
              </a:ext>
            </a:extLst>
          </p:cNvPr>
          <p:cNvSpPr txBox="1">
            <a:spLocks noGrp="1"/>
          </p:cNvSpPr>
          <p:nvPr>
            <p:ph type="sldNum" sz="quarter" idx="8"/>
          </p:nvPr>
        </p:nvSpPr>
        <p:spPr>
          <a:xfrm>
            <a:off x="11202597" y="6454531"/>
            <a:ext cx="559704" cy="319171"/>
          </a:xfrm>
        </p:spPr>
        <p:txBody>
          <a:bodyPr/>
          <a:lstStyle>
            <a:lvl1pPr>
              <a:defRPr sz="1000">
                <a:solidFill>
                  <a:srgbClr val="7F7F7F"/>
                </a:solidFill>
              </a:defRPr>
            </a:lvl1pPr>
          </a:lstStyle>
          <a:p>
            <a:pPr lvl="0"/>
            <a:fld id="{E85F87FD-9E87-4801-829C-994EFA042E3E}" type="slidenum">
              <a:t>‹#›</a:t>
            </a:fld>
            <a:endParaRPr lang="en-US"/>
          </a:p>
        </p:txBody>
      </p:sp>
      <p:pic>
        <p:nvPicPr>
          <p:cNvPr id="10" name="Picture 11">
            <a:extLst>
              <a:ext uri="{FF2B5EF4-FFF2-40B4-BE49-F238E27FC236}">
                <a16:creationId xmlns:a16="http://schemas.microsoft.com/office/drawing/2014/main" id="{4B08E7FE-ECEC-C0F2-7F89-25605F516EE2}"/>
              </a:ext>
            </a:extLst>
          </p:cNvPr>
          <p:cNvPicPr>
            <a:picLocks noChangeAspect="1"/>
          </p:cNvPicPr>
          <p:nvPr/>
        </p:nvPicPr>
        <p:blipFill>
          <a:blip r:embed="rId2"/>
          <a:stretch>
            <a:fillRect/>
          </a:stretch>
        </p:blipFill>
        <p:spPr>
          <a:xfrm>
            <a:off x="9596464" y="6492240"/>
            <a:ext cx="1606134" cy="229240"/>
          </a:xfrm>
          <a:prstGeom prst="rect">
            <a:avLst/>
          </a:prstGeom>
          <a:noFill/>
          <a:ln cap="flat">
            <a:noFill/>
          </a:ln>
        </p:spPr>
      </p:pic>
    </p:spTree>
    <p:extLst>
      <p:ext uri="{BB962C8B-B14F-4D97-AF65-F5344CB8AC3E}">
        <p14:creationId xmlns:p14="http://schemas.microsoft.com/office/powerpoint/2010/main" val="300763095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Comparison">
  <p:cSld name="Comparison 2">
    <p:spTree>
      <p:nvGrpSpPr>
        <p:cNvPr id="1" name="Shape 9627"/>
        <p:cNvGrpSpPr/>
        <p:nvPr/>
      </p:nvGrpSpPr>
      <p:grpSpPr>
        <a:xfrm>
          <a:off x="0" y="0"/>
          <a:ext cx="0" cy="0"/>
          <a:chOff x="0" y="0"/>
          <a:chExt cx="0" cy="0"/>
        </a:xfrm>
      </p:grpSpPr>
      <p:grpSp>
        <p:nvGrpSpPr>
          <p:cNvPr id="9628" name="Google Shape;9628;p1372"/>
          <p:cNvGrpSpPr/>
          <p:nvPr/>
        </p:nvGrpSpPr>
        <p:grpSpPr>
          <a:xfrm>
            <a:off x="7191542" y="1"/>
            <a:ext cx="5000459" cy="1425992"/>
            <a:chOff x="7191542" y="1"/>
            <a:chExt cx="5000459" cy="1425992"/>
          </a:xfrm>
        </p:grpSpPr>
        <p:pic>
          <p:nvPicPr>
            <p:cNvPr id="9629" name="Google Shape;9629;p13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630" name="Google Shape;9630;p1372"/>
            <p:cNvGrpSpPr/>
            <p:nvPr/>
          </p:nvGrpSpPr>
          <p:grpSpPr>
            <a:xfrm>
              <a:off x="7191542" y="1"/>
              <a:ext cx="5000459" cy="1425992"/>
              <a:chOff x="7186272" y="0"/>
              <a:chExt cx="5005729" cy="1427495"/>
            </a:xfrm>
          </p:grpSpPr>
          <p:sp>
            <p:nvSpPr>
              <p:cNvPr id="9631" name="Google Shape;9631;p13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632" name="Google Shape;9632;p13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633" name="Google Shape;9633;p137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34" name="Google Shape;9634;p137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635" name="Google Shape;9635;p137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636" name="Google Shape;9636;p137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637" name="Google Shape;9637;p137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638" name="Google Shape;9638;p13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639" name="Google Shape;9639;p13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640" name="Google Shape;9640;p13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showMasterSp="0" preserve="1">
  <p:cSld name="7_EVERYDAY CONTENT ONLY">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527546E6-86E1-58E2-038F-5424B8C04C96}"/>
              </a:ext>
            </a:extLst>
          </p:cNvPr>
          <p:cNvSpPr/>
          <p:nvPr/>
        </p:nvSpPr>
        <p:spPr>
          <a:xfrm>
            <a:off x="0" y="0"/>
            <a:ext cx="12191996" cy="1313060"/>
          </a:xfrm>
          <a:prstGeom prst="rect">
            <a:avLst/>
          </a:prstGeom>
          <a:gradFill>
            <a:gsLst>
              <a:gs pos="0">
                <a:srgbClr val="1C498B"/>
              </a:gs>
              <a:gs pos="100000">
                <a:srgbClr val="79818A"/>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Shape">
            <a:extLst>
              <a:ext uri="{FF2B5EF4-FFF2-40B4-BE49-F238E27FC236}">
                <a16:creationId xmlns:a16="http://schemas.microsoft.com/office/drawing/2014/main" id="{DE925786-45C7-3AFC-211B-4330BD2BBF77}"/>
              </a:ext>
            </a:extLst>
          </p:cNvPr>
          <p:cNvSpPr/>
          <p:nvPr/>
        </p:nvSpPr>
        <p:spPr>
          <a:xfrm>
            <a:off x="6863642" y="16268"/>
            <a:ext cx="5328355" cy="812270"/>
          </a:xfrm>
          <a:custGeom>
            <a:avLst/>
            <a:gdLst>
              <a:gd name="f0" fmla="val 10800000"/>
              <a:gd name="f1" fmla="val 5400000"/>
              <a:gd name="f2" fmla="val 180"/>
              <a:gd name="f3" fmla="val w"/>
              <a:gd name="f4" fmla="val h"/>
              <a:gd name="f5" fmla="val 0"/>
              <a:gd name="f6" fmla="val 21600"/>
              <a:gd name="f7" fmla="val 20619"/>
              <a:gd name="f8" fmla="val 7043"/>
              <a:gd name="f9" fmla="val 1599"/>
              <a:gd name="f10" fmla="val 10431"/>
              <a:gd name="f11" fmla="val 3359"/>
              <a:gd name="f12" fmla="val 12009"/>
              <a:gd name="f13" fmla="val 5125"/>
              <a:gd name="f14" fmla="val 11638"/>
              <a:gd name="f15" fmla="val 8965"/>
              <a:gd name="f16" fmla="val 10834"/>
              <a:gd name="f17" fmla="val 12429"/>
              <a:gd name="f18" fmla="val 1037"/>
              <a:gd name="f19" fmla="val 16255"/>
              <a:gd name="f20" fmla="val 77"/>
              <a:gd name="f21" fmla="val 18093"/>
              <a:gd name="f22" fmla="+- 0 0 385"/>
              <a:gd name="f23" fmla="val 19927"/>
              <a:gd name="f24" fmla="val 1227"/>
              <a:gd name="f25" fmla="val 21590"/>
              <a:gd name="f26" fmla="val 4766"/>
              <a:gd name="f27" fmla="val 14041"/>
              <a:gd name="f28" fmla="val 19718"/>
              <a:gd name="f29" fmla="val 9870"/>
              <a:gd name="f30" fmla="val 17612"/>
              <a:gd name="f31" fmla="val 8157"/>
              <a:gd name="f32" fmla="val 15523"/>
              <a:gd name="f33" fmla="val 9097"/>
              <a:gd name="f34" fmla="val 12138"/>
              <a:gd name="f35" fmla="val 10620"/>
              <a:gd name="f36" fmla="val 9076"/>
              <a:gd name="f37" fmla="val 19001"/>
              <a:gd name="f38" fmla="val 5674"/>
              <a:gd name="f39" fmla="val 20410"/>
              <a:gd name="f40" fmla="val 3728"/>
              <a:gd name="f41" fmla="val 21215"/>
              <a:gd name="f42" fmla="val 1770"/>
              <a:gd name="f43" fmla="val 19679"/>
              <a:gd name="f44" fmla="val 15961"/>
              <a:gd name="f45" fmla="+- 0 0 -90"/>
              <a:gd name="f46" fmla="+- 0 0 -180"/>
              <a:gd name="f47" fmla="+- 0 0 -270"/>
              <a:gd name="f48" fmla="+- 0 0 -360"/>
              <a:gd name="f49" fmla="*/ f3 1 21600"/>
              <a:gd name="f50" fmla="*/ f4 1 20619"/>
              <a:gd name="f51" fmla="+- f7 0 f5"/>
              <a:gd name="f52" fmla="+- f6 0 f5"/>
              <a:gd name="f53" fmla="*/ f45 f0 1"/>
              <a:gd name="f54" fmla="*/ f46 f0 1"/>
              <a:gd name="f55" fmla="*/ f47 f0 1"/>
              <a:gd name="f56" fmla="*/ f48 f0 1"/>
              <a:gd name="f57" fmla="*/ f51 1 2"/>
              <a:gd name="f58" fmla="*/ f52 1 2"/>
              <a:gd name="f59" fmla="*/ f52 1 21600"/>
              <a:gd name="f60" fmla="*/ f51 1 20619"/>
              <a:gd name="f61" fmla="*/ f53 1 f2"/>
              <a:gd name="f62" fmla="*/ f54 1 f2"/>
              <a:gd name="f63" fmla="*/ f55 1 f2"/>
              <a:gd name="f64" fmla="*/ f56 1 f2"/>
              <a:gd name="f65" fmla="*/ f58 1 f59"/>
              <a:gd name="f66" fmla="*/ f57 1 f60"/>
              <a:gd name="f67" fmla="*/ 0 1 f59"/>
              <a:gd name="f68" fmla="*/ f6 1 f59"/>
              <a:gd name="f69" fmla="*/ 0 1 f60"/>
              <a:gd name="f70" fmla="*/ f7 1 f60"/>
              <a:gd name="f71" fmla="+- f61 0 f1"/>
              <a:gd name="f72" fmla="+- f62 0 f1"/>
              <a:gd name="f73" fmla="+- f63 0 f1"/>
              <a:gd name="f74" fmla="+- f64 0 f1"/>
              <a:gd name="f75" fmla="*/ f67 f49 1"/>
              <a:gd name="f76" fmla="*/ f68 f49 1"/>
              <a:gd name="f77" fmla="*/ f70 f50 1"/>
              <a:gd name="f78" fmla="*/ f69 f50 1"/>
              <a:gd name="f79" fmla="*/ f65 f49 1"/>
              <a:gd name="f80" fmla="*/ f66 f50 1"/>
            </a:gdLst>
            <a:ahLst/>
            <a:cxnLst>
              <a:cxn ang="3cd4">
                <a:pos x="hc" y="t"/>
              </a:cxn>
              <a:cxn ang="0">
                <a:pos x="r" y="vc"/>
              </a:cxn>
              <a:cxn ang="cd4">
                <a:pos x="hc" y="b"/>
              </a:cxn>
              <a:cxn ang="cd2">
                <a:pos x="l" y="vc"/>
              </a:cxn>
              <a:cxn ang="f71">
                <a:pos x="f79" y="f80"/>
              </a:cxn>
              <a:cxn ang="f72">
                <a:pos x="f79" y="f80"/>
              </a:cxn>
              <a:cxn ang="f73">
                <a:pos x="f79" y="f80"/>
              </a:cxn>
              <a:cxn ang="f74">
                <a:pos x="f79" y="f80"/>
              </a:cxn>
            </a:cxnLst>
            <a:rect l="f75" t="f78" r="f76" b="f77"/>
            <a:pathLst>
              <a:path w="21600" h="20619">
                <a:moveTo>
                  <a:pt x="f5" y="f8"/>
                </a:moveTo>
                <a:cubicBezTo>
                  <a:pt x="f9" y="f10"/>
                  <a:pt x="f11" y="f12"/>
                  <a:pt x="f13" y="f14"/>
                </a:cubicBezTo>
                <a:cubicBezTo>
                  <a:pt x="f15" y="f16"/>
                  <a:pt x="f17" y="f18"/>
                  <a:pt x="f19" y="f20"/>
                </a:cubicBezTo>
                <a:cubicBezTo>
                  <a:pt x="f21" y="f22"/>
                  <a:pt x="f23" y="f24"/>
                  <a:pt x="f25" y="f26"/>
                </a:cubicBezTo>
                <a:lnTo>
                  <a:pt x="f6" y="f27"/>
                </a:lnTo>
                <a:cubicBezTo>
                  <a:pt x="f28" y="f29"/>
                  <a:pt x="f30" y="f31"/>
                  <a:pt x="f32" y="f33"/>
                </a:cubicBezTo>
                <a:cubicBezTo>
                  <a:pt x="f34" y="f35"/>
                  <a:pt x="f36" y="f37"/>
                  <a:pt x="f38" y="f39"/>
                </a:cubicBezTo>
                <a:cubicBezTo>
                  <a:pt x="f40" y="f41"/>
                  <a:pt x="f42" y="f43"/>
                  <a:pt x="f5" y="f44"/>
                </a:cubicBezTo>
                <a:lnTo>
                  <a:pt x="f5" y="f8"/>
                </a:lnTo>
                <a:close/>
              </a:path>
            </a:pathLst>
          </a:custGeom>
          <a:gradFill>
            <a:gsLst>
              <a:gs pos="0">
                <a:srgbClr val="1C498B">
                  <a:alpha val="0"/>
                </a:srgbClr>
              </a:gs>
              <a:gs pos="100000">
                <a:srgbClr val="1C498B">
                  <a:alpha val="63000"/>
                </a:srgbClr>
              </a:gs>
            </a:gsLst>
            <a:lin ang="0"/>
          </a:gradFill>
          <a:ln cap="flat">
            <a:noFill/>
            <a:prstDash val="solid"/>
          </a:ln>
        </p:spPr>
        <p:txBody>
          <a:bodyPr vert="horz" wrap="square" lIns="0" tIns="0" rIns="0" bIns="0" anchor="ctr" anchorCtr="1" compatLnSpc="1">
            <a:noAutofit/>
          </a:bodyPr>
          <a:lstStyle/>
          <a:p>
            <a:pPr marL="0" marR="0" lvl="0" indent="0" algn="ctr" defTabSz="412799" rtl="0" fontAlgn="auto" hangingPunct="0">
              <a:lnSpc>
                <a:spcPct val="100000"/>
              </a:lnSpc>
              <a:spcBef>
                <a:spcPts val="0"/>
              </a:spcBef>
              <a:spcAft>
                <a:spcPts val="0"/>
              </a:spcAft>
              <a:buNone/>
              <a:tabLst/>
              <a:defRPr sz="2400" b="0" i="0" u="none" strike="noStrike" kern="0" cap="none" spc="0" baseline="0">
                <a:solidFill>
                  <a:srgbClr val="FFFFFF"/>
                </a:solidFill>
                <a:uFillTx/>
                <a:latin typeface="Helvetica Neue Medium"/>
                <a:ea typeface="Helvetica Neue Medium"/>
                <a:cs typeface="Helvetica Neue Medium"/>
              </a:defRPr>
            </a:pPr>
            <a:endParaRPr lang="en-US" sz="1525" b="0" i="0" u="none" strike="noStrike" kern="0" cap="none" spc="0" baseline="0">
              <a:solidFill>
                <a:srgbClr val="FFFFFF"/>
              </a:solidFill>
              <a:uFillTx/>
              <a:latin typeface="Helvetica Neue Medium"/>
              <a:ea typeface="Helvetica Neue Medium"/>
              <a:cs typeface="Helvetica Neue Medium"/>
            </a:endParaRPr>
          </a:p>
        </p:txBody>
      </p:sp>
      <p:sp>
        <p:nvSpPr>
          <p:cNvPr id="4" name="Content Placeholder 2">
            <a:extLst>
              <a:ext uri="{FF2B5EF4-FFF2-40B4-BE49-F238E27FC236}">
                <a16:creationId xmlns:a16="http://schemas.microsoft.com/office/drawing/2014/main" id="{1F16AD91-8DCA-EF28-6183-2CEEBEE19C2B}"/>
              </a:ext>
            </a:extLst>
          </p:cNvPr>
          <p:cNvSpPr txBox="1">
            <a:spLocks noGrp="1"/>
          </p:cNvSpPr>
          <p:nvPr>
            <p:ph idx="4294967295"/>
          </p:nvPr>
        </p:nvSpPr>
        <p:spPr>
          <a:xfrm>
            <a:off x="508544" y="1707789"/>
            <a:ext cx="11203667" cy="4648571"/>
          </a:xfrm>
        </p:spPr>
        <p:txBody>
          <a:bodyPr/>
          <a:lstStyle>
            <a:lvl1pPr>
              <a:defRPr>
                <a:solidFill>
                  <a:srgbClr val="4C555F"/>
                </a:solidFill>
              </a:defRPr>
            </a:lvl1pPr>
            <a:lvl2pPr>
              <a:defRPr>
                <a:solidFill>
                  <a:srgbClr val="4C555F"/>
                </a:solidFill>
              </a:defRPr>
            </a:lvl2pPr>
            <a:lvl3pPr>
              <a:defRPr>
                <a:solidFill>
                  <a:srgbClr val="4C555F"/>
                </a:solidFill>
              </a:defRPr>
            </a:lvl3pPr>
            <a:lvl4pPr>
              <a:defRPr>
                <a:solidFill>
                  <a:srgbClr val="4C555F"/>
                </a:solidFill>
              </a:defRPr>
            </a:lvl4pPr>
            <a:lvl5pPr>
              <a:defRPr>
                <a:solidFill>
                  <a:srgbClr val="4C555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hape">
            <a:extLst>
              <a:ext uri="{FF2B5EF4-FFF2-40B4-BE49-F238E27FC236}">
                <a16:creationId xmlns:a16="http://schemas.microsoft.com/office/drawing/2014/main" id="{AA8C3A7D-836F-B2D1-C13C-2A5ABE3133C2}"/>
              </a:ext>
            </a:extLst>
          </p:cNvPr>
          <p:cNvSpPr/>
          <p:nvPr/>
        </p:nvSpPr>
        <p:spPr>
          <a:xfrm>
            <a:off x="6863642" y="519644"/>
            <a:ext cx="5328355" cy="812270"/>
          </a:xfrm>
          <a:custGeom>
            <a:avLst/>
            <a:gdLst>
              <a:gd name="f0" fmla="val 10800000"/>
              <a:gd name="f1" fmla="val 5400000"/>
              <a:gd name="f2" fmla="val 180"/>
              <a:gd name="f3" fmla="val w"/>
              <a:gd name="f4" fmla="val h"/>
              <a:gd name="f5" fmla="val 0"/>
              <a:gd name="f6" fmla="val 21600"/>
              <a:gd name="f7" fmla="val 20619"/>
              <a:gd name="f8" fmla="val 7043"/>
              <a:gd name="f9" fmla="val 1599"/>
              <a:gd name="f10" fmla="val 10431"/>
              <a:gd name="f11" fmla="val 3359"/>
              <a:gd name="f12" fmla="val 12009"/>
              <a:gd name="f13" fmla="val 5125"/>
              <a:gd name="f14" fmla="val 11638"/>
              <a:gd name="f15" fmla="val 8965"/>
              <a:gd name="f16" fmla="val 10834"/>
              <a:gd name="f17" fmla="val 12429"/>
              <a:gd name="f18" fmla="val 1037"/>
              <a:gd name="f19" fmla="val 16255"/>
              <a:gd name="f20" fmla="val 77"/>
              <a:gd name="f21" fmla="val 18093"/>
              <a:gd name="f22" fmla="+- 0 0 385"/>
              <a:gd name="f23" fmla="val 19927"/>
              <a:gd name="f24" fmla="val 1227"/>
              <a:gd name="f25" fmla="val 21590"/>
              <a:gd name="f26" fmla="val 4766"/>
              <a:gd name="f27" fmla="val 14041"/>
              <a:gd name="f28" fmla="val 19718"/>
              <a:gd name="f29" fmla="val 9870"/>
              <a:gd name="f30" fmla="val 17612"/>
              <a:gd name="f31" fmla="val 8157"/>
              <a:gd name="f32" fmla="val 15523"/>
              <a:gd name="f33" fmla="val 9097"/>
              <a:gd name="f34" fmla="val 12138"/>
              <a:gd name="f35" fmla="val 10620"/>
              <a:gd name="f36" fmla="val 9076"/>
              <a:gd name="f37" fmla="val 19001"/>
              <a:gd name="f38" fmla="val 5674"/>
              <a:gd name="f39" fmla="val 20410"/>
              <a:gd name="f40" fmla="val 3728"/>
              <a:gd name="f41" fmla="val 21215"/>
              <a:gd name="f42" fmla="val 1770"/>
              <a:gd name="f43" fmla="val 19679"/>
              <a:gd name="f44" fmla="val 15961"/>
              <a:gd name="f45" fmla="+- 0 0 -90"/>
              <a:gd name="f46" fmla="+- 0 0 -180"/>
              <a:gd name="f47" fmla="+- 0 0 -270"/>
              <a:gd name="f48" fmla="+- 0 0 -360"/>
              <a:gd name="f49" fmla="*/ f3 1 21600"/>
              <a:gd name="f50" fmla="*/ f4 1 20619"/>
              <a:gd name="f51" fmla="+- f7 0 f5"/>
              <a:gd name="f52" fmla="+- f6 0 f5"/>
              <a:gd name="f53" fmla="*/ f45 f0 1"/>
              <a:gd name="f54" fmla="*/ f46 f0 1"/>
              <a:gd name="f55" fmla="*/ f47 f0 1"/>
              <a:gd name="f56" fmla="*/ f48 f0 1"/>
              <a:gd name="f57" fmla="*/ f51 1 2"/>
              <a:gd name="f58" fmla="*/ f52 1 2"/>
              <a:gd name="f59" fmla="*/ f52 1 21600"/>
              <a:gd name="f60" fmla="*/ f51 1 20619"/>
              <a:gd name="f61" fmla="*/ f53 1 f2"/>
              <a:gd name="f62" fmla="*/ f54 1 f2"/>
              <a:gd name="f63" fmla="*/ f55 1 f2"/>
              <a:gd name="f64" fmla="*/ f56 1 f2"/>
              <a:gd name="f65" fmla="*/ f58 1 f59"/>
              <a:gd name="f66" fmla="*/ f57 1 f60"/>
              <a:gd name="f67" fmla="*/ 0 1 f59"/>
              <a:gd name="f68" fmla="*/ f6 1 f59"/>
              <a:gd name="f69" fmla="*/ 0 1 f60"/>
              <a:gd name="f70" fmla="*/ f7 1 f60"/>
              <a:gd name="f71" fmla="+- f61 0 f1"/>
              <a:gd name="f72" fmla="+- f62 0 f1"/>
              <a:gd name="f73" fmla="+- f63 0 f1"/>
              <a:gd name="f74" fmla="+- f64 0 f1"/>
              <a:gd name="f75" fmla="*/ f67 f49 1"/>
              <a:gd name="f76" fmla="*/ f68 f49 1"/>
              <a:gd name="f77" fmla="*/ f70 f50 1"/>
              <a:gd name="f78" fmla="*/ f69 f50 1"/>
              <a:gd name="f79" fmla="*/ f65 f49 1"/>
              <a:gd name="f80" fmla="*/ f66 f50 1"/>
            </a:gdLst>
            <a:ahLst/>
            <a:cxnLst>
              <a:cxn ang="3cd4">
                <a:pos x="hc" y="t"/>
              </a:cxn>
              <a:cxn ang="0">
                <a:pos x="r" y="vc"/>
              </a:cxn>
              <a:cxn ang="cd4">
                <a:pos x="hc" y="b"/>
              </a:cxn>
              <a:cxn ang="cd2">
                <a:pos x="l" y="vc"/>
              </a:cxn>
              <a:cxn ang="f71">
                <a:pos x="f79" y="f80"/>
              </a:cxn>
              <a:cxn ang="f72">
                <a:pos x="f79" y="f80"/>
              </a:cxn>
              <a:cxn ang="f73">
                <a:pos x="f79" y="f80"/>
              </a:cxn>
              <a:cxn ang="f74">
                <a:pos x="f79" y="f80"/>
              </a:cxn>
            </a:cxnLst>
            <a:rect l="f75" t="f78" r="f76" b="f77"/>
            <a:pathLst>
              <a:path w="21600" h="20619">
                <a:moveTo>
                  <a:pt x="f5" y="f8"/>
                </a:moveTo>
                <a:cubicBezTo>
                  <a:pt x="f9" y="f10"/>
                  <a:pt x="f11" y="f12"/>
                  <a:pt x="f13" y="f14"/>
                </a:cubicBezTo>
                <a:cubicBezTo>
                  <a:pt x="f15" y="f16"/>
                  <a:pt x="f17" y="f18"/>
                  <a:pt x="f19" y="f20"/>
                </a:cubicBezTo>
                <a:cubicBezTo>
                  <a:pt x="f21" y="f22"/>
                  <a:pt x="f23" y="f24"/>
                  <a:pt x="f25" y="f26"/>
                </a:cubicBezTo>
                <a:lnTo>
                  <a:pt x="f6" y="f27"/>
                </a:lnTo>
                <a:cubicBezTo>
                  <a:pt x="f28" y="f29"/>
                  <a:pt x="f30" y="f31"/>
                  <a:pt x="f32" y="f33"/>
                </a:cubicBezTo>
                <a:cubicBezTo>
                  <a:pt x="f34" y="f35"/>
                  <a:pt x="f36" y="f37"/>
                  <a:pt x="f38" y="f39"/>
                </a:cubicBezTo>
                <a:cubicBezTo>
                  <a:pt x="f40" y="f41"/>
                  <a:pt x="f42" y="f43"/>
                  <a:pt x="f5" y="f44"/>
                </a:cubicBezTo>
                <a:lnTo>
                  <a:pt x="f5" y="f8"/>
                </a:lnTo>
                <a:close/>
              </a:path>
            </a:pathLst>
          </a:custGeom>
          <a:gradFill>
            <a:gsLst>
              <a:gs pos="0">
                <a:srgbClr val="1C498B">
                  <a:alpha val="0"/>
                </a:srgbClr>
              </a:gs>
              <a:gs pos="100000">
                <a:srgbClr val="1C498B">
                  <a:alpha val="63000"/>
                </a:srgbClr>
              </a:gs>
            </a:gsLst>
            <a:lin ang="0"/>
          </a:gradFill>
          <a:ln cap="flat">
            <a:noFill/>
            <a:prstDash val="solid"/>
          </a:ln>
        </p:spPr>
        <p:txBody>
          <a:bodyPr vert="horz" wrap="square" lIns="0" tIns="0" rIns="0" bIns="0" anchor="ctr" anchorCtr="1" compatLnSpc="1">
            <a:noAutofit/>
          </a:bodyPr>
          <a:lstStyle/>
          <a:p>
            <a:pPr marL="0" marR="0" lvl="0" indent="0" algn="ctr" defTabSz="412799" rtl="0" fontAlgn="auto" hangingPunct="0">
              <a:lnSpc>
                <a:spcPct val="100000"/>
              </a:lnSpc>
              <a:spcBef>
                <a:spcPts val="0"/>
              </a:spcBef>
              <a:spcAft>
                <a:spcPts val="0"/>
              </a:spcAft>
              <a:buNone/>
              <a:tabLst/>
              <a:defRPr sz="2400" b="0" i="0" u="none" strike="noStrike" kern="0" cap="none" spc="0" baseline="0">
                <a:solidFill>
                  <a:srgbClr val="FFFFFF"/>
                </a:solidFill>
                <a:uFillTx/>
                <a:latin typeface="Helvetica Neue Medium"/>
                <a:ea typeface="Helvetica Neue Medium"/>
                <a:cs typeface="Helvetica Neue Medium"/>
              </a:defRPr>
            </a:pPr>
            <a:endParaRPr lang="en-US" sz="1525" b="0" i="0" u="none" strike="noStrike" kern="0" cap="none" spc="0" baseline="0">
              <a:solidFill>
                <a:srgbClr val="FFFFFF"/>
              </a:solidFill>
              <a:uFillTx/>
              <a:latin typeface="Helvetica Neue Medium"/>
              <a:ea typeface="Helvetica Neue Medium"/>
              <a:cs typeface="Helvetica Neue Medium"/>
            </a:endParaRPr>
          </a:p>
        </p:txBody>
      </p:sp>
      <p:sp>
        <p:nvSpPr>
          <p:cNvPr id="6" name="Title 1">
            <a:extLst>
              <a:ext uri="{FF2B5EF4-FFF2-40B4-BE49-F238E27FC236}">
                <a16:creationId xmlns:a16="http://schemas.microsoft.com/office/drawing/2014/main" id="{8B2CB81E-1E3D-9CB0-5B21-4AFC96389AF7}"/>
              </a:ext>
            </a:extLst>
          </p:cNvPr>
          <p:cNvSpPr txBox="1">
            <a:spLocks noGrp="1"/>
          </p:cNvSpPr>
          <p:nvPr>
            <p:ph type="title"/>
          </p:nvPr>
        </p:nvSpPr>
        <p:spPr>
          <a:xfrm>
            <a:off x="304796" y="170060"/>
            <a:ext cx="11430000" cy="1143000"/>
          </a:xfrm>
        </p:spPr>
        <p:txBody>
          <a:bodyPr/>
          <a:lstStyle>
            <a:lvl1pPr>
              <a:defRPr sz="3200">
                <a:solidFill>
                  <a:srgbClr val="FFFFFF"/>
                </a:solidFill>
              </a:defRPr>
            </a:lvl1pPr>
          </a:lstStyle>
          <a:p>
            <a:pPr lvl="0"/>
            <a:r>
              <a:rPr lang="en-US"/>
              <a:t>Click to edit Master title style</a:t>
            </a:r>
          </a:p>
        </p:txBody>
      </p:sp>
      <p:sp>
        <p:nvSpPr>
          <p:cNvPr id="7" name="Text Placeholder 4">
            <a:extLst>
              <a:ext uri="{FF2B5EF4-FFF2-40B4-BE49-F238E27FC236}">
                <a16:creationId xmlns:a16="http://schemas.microsoft.com/office/drawing/2014/main" id="{9D8899A3-9D3C-442D-1C00-30FAB464BA2E}"/>
              </a:ext>
            </a:extLst>
          </p:cNvPr>
          <p:cNvSpPr txBox="1">
            <a:spLocks noGrp="1"/>
          </p:cNvSpPr>
          <p:nvPr>
            <p:ph type="body" idx="4294967295"/>
          </p:nvPr>
        </p:nvSpPr>
        <p:spPr>
          <a:xfrm>
            <a:off x="332184" y="953345"/>
            <a:ext cx="11430109" cy="415923"/>
          </a:xfrm>
        </p:spPr>
        <p:txBody>
          <a:bodyPr>
            <a:normAutofit/>
          </a:bodyPr>
          <a:lstStyle>
            <a:lvl1pPr marL="0" indent="0">
              <a:buNone/>
              <a:defRPr sz="1400">
                <a:solidFill>
                  <a:srgbClr val="FFFFFF"/>
                </a:solidFill>
              </a:defRPr>
            </a:lvl1pPr>
          </a:lstStyle>
          <a:p>
            <a:pPr lvl="0"/>
            <a:r>
              <a:rPr lang="en-US"/>
              <a:t>Subtitle</a:t>
            </a:r>
          </a:p>
        </p:txBody>
      </p:sp>
      <p:cxnSp>
        <p:nvCxnSpPr>
          <p:cNvPr id="8" name="Straight Connector 15">
            <a:extLst>
              <a:ext uri="{FF2B5EF4-FFF2-40B4-BE49-F238E27FC236}">
                <a16:creationId xmlns:a16="http://schemas.microsoft.com/office/drawing/2014/main" id="{E5F647E2-6441-FCEF-420B-5D4BCC2FC2E9}"/>
              </a:ext>
            </a:extLst>
          </p:cNvPr>
          <p:cNvCxnSpPr/>
          <p:nvPr/>
        </p:nvCxnSpPr>
        <p:spPr>
          <a:xfrm>
            <a:off x="11311722" y="6447270"/>
            <a:ext cx="0" cy="267883"/>
          </a:xfrm>
          <a:prstGeom prst="straightConnector1">
            <a:avLst/>
          </a:prstGeom>
          <a:noFill/>
          <a:ln w="6345" cap="flat">
            <a:solidFill>
              <a:srgbClr val="7F7F7F"/>
            </a:solidFill>
            <a:prstDash val="solid"/>
            <a:miter/>
          </a:ln>
        </p:spPr>
      </p:cxnSp>
      <p:sp>
        <p:nvSpPr>
          <p:cNvPr id="9" name="Slide Number Placeholder 6">
            <a:extLst>
              <a:ext uri="{FF2B5EF4-FFF2-40B4-BE49-F238E27FC236}">
                <a16:creationId xmlns:a16="http://schemas.microsoft.com/office/drawing/2014/main" id="{5635F8DC-F41F-7743-AC5C-F39EA8E7756F}"/>
              </a:ext>
            </a:extLst>
          </p:cNvPr>
          <p:cNvSpPr txBox="1">
            <a:spLocks noGrp="1"/>
          </p:cNvSpPr>
          <p:nvPr>
            <p:ph type="sldNum" sz="quarter" idx="8"/>
          </p:nvPr>
        </p:nvSpPr>
        <p:spPr>
          <a:xfrm>
            <a:off x="11202597" y="6454531"/>
            <a:ext cx="559704" cy="319171"/>
          </a:xfrm>
        </p:spPr>
        <p:txBody>
          <a:bodyPr/>
          <a:lstStyle>
            <a:lvl1pPr>
              <a:defRPr sz="1000">
                <a:solidFill>
                  <a:srgbClr val="7F7F7F"/>
                </a:solidFill>
              </a:defRPr>
            </a:lvl1pPr>
          </a:lstStyle>
          <a:p>
            <a:pPr lvl="0"/>
            <a:fld id="{FD8D65AE-0DAF-42F8-B643-1205CCB10325}" type="slidenum">
              <a:t>‹#›</a:t>
            </a:fld>
            <a:endParaRPr lang="en-US"/>
          </a:p>
        </p:txBody>
      </p:sp>
      <p:pic>
        <p:nvPicPr>
          <p:cNvPr id="10" name="Picture 11">
            <a:extLst>
              <a:ext uri="{FF2B5EF4-FFF2-40B4-BE49-F238E27FC236}">
                <a16:creationId xmlns:a16="http://schemas.microsoft.com/office/drawing/2014/main" id="{C25D3990-EC57-2939-5AE2-8327AC878893}"/>
              </a:ext>
            </a:extLst>
          </p:cNvPr>
          <p:cNvPicPr>
            <a:picLocks noChangeAspect="1"/>
          </p:cNvPicPr>
          <p:nvPr/>
        </p:nvPicPr>
        <p:blipFill>
          <a:blip r:embed="rId2"/>
          <a:stretch>
            <a:fillRect/>
          </a:stretch>
        </p:blipFill>
        <p:spPr>
          <a:xfrm>
            <a:off x="9596464" y="6492240"/>
            <a:ext cx="1606134" cy="229240"/>
          </a:xfrm>
          <a:prstGeom prst="rect">
            <a:avLst/>
          </a:prstGeom>
          <a:noFill/>
          <a:ln cap="flat">
            <a:noFill/>
          </a:ln>
        </p:spPr>
      </p:pic>
    </p:spTree>
    <p:extLst>
      <p:ext uri="{BB962C8B-B14F-4D97-AF65-F5344CB8AC3E}">
        <p14:creationId xmlns:p14="http://schemas.microsoft.com/office/powerpoint/2010/main" val="2508735910"/>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showMasterSp="0" preserve="1">
  <p:cSld name="9_EVERYDAY CONTENT ONLY">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AD2F7425-0276-0E14-2327-E236CF1D7D3F}"/>
              </a:ext>
            </a:extLst>
          </p:cNvPr>
          <p:cNvSpPr/>
          <p:nvPr/>
        </p:nvSpPr>
        <p:spPr>
          <a:xfrm>
            <a:off x="0" y="0"/>
            <a:ext cx="12191996" cy="1313060"/>
          </a:xfrm>
          <a:prstGeom prst="rect">
            <a:avLst/>
          </a:prstGeom>
          <a:gradFill>
            <a:gsLst>
              <a:gs pos="0">
                <a:srgbClr val="1C498B"/>
              </a:gs>
              <a:gs pos="100000">
                <a:srgbClr val="79818A"/>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Shape">
            <a:extLst>
              <a:ext uri="{FF2B5EF4-FFF2-40B4-BE49-F238E27FC236}">
                <a16:creationId xmlns:a16="http://schemas.microsoft.com/office/drawing/2014/main" id="{7122C948-197B-A659-5DCC-7E08E1ED30D5}"/>
              </a:ext>
            </a:extLst>
          </p:cNvPr>
          <p:cNvSpPr/>
          <p:nvPr/>
        </p:nvSpPr>
        <p:spPr>
          <a:xfrm>
            <a:off x="6863642" y="16268"/>
            <a:ext cx="5328355" cy="812270"/>
          </a:xfrm>
          <a:custGeom>
            <a:avLst/>
            <a:gdLst>
              <a:gd name="f0" fmla="val 10800000"/>
              <a:gd name="f1" fmla="val 5400000"/>
              <a:gd name="f2" fmla="val 180"/>
              <a:gd name="f3" fmla="val w"/>
              <a:gd name="f4" fmla="val h"/>
              <a:gd name="f5" fmla="val 0"/>
              <a:gd name="f6" fmla="val 21600"/>
              <a:gd name="f7" fmla="val 20619"/>
              <a:gd name="f8" fmla="val 7043"/>
              <a:gd name="f9" fmla="val 1599"/>
              <a:gd name="f10" fmla="val 10431"/>
              <a:gd name="f11" fmla="val 3359"/>
              <a:gd name="f12" fmla="val 12009"/>
              <a:gd name="f13" fmla="val 5125"/>
              <a:gd name="f14" fmla="val 11638"/>
              <a:gd name="f15" fmla="val 8965"/>
              <a:gd name="f16" fmla="val 10834"/>
              <a:gd name="f17" fmla="val 12429"/>
              <a:gd name="f18" fmla="val 1037"/>
              <a:gd name="f19" fmla="val 16255"/>
              <a:gd name="f20" fmla="val 77"/>
              <a:gd name="f21" fmla="val 18093"/>
              <a:gd name="f22" fmla="+- 0 0 385"/>
              <a:gd name="f23" fmla="val 19927"/>
              <a:gd name="f24" fmla="val 1227"/>
              <a:gd name="f25" fmla="val 21590"/>
              <a:gd name="f26" fmla="val 4766"/>
              <a:gd name="f27" fmla="val 14041"/>
              <a:gd name="f28" fmla="val 19718"/>
              <a:gd name="f29" fmla="val 9870"/>
              <a:gd name="f30" fmla="val 17612"/>
              <a:gd name="f31" fmla="val 8157"/>
              <a:gd name="f32" fmla="val 15523"/>
              <a:gd name="f33" fmla="val 9097"/>
              <a:gd name="f34" fmla="val 12138"/>
              <a:gd name="f35" fmla="val 10620"/>
              <a:gd name="f36" fmla="val 9076"/>
              <a:gd name="f37" fmla="val 19001"/>
              <a:gd name="f38" fmla="val 5674"/>
              <a:gd name="f39" fmla="val 20410"/>
              <a:gd name="f40" fmla="val 3728"/>
              <a:gd name="f41" fmla="val 21215"/>
              <a:gd name="f42" fmla="val 1770"/>
              <a:gd name="f43" fmla="val 19679"/>
              <a:gd name="f44" fmla="val 15961"/>
              <a:gd name="f45" fmla="+- 0 0 -90"/>
              <a:gd name="f46" fmla="+- 0 0 -180"/>
              <a:gd name="f47" fmla="+- 0 0 -270"/>
              <a:gd name="f48" fmla="+- 0 0 -360"/>
              <a:gd name="f49" fmla="*/ f3 1 21600"/>
              <a:gd name="f50" fmla="*/ f4 1 20619"/>
              <a:gd name="f51" fmla="+- f7 0 f5"/>
              <a:gd name="f52" fmla="+- f6 0 f5"/>
              <a:gd name="f53" fmla="*/ f45 f0 1"/>
              <a:gd name="f54" fmla="*/ f46 f0 1"/>
              <a:gd name="f55" fmla="*/ f47 f0 1"/>
              <a:gd name="f56" fmla="*/ f48 f0 1"/>
              <a:gd name="f57" fmla="*/ f51 1 2"/>
              <a:gd name="f58" fmla="*/ f52 1 2"/>
              <a:gd name="f59" fmla="*/ f52 1 21600"/>
              <a:gd name="f60" fmla="*/ f51 1 20619"/>
              <a:gd name="f61" fmla="*/ f53 1 f2"/>
              <a:gd name="f62" fmla="*/ f54 1 f2"/>
              <a:gd name="f63" fmla="*/ f55 1 f2"/>
              <a:gd name="f64" fmla="*/ f56 1 f2"/>
              <a:gd name="f65" fmla="*/ f58 1 f59"/>
              <a:gd name="f66" fmla="*/ f57 1 f60"/>
              <a:gd name="f67" fmla="*/ 0 1 f59"/>
              <a:gd name="f68" fmla="*/ f6 1 f59"/>
              <a:gd name="f69" fmla="*/ 0 1 f60"/>
              <a:gd name="f70" fmla="*/ f7 1 f60"/>
              <a:gd name="f71" fmla="+- f61 0 f1"/>
              <a:gd name="f72" fmla="+- f62 0 f1"/>
              <a:gd name="f73" fmla="+- f63 0 f1"/>
              <a:gd name="f74" fmla="+- f64 0 f1"/>
              <a:gd name="f75" fmla="*/ f67 f49 1"/>
              <a:gd name="f76" fmla="*/ f68 f49 1"/>
              <a:gd name="f77" fmla="*/ f70 f50 1"/>
              <a:gd name="f78" fmla="*/ f69 f50 1"/>
              <a:gd name="f79" fmla="*/ f65 f49 1"/>
              <a:gd name="f80" fmla="*/ f66 f50 1"/>
            </a:gdLst>
            <a:ahLst/>
            <a:cxnLst>
              <a:cxn ang="3cd4">
                <a:pos x="hc" y="t"/>
              </a:cxn>
              <a:cxn ang="0">
                <a:pos x="r" y="vc"/>
              </a:cxn>
              <a:cxn ang="cd4">
                <a:pos x="hc" y="b"/>
              </a:cxn>
              <a:cxn ang="cd2">
                <a:pos x="l" y="vc"/>
              </a:cxn>
              <a:cxn ang="f71">
                <a:pos x="f79" y="f80"/>
              </a:cxn>
              <a:cxn ang="f72">
                <a:pos x="f79" y="f80"/>
              </a:cxn>
              <a:cxn ang="f73">
                <a:pos x="f79" y="f80"/>
              </a:cxn>
              <a:cxn ang="f74">
                <a:pos x="f79" y="f80"/>
              </a:cxn>
            </a:cxnLst>
            <a:rect l="f75" t="f78" r="f76" b="f77"/>
            <a:pathLst>
              <a:path w="21600" h="20619">
                <a:moveTo>
                  <a:pt x="f5" y="f8"/>
                </a:moveTo>
                <a:cubicBezTo>
                  <a:pt x="f9" y="f10"/>
                  <a:pt x="f11" y="f12"/>
                  <a:pt x="f13" y="f14"/>
                </a:cubicBezTo>
                <a:cubicBezTo>
                  <a:pt x="f15" y="f16"/>
                  <a:pt x="f17" y="f18"/>
                  <a:pt x="f19" y="f20"/>
                </a:cubicBezTo>
                <a:cubicBezTo>
                  <a:pt x="f21" y="f22"/>
                  <a:pt x="f23" y="f24"/>
                  <a:pt x="f25" y="f26"/>
                </a:cubicBezTo>
                <a:lnTo>
                  <a:pt x="f6" y="f27"/>
                </a:lnTo>
                <a:cubicBezTo>
                  <a:pt x="f28" y="f29"/>
                  <a:pt x="f30" y="f31"/>
                  <a:pt x="f32" y="f33"/>
                </a:cubicBezTo>
                <a:cubicBezTo>
                  <a:pt x="f34" y="f35"/>
                  <a:pt x="f36" y="f37"/>
                  <a:pt x="f38" y="f39"/>
                </a:cubicBezTo>
                <a:cubicBezTo>
                  <a:pt x="f40" y="f41"/>
                  <a:pt x="f42" y="f43"/>
                  <a:pt x="f5" y="f44"/>
                </a:cubicBezTo>
                <a:lnTo>
                  <a:pt x="f5" y="f8"/>
                </a:lnTo>
                <a:close/>
              </a:path>
            </a:pathLst>
          </a:custGeom>
          <a:gradFill>
            <a:gsLst>
              <a:gs pos="0">
                <a:srgbClr val="1C498B">
                  <a:alpha val="0"/>
                </a:srgbClr>
              </a:gs>
              <a:gs pos="100000">
                <a:srgbClr val="1C498B">
                  <a:alpha val="63000"/>
                </a:srgbClr>
              </a:gs>
            </a:gsLst>
            <a:lin ang="0"/>
          </a:gradFill>
          <a:ln cap="flat">
            <a:noFill/>
            <a:prstDash val="solid"/>
          </a:ln>
        </p:spPr>
        <p:txBody>
          <a:bodyPr vert="horz" wrap="square" lIns="0" tIns="0" rIns="0" bIns="0" anchor="ctr" anchorCtr="1" compatLnSpc="1">
            <a:noAutofit/>
          </a:bodyPr>
          <a:lstStyle/>
          <a:p>
            <a:pPr marL="0" marR="0" lvl="0" indent="0" algn="ctr" defTabSz="412799" rtl="0" fontAlgn="auto" hangingPunct="0">
              <a:lnSpc>
                <a:spcPct val="100000"/>
              </a:lnSpc>
              <a:spcBef>
                <a:spcPts val="0"/>
              </a:spcBef>
              <a:spcAft>
                <a:spcPts val="0"/>
              </a:spcAft>
              <a:buNone/>
              <a:tabLst/>
              <a:defRPr sz="2400" b="0" i="0" u="none" strike="noStrike" kern="0" cap="none" spc="0" baseline="0">
                <a:solidFill>
                  <a:srgbClr val="FFFFFF"/>
                </a:solidFill>
                <a:uFillTx/>
                <a:latin typeface="Helvetica Neue Medium"/>
                <a:ea typeface="Helvetica Neue Medium"/>
                <a:cs typeface="Helvetica Neue Medium"/>
              </a:defRPr>
            </a:pPr>
            <a:endParaRPr lang="en-US" sz="1525" b="0" i="0" u="none" strike="noStrike" kern="0" cap="none" spc="0" baseline="0">
              <a:solidFill>
                <a:srgbClr val="FFFFFF"/>
              </a:solidFill>
              <a:uFillTx/>
              <a:latin typeface="Helvetica Neue Medium"/>
              <a:ea typeface="Helvetica Neue Medium"/>
              <a:cs typeface="Helvetica Neue Medium"/>
            </a:endParaRPr>
          </a:p>
        </p:txBody>
      </p:sp>
      <p:sp>
        <p:nvSpPr>
          <p:cNvPr id="4" name="Content Placeholder 2">
            <a:extLst>
              <a:ext uri="{FF2B5EF4-FFF2-40B4-BE49-F238E27FC236}">
                <a16:creationId xmlns:a16="http://schemas.microsoft.com/office/drawing/2014/main" id="{5418491B-9BA4-6959-EC5D-93533D9C43FA}"/>
              </a:ext>
            </a:extLst>
          </p:cNvPr>
          <p:cNvSpPr txBox="1">
            <a:spLocks noGrp="1"/>
          </p:cNvSpPr>
          <p:nvPr>
            <p:ph idx="4294967295"/>
          </p:nvPr>
        </p:nvSpPr>
        <p:spPr>
          <a:xfrm>
            <a:off x="508544" y="1707789"/>
            <a:ext cx="11203667" cy="4648571"/>
          </a:xfrm>
        </p:spPr>
        <p:txBody>
          <a:bodyPr/>
          <a:lstStyle>
            <a:lvl1pPr>
              <a:defRPr>
                <a:solidFill>
                  <a:srgbClr val="4C555F"/>
                </a:solidFill>
              </a:defRPr>
            </a:lvl1pPr>
            <a:lvl2pPr>
              <a:defRPr>
                <a:solidFill>
                  <a:srgbClr val="4C555F"/>
                </a:solidFill>
              </a:defRPr>
            </a:lvl2pPr>
            <a:lvl3pPr>
              <a:defRPr>
                <a:solidFill>
                  <a:srgbClr val="4C555F"/>
                </a:solidFill>
              </a:defRPr>
            </a:lvl3pPr>
            <a:lvl4pPr>
              <a:defRPr>
                <a:solidFill>
                  <a:srgbClr val="4C555F"/>
                </a:solidFill>
              </a:defRPr>
            </a:lvl4pPr>
            <a:lvl5pPr>
              <a:defRPr>
                <a:solidFill>
                  <a:srgbClr val="4C555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hape">
            <a:extLst>
              <a:ext uri="{FF2B5EF4-FFF2-40B4-BE49-F238E27FC236}">
                <a16:creationId xmlns:a16="http://schemas.microsoft.com/office/drawing/2014/main" id="{C817985B-589E-69A2-940E-00AD6080C625}"/>
              </a:ext>
            </a:extLst>
          </p:cNvPr>
          <p:cNvSpPr/>
          <p:nvPr/>
        </p:nvSpPr>
        <p:spPr>
          <a:xfrm>
            <a:off x="6863642" y="519644"/>
            <a:ext cx="5328355" cy="812270"/>
          </a:xfrm>
          <a:custGeom>
            <a:avLst/>
            <a:gdLst>
              <a:gd name="f0" fmla="val 10800000"/>
              <a:gd name="f1" fmla="val 5400000"/>
              <a:gd name="f2" fmla="val 180"/>
              <a:gd name="f3" fmla="val w"/>
              <a:gd name="f4" fmla="val h"/>
              <a:gd name="f5" fmla="val 0"/>
              <a:gd name="f6" fmla="val 21600"/>
              <a:gd name="f7" fmla="val 20619"/>
              <a:gd name="f8" fmla="val 7043"/>
              <a:gd name="f9" fmla="val 1599"/>
              <a:gd name="f10" fmla="val 10431"/>
              <a:gd name="f11" fmla="val 3359"/>
              <a:gd name="f12" fmla="val 12009"/>
              <a:gd name="f13" fmla="val 5125"/>
              <a:gd name="f14" fmla="val 11638"/>
              <a:gd name="f15" fmla="val 8965"/>
              <a:gd name="f16" fmla="val 10834"/>
              <a:gd name="f17" fmla="val 12429"/>
              <a:gd name="f18" fmla="val 1037"/>
              <a:gd name="f19" fmla="val 16255"/>
              <a:gd name="f20" fmla="val 77"/>
              <a:gd name="f21" fmla="val 18093"/>
              <a:gd name="f22" fmla="+- 0 0 385"/>
              <a:gd name="f23" fmla="val 19927"/>
              <a:gd name="f24" fmla="val 1227"/>
              <a:gd name="f25" fmla="val 21590"/>
              <a:gd name="f26" fmla="val 4766"/>
              <a:gd name="f27" fmla="val 14041"/>
              <a:gd name="f28" fmla="val 19718"/>
              <a:gd name="f29" fmla="val 9870"/>
              <a:gd name="f30" fmla="val 17612"/>
              <a:gd name="f31" fmla="val 8157"/>
              <a:gd name="f32" fmla="val 15523"/>
              <a:gd name="f33" fmla="val 9097"/>
              <a:gd name="f34" fmla="val 12138"/>
              <a:gd name="f35" fmla="val 10620"/>
              <a:gd name="f36" fmla="val 9076"/>
              <a:gd name="f37" fmla="val 19001"/>
              <a:gd name="f38" fmla="val 5674"/>
              <a:gd name="f39" fmla="val 20410"/>
              <a:gd name="f40" fmla="val 3728"/>
              <a:gd name="f41" fmla="val 21215"/>
              <a:gd name="f42" fmla="val 1770"/>
              <a:gd name="f43" fmla="val 19679"/>
              <a:gd name="f44" fmla="val 15961"/>
              <a:gd name="f45" fmla="+- 0 0 -90"/>
              <a:gd name="f46" fmla="+- 0 0 -180"/>
              <a:gd name="f47" fmla="+- 0 0 -270"/>
              <a:gd name="f48" fmla="+- 0 0 -360"/>
              <a:gd name="f49" fmla="*/ f3 1 21600"/>
              <a:gd name="f50" fmla="*/ f4 1 20619"/>
              <a:gd name="f51" fmla="+- f7 0 f5"/>
              <a:gd name="f52" fmla="+- f6 0 f5"/>
              <a:gd name="f53" fmla="*/ f45 f0 1"/>
              <a:gd name="f54" fmla="*/ f46 f0 1"/>
              <a:gd name="f55" fmla="*/ f47 f0 1"/>
              <a:gd name="f56" fmla="*/ f48 f0 1"/>
              <a:gd name="f57" fmla="*/ f51 1 2"/>
              <a:gd name="f58" fmla="*/ f52 1 2"/>
              <a:gd name="f59" fmla="*/ f52 1 21600"/>
              <a:gd name="f60" fmla="*/ f51 1 20619"/>
              <a:gd name="f61" fmla="*/ f53 1 f2"/>
              <a:gd name="f62" fmla="*/ f54 1 f2"/>
              <a:gd name="f63" fmla="*/ f55 1 f2"/>
              <a:gd name="f64" fmla="*/ f56 1 f2"/>
              <a:gd name="f65" fmla="*/ f58 1 f59"/>
              <a:gd name="f66" fmla="*/ f57 1 f60"/>
              <a:gd name="f67" fmla="*/ 0 1 f59"/>
              <a:gd name="f68" fmla="*/ f6 1 f59"/>
              <a:gd name="f69" fmla="*/ 0 1 f60"/>
              <a:gd name="f70" fmla="*/ f7 1 f60"/>
              <a:gd name="f71" fmla="+- f61 0 f1"/>
              <a:gd name="f72" fmla="+- f62 0 f1"/>
              <a:gd name="f73" fmla="+- f63 0 f1"/>
              <a:gd name="f74" fmla="+- f64 0 f1"/>
              <a:gd name="f75" fmla="*/ f67 f49 1"/>
              <a:gd name="f76" fmla="*/ f68 f49 1"/>
              <a:gd name="f77" fmla="*/ f70 f50 1"/>
              <a:gd name="f78" fmla="*/ f69 f50 1"/>
              <a:gd name="f79" fmla="*/ f65 f49 1"/>
              <a:gd name="f80" fmla="*/ f66 f50 1"/>
            </a:gdLst>
            <a:ahLst/>
            <a:cxnLst>
              <a:cxn ang="3cd4">
                <a:pos x="hc" y="t"/>
              </a:cxn>
              <a:cxn ang="0">
                <a:pos x="r" y="vc"/>
              </a:cxn>
              <a:cxn ang="cd4">
                <a:pos x="hc" y="b"/>
              </a:cxn>
              <a:cxn ang="cd2">
                <a:pos x="l" y="vc"/>
              </a:cxn>
              <a:cxn ang="f71">
                <a:pos x="f79" y="f80"/>
              </a:cxn>
              <a:cxn ang="f72">
                <a:pos x="f79" y="f80"/>
              </a:cxn>
              <a:cxn ang="f73">
                <a:pos x="f79" y="f80"/>
              </a:cxn>
              <a:cxn ang="f74">
                <a:pos x="f79" y="f80"/>
              </a:cxn>
            </a:cxnLst>
            <a:rect l="f75" t="f78" r="f76" b="f77"/>
            <a:pathLst>
              <a:path w="21600" h="20619">
                <a:moveTo>
                  <a:pt x="f5" y="f8"/>
                </a:moveTo>
                <a:cubicBezTo>
                  <a:pt x="f9" y="f10"/>
                  <a:pt x="f11" y="f12"/>
                  <a:pt x="f13" y="f14"/>
                </a:cubicBezTo>
                <a:cubicBezTo>
                  <a:pt x="f15" y="f16"/>
                  <a:pt x="f17" y="f18"/>
                  <a:pt x="f19" y="f20"/>
                </a:cubicBezTo>
                <a:cubicBezTo>
                  <a:pt x="f21" y="f22"/>
                  <a:pt x="f23" y="f24"/>
                  <a:pt x="f25" y="f26"/>
                </a:cubicBezTo>
                <a:lnTo>
                  <a:pt x="f6" y="f27"/>
                </a:lnTo>
                <a:cubicBezTo>
                  <a:pt x="f28" y="f29"/>
                  <a:pt x="f30" y="f31"/>
                  <a:pt x="f32" y="f33"/>
                </a:cubicBezTo>
                <a:cubicBezTo>
                  <a:pt x="f34" y="f35"/>
                  <a:pt x="f36" y="f37"/>
                  <a:pt x="f38" y="f39"/>
                </a:cubicBezTo>
                <a:cubicBezTo>
                  <a:pt x="f40" y="f41"/>
                  <a:pt x="f42" y="f43"/>
                  <a:pt x="f5" y="f44"/>
                </a:cubicBezTo>
                <a:lnTo>
                  <a:pt x="f5" y="f8"/>
                </a:lnTo>
                <a:close/>
              </a:path>
            </a:pathLst>
          </a:custGeom>
          <a:gradFill>
            <a:gsLst>
              <a:gs pos="0">
                <a:srgbClr val="1C498B">
                  <a:alpha val="0"/>
                </a:srgbClr>
              </a:gs>
              <a:gs pos="100000">
                <a:srgbClr val="1C498B">
                  <a:alpha val="63000"/>
                </a:srgbClr>
              </a:gs>
            </a:gsLst>
            <a:lin ang="0"/>
          </a:gradFill>
          <a:ln cap="flat">
            <a:noFill/>
            <a:prstDash val="solid"/>
          </a:ln>
        </p:spPr>
        <p:txBody>
          <a:bodyPr vert="horz" wrap="square" lIns="0" tIns="0" rIns="0" bIns="0" anchor="ctr" anchorCtr="1" compatLnSpc="1">
            <a:noAutofit/>
          </a:bodyPr>
          <a:lstStyle/>
          <a:p>
            <a:pPr marL="0" marR="0" lvl="0" indent="0" algn="ctr" defTabSz="412799" rtl="0" fontAlgn="auto" hangingPunct="0">
              <a:lnSpc>
                <a:spcPct val="100000"/>
              </a:lnSpc>
              <a:spcBef>
                <a:spcPts val="0"/>
              </a:spcBef>
              <a:spcAft>
                <a:spcPts val="0"/>
              </a:spcAft>
              <a:buNone/>
              <a:tabLst/>
              <a:defRPr sz="2400" b="0" i="0" u="none" strike="noStrike" kern="0" cap="none" spc="0" baseline="0">
                <a:solidFill>
                  <a:srgbClr val="FFFFFF"/>
                </a:solidFill>
                <a:uFillTx/>
                <a:latin typeface="Helvetica Neue Medium"/>
                <a:ea typeface="Helvetica Neue Medium"/>
                <a:cs typeface="Helvetica Neue Medium"/>
              </a:defRPr>
            </a:pPr>
            <a:endParaRPr lang="en-US" sz="1525" b="0" i="0" u="none" strike="noStrike" kern="0" cap="none" spc="0" baseline="0">
              <a:solidFill>
                <a:srgbClr val="FFFFFF"/>
              </a:solidFill>
              <a:uFillTx/>
              <a:latin typeface="Helvetica Neue Medium"/>
              <a:ea typeface="Helvetica Neue Medium"/>
              <a:cs typeface="Helvetica Neue Medium"/>
            </a:endParaRPr>
          </a:p>
        </p:txBody>
      </p:sp>
      <p:sp>
        <p:nvSpPr>
          <p:cNvPr id="6" name="Title 1">
            <a:extLst>
              <a:ext uri="{FF2B5EF4-FFF2-40B4-BE49-F238E27FC236}">
                <a16:creationId xmlns:a16="http://schemas.microsoft.com/office/drawing/2014/main" id="{F4A77481-8230-A857-3EB1-E1DD85285220}"/>
              </a:ext>
            </a:extLst>
          </p:cNvPr>
          <p:cNvSpPr txBox="1">
            <a:spLocks noGrp="1"/>
          </p:cNvSpPr>
          <p:nvPr>
            <p:ph type="title"/>
          </p:nvPr>
        </p:nvSpPr>
        <p:spPr>
          <a:xfrm>
            <a:off x="304796" y="170060"/>
            <a:ext cx="11430000" cy="1143000"/>
          </a:xfrm>
        </p:spPr>
        <p:txBody>
          <a:bodyPr/>
          <a:lstStyle>
            <a:lvl1pPr>
              <a:defRPr sz="3200">
                <a:solidFill>
                  <a:srgbClr val="FFFFFF"/>
                </a:solidFill>
              </a:defRPr>
            </a:lvl1pPr>
          </a:lstStyle>
          <a:p>
            <a:pPr lvl="0"/>
            <a:r>
              <a:rPr lang="en-US"/>
              <a:t>Click to edit Master title style</a:t>
            </a:r>
          </a:p>
        </p:txBody>
      </p:sp>
      <p:sp>
        <p:nvSpPr>
          <p:cNvPr id="7" name="Text Placeholder 4">
            <a:extLst>
              <a:ext uri="{FF2B5EF4-FFF2-40B4-BE49-F238E27FC236}">
                <a16:creationId xmlns:a16="http://schemas.microsoft.com/office/drawing/2014/main" id="{EC592D4F-C4CF-3182-B0E3-B46185EE542E}"/>
              </a:ext>
            </a:extLst>
          </p:cNvPr>
          <p:cNvSpPr txBox="1">
            <a:spLocks noGrp="1"/>
          </p:cNvSpPr>
          <p:nvPr>
            <p:ph type="body" idx="4294967295"/>
          </p:nvPr>
        </p:nvSpPr>
        <p:spPr>
          <a:xfrm>
            <a:off x="332184" y="953345"/>
            <a:ext cx="11430109" cy="415923"/>
          </a:xfrm>
        </p:spPr>
        <p:txBody>
          <a:bodyPr>
            <a:normAutofit/>
          </a:bodyPr>
          <a:lstStyle>
            <a:lvl1pPr marL="0" indent="0">
              <a:buNone/>
              <a:defRPr sz="1400">
                <a:solidFill>
                  <a:srgbClr val="FFFFFF"/>
                </a:solidFill>
              </a:defRPr>
            </a:lvl1pPr>
          </a:lstStyle>
          <a:p>
            <a:pPr lvl="0"/>
            <a:r>
              <a:rPr lang="en-US"/>
              <a:t>Subtitle</a:t>
            </a:r>
          </a:p>
        </p:txBody>
      </p:sp>
      <p:cxnSp>
        <p:nvCxnSpPr>
          <p:cNvPr id="8" name="Straight Connector 15">
            <a:extLst>
              <a:ext uri="{FF2B5EF4-FFF2-40B4-BE49-F238E27FC236}">
                <a16:creationId xmlns:a16="http://schemas.microsoft.com/office/drawing/2014/main" id="{6B7E466B-5DC9-96F8-4E41-423DB97DABDF}"/>
              </a:ext>
            </a:extLst>
          </p:cNvPr>
          <p:cNvCxnSpPr/>
          <p:nvPr/>
        </p:nvCxnSpPr>
        <p:spPr>
          <a:xfrm>
            <a:off x="11311722" y="6447270"/>
            <a:ext cx="0" cy="267883"/>
          </a:xfrm>
          <a:prstGeom prst="straightConnector1">
            <a:avLst/>
          </a:prstGeom>
          <a:noFill/>
          <a:ln w="6345" cap="flat">
            <a:solidFill>
              <a:srgbClr val="7F7F7F"/>
            </a:solidFill>
            <a:prstDash val="solid"/>
            <a:miter/>
          </a:ln>
        </p:spPr>
      </p:cxnSp>
      <p:sp>
        <p:nvSpPr>
          <p:cNvPr id="9" name="Slide Number Placeholder 6">
            <a:extLst>
              <a:ext uri="{FF2B5EF4-FFF2-40B4-BE49-F238E27FC236}">
                <a16:creationId xmlns:a16="http://schemas.microsoft.com/office/drawing/2014/main" id="{9AA767E2-58F2-2106-8EBD-1C352BF9129F}"/>
              </a:ext>
            </a:extLst>
          </p:cNvPr>
          <p:cNvSpPr txBox="1">
            <a:spLocks noGrp="1"/>
          </p:cNvSpPr>
          <p:nvPr>
            <p:ph type="sldNum" sz="quarter" idx="8"/>
          </p:nvPr>
        </p:nvSpPr>
        <p:spPr>
          <a:xfrm>
            <a:off x="11202597" y="6454531"/>
            <a:ext cx="559704" cy="319171"/>
          </a:xfrm>
        </p:spPr>
        <p:txBody>
          <a:bodyPr/>
          <a:lstStyle>
            <a:lvl1pPr>
              <a:defRPr sz="1000">
                <a:solidFill>
                  <a:srgbClr val="7F7F7F"/>
                </a:solidFill>
              </a:defRPr>
            </a:lvl1pPr>
          </a:lstStyle>
          <a:p>
            <a:pPr lvl="0"/>
            <a:fld id="{D39746C5-56F9-4EEC-BD65-F2F376A03496}" type="slidenum">
              <a:t>‹#›</a:t>
            </a:fld>
            <a:endParaRPr lang="en-US"/>
          </a:p>
        </p:txBody>
      </p:sp>
      <p:pic>
        <p:nvPicPr>
          <p:cNvPr id="10" name="Picture 11">
            <a:extLst>
              <a:ext uri="{FF2B5EF4-FFF2-40B4-BE49-F238E27FC236}">
                <a16:creationId xmlns:a16="http://schemas.microsoft.com/office/drawing/2014/main" id="{F4155C48-0609-6421-6EEF-48E0ABC52AD6}"/>
              </a:ext>
            </a:extLst>
          </p:cNvPr>
          <p:cNvPicPr>
            <a:picLocks noChangeAspect="1"/>
          </p:cNvPicPr>
          <p:nvPr/>
        </p:nvPicPr>
        <p:blipFill>
          <a:blip r:embed="rId2"/>
          <a:stretch>
            <a:fillRect/>
          </a:stretch>
        </p:blipFill>
        <p:spPr>
          <a:xfrm>
            <a:off x="9596464" y="6492240"/>
            <a:ext cx="1606134" cy="229240"/>
          </a:xfrm>
          <a:prstGeom prst="rect">
            <a:avLst/>
          </a:prstGeom>
          <a:noFill/>
          <a:ln cap="flat">
            <a:noFill/>
          </a:ln>
        </p:spPr>
      </p:pic>
    </p:spTree>
    <p:extLst>
      <p:ext uri="{BB962C8B-B14F-4D97-AF65-F5344CB8AC3E}">
        <p14:creationId xmlns:p14="http://schemas.microsoft.com/office/powerpoint/2010/main" val="297228064"/>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p:cSld name="28_Divider">
    <p:bg>
      <p:bgPr>
        <a:solidFill>
          <a:srgbClr val="F3F6FB"/>
        </a:solidFill>
        <a:effectLst/>
      </p:bgPr>
    </p:bg>
    <p:spTree>
      <p:nvGrpSpPr>
        <p:cNvPr id="1" name=""/>
        <p:cNvGrpSpPr/>
        <p:nvPr/>
      </p:nvGrpSpPr>
      <p:grpSpPr>
        <a:xfrm>
          <a:off x="0" y="0"/>
          <a:ext cx="0" cy="0"/>
          <a:chOff x="0" y="0"/>
          <a:chExt cx="0" cy="0"/>
        </a:xfrm>
      </p:grpSpPr>
      <p:grpSp>
        <p:nvGrpSpPr>
          <p:cNvPr id="2" name="Group 9">
            <a:extLst>
              <a:ext uri="{FF2B5EF4-FFF2-40B4-BE49-F238E27FC236}">
                <a16:creationId xmlns:a16="http://schemas.microsoft.com/office/drawing/2014/main" id="{B8E62B1B-F625-FF93-06AC-BE1591FF9A92}"/>
              </a:ext>
            </a:extLst>
          </p:cNvPr>
          <p:cNvGrpSpPr/>
          <p:nvPr/>
        </p:nvGrpSpPr>
        <p:grpSpPr>
          <a:xfrm>
            <a:off x="0" y="5020349"/>
            <a:ext cx="12191996" cy="1837651"/>
            <a:chOff x="0" y="5020348"/>
            <a:chExt cx="12191996" cy="1837651"/>
          </a:xfrm>
        </p:grpSpPr>
        <p:sp>
          <p:nvSpPr>
            <p:cNvPr id="3" name="Freeform 25">
              <a:extLst>
                <a:ext uri="{FF2B5EF4-FFF2-40B4-BE49-F238E27FC236}">
                  <a16:creationId xmlns:a16="http://schemas.microsoft.com/office/drawing/2014/main" id="{51B934BF-4336-F0C9-033C-F066D67895D7}"/>
                </a:ext>
              </a:extLst>
            </p:cNvPr>
            <p:cNvSpPr/>
            <p:nvPr/>
          </p:nvSpPr>
          <p:spPr>
            <a:xfrm>
              <a:off x="0" y="5100267"/>
              <a:ext cx="7111371" cy="1757732"/>
            </a:xfrm>
            <a:custGeom>
              <a:avLst/>
              <a:gdLst>
                <a:gd name="f0" fmla="val 10800000"/>
                <a:gd name="f1" fmla="val 5400000"/>
                <a:gd name="f2" fmla="val 180"/>
                <a:gd name="f3" fmla="val w"/>
                <a:gd name="f4" fmla="val h"/>
                <a:gd name="f5" fmla="val 0"/>
                <a:gd name="f6" fmla="val 7111369"/>
                <a:gd name="f7" fmla="val 1757730"/>
                <a:gd name="f8" fmla="val 772954"/>
                <a:gd name="f9" fmla="val 2778"/>
                <a:gd name="f10" fmla="val 1769038"/>
                <a:gd name="f11" fmla="val 30799"/>
                <a:gd name="f12" fmla="val 2696750"/>
                <a:gd name="f13" fmla="val 267531"/>
                <a:gd name="f14" fmla="val 3590934"/>
                <a:gd name="f15" fmla="val 566046"/>
                <a:gd name="f16" fmla="val 4684008"/>
                <a:gd name="f17" fmla="val 930921"/>
                <a:gd name="f18" fmla="val 5690778"/>
                <a:gd name="f19" fmla="val 1324625"/>
                <a:gd name="f20" fmla="val 6700767"/>
                <a:gd name="f21" fmla="val 1636882"/>
                <a:gd name="f22" fmla="val 25690"/>
                <a:gd name="f23" fmla="val 2197"/>
                <a:gd name="f24" fmla="val 25414"/>
                <a:gd name="f25" fmla="val 114653"/>
                <a:gd name="f26" fmla="val 14905"/>
                <a:gd name="f27" fmla="val 227801"/>
                <a:gd name="f28" fmla="val 7857"/>
                <a:gd name="f29" fmla="val 341773"/>
                <a:gd name="f30" fmla="val 3976"/>
                <a:gd name="f31" fmla="val 486963"/>
                <a:gd name="f32" fmla="+- 0 0 968"/>
                <a:gd name="f33" fmla="val 630656"/>
                <a:gd name="f34" fmla="+- 0 0 1224"/>
                <a:gd name="f35" fmla="+- 0 0 -90"/>
                <a:gd name="f36" fmla="*/ f3 1 7111369"/>
                <a:gd name="f37" fmla="*/ f4 1 1757730"/>
                <a:gd name="f38" fmla="+- f7 0 f5"/>
                <a:gd name="f39" fmla="+- f6 0 f5"/>
                <a:gd name="f40" fmla="*/ f35 f0 1"/>
                <a:gd name="f41" fmla="*/ f39 1 7111369"/>
                <a:gd name="f42" fmla="*/ f38 1 1757730"/>
                <a:gd name="f43" fmla="*/ 772954 f39 1"/>
                <a:gd name="f44" fmla="*/ 2778 f38 1"/>
                <a:gd name="f45" fmla="*/ 3590934 f39 1"/>
                <a:gd name="f46" fmla="*/ 566046 f38 1"/>
                <a:gd name="f47" fmla="*/ 6700767 f39 1"/>
                <a:gd name="f48" fmla="*/ 1636882 f38 1"/>
                <a:gd name="f49" fmla="*/ 7111369 f39 1"/>
                <a:gd name="f50" fmla="*/ 1757730 f38 1"/>
                <a:gd name="f51" fmla="*/ 0 f39 1"/>
                <a:gd name="f52" fmla="*/ 25690 f38 1"/>
                <a:gd name="f53" fmla="*/ 2197 f39 1"/>
                <a:gd name="f54" fmla="*/ 25414 f38 1"/>
                <a:gd name="f55" fmla="*/ 341773 f39 1"/>
                <a:gd name="f56" fmla="*/ 3976 f38 1"/>
                <a:gd name="f57" fmla="*/ f40 1 f2"/>
                <a:gd name="f58" fmla="*/ f43 1 7111369"/>
                <a:gd name="f59" fmla="*/ f44 1 1757730"/>
                <a:gd name="f60" fmla="*/ f45 1 7111369"/>
                <a:gd name="f61" fmla="*/ f46 1 1757730"/>
                <a:gd name="f62" fmla="*/ f47 1 7111369"/>
                <a:gd name="f63" fmla="*/ f48 1 1757730"/>
                <a:gd name="f64" fmla="*/ f49 1 7111369"/>
                <a:gd name="f65" fmla="*/ f50 1 1757730"/>
                <a:gd name="f66" fmla="*/ f51 1 7111369"/>
                <a:gd name="f67" fmla="*/ f52 1 1757730"/>
                <a:gd name="f68" fmla="*/ f53 1 7111369"/>
                <a:gd name="f69" fmla="*/ f54 1 1757730"/>
                <a:gd name="f70" fmla="*/ f55 1 7111369"/>
                <a:gd name="f71" fmla="*/ f56 1 1757730"/>
                <a:gd name="f72" fmla="*/ f5 1 f41"/>
                <a:gd name="f73" fmla="*/ f6 1 f41"/>
                <a:gd name="f74" fmla="*/ f5 1 f42"/>
                <a:gd name="f75" fmla="*/ f7 1 f42"/>
                <a:gd name="f76" fmla="+- f57 0 f1"/>
                <a:gd name="f77" fmla="*/ f58 1 f41"/>
                <a:gd name="f78" fmla="*/ f59 1 f42"/>
                <a:gd name="f79" fmla="*/ f60 1 f41"/>
                <a:gd name="f80" fmla="*/ f61 1 f42"/>
                <a:gd name="f81" fmla="*/ f62 1 f41"/>
                <a:gd name="f82" fmla="*/ f63 1 f42"/>
                <a:gd name="f83" fmla="*/ f64 1 f41"/>
                <a:gd name="f84" fmla="*/ f65 1 f42"/>
                <a:gd name="f85" fmla="*/ f66 1 f41"/>
                <a:gd name="f86" fmla="*/ f67 1 f42"/>
                <a:gd name="f87" fmla="*/ f68 1 f41"/>
                <a:gd name="f88" fmla="*/ f69 1 f42"/>
                <a:gd name="f89" fmla="*/ f70 1 f41"/>
                <a:gd name="f90" fmla="*/ f71 1 f42"/>
                <a:gd name="f91" fmla="*/ f72 f36 1"/>
                <a:gd name="f92" fmla="*/ f73 f36 1"/>
                <a:gd name="f93" fmla="*/ f75 f37 1"/>
                <a:gd name="f94" fmla="*/ f74 f37 1"/>
                <a:gd name="f95" fmla="*/ f77 f36 1"/>
                <a:gd name="f96" fmla="*/ f78 f37 1"/>
                <a:gd name="f97" fmla="*/ f79 f36 1"/>
                <a:gd name="f98" fmla="*/ f80 f37 1"/>
                <a:gd name="f99" fmla="*/ f81 f36 1"/>
                <a:gd name="f100" fmla="*/ f82 f37 1"/>
                <a:gd name="f101" fmla="*/ f83 f36 1"/>
                <a:gd name="f102" fmla="*/ f84 f37 1"/>
                <a:gd name="f103" fmla="*/ f85 f36 1"/>
                <a:gd name="f104" fmla="*/ f86 f37 1"/>
                <a:gd name="f105" fmla="*/ f87 f36 1"/>
                <a:gd name="f106" fmla="*/ f88 f37 1"/>
                <a:gd name="f107" fmla="*/ f89 f36 1"/>
                <a:gd name="f108" fmla="*/ f90 f37 1"/>
              </a:gdLst>
              <a:ahLst/>
              <a:cxnLst>
                <a:cxn ang="3cd4">
                  <a:pos x="hc" y="t"/>
                </a:cxn>
                <a:cxn ang="0">
                  <a:pos x="r" y="vc"/>
                </a:cxn>
                <a:cxn ang="cd4">
                  <a:pos x="hc" y="b"/>
                </a:cxn>
                <a:cxn ang="cd2">
                  <a:pos x="l" y="vc"/>
                </a:cxn>
                <a:cxn ang="f76">
                  <a:pos x="f95" y="f96"/>
                </a:cxn>
                <a:cxn ang="f76">
                  <a:pos x="f97" y="f98"/>
                </a:cxn>
                <a:cxn ang="f76">
                  <a:pos x="f99" y="f100"/>
                </a:cxn>
                <a:cxn ang="f76">
                  <a:pos x="f101" y="f102"/>
                </a:cxn>
                <a:cxn ang="f76">
                  <a:pos x="f103" y="f102"/>
                </a:cxn>
                <a:cxn ang="f76">
                  <a:pos x="f103" y="f104"/>
                </a:cxn>
                <a:cxn ang="f76">
                  <a:pos x="f105" y="f106"/>
                </a:cxn>
                <a:cxn ang="f76">
                  <a:pos x="f107" y="f108"/>
                </a:cxn>
                <a:cxn ang="f76">
                  <a:pos x="f95" y="f96"/>
                </a:cxn>
              </a:cxnLst>
              <a:rect l="f91" t="f94" r="f92" b="f93"/>
              <a:pathLst>
                <a:path w="7111369" h="1757730">
                  <a:moveTo>
                    <a:pt x="f8" y="f9"/>
                  </a:moveTo>
                  <a:cubicBezTo>
                    <a:pt x="f10" y="f11"/>
                    <a:pt x="f12" y="f13"/>
                    <a:pt x="f14" y="f15"/>
                  </a:cubicBezTo>
                  <a:cubicBezTo>
                    <a:pt x="f16" y="f17"/>
                    <a:pt x="f18" y="f19"/>
                    <a:pt x="f20" y="f21"/>
                  </a:cubicBezTo>
                  <a:lnTo>
                    <a:pt x="f6" y="f7"/>
                  </a:lnTo>
                  <a:lnTo>
                    <a:pt x="f5" y="f7"/>
                  </a:lnTo>
                  <a:lnTo>
                    <a:pt x="f5" y="f22"/>
                  </a:lnTo>
                  <a:lnTo>
                    <a:pt x="f23" y="f24"/>
                  </a:lnTo>
                  <a:cubicBezTo>
                    <a:pt x="f25" y="f26"/>
                    <a:pt x="f27" y="f28"/>
                    <a:pt x="f29" y="f30"/>
                  </a:cubicBezTo>
                  <a:cubicBezTo>
                    <a:pt x="f31" y="f32"/>
                    <a:pt x="f33" y="f34"/>
                    <a:pt x="f8" y="f9"/>
                  </a:cubicBezTo>
                  <a:close/>
                </a:path>
              </a:pathLst>
            </a:cu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4" name="Freeform 19">
              <a:extLst>
                <a:ext uri="{FF2B5EF4-FFF2-40B4-BE49-F238E27FC236}">
                  <a16:creationId xmlns:a16="http://schemas.microsoft.com/office/drawing/2014/main" id="{9ADDCCAC-AB85-6E9E-FFC4-B8F9B46EFCF6}"/>
                </a:ext>
              </a:extLst>
            </p:cNvPr>
            <p:cNvSpPr/>
            <p:nvPr/>
          </p:nvSpPr>
          <p:spPr>
            <a:xfrm>
              <a:off x="0" y="5038947"/>
              <a:ext cx="12191996" cy="1819052"/>
            </a:xfrm>
            <a:custGeom>
              <a:avLst/>
              <a:gdLst>
                <a:gd name="f0" fmla="val 10800000"/>
                <a:gd name="f1" fmla="val 5400000"/>
                <a:gd name="f2" fmla="val 180"/>
                <a:gd name="f3" fmla="val w"/>
                <a:gd name="f4" fmla="val h"/>
                <a:gd name="f5" fmla="val 0"/>
                <a:gd name="f6" fmla="val 12192000"/>
                <a:gd name="f7" fmla="val 1819056"/>
                <a:gd name="f8" fmla="val 1590347"/>
                <a:gd name="f9" fmla="val 12188220"/>
                <a:gd name="f10" fmla="val 11380834"/>
                <a:gd name="f11" fmla="val 11595183"/>
                <a:gd name="f12" fmla="val 1770580"/>
                <a:gd name="f13" fmla="val 11796947"/>
                <a:gd name="f14" fmla="val 1720044"/>
                <a:gd name="f15" fmla="val 11996151"/>
                <a:gd name="f16" fmla="val 1660154"/>
                <a:gd name="f17" fmla="val 758403"/>
                <a:gd name="f18" fmla="val 2043"/>
                <a:gd name="f19" fmla="val 1686489"/>
                <a:gd name="f20" fmla="val 25125"/>
                <a:gd name="f21" fmla="val 2647016"/>
                <a:gd name="f22" fmla="val 241445"/>
                <a:gd name="f23" fmla="val 3624304"/>
                <a:gd name="f24" fmla="val 526182"/>
                <a:gd name="f25" fmla="val 4845769"/>
                <a:gd name="f26" fmla="val 882033"/>
                <a:gd name="f27" fmla="val 6018540"/>
                <a:gd name="f28" fmla="val 1319108"/>
                <a:gd name="f29" fmla="val 7255331"/>
                <a:gd name="f30" fmla="val 1648964"/>
                <a:gd name="f31" fmla="val 7453869"/>
                <a:gd name="f32" fmla="val 1701922"/>
                <a:gd name="f33" fmla="val 7655427"/>
                <a:gd name="f34" fmla="val 1749451"/>
                <a:gd name="f35" fmla="val 7859208"/>
                <a:gd name="f36" fmla="val 1790989"/>
                <a:gd name="f37" fmla="val 8008547"/>
                <a:gd name="f38" fmla="val 6697152"/>
                <a:gd name="f39" fmla="val 6692612"/>
                <a:gd name="f40" fmla="val 1817638"/>
                <a:gd name="f41" fmla="val 5687256"/>
                <a:gd name="f42" fmla="val 1488590"/>
                <a:gd name="f43" fmla="val 4686470"/>
                <a:gd name="f44" fmla="val 1078099"/>
                <a:gd name="f45" fmla="val 3598861"/>
                <a:gd name="f46" fmla="val 695028"/>
                <a:gd name="f47" fmla="val 2581993"/>
                <a:gd name="f48" fmla="val 336916"/>
                <a:gd name="f49" fmla="val 1520053"/>
                <a:gd name="f50" fmla="val 58744"/>
                <a:gd name="f51" fmla="val 357248"/>
                <a:gd name="f52" fmla="val 79163"/>
                <a:gd name="f53" fmla="val 243154"/>
                <a:gd name="f54" fmla="val 81169"/>
                <a:gd name="f55" fmla="val 129832"/>
                <a:gd name="f56" fmla="val 86358"/>
                <a:gd name="f57" fmla="val 17144"/>
                <a:gd name="f58" fmla="val 95022"/>
                <a:gd name="f59" fmla="val 96893"/>
                <a:gd name="f60" fmla="val 29948"/>
                <a:gd name="f61" fmla="val 15757"/>
                <a:gd name="f62" fmla="val 27869"/>
                <a:gd name="f63" fmla="val 130823"/>
                <a:gd name="f64" fmla="val 16482"/>
                <a:gd name="f65" fmla="val 246476"/>
                <a:gd name="f66" fmla="val 8725"/>
                <a:gd name="f67" fmla="val 362684"/>
                <a:gd name="f68" fmla="val 4345"/>
                <a:gd name="f69" fmla="val 493898"/>
                <a:gd name="f70" fmla="+- 0 0 608"/>
                <a:gd name="f71" fmla="val 625820"/>
                <a:gd name="f72" fmla="+- 0 0 1255"/>
                <a:gd name="f73" fmla="+- 0 0 -90"/>
                <a:gd name="f74" fmla="*/ f3 1 12192000"/>
                <a:gd name="f75" fmla="*/ f4 1 1819056"/>
                <a:gd name="f76" fmla="+- f7 0 f5"/>
                <a:gd name="f77" fmla="+- f6 0 f5"/>
                <a:gd name="f78" fmla="*/ f73 f0 1"/>
                <a:gd name="f79" fmla="*/ f77 1 12192000"/>
                <a:gd name="f80" fmla="*/ f76 1 1819056"/>
                <a:gd name="f81" fmla="*/ 12192000 f77 1"/>
                <a:gd name="f82" fmla="*/ 1590347 f76 1"/>
                <a:gd name="f83" fmla="*/ 12188220 f77 1"/>
                <a:gd name="f84" fmla="*/ 1819056 f76 1"/>
                <a:gd name="f85" fmla="*/ 11380834 f77 1"/>
                <a:gd name="f86" fmla="*/ 11595183 f77 1"/>
                <a:gd name="f87" fmla="*/ 1770580 f76 1"/>
                <a:gd name="f88" fmla="*/ 758403 f77 1"/>
                <a:gd name="f89" fmla="*/ 2043 f76 1"/>
                <a:gd name="f90" fmla="*/ 3624304 f77 1"/>
                <a:gd name="f91" fmla="*/ 526182 f76 1"/>
                <a:gd name="f92" fmla="*/ 7255331 f77 1"/>
                <a:gd name="f93" fmla="*/ 1648964 f76 1"/>
                <a:gd name="f94" fmla="*/ 7859208 f77 1"/>
                <a:gd name="f95" fmla="*/ 1790989 f76 1"/>
                <a:gd name="f96" fmla="*/ 8008547 f77 1"/>
                <a:gd name="f97" fmla="*/ 6697152 f77 1"/>
                <a:gd name="f98" fmla="*/ 6692612 f77 1"/>
                <a:gd name="f99" fmla="*/ 1817638 f76 1"/>
                <a:gd name="f100" fmla="*/ 3598861 f77 1"/>
                <a:gd name="f101" fmla="*/ 695028 f76 1"/>
                <a:gd name="f102" fmla="*/ 357248 f77 1"/>
                <a:gd name="f103" fmla="*/ 79163 f76 1"/>
                <a:gd name="f104" fmla="*/ 17144 f77 1"/>
                <a:gd name="f105" fmla="*/ 95022 f76 1"/>
                <a:gd name="f106" fmla="*/ 0 f77 1"/>
                <a:gd name="f107" fmla="*/ 96893 f76 1"/>
                <a:gd name="f108" fmla="*/ 29948 f76 1"/>
                <a:gd name="f109" fmla="*/ 15757 f77 1"/>
                <a:gd name="f110" fmla="*/ 27869 f76 1"/>
                <a:gd name="f111" fmla="*/ 362684 f77 1"/>
                <a:gd name="f112" fmla="*/ 4345 f76 1"/>
                <a:gd name="f113" fmla="*/ f78 1 f2"/>
                <a:gd name="f114" fmla="*/ f81 1 12192000"/>
                <a:gd name="f115" fmla="*/ f82 1 1819056"/>
                <a:gd name="f116" fmla="*/ f83 1 12192000"/>
                <a:gd name="f117" fmla="*/ f84 1 1819056"/>
                <a:gd name="f118" fmla="*/ f85 1 12192000"/>
                <a:gd name="f119" fmla="*/ f86 1 12192000"/>
                <a:gd name="f120" fmla="*/ f87 1 1819056"/>
                <a:gd name="f121" fmla="*/ f88 1 12192000"/>
                <a:gd name="f122" fmla="*/ f89 1 1819056"/>
                <a:gd name="f123" fmla="*/ f90 1 12192000"/>
                <a:gd name="f124" fmla="*/ f91 1 1819056"/>
                <a:gd name="f125" fmla="*/ f92 1 12192000"/>
                <a:gd name="f126" fmla="*/ f93 1 1819056"/>
                <a:gd name="f127" fmla="*/ f94 1 12192000"/>
                <a:gd name="f128" fmla="*/ f95 1 1819056"/>
                <a:gd name="f129" fmla="*/ f96 1 12192000"/>
                <a:gd name="f130" fmla="*/ f97 1 12192000"/>
                <a:gd name="f131" fmla="*/ f98 1 12192000"/>
                <a:gd name="f132" fmla="*/ f99 1 1819056"/>
                <a:gd name="f133" fmla="*/ f100 1 12192000"/>
                <a:gd name="f134" fmla="*/ f101 1 1819056"/>
                <a:gd name="f135" fmla="*/ f102 1 12192000"/>
                <a:gd name="f136" fmla="*/ f103 1 1819056"/>
                <a:gd name="f137" fmla="*/ f104 1 12192000"/>
                <a:gd name="f138" fmla="*/ f105 1 1819056"/>
                <a:gd name="f139" fmla="*/ f106 1 12192000"/>
                <a:gd name="f140" fmla="*/ f107 1 1819056"/>
                <a:gd name="f141" fmla="*/ f108 1 1819056"/>
                <a:gd name="f142" fmla="*/ f109 1 12192000"/>
                <a:gd name="f143" fmla="*/ f110 1 1819056"/>
                <a:gd name="f144" fmla="*/ f111 1 12192000"/>
                <a:gd name="f145" fmla="*/ f112 1 1819056"/>
                <a:gd name="f146" fmla="*/ f5 1 f79"/>
                <a:gd name="f147" fmla="*/ f6 1 f79"/>
                <a:gd name="f148" fmla="*/ f5 1 f80"/>
                <a:gd name="f149" fmla="*/ f7 1 f80"/>
                <a:gd name="f150" fmla="+- f113 0 f1"/>
                <a:gd name="f151" fmla="*/ f114 1 f79"/>
                <a:gd name="f152" fmla="*/ f115 1 f80"/>
                <a:gd name="f153" fmla="*/ f116 1 f79"/>
                <a:gd name="f154" fmla="*/ f117 1 f80"/>
                <a:gd name="f155" fmla="*/ f118 1 f79"/>
                <a:gd name="f156" fmla="*/ f119 1 f79"/>
                <a:gd name="f157" fmla="*/ f120 1 f80"/>
                <a:gd name="f158" fmla="*/ f121 1 f79"/>
                <a:gd name="f159" fmla="*/ f122 1 f80"/>
                <a:gd name="f160" fmla="*/ f123 1 f79"/>
                <a:gd name="f161" fmla="*/ f124 1 f80"/>
                <a:gd name="f162" fmla="*/ f125 1 f79"/>
                <a:gd name="f163" fmla="*/ f126 1 f80"/>
                <a:gd name="f164" fmla="*/ f127 1 f79"/>
                <a:gd name="f165" fmla="*/ f128 1 f80"/>
                <a:gd name="f166" fmla="*/ f129 1 f79"/>
                <a:gd name="f167" fmla="*/ f130 1 f79"/>
                <a:gd name="f168" fmla="*/ f131 1 f79"/>
                <a:gd name="f169" fmla="*/ f132 1 f80"/>
                <a:gd name="f170" fmla="*/ f133 1 f79"/>
                <a:gd name="f171" fmla="*/ f134 1 f80"/>
                <a:gd name="f172" fmla="*/ f135 1 f79"/>
                <a:gd name="f173" fmla="*/ f136 1 f80"/>
                <a:gd name="f174" fmla="*/ f137 1 f79"/>
                <a:gd name="f175" fmla="*/ f138 1 f80"/>
                <a:gd name="f176" fmla="*/ f139 1 f79"/>
                <a:gd name="f177" fmla="*/ f140 1 f80"/>
                <a:gd name="f178" fmla="*/ f141 1 f80"/>
                <a:gd name="f179" fmla="*/ f142 1 f79"/>
                <a:gd name="f180" fmla="*/ f143 1 f80"/>
                <a:gd name="f181" fmla="*/ f144 1 f79"/>
                <a:gd name="f182" fmla="*/ f145 1 f80"/>
                <a:gd name="f183" fmla="*/ f146 f74 1"/>
                <a:gd name="f184" fmla="*/ f147 f74 1"/>
                <a:gd name="f185" fmla="*/ f149 f75 1"/>
                <a:gd name="f186" fmla="*/ f148 f75 1"/>
                <a:gd name="f187" fmla="*/ f151 f74 1"/>
                <a:gd name="f188" fmla="*/ f152 f75 1"/>
                <a:gd name="f189" fmla="*/ f153 f74 1"/>
                <a:gd name="f190" fmla="*/ f154 f75 1"/>
                <a:gd name="f191" fmla="*/ f155 f74 1"/>
                <a:gd name="f192" fmla="*/ f156 f74 1"/>
                <a:gd name="f193" fmla="*/ f157 f75 1"/>
                <a:gd name="f194" fmla="*/ f158 f74 1"/>
                <a:gd name="f195" fmla="*/ f159 f75 1"/>
                <a:gd name="f196" fmla="*/ f160 f74 1"/>
                <a:gd name="f197" fmla="*/ f161 f75 1"/>
                <a:gd name="f198" fmla="*/ f162 f74 1"/>
                <a:gd name="f199" fmla="*/ f163 f75 1"/>
                <a:gd name="f200" fmla="*/ f164 f74 1"/>
                <a:gd name="f201" fmla="*/ f165 f75 1"/>
                <a:gd name="f202" fmla="*/ f166 f74 1"/>
                <a:gd name="f203" fmla="*/ f167 f74 1"/>
                <a:gd name="f204" fmla="*/ f168 f74 1"/>
                <a:gd name="f205" fmla="*/ f169 f75 1"/>
                <a:gd name="f206" fmla="*/ f170 f74 1"/>
                <a:gd name="f207" fmla="*/ f171 f75 1"/>
                <a:gd name="f208" fmla="*/ f172 f74 1"/>
                <a:gd name="f209" fmla="*/ f173 f75 1"/>
                <a:gd name="f210" fmla="*/ f174 f74 1"/>
                <a:gd name="f211" fmla="*/ f175 f75 1"/>
                <a:gd name="f212" fmla="*/ f176 f74 1"/>
                <a:gd name="f213" fmla="*/ f177 f75 1"/>
                <a:gd name="f214" fmla="*/ f178 f75 1"/>
                <a:gd name="f215" fmla="*/ f179 f74 1"/>
                <a:gd name="f216" fmla="*/ f180 f75 1"/>
                <a:gd name="f217" fmla="*/ f181 f74 1"/>
                <a:gd name="f218" fmla="*/ f182 f75 1"/>
              </a:gdLst>
              <a:ahLst/>
              <a:cxnLst>
                <a:cxn ang="3cd4">
                  <a:pos x="hc" y="t"/>
                </a:cxn>
                <a:cxn ang="0">
                  <a:pos x="r" y="vc"/>
                </a:cxn>
                <a:cxn ang="cd4">
                  <a:pos x="hc" y="b"/>
                </a:cxn>
                <a:cxn ang="cd2">
                  <a:pos x="l" y="vc"/>
                </a:cxn>
                <a:cxn ang="f150">
                  <a:pos x="f187" y="f188"/>
                </a:cxn>
                <a:cxn ang="f150">
                  <a:pos x="f189" y="f190"/>
                </a:cxn>
                <a:cxn ang="f150">
                  <a:pos x="f191" y="f190"/>
                </a:cxn>
                <a:cxn ang="f150">
                  <a:pos x="f192" y="f193"/>
                </a:cxn>
                <a:cxn ang="f150">
                  <a:pos x="f187" y="f188"/>
                </a:cxn>
                <a:cxn ang="f150">
                  <a:pos x="f194" y="f195"/>
                </a:cxn>
                <a:cxn ang="f150">
                  <a:pos x="f196" y="f197"/>
                </a:cxn>
                <a:cxn ang="f150">
                  <a:pos x="f198" y="f199"/>
                </a:cxn>
                <a:cxn ang="f150">
                  <a:pos x="f200" y="f201"/>
                </a:cxn>
                <a:cxn ang="f150">
                  <a:pos x="f202" y="f190"/>
                </a:cxn>
                <a:cxn ang="f150">
                  <a:pos x="f203" y="f190"/>
                </a:cxn>
                <a:cxn ang="f150">
                  <a:pos x="f204" y="f205"/>
                </a:cxn>
                <a:cxn ang="f150">
                  <a:pos x="f206" y="f207"/>
                </a:cxn>
                <a:cxn ang="f150">
                  <a:pos x="f208" y="f209"/>
                </a:cxn>
                <a:cxn ang="f150">
                  <a:pos x="f210" y="f211"/>
                </a:cxn>
                <a:cxn ang="f150">
                  <a:pos x="f212" y="f213"/>
                </a:cxn>
                <a:cxn ang="f150">
                  <a:pos x="f212" y="f214"/>
                </a:cxn>
                <a:cxn ang="f150">
                  <a:pos x="f215" y="f216"/>
                </a:cxn>
                <a:cxn ang="f150">
                  <a:pos x="f217" y="f218"/>
                </a:cxn>
                <a:cxn ang="f150">
                  <a:pos x="f194" y="f195"/>
                </a:cxn>
              </a:cxnLst>
              <a:rect l="f183" t="f186" r="f184" b="f185"/>
              <a:pathLst>
                <a:path w="12192000" h="1819056">
                  <a:moveTo>
                    <a:pt x="f6" y="f8"/>
                  </a:moveTo>
                  <a:lnTo>
                    <a:pt x="f9" y="f7"/>
                  </a:lnTo>
                  <a:lnTo>
                    <a:pt x="f10" y="f7"/>
                  </a:lnTo>
                  <a:lnTo>
                    <a:pt x="f11" y="f12"/>
                  </a:lnTo>
                  <a:cubicBezTo>
                    <a:pt x="f13" y="f14"/>
                    <a:pt x="f15" y="f16"/>
                    <a:pt x="f6" y="f8"/>
                  </a:cubicBezTo>
                  <a:close/>
                  <a:moveTo>
                    <a:pt x="f17" y="f18"/>
                  </a:moveTo>
                  <a:cubicBezTo>
                    <a:pt x="f19" y="f20"/>
                    <a:pt x="f21" y="f22"/>
                    <a:pt x="f23" y="f24"/>
                  </a:cubicBezTo>
                  <a:cubicBezTo>
                    <a:pt x="f25" y="f26"/>
                    <a:pt x="f27" y="f28"/>
                    <a:pt x="f29" y="f30"/>
                  </a:cubicBezTo>
                  <a:cubicBezTo>
                    <a:pt x="f31" y="f32"/>
                    <a:pt x="f33" y="f34"/>
                    <a:pt x="f35" y="f36"/>
                  </a:cubicBezTo>
                  <a:lnTo>
                    <a:pt x="f37" y="f7"/>
                  </a:lnTo>
                  <a:lnTo>
                    <a:pt x="f38" y="f7"/>
                  </a:lnTo>
                  <a:lnTo>
                    <a:pt x="f39" y="f40"/>
                  </a:lnTo>
                  <a:cubicBezTo>
                    <a:pt x="f41" y="f42"/>
                    <a:pt x="f43" y="f44"/>
                    <a:pt x="f45" y="f46"/>
                  </a:cubicBezTo>
                  <a:cubicBezTo>
                    <a:pt x="f47" y="f48"/>
                    <a:pt x="f49" y="f50"/>
                    <a:pt x="f51" y="f52"/>
                  </a:cubicBezTo>
                  <a:cubicBezTo>
                    <a:pt x="f53" y="f54"/>
                    <a:pt x="f55" y="f56"/>
                    <a:pt x="f57" y="f58"/>
                  </a:cubicBezTo>
                  <a:lnTo>
                    <a:pt x="f5" y="f59"/>
                  </a:lnTo>
                  <a:lnTo>
                    <a:pt x="f5" y="f60"/>
                  </a:lnTo>
                  <a:lnTo>
                    <a:pt x="f61" y="f62"/>
                  </a:lnTo>
                  <a:cubicBezTo>
                    <a:pt x="f63" y="f64"/>
                    <a:pt x="f65" y="f66"/>
                    <a:pt x="f67" y="f68"/>
                  </a:cubicBezTo>
                  <a:cubicBezTo>
                    <a:pt x="f69" y="f70"/>
                    <a:pt x="f71" y="f72"/>
                    <a:pt x="f17" y="f18"/>
                  </a:cubicBez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5" name="Freeform 14">
              <a:extLst>
                <a:ext uri="{FF2B5EF4-FFF2-40B4-BE49-F238E27FC236}">
                  <a16:creationId xmlns:a16="http://schemas.microsoft.com/office/drawing/2014/main" id="{A340998A-1643-768C-8C5F-F3814C84C58F}"/>
                </a:ext>
              </a:extLst>
            </p:cNvPr>
            <p:cNvSpPr/>
            <p:nvPr/>
          </p:nvSpPr>
          <p:spPr>
            <a:xfrm>
              <a:off x="0" y="5020348"/>
              <a:ext cx="12191996" cy="1837651"/>
            </a:xfrm>
            <a:custGeom>
              <a:avLst/>
              <a:gdLst>
                <a:gd name="f0" fmla="val 10800000"/>
                <a:gd name="f1" fmla="val 5400000"/>
                <a:gd name="f2" fmla="val 180"/>
                <a:gd name="f3" fmla="val w"/>
                <a:gd name="f4" fmla="val h"/>
                <a:gd name="f5" fmla="val 0"/>
                <a:gd name="f6" fmla="val 12192000"/>
                <a:gd name="f7" fmla="val 1837653"/>
                <a:gd name="f8" fmla="val 631978"/>
                <a:gd name="f9" fmla="val 192"/>
                <a:gd name="f10" fmla="val 919158"/>
                <a:gd name="f11" fmla="+- 0 0 2016"/>
                <a:gd name="f12" fmla="val 1209873"/>
                <a:gd name="f13" fmla="val 14922"/>
                <a:gd name="f14" fmla="val 1503520"/>
                <a:gd name="f15" fmla="val 46905"/>
                <a:gd name="f16" fmla="val 3549714"/>
                <a:gd name="f17" fmla="val 172355"/>
                <a:gd name="f18" fmla="val 5706358"/>
                <a:gd name="f19" fmla="val 1115591"/>
                <a:gd name="f20" fmla="val 7786904"/>
                <a:gd name="f21" fmla="val 1473930"/>
                <a:gd name="f22" fmla="val 9204661"/>
                <a:gd name="f23" fmla="val 1718045"/>
                <a:gd name="f24" fmla="val 10875183"/>
                <a:gd name="f25" fmla="val 1584536"/>
                <a:gd name="f26" fmla="val 1008678"/>
                <a:gd name="f27" fmla="val 1399189"/>
                <a:gd name="f28" fmla="val 1684971"/>
                <a:gd name="f29" fmla="val 7111369"/>
                <a:gd name="f30" fmla="val 6700767"/>
                <a:gd name="f31" fmla="val 1716805"/>
                <a:gd name="f32" fmla="val 5690778"/>
                <a:gd name="f33" fmla="val 1404548"/>
                <a:gd name="f34" fmla="val 4684008"/>
                <a:gd name="f35" fmla="val 1010844"/>
                <a:gd name="f36" fmla="val 3590934"/>
                <a:gd name="f37" fmla="val 645969"/>
                <a:gd name="f38" fmla="val 2569009"/>
                <a:gd name="f39" fmla="val 304809"/>
                <a:gd name="f40" fmla="val 1503293"/>
                <a:gd name="f41" fmla="val 44345"/>
                <a:gd name="f42" fmla="val 341773"/>
                <a:gd name="f43" fmla="val 83899"/>
                <a:gd name="f44" fmla="val 227801"/>
                <a:gd name="f45" fmla="val 87780"/>
                <a:gd name="f46" fmla="val 114653"/>
                <a:gd name="f47" fmla="val 94828"/>
                <a:gd name="f48" fmla="val 2197"/>
                <a:gd name="f49" fmla="val 105337"/>
                <a:gd name="f50" fmla="val 105613"/>
                <a:gd name="f51" fmla="val 38154"/>
                <a:gd name="f52" fmla="val 346000"/>
                <a:gd name="f53" fmla="val 8933"/>
                <a:gd name="f54" fmla="val 440918"/>
                <a:gd name="f55" fmla="val 3791"/>
                <a:gd name="f56" fmla="val 536252"/>
                <a:gd name="f57" fmla="val 928"/>
                <a:gd name="f58" fmla="+- 0 0 -90"/>
                <a:gd name="f59" fmla="*/ f3 1 12192000"/>
                <a:gd name="f60" fmla="*/ f4 1 1837653"/>
                <a:gd name="f61" fmla="+- f7 0 f5"/>
                <a:gd name="f62" fmla="+- f6 0 f5"/>
                <a:gd name="f63" fmla="*/ f58 f0 1"/>
                <a:gd name="f64" fmla="*/ f62 1 12192000"/>
                <a:gd name="f65" fmla="*/ f61 1 1837653"/>
                <a:gd name="f66" fmla="*/ 631978 f62 1"/>
                <a:gd name="f67" fmla="*/ 192 f61 1"/>
                <a:gd name="f68" fmla="*/ 1503520 f62 1"/>
                <a:gd name="f69" fmla="*/ 46905 f61 1"/>
                <a:gd name="f70" fmla="*/ 7786904 f62 1"/>
                <a:gd name="f71" fmla="*/ 1473930 f61 1"/>
                <a:gd name="f72" fmla="*/ 12192000 f62 1"/>
                <a:gd name="f73" fmla="*/ 1008678 f61 1"/>
                <a:gd name="f74" fmla="*/ 1399189 f61 1"/>
                <a:gd name="f75" fmla="*/ 1684971 f61 1"/>
                <a:gd name="f76" fmla="*/ 1837653 f61 1"/>
                <a:gd name="f77" fmla="*/ 7111369 f62 1"/>
                <a:gd name="f78" fmla="*/ 6700767 f62 1"/>
                <a:gd name="f79" fmla="*/ 1716805 f61 1"/>
                <a:gd name="f80" fmla="*/ 3590934 f62 1"/>
                <a:gd name="f81" fmla="*/ 645969 f61 1"/>
                <a:gd name="f82" fmla="*/ 341773 f62 1"/>
                <a:gd name="f83" fmla="*/ 83899 f61 1"/>
                <a:gd name="f84" fmla="*/ 2197 f62 1"/>
                <a:gd name="f85" fmla="*/ 105337 f61 1"/>
                <a:gd name="f86" fmla="*/ 0 f62 1"/>
                <a:gd name="f87" fmla="*/ 105613 f61 1"/>
                <a:gd name="f88" fmla="*/ 38154 f61 1"/>
                <a:gd name="f89" fmla="*/ 346000 f62 1"/>
                <a:gd name="f90" fmla="*/ 8933 f61 1"/>
                <a:gd name="f91" fmla="*/ f63 1 f2"/>
                <a:gd name="f92" fmla="*/ f66 1 12192000"/>
                <a:gd name="f93" fmla="*/ f67 1 1837653"/>
                <a:gd name="f94" fmla="*/ f68 1 12192000"/>
                <a:gd name="f95" fmla="*/ f69 1 1837653"/>
                <a:gd name="f96" fmla="*/ f70 1 12192000"/>
                <a:gd name="f97" fmla="*/ f71 1 1837653"/>
                <a:gd name="f98" fmla="*/ f72 1 12192000"/>
                <a:gd name="f99" fmla="*/ f73 1 1837653"/>
                <a:gd name="f100" fmla="*/ f74 1 1837653"/>
                <a:gd name="f101" fmla="*/ f75 1 1837653"/>
                <a:gd name="f102" fmla="*/ f76 1 1837653"/>
                <a:gd name="f103" fmla="*/ f77 1 12192000"/>
                <a:gd name="f104" fmla="*/ f78 1 12192000"/>
                <a:gd name="f105" fmla="*/ f79 1 1837653"/>
                <a:gd name="f106" fmla="*/ f80 1 12192000"/>
                <a:gd name="f107" fmla="*/ f81 1 1837653"/>
                <a:gd name="f108" fmla="*/ f82 1 12192000"/>
                <a:gd name="f109" fmla="*/ f83 1 1837653"/>
                <a:gd name="f110" fmla="*/ f84 1 12192000"/>
                <a:gd name="f111" fmla="*/ f85 1 1837653"/>
                <a:gd name="f112" fmla="*/ f86 1 12192000"/>
                <a:gd name="f113" fmla="*/ f87 1 1837653"/>
                <a:gd name="f114" fmla="*/ f88 1 1837653"/>
                <a:gd name="f115" fmla="*/ f89 1 12192000"/>
                <a:gd name="f116" fmla="*/ f90 1 1837653"/>
                <a:gd name="f117" fmla="*/ f5 1 f64"/>
                <a:gd name="f118" fmla="*/ f6 1 f64"/>
                <a:gd name="f119" fmla="*/ f5 1 f65"/>
                <a:gd name="f120" fmla="*/ f7 1 f65"/>
                <a:gd name="f121" fmla="+- f91 0 f1"/>
                <a:gd name="f122" fmla="*/ f92 1 f64"/>
                <a:gd name="f123" fmla="*/ f93 1 f65"/>
                <a:gd name="f124" fmla="*/ f94 1 f64"/>
                <a:gd name="f125" fmla="*/ f95 1 f65"/>
                <a:gd name="f126" fmla="*/ f96 1 f64"/>
                <a:gd name="f127" fmla="*/ f97 1 f65"/>
                <a:gd name="f128" fmla="*/ f98 1 f64"/>
                <a:gd name="f129" fmla="*/ f99 1 f65"/>
                <a:gd name="f130" fmla="*/ f100 1 f65"/>
                <a:gd name="f131" fmla="*/ f101 1 f65"/>
                <a:gd name="f132" fmla="*/ f102 1 f65"/>
                <a:gd name="f133" fmla="*/ f103 1 f64"/>
                <a:gd name="f134" fmla="*/ f104 1 f64"/>
                <a:gd name="f135" fmla="*/ f105 1 f65"/>
                <a:gd name="f136" fmla="*/ f106 1 f64"/>
                <a:gd name="f137" fmla="*/ f107 1 f65"/>
                <a:gd name="f138" fmla="*/ f108 1 f64"/>
                <a:gd name="f139" fmla="*/ f109 1 f65"/>
                <a:gd name="f140" fmla="*/ f110 1 f64"/>
                <a:gd name="f141" fmla="*/ f111 1 f65"/>
                <a:gd name="f142" fmla="*/ f112 1 f64"/>
                <a:gd name="f143" fmla="*/ f113 1 f65"/>
                <a:gd name="f144" fmla="*/ f114 1 f65"/>
                <a:gd name="f145" fmla="*/ f115 1 f64"/>
                <a:gd name="f146" fmla="*/ f116 1 f65"/>
                <a:gd name="f147" fmla="*/ f117 f59 1"/>
                <a:gd name="f148" fmla="*/ f118 f59 1"/>
                <a:gd name="f149" fmla="*/ f120 f60 1"/>
                <a:gd name="f150" fmla="*/ f119 f60 1"/>
                <a:gd name="f151" fmla="*/ f122 f59 1"/>
                <a:gd name="f152" fmla="*/ f123 f60 1"/>
                <a:gd name="f153" fmla="*/ f124 f59 1"/>
                <a:gd name="f154" fmla="*/ f125 f60 1"/>
                <a:gd name="f155" fmla="*/ f126 f59 1"/>
                <a:gd name="f156" fmla="*/ f127 f60 1"/>
                <a:gd name="f157" fmla="*/ f128 f59 1"/>
                <a:gd name="f158" fmla="*/ f129 f60 1"/>
                <a:gd name="f159" fmla="*/ f130 f60 1"/>
                <a:gd name="f160" fmla="*/ f131 f60 1"/>
                <a:gd name="f161" fmla="*/ f132 f60 1"/>
                <a:gd name="f162" fmla="*/ f133 f59 1"/>
                <a:gd name="f163" fmla="*/ f134 f59 1"/>
                <a:gd name="f164" fmla="*/ f135 f60 1"/>
                <a:gd name="f165" fmla="*/ f136 f59 1"/>
                <a:gd name="f166" fmla="*/ f137 f60 1"/>
                <a:gd name="f167" fmla="*/ f138 f59 1"/>
                <a:gd name="f168" fmla="*/ f139 f60 1"/>
                <a:gd name="f169" fmla="*/ f140 f59 1"/>
                <a:gd name="f170" fmla="*/ f141 f60 1"/>
                <a:gd name="f171" fmla="*/ f142 f59 1"/>
                <a:gd name="f172" fmla="*/ f143 f60 1"/>
                <a:gd name="f173" fmla="*/ f144 f60 1"/>
                <a:gd name="f174" fmla="*/ f145 f59 1"/>
                <a:gd name="f175" fmla="*/ f146 f60 1"/>
              </a:gdLst>
              <a:ahLst/>
              <a:cxnLst>
                <a:cxn ang="3cd4">
                  <a:pos x="hc" y="t"/>
                </a:cxn>
                <a:cxn ang="0">
                  <a:pos x="r" y="vc"/>
                </a:cxn>
                <a:cxn ang="cd4">
                  <a:pos x="hc" y="b"/>
                </a:cxn>
                <a:cxn ang="cd2">
                  <a:pos x="l" y="vc"/>
                </a:cxn>
                <a:cxn ang="f121">
                  <a:pos x="f151" y="f152"/>
                </a:cxn>
                <a:cxn ang="f121">
                  <a:pos x="f153" y="f154"/>
                </a:cxn>
                <a:cxn ang="f121">
                  <a:pos x="f155" y="f156"/>
                </a:cxn>
                <a:cxn ang="f121">
                  <a:pos x="f157" y="f158"/>
                </a:cxn>
                <a:cxn ang="f121">
                  <a:pos x="f157" y="f159"/>
                </a:cxn>
                <a:cxn ang="f121">
                  <a:pos x="f157" y="f160"/>
                </a:cxn>
                <a:cxn ang="f121">
                  <a:pos x="f157" y="f161"/>
                </a:cxn>
                <a:cxn ang="f121">
                  <a:pos x="f162" y="f161"/>
                </a:cxn>
                <a:cxn ang="f121">
                  <a:pos x="f163" y="f164"/>
                </a:cxn>
                <a:cxn ang="f121">
                  <a:pos x="f165" y="f166"/>
                </a:cxn>
                <a:cxn ang="f121">
                  <a:pos x="f167" y="f168"/>
                </a:cxn>
                <a:cxn ang="f121">
                  <a:pos x="f169" y="f170"/>
                </a:cxn>
                <a:cxn ang="f121">
                  <a:pos x="f171" y="f172"/>
                </a:cxn>
                <a:cxn ang="f121">
                  <a:pos x="f171" y="f173"/>
                </a:cxn>
                <a:cxn ang="f121">
                  <a:pos x="f174" y="f175"/>
                </a:cxn>
                <a:cxn ang="f121">
                  <a:pos x="f151" y="f152"/>
                </a:cxn>
              </a:cxnLst>
              <a:rect l="f147" t="f150" r="f148" b="f149"/>
              <a:pathLst>
                <a:path w="12192000" h="1837653">
                  <a:moveTo>
                    <a:pt x="f8" y="f9"/>
                  </a:moveTo>
                  <a:cubicBezTo>
                    <a:pt x="f10" y="f11"/>
                    <a:pt x="f12" y="f13"/>
                    <a:pt x="f14" y="f15"/>
                  </a:cubicBezTo>
                  <a:cubicBezTo>
                    <a:pt x="f16" y="f17"/>
                    <a:pt x="f18" y="f19"/>
                    <a:pt x="f20" y="f21"/>
                  </a:cubicBezTo>
                  <a:cubicBezTo>
                    <a:pt x="f22" y="f23"/>
                    <a:pt x="f24" y="f25"/>
                    <a:pt x="f6" y="f26"/>
                  </a:cubicBezTo>
                  <a:lnTo>
                    <a:pt x="f6" y="f27"/>
                  </a:lnTo>
                  <a:lnTo>
                    <a:pt x="f6" y="f28"/>
                  </a:lnTo>
                  <a:lnTo>
                    <a:pt x="f6" y="f7"/>
                  </a:lnTo>
                  <a:lnTo>
                    <a:pt x="f29" y="f7"/>
                  </a:lnTo>
                  <a:lnTo>
                    <a:pt x="f30" y="f31"/>
                  </a:lnTo>
                  <a:cubicBezTo>
                    <a:pt x="f32" y="f33"/>
                    <a:pt x="f34" y="f35"/>
                    <a:pt x="f36" y="f37"/>
                  </a:cubicBezTo>
                  <a:cubicBezTo>
                    <a:pt x="f38" y="f39"/>
                    <a:pt x="f40" y="f41"/>
                    <a:pt x="f42" y="f43"/>
                  </a:cubicBezTo>
                  <a:cubicBezTo>
                    <a:pt x="f44" y="f45"/>
                    <a:pt x="f46" y="f47"/>
                    <a:pt x="f48" y="f49"/>
                  </a:cubicBezTo>
                  <a:lnTo>
                    <a:pt x="f5" y="f50"/>
                  </a:lnTo>
                  <a:lnTo>
                    <a:pt x="f5" y="f51"/>
                  </a:lnTo>
                  <a:lnTo>
                    <a:pt x="f52" y="f53"/>
                  </a:lnTo>
                  <a:cubicBezTo>
                    <a:pt x="f54" y="f55"/>
                    <a:pt x="f56" y="f57"/>
                    <a:pt x="f8" y="f9"/>
                  </a:cubicBez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pic>
          <p:nvPicPr>
            <p:cNvPr id="6" name="Picture 20">
              <a:extLst>
                <a:ext uri="{FF2B5EF4-FFF2-40B4-BE49-F238E27FC236}">
                  <a16:creationId xmlns:a16="http://schemas.microsoft.com/office/drawing/2014/main" id="{66775FBF-41DC-F9A6-20E5-5F67DC029B10}"/>
                </a:ext>
              </a:extLst>
            </p:cNvPr>
            <p:cNvPicPr>
              <a:picLocks noChangeAspect="1"/>
            </p:cNvPicPr>
            <p:nvPr/>
          </p:nvPicPr>
          <p:blipFill>
            <a:blip r:embed="rId2"/>
            <a:srcRect/>
            <a:stretch>
              <a:fillRect/>
            </a:stretch>
          </p:blipFill>
          <p:spPr>
            <a:xfrm>
              <a:off x="313291" y="5563584"/>
              <a:ext cx="2025313" cy="911940"/>
            </a:xfrm>
            <a:prstGeom prst="rect">
              <a:avLst/>
            </a:prstGeom>
            <a:noFill/>
            <a:ln cap="flat">
              <a:noFill/>
            </a:ln>
          </p:spPr>
        </p:pic>
      </p:grpSp>
      <p:sp>
        <p:nvSpPr>
          <p:cNvPr id="7" name="Title 10">
            <a:extLst>
              <a:ext uri="{FF2B5EF4-FFF2-40B4-BE49-F238E27FC236}">
                <a16:creationId xmlns:a16="http://schemas.microsoft.com/office/drawing/2014/main" id="{7EDD9F5C-BB48-A159-AD97-899E127AEE94}"/>
              </a:ext>
            </a:extLst>
          </p:cNvPr>
          <p:cNvSpPr txBox="1">
            <a:spLocks noGrp="1"/>
          </p:cNvSpPr>
          <p:nvPr>
            <p:ph type="title"/>
          </p:nvPr>
        </p:nvSpPr>
        <p:spPr>
          <a:xfrm>
            <a:off x="1413305" y="701748"/>
            <a:ext cx="9365376" cy="2014679"/>
          </a:xfrm>
        </p:spPr>
        <p:txBody>
          <a:bodyPr anchor="b"/>
          <a:lstStyle>
            <a:lvl1pPr>
              <a:defRPr/>
            </a:lvl1pPr>
          </a:lstStyle>
          <a:p>
            <a:pPr lvl="0"/>
            <a:r>
              <a:rPr lang="en-US"/>
              <a:t>Click to edit Master title style</a:t>
            </a:r>
          </a:p>
        </p:txBody>
      </p:sp>
      <p:sp>
        <p:nvSpPr>
          <p:cNvPr id="8" name="Subtitle 2">
            <a:extLst>
              <a:ext uri="{FF2B5EF4-FFF2-40B4-BE49-F238E27FC236}">
                <a16:creationId xmlns:a16="http://schemas.microsoft.com/office/drawing/2014/main" id="{D32C51CB-EAD3-AE1E-60B4-59AF8921DA32}"/>
              </a:ext>
            </a:extLst>
          </p:cNvPr>
          <p:cNvSpPr txBox="1">
            <a:spLocks noGrp="1"/>
          </p:cNvSpPr>
          <p:nvPr>
            <p:ph type="subTitle" idx="4294967295"/>
          </p:nvPr>
        </p:nvSpPr>
        <p:spPr>
          <a:xfrm>
            <a:off x="1413305" y="3081637"/>
            <a:ext cx="9365376" cy="986564"/>
          </a:xfrm>
        </p:spPr>
        <p:txBody>
          <a:bodyPr/>
          <a:lstStyle>
            <a:lvl1pPr marL="0" indent="0">
              <a:buNone/>
              <a:defRPr/>
            </a:lvl1pPr>
          </a:lstStyle>
          <a:p>
            <a:pPr lvl="0"/>
            <a:r>
              <a:rPr lang="en-US"/>
              <a:t>Click to edit Master subtitle style</a:t>
            </a:r>
          </a:p>
        </p:txBody>
      </p:sp>
    </p:spTree>
    <p:extLst>
      <p:ext uri="{BB962C8B-B14F-4D97-AF65-F5344CB8AC3E}">
        <p14:creationId xmlns:p14="http://schemas.microsoft.com/office/powerpoint/2010/main" val="2952907090"/>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p:cSld name="38_Title Slide_Yale Blue">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10ACCD45-4023-31BE-0C45-EAC1C9A92C13}"/>
              </a:ext>
            </a:extLst>
          </p:cNvPr>
          <p:cNvSpPr txBox="1">
            <a:spLocks noGrp="1"/>
          </p:cNvSpPr>
          <p:nvPr>
            <p:ph type="body" idx="4294967295"/>
          </p:nvPr>
        </p:nvSpPr>
        <p:spPr>
          <a:xfrm>
            <a:off x="2826557" y="5400857"/>
            <a:ext cx="8178613" cy="379656"/>
          </a:xfrm>
        </p:spPr>
        <p:txBody>
          <a:bodyPr wrap="square">
            <a:spAutoFit/>
          </a:bodyPr>
          <a:lstStyle>
            <a:lvl1pPr marL="0" indent="0" algn="r">
              <a:buNone/>
              <a:defRPr sz="1867">
                <a:solidFill>
                  <a:srgbClr val="616364"/>
                </a:solidFill>
                <a:latin typeface="Verdana"/>
                <a:ea typeface="Verdana"/>
                <a:cs typeface="Verdana"/>
              </a:defRPr>
            </a:lvl1pPr>
          </a:lstStyle>
          <a:p>
            <a:pPr lvl="0"/>
            <a:r>
              <a:rPr lang="en-US"/>
              <a:t>Date | Presenter Information (14 pt)</a:t>
            </a:r>
          </a:p>
        </p:txBody>
      </p:sp>
      <p:sp>
        <p:nvSpPr>
          <p:cNvPr id="3" name="Title 1">
            <a:extLst>
              <a:ext uri="{FF2B5EF4-FFF2-40B4-BE49-F238E27FC236}">
                <a16:creationId xmlns:a16="http://schemas.microsoft.com/office/drawing/2014/main" id="{48A4FEFD-FCBB-A04E-EF31-EDC709ED839B}"/>
              </a:ext>
            </a:extLst>
          </p:cNvPr>
          <p:cNvSpPr txBox="1">
            <a:spLocks noGrp="1"/>
          </p:cNvSpPr>
          <p:nvPr>
            <p:ph type="title"/>
          </p:nvPr>
        </p:nvSpPr>
        <p:spPr>
          <a:xfrm>
            <a:off x="2826557" y="1807147"/>
            <a:ext cx="8178613" cy="1629460"/>
          </a:xfrm>
        </p:spPr>
        <p:txBody>
          <a:bodyPr anchor="b"/>
          <a:lstStyle>
            <a:lvl1pPr>
              <a:defRPr sz="5334">
                <a:solidFill>
                  <a:srgbClr val="00314C"/>
                </a:solidFill>
                <a:latin typeface="Verdana"/>
                <a:ea typeface="Verdana"/>
                <a:cs typeface="Verdana"/>
              </a:defRPr>
            </a:lvl1pPr>
          </a:lstStyle>
          <a:p>
            <a:pPr lvl="0"/>
            <a:r>
              <a:rPr lang="en-US"/>
              <a:t>Presentation Title (40pt)</a:t>
            </a:r>
          </a:p>
        </p:txBody>
      </p:sp>
      <p:sp>
        <p:nvSpPr>
          <p:cNvPr id="4" name="Date Placeholder 3">
            <a:extLst>
              <a:ext uri="{FF2B5EF4-FFF2-40B4-BE49-F238E27FC236}">
                <a16:creationId xmlns:a16="http://schemas.microsoft.com/office/drawing/2014/main" id="{993C514C-1BA4-1837-DA7B-0C0EDA3D9539}"/>
              </a:ext>
            </a:extLst>
          </p:cNvPr>
          <p:cNvSpPr txBox="1">
            <a:spLocks noGrp="1"/>
          </p:cNvSpPr>
          <p:nvPr>
            <p:ph type="dt" sz="quarter" idx="7"/>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914446"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defRPr>
            </a:lvl1pPr>
          </a:lstStyle>
          <a:p>
            <a:pPr lvl="0"/>
            <a:fld id="{03AEC0B0-404E-4A97-B50E-7CB4421C1B90}" type="datetime1">
              <a:rPr lang="en-US"/>
              <a:pPr lvl="0"/>
              <a:t>5/20/2026</a:t>
            </a:fld>
            <a:endParaRPr lang="en-US"/>
          </a:p>
        </p:txBody>
      </p:sp>
      <p:sp>
        <p:nvSpPr>
          <p:cNvPr id="5" name="Footer Placeholder 4">
            <a:extLst>
              <a:ext uri="{FF2B5EF4-FFF2-40B4-BE49-F238E27FC236}">
                <a16:creationId xmlns:a16="http://schemas.microsoft.com/office/drawing/2014/main" id="{094BC730-8054-FC17-D12E-C0066B7C5976}"/>
              </a:ext>
            </a:extLst>
          </p:cNvPr>
          <p:cNvSpPr txBox="1">
            <a:spLocks noGrp="1"/>
          </p:cNvSpPr>
          <p:nvPr>
            <p:ph type="ftr" sz="quarter" idx="9"/>
          </p:nvPr>
        </p:nvSpPr>
        <p:spPr/>
        <p:txBody>
          <a:bodyPr anchorCtr="1"/>
          <a:lstStyle>
            <a:lvl1pPr algn="ctr">
              <a:defRPr/>
            </a:lvl1pPr>
          </a:lstStyle>
          <a:p>
            <a:pPr lvl="0"/>
            <a:endParaRPr lang="en-US"/>
          </a:p>
        </p:txBody>
      </p:sp>
      <p:sp>
        <p:nvSpPr>
          <p:cNvPr id="6" name="Slide Number Placeholder 5">
            <a:extLst>
              <a:ext uri="{FF2B5EF4-FFF2-40B4-BE49-F238E27FC236}">
                <a16:creationId xmlns:a16="http://schemas.microsoft.com/office/drawing/2014/main" id="{5E400B83-4CBD-F061-57B9-B4CCB5777BFB}"/>
              </a:ext>
            </a:extLst>
          </p:cNvPr>
          <p:cNvSpPr txBox="1">
            <a:spLocks noGrp="1"/>
          </p:cNvSpPr>
          <p:nvPr>
            <p:ph type="sldNum" sz="quarter" idx="8"/>
          </p:nvPr>
        </p:nvSpPr>
        <p:spPr/>
        <p:txBody>
          <a:bodyPr/>
          <a:lstStyle>
            <a:lvl1pPr>
              <a:defRPr/>
            </a:lvl1pPr>
          </a:lstStyle>
          <a:p>
            <a:pPr lvl="0"/>
            <a:fld id="{B5F8909F-2F02-432B-B20B-9E1CA943BE44}" type="slidenum">
              <a:t>‹#›</a:t>
            </a:fld>
            <a:endParaRPr lang="en-US"/>
          </a:p>
        </p:txBody>
      </p:sp>
      <p:sp>
        <p:nvSpPr>
          <p:cNvPr id="7" name="Rectangle 12">
            <a:extLst>
              <a:ext uri="{FF2B5EF4-FFF2-40B4-BE49-F238E27FC236}">
                <a16:creationId xmlns:a16="http://schemas.microsoft.com/office/drawing/2014/main" id="{40840A4B-F58B-7AEA-7DFF-8BB95B9F3F87}"/>
              </a:ext>
            </a:extLst>
          </p:cNvPr>
          <p:cNvSpPr/>
          <p:nvPr/>
        </p:nvSpPr>
        <p:spPr>
          <a:xfrm rot="10799991">
            <a:off x="-19" y="2000233"/>
            <a:ext cx="2785070" cy="2042851"/>
          </a:xfrm>
          <a:custGeom>
            <a:avLst/>
            <a:gdLst>
              <a:gd name="f0" fmla="val 10800000"/>
              <a:gd name="f1" fmla="val 5400000"/>
              <a:gd name="f2" fmla="val 180"/>
              <a:gd name="f3" fmla="val w"/>
              <a:gd name="f4" fmla="val h"/>
              <a:gd name="f5" fmla="val 0"/>
              <a:gd name="f6" fmla="val 10293751"/>
              <a:gd name="f7" fmla="val 1031873"/>
              <a:gd name="f8" fmla="val 3579068"/>
              <a:gd name="f9" fmla="val 1"/>
              <a:gd name="f10" fmla="val 1031872"/>
              <a:gd name="f11" fmla="+- 0 0 -90"/>
              <a:gd name="f12" fmla="*/ f3 1 10293751"/>
              <a:gd name="f13" fmla="*/ f4 1 1031873"/>
              <a:gd name="f14" fmla="+- f7 0 f5"/>
              <a:gd name="f15" fmla="+- f6 0 f5"/>
              <a:gd name="f16" fmla="*/ f11 f0 1"/>
              <a:gd name="f17" fmla="*/ f15 1 10293751"/>
              <a:gd name="f18" fmla="*/ f14 1 1031873"/>
              <a:gd name="f19" fmla="*/ 10293751 f15 1"/>
              <a:gd name="f20" fmla="*/ 0 f15 1"/>
              <a:gd name="f21" fmla="*/ 0 f14 1"/>
              <a:gd name="f22" fmla="*/ 1 f14 1"/>
              <a:gd name="f23" fmla="*/ 1031873 f14 1"/>
              <a:gd name="f24" fmla="*/ 1031872 f14 1"/>
              <a:gd name="f25" fmla="*/ 3579068 f15 1"/>
              <a:gd name="f26" fmla="*/ f16 1 f2"/>
              <a:gd name="f27" fmla="*/ f19 1 10293751"/>
              <a:gd name="f28" fmla="*/ f20 1 10293751"/>
              <a:gd name="f29" fmla="*/ f21 1 1031873"/>
              <a:gd name="f30" fmla="*/ f22 1 1031873"/>
              <a:gd name="f31" fmla="*/ f23 1 1031873"/>
              <a:gd name="f32" fmla="*/ f24 1 1031873"/>
              <a:gd name="f33" fmla="*/ f25 1 10293751"/>
              <a:gd name="f34" fmla="*/ f5 1 f17"/>
              <a:gd name="f35" fmla="*/ f6 1 f17"/>
              <a:gd name="f36" fmla="*/ f5 1 f18"/>
              <a:gd name="f37" fmla="*/ f7 1 f18"/>
              <a:gd name="f38" fmla="+- f26 0 f1"/>
              <a:gd name="f39" fmla="*/ f33 1 f17"/>
              <a:gd name="f40" fmla="*/ f29 1 f18"/>
              <a:gd name="f41" fmla="*/ f27 1 f17"/>
              <a:gd name="f42" fmla="*/ f30 1 f18"/>
              <a:gd name="f43" fmla="*/ f31 1 f18"/>
              <a:gd name="f44" fmla="*/ f28 1 f17"/>
              <a:gd name="f45" fmla="*/ f32 1 f18"/>
              <a:gd name="f46" fmla="*/ f34 f12 1"/>
              <a:gd name="f47" fmla="*/ f35 f12 1"/>
              <a:gd name="f48" fmla="*/ f37 f13 1"/>
              <a:gd name="f49" fmla="*/ f36 f13 1"/>
              <a:gd name="f50" fmla="*/ f39 f12 1"/>
              <a:gd name="f51" fmla="*/ f40 f13 1"/>
              <a:gd name="f52" fmla="*/ f41 f12 1"/>
              <a:gd name="f53" fmla="*/ f42 f13 1"/>
              <a:gd name="f54" fmla="*/ f43 f13 1"/>
              <a:gd name="f55" fmla="*/ f44 f12 1"/>
              <a:gd name="f56" fmla="*/ f45 f13 1"/>
            </a:gdLst>
            <a:ahLst/>
            <a:cxnLst>
              <a:cxn ang="3cd4">
                <a:pos x="hc" y="t"/>
              </a:cxn>
              <a:cxn ang="0">
                <a:pos x="r" y="vc"/>
              </a:cxn>
              <a:cxn ang="cd4">
                <a:pos x="hc" y="b"/>
              </a:cxn>
              <a:cxn ang="cd2">
                <a:pos x="l" y="vc"/>
              </a:cxn>
              <a:cxn ang="f38">
                <a:pos x="f50" y="f51"/>
              </a:cxn>
              <a:cxn ang="f38">
                <a:pos x="f52" y="f53"/>
              </a:cxn>
              <a:cxn ang="f38">
                <a:pos x="f52" y="f54"/>
              </a:cxn>
              <a:cxn ang="f38">
                <a:pos x="f55" y="f56"/>
              </a:cxn>
              <a:cxn ang="f38">
                <a:pos x="f50" y="f51"/>
              </a:cxn>
            </a:cxnLst>
            <a:rect l="f46" t="f49" r="f47" b="f48"/>
            <a:pathLst>
              <a:path w="10293751" h="1031873">
                <a:moveTo>
                  <a:pt x="f8" y="f5"/>
                </a:moveTo>
                <a:lnTo>
                  <a:pt x="f6" y="f9"/>
                </a:lnTo>
                <a:lnTo>
                  <a:pt x="f6" y="f7"/>
                </a:lnTo>
                <a:lnTo>
                  <a:pt x="f5" y="f10"/>
                </a:lnTo>
                <a:lnTo>
                  <a:pt x="f8" y="f5"/>
                </a:lnTo>
                <a:close/>
              </a:path>
            </a:pathLst>
          </a:cu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8" name="Rectangle 8">
            <a:extLst>
              <a:ext uri="{FF2B5EF4-FFF2-40B4-BE49-F238E27FC236}">
                <a16:creationId xmlns:a16="http://schemas.microsoft.com/office/drawing/2014/main" id="{C2838D9A-5CA2-C467-94C5-A42F1FDCE02C}"/>
              </a:ext>
            </a:extLst>
          </p:cNvPr>
          <p:cNvSpPr/>
          <p:nvPr/>
        </p:nvSpPr>
        <p:spPr>
          <a:xfrm>
            <a:off x="0" y="6115050"/>
            <a:ext cx="12191996" cy="742950"/>
          </a:xfrm>
          <a:prstGeom prst="rect">
            <a:avLst/>
          </a:prstGeom>
          <a:solidFill>
            <a:srgbClr val="003B5C"/>
          </a:soli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ndParaRPr>
          </a:p>
        </p:txBody>
      </p:sp>
      <p:sp>
        <p:nvSpPr>
          <p:cNvPr id="9" name="Text Placeholder 11">
            <a:extLst>
              <a:ext uri="{FF2B5EF4-FFF2-40B4-BE49-F238E27FC236}">
                <a16:creationId xmlns:a16="http://schemas.microsoft.com/office/drawing/2014/main" id="{B5D4050C-7D5E-948C-A90E-181007906C75}"/>
              </a:ext>
            </a:extLst>
          </p:cNvPr>
          <p:cNvSpPr txBox="1">
            <a:spLocks noGrp="1"/>
          </p:cNvSpPr>
          <p:nvPr>
            <p:ph type="body" idx="4294967295"/>
          </p:nvPr>
        </p:nvSpPr>
        <p:spPr>
          <a:xfrm>
            <a:off x="2826557" y="3447397"/>
            <a:ext cx="8178613" cy="713314"/>
          </a:xfrm>
        </p:spPr>
        <p:txBody>
          <a:bodyPr/>
          <a:lstStyle>
            <a:lvl1pPr marL="0" indent="0">
              <a:buNone/>
              <a:defRPr sz="3200">
                <a:solidFill>
                  <a:srgbClr val="00314C"/>
                </a:solidFill>
                <a:latin typeface="Verdana"/>
                <a:ea typeface="Verdana"/>
                <a:cs typeface="Verdana"/>
              </a:defRPr>
            </a:lvl1pPr>
          </a:lstStyle>
          <a:p>
            <a:pPr lvl="0"/>
            <a:r>
              <a:rPr lang="en-US"/>
              <a:t>Subtitle (24)</a:t>
            </a:r>
          </a:p>
        </p:txBody>
      </p:sp>
      <p:pic>
        <p:nvPicPr>
          <p:cNvPr id="10" name="Picture 12">
            <a:extLst>
              <a:ext uri="{FF2B5EF4-FFF2-40B4-BE49-F238E27FC236}">
                <a16:creationId xmlns:a16="http://schemas.microsoft.com/office/drawing/2014/main" id="{81D321A9-A5EB-8394-EECF-8DF3D93AAB91}"/>
              </a:ext>
            </a:extLst>
          </p:cNvPr>
          <p:cNvPicPr>
            <a:picLocks noChangeAspect="1"/>
          </p:cNvPicPr>
          <p:nvPr/>
        </p:nvPicPr>
        <p:blipFill>
          <a:blip r:embed="rId2"/>
          <a:srcRect/>
          <a:stretch>
            <a:fillRect/>
          </a:stretch>
        </p:blipFill>
        <p:spPr>
          <a:xfrm>
            <a:off x="2829831" y="4178333"/>
            <a:ext cx="4395959" cy="1140165"/>
          </a:xfrm>
          <a:prstGeom prst="rect">
            <a:avLst/>
          </a:prstGeom>
          <a:noFill/>
          <a:ln cap="flat">
            <a:noFill/>
          </a:ln>
        </p:spPr>
      </p:pic>
    </p:spTree>
    <p:extLst>
      <p:ext uri="{BB962C8B-B14F-4D97-AF65-F5344CB8AC3E}">
        <p14:creationId xmlns:p14="http://schemas.microsoft.com/office/powerpoint/2010/main" val="1725157756"/>
      </p:ext>
    </p:extLst>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showMasterSp="0" preserve="1">
  <p:cSld name="10_EVERYDAY CONTENT ONLY">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A1EF2293-7396-893B-24A3-10B7BD569F05}"/>
              </a:ext>
            </a:extLst>
          </p:cNvPr>
          <p:cNvSpPr/>
          <p:nvPr/>
        </p:nvSpPr>
        <p:spPr>
          <a:xfrm>
            <a:off x="0" y="0"/>
            <a:ext cx="12191996" cy="1313060"/>
          </a:xfrm>
          <a:prstGeom prst="rect">
            <a:avLst/>
          </a:prstGeom>
          <a:gradFill>
            <a:gsLst>
              <a:gs pos="0">
                <a:srgbClr val="1C498B"/>
              </a:gs>
              <a:gs pos="100000">
                <a:srgbClr val="79818A"/>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Shape">
            <a:extLst>
              <a:ext uri="{FF2B5EF4-FFF2-40B4-BE49-F238E27FC236}">
                <a16:creationId xmlns:a16="http://schemas.microsoft.com/office/drawing/2014/main" id="{2DCF08C4-7FDD-5BC2-F30A-25528B883FEF}"/>
              </a:ext>
            </a:extLst>
          </p:cNvPr>
          <p:cNvSpPr/>
          <p:nvPr/>
        </p:nvSpPr>
        <p:spPr>
          <a:xfrm>
            <a:off x="6863642" y="16268"/>
            <a:ext cx="5328355" cy="812270"/>
          </a:xfrm>
          <a:custGeom>
            <a:avLst/>
            <a:gdLst>
              <a:gd name="f0" fmla="val 10800000"/>
              <a:gd name="f1" fmla="val 5400000"/>
              <a:gd name="f2" fmla="val 180"/>
              <a:gd name="f3" fmla="val w"/>
              <a:gd name="f4" fmla="val h"/>
              <a:gd name="f5" fmla="val 0"/>
              <a:gd name="f6" fmla="val 21600"/>
              <a:gd name="f7" fmla="val 20619"/>
              <a:gd name="f8" fmla="val 7043"/>
              <a:gd name="f9" fmla="val 1599"/>
              <a:gd name="f10" fmla="val 10431"/>
              <a:gd name="f11" fmla="val 3359"/>
              <a:gd name="f12" fmla="val 12009"/>
              <a:gd name="f13" fmla="val 5125"/>
              <a:gd name="f14" fmla="val 11638"/>
              <a:gd name="f15" fmla="val 8965"/>
              <a:gd name="f16" fmla="val 10834"/>
              <a:gd name="f17" fmla="val 12429"/>
              <a:gd name="f18" fmla="val 1037"/>
              <a:gd name="f19" fmla="val 16255"/>
              <a:gd name="f20" fmla="val 77"/>
              <a:gd name="f21" fmla="val 18093"/>
              <a:gd name="f22" fmla="+- 0 0 385"/>
              <a:gd name="f23" fmla="val 19927"/>
              <a:gd name="f24" fmla="val 1227"/>
              <a:gd name="f25" fmla="val 21590"/>
              <a:gd name="f26" fmla="val 4766"/>
              <a:gd name="f27" fmla="val 14041"/>
              <a:gd name="f28" fmla="val 19718"/>
              <a:gd name="f29" fmla="val 9870"/>
              <a:gd name="f30" fmla="val 17612"/>
              <a:gd name="f31" fmla="val 8157"/>
              <a:gd name="f32" fmla="val 15523"/>
              <a:gd name="f33" fmla="val 9097"/>
              <a:gd name="f34" fmla="val 12138"/>
              <a:gd name="f35" fmla="val 10620"/>
              <a:gd name="f36" fmla="val 9076"/>
              <a:gd name="f37" fmla="val 19001"/>
              <a:gd name="f38" fmla="val 5674"/>
              <a:gd name="f39" fmla="val 20410"/>
              <a:gd name="f40" fmla="val 3728"/>
              <a:gd name="f41" fmla="val 21215"/>
              <a:gd name="f42" fmla="val 1770"/>
              <a:gd name="f43" fmla="val 19679"/>
              <a:gd name="f44" fmla="val 15961"/>
              <a:gd name="f45" fmla="+- 0 0 -90"/>
              <a:gd name="f46" fmla="+- 0 0 -180"/>
              <a:gd name="f47" fmla="+- 0 0 -270"/>
              <a:gd name="f48" fmla="+- 0 0 -360"/>
              <a:gd name="f49" fmla="*/ f3 1 21600"/>
              <a:gd name="f50" fmla="*/ f4 1 20619"/>
              <a:gd name="f51" fmla="+- f7 0 f5"/>
              <a:gd name="f52" fmla="+- f6 0 f5"/>
              <a:gd name="f53" fmla="*/ f45 f0 1"/>
              <a:gd name="f54" fmla="*/ f46 f0 1"/>
              <a:gd name="f55" fmla="*/ f47 f0 1"/>
              <a:gd name="f56" fmla="*/ f48 f0 1"/>
              <a:gd name="f57" fmla="*/ f51 1 2"/>
              <a:gd name="f58" fmla="*/ f52 1 2"/>
              <a:gd name="f59" fmla="*/ f52 1 21600"/>
              <a:gd name="f60" fmla="*/ f51 1 20619"/>
              <a:gd name="f61" fmla="*/ f53 1 f2"/>
              <a:gd name="f62" fmla="*/ f54 1 f2"/>
              <a:gd name="f63" fmla="*/ f55 1 f2"/>
              <a:gd name="f64" fmla="*/ f56 1 f2"/>
              <a:gd name="f65" fmla="*/ f58 1 f59"/>
              <a:gd name="f66" fmla="*/ f57 1 f60"/>
              <a:gd name="f67" fmla="*/ 0 1 f59"/>
              <a:gd name="f68" fmla="*/ f6 1 f59"/>
              <a:gd name="f69" fmla="*/ 0 1 f60"/>
              <a:gd name="f70" fmla="*/ f7 1 f60"/>
              <a:gd name="f71" fmla="+- f61 0 f1"/>
              <a:gd name="f72" fmla="+- f62 0 f1"/>
              <a:gd name="f73" fmla="+- f63 0 f1"/>
              <a:gd name="f74" fmla="+- f64 0 f1"/>
              <a:gd name="f75" fmla="*/ f67 f49 1"/>
              <a:gd name="f76" fmla="*/ f68 f49 1"/>
              <a:gd name="f77" fmla="*/ f70 f50 1"/>
              <a:gd name="f78" fmla="*/ f69 f50 1"/>
              <a:gd name="f79" fmla="*/ f65 f49 1"/>
              <a:gd name="f80" fmla="*/ f66 f50 1"/>
            </a:gdLst>
            <a:ahLst/>
            <a:cxnLst>
              <a:cxn ang="3cd4">
                <a:pos x="hc" y="t"/>
              </a:cxn>
              <a:cxn ang="0">
                <a:pos x="r" y="vc"/>
              </a:cxn>
              <a:cxn ang="cd4">
                <a:pos x="hc" y="b"/>
              </a:cxn>
              <a:cxn ang="cd2">
                <a:pos x="l" y="vc"/>
              </a:cxn>
              <a:cxn ang="f71">
                <a:pos x="f79" y="f80"/>
              </a:cxn>
              <a:cxn ang="f72">
                <a:pos x="f79" y="f80"/>
              </a:cxn>
              <a:cxn ang="f73">
                <a:pos x="f79" y="f80"/>
              </a:cxn>
              <a:cxn ang="f74">
                <a:pos x="f79" y="f80"/>
              </a:cxn>
            </a:cxnLst>
            <a:rect l="f75" t="f78" r="f76" b="f77"/>
            <a:pathLst>
              <a:path w="21600" h="20619">
                <a:moveTo>
                  <a:pt x="f5" y="f8"/>
                </a:moveTo>
                <a:cubicBezTo>
                  <a:pt x="f9" y="f10"/>
                  <a:pt x="f11" y="f12"/>
                  <a:pt x="f13" y="f14"/>
                </a:cubicBezTo>
                <a:cubicBezTo>
                  <a:pt x="f15" y="f16"/>
                  <a:pt x="f17" y="f18"/>
                  <a:pt x="f19" y="f20"/>
                </a:cubicBezTo>
                <a:cubicBezTo>
                  <a:pt x="f21" y="f22"/>
                  <a:pt x="f23" y="f24"/>
                  <a:pt x="f25" y="f26"/>
                </a:cubicBezTo>
                <a:lnTo>
                  <a:pt x="f6" y="f27"/>
                </a:lnTo>
                <a:cubicBezTo>
                  <a:pt x="f28" y="f29"/>
                  <a:pt x="f30" y="f31"/>
                  <a:pt x="f32" y="f33"/>
                </a:cubicBezTo>
                <a:cubicBezTo>
                  <a:pt x="f34" y="f35"/>
                  <a:pt x="f36" y="f37"/>
                  <a:pt x="f38" y="f39"/>
                </a:cubicBezTo>
                <a:cubicBezTo>
                  <a:pt x="f40" y="f41"/>
                  <a:pt x="f42" y="f43"/>
                  <a:pt x="f5" y="f44"/>
                </a:cubicBezTo>
                <a:lnTo>
                  <a:pt x="f5" y="f8"/>
                </a:lnTo>
                <a:close/>
              </a:path>
            </a:pathLst>
          </a:custGeom>
          <a:gradFill>
            <a:gsLst>
              <a:gs pos="0">
                <a:srgbClr val="1C498B">
                  <a:alpha val="0"/>
                </a:srgbClr>
              </a:gs>
              <a:gs pos="100000">
                <a:srgbClr val="1C498B">
                  <a:alpha val="63000"/>
                </a:srgbClr>
              </a:gs>
            </a:gsLst>
            <a:lin ang="0"/>
          </a:gradFill>
          <a:ln cap="flat">
            <a:noFill/>
            <a:prstDash val="solid"/>
          </a:ln>
        </p:spPr>
        <p:txBody>
          <a:bodyPr vert="horz" wrap="square" lIns="0" tIns="0" rIns="0" bIns="0" anchor="ctr" anchorCtr="1" compatLnSpc="1">
            <a:noAutofit/>
          </a:bodyPr>
          <a:lstStyle/>
          <a:p>
            <a:pPr marL="0" marR="0" lvl="0" indent="0" algn="ctr" defTabSz="412772" rtl="0" fontAlgn="auto" hangingPunct="0">
              <a:lnSpc>
                <a:spcPct val="100000"/>
              </a:lnSpc>
              <a:spcBef>
                <a:spcPts val="0"/>
              </a:spcBef>
              <a:spcAft>
                <a:spcPts val="0"/>
              </a:spcAft>
              <a:buNone/>
              <a:tabLst/>
              <a:defRPr sz="2400" b="0" i="0" u="none" strike="noStrike" kern="0" cap="none" spc="0" baseline="0">
                <a:solidFill>
                  <a:srgbClr val="FFFFFF"/>
                </a:solidFill>
                <a:uFillTx/>
                <a:latin typeface="Helvetica Neue Medium"/>
                <a:ea typeface="Helvetica Neue Medium"/>
                <a:cs typeface="Helvetica Neue Medium"/>
              </a:defRPr>
            </a:pPr>
            <a:endParaRPr lang="en-US" sz="1525" b="0" i="0" u="none" strike="noStrike" kern="0" cap="none" spc="0" baseline="0">
              <a:solidFill>
                <a:srgbClr val="FFFFFF"/>
              </a:solidFill>
              <a:uFillTx/>
              <a:latin typeface="Helvetica Neue Medium"/>
              <a:ea typeface="Helvetica Neue Medium"/>
              <a:cs typeface="Helvetica Neue Medium"/>
            </a:endParaRPr>
          </a:p>
        </p:txBody>
      </p:sp>
      <p:sp>
        <p:nvSpPr>
          <p:cNvPr id="4" name="Content Placeholder 2">
            <a:extLst>
              <a:ext uri="{FF2B5EF4-FFF2-40B4-BE49-F238E27FC236}">
                <a16:creationId xmlns:a16="http://schemas.microsoft.com/office/drawing/2014/main" id="{354FBF26-1791-CA8E-98D5-67B3051961C6}"/>
              </a:ext>
            </a:extLst>
          </p:cNvPr>
          <p:cNvSpPr txBox="1">
            <a:spLocks noGrp="1"/>
          </p:cNvSpPr>
          <p:nvPr>
            <p:ph idx="4294967295"/>
          </p:nvPr>
        </p:nvSpPr>
        <p:spPr>
          <a:xfrm>
            <a:off x="508544" y="1707789"/>
            <a:ext cx="11203667" cy="4648571"/>
          </a:xfrm>
        </p:spPr>
        <p:txBody>
          <a:bodyPr/>
          <a:lstStyle>
            <a:lvl1pPr>
              <a:defRPr>
                <a:solidFill>
                  <a:srgbClr val="4C555F"/>
                </a:solidFill>
              </a:defRPr>
            </a:lvl1pPr>
            <a:lvl2pPr>
              <a:defRPr>
                <a:solidFill>
                  <a:srgbClr val="4C555F"/>
                </a:solidFill>
              </a:defRPr>
            </a:lvl2pPr>
            <a:lvl3pPr>
              <a:defRPr>
                <a:solidFill>
                  <a:srgbClr val="4C555F"/>
                </a:solidFill>
              </a:defRPr>
            </a:lvl3pPr>
            <a:lvl4pPr>
              <a:defRPr>
                <a:solidFill>
                  <a:srgbClr val="4C555F"/>
                </a:solidFill>
              </a:defRPr>
            </a:lvl4pPr>
            <a:lvl5pPr>
              <a:defRPr>
                <a:solidFill>
                  <a:srgbClr val="4C555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hape">
            <a:extLst>
              <a:ext uri="{FF2B5EF4-FFF2-40B4-BE49-F238E27FC236}">
                <a16:creationId xmlns:a16="http://schemas.microsoft.com/office/drawing/2014/main" id="{D78BAF49-C4D5-511F-4CC2-2603C730F0D2}"/>
              </a:ext>
            </a:extLst>
          </p:cNvPr>
          <p:cNvSpPr/>
          <p:nvPr/>
        </p:nvSpPr>
        <p:spPr>
          <a:xfrm>
            <a:off x="6863642" y="519644"/>
            <a:ext cx="5328355" cy="812270"/>
          </a:xfrm>
          <a:custGeom>
            <a:avLst/>
            <a:gdLst>
              <a:gd name="f0" fmla="val 10800000"/>
              <a:gd name="f1" fmla="val 5400000"/>
              <a:gd name="f2" fmla="val 180"/>
              <a:gd name="f3" fmla="val w"/>
              <a:gd name="f4" fmla="val h"/>
              <a:gd name="f5" fmla="val 0"/>
              <a:gd name="f6" fmla="val 21600"/>
              <a:gd name="f7" fmla="val 20619"/>
              <a:gd name="f8" fmla="val 7043"/>
              <a:gd name="f9" fmla="val 1599"/>
              <a:gd name="f10" fmla="val 10431"/>
              <a:gd name="f11" fmla="val 3359"/>
              <a:gd name="f12" fmla="val 12009"/>
              <a:gd name="f13" fmla="val 5125"/>
              <a:gd name="f14" fmla="val 11638"/>
              <a:gd name="f15" fmla="val 8965"/>
              <a:gd name="f16" fmla="val 10834"/>
              <a:gd name="f17" fmla="val 12429"/>
              <a:gd name="f18" fmla="val 1037"/>
              <a:gd name="f19" fmla="val 16255"/>
              <a:gd name="f20" fmla="val 77"/>
              <a:gd name="f21" fmla="val 18093"/>
              <a:gd name="f22" fmla="+- 0 0 385"/>
              <a:gd name="f23" fmla="val 19927"/>
              <a:gd name="f24" fmla="val 1227"/>
              <a:gd name="f25" fmla="val 21590"/>
              <a:gd name="f26" fmla="val 4766"/>
              <a:gd name="f27" fmla="val 14041"/>
              <a:gd name="f28" fmla="val 19718"/>
              <a:gd name="f29" fmla="val 9870"/>
              <a:gd name="f30" fmla="val 17612"/>
              <a:gd name="f31" fmla="val 8157"/>
              <a:gd name="f32" fmla="val 15523"/>
              <a:gd name="f33" fmla="val 9097"/>
              <a:gd name="f34" fmla="val 12138"/>
              <a:gd name="f35" fmla="val 10620"/>
              <a:gd name="f36" fmla="val 9076"/>
              <a:gd name="f37" fmla="val 19001"/>
              <a:gd name="f38" fmla="val 5674"/>
              <a:gd name="f39" fmla="val 20410"/>
              <a:gd name="f40" fmla="val 3728"/>
              <a:gd name="f41" fmla="val 21215"/>
              <a:gd name="f42" fmla="val 1770"/>
              <a:gd name="f43" fmla="val 19679"/>
              <a:gd name="f44" fmla="val 15961"/>
              <a:gd name="f45" fmla="+- 0 0 -90"/>
              <a:gd name="f46" fmla="+- 0 0 -180"/>
              <a:gd name="f47" fmla="+- 0 0 -270"/>
              <a:gd name="f48" fmla="+- 0 0 -360"/>
              <a:gd name="f49" fmla="*/ f3 1 21600"/>
              <a:gd name="f50" fmla="*/ f4 1 20619"/>
              <a:gd name="f51" fmla="+- f7 0 f5"/>
              <a:gd name="f52" fmla="+- f6 0 f5"/>
              <a:gd name="f53" fmla="*/ f45 f0 1"/>
              <a:gd name="f54" fmla="*/ f46 f0 1"/>
              <a:gd name="f55" fmla="*/ f47 f0 1"/>
              <a:gd name="f56" fmla="*/ f48 f0 1"/>
              <a:gd name="f57" fmla="*/ f51 1 2"/>
              <a:gd name="f58" fmla="*/ f52 1 2"/>
              <a:gd name="f59" fmla="*/ f52 1 21600"/>
              <a:gd name="f60" fmla="*/ f51 1 20619"/>
              <a:gd name="f61" fmla="*/ f53 1 f2"/>
              <a:gd name="f62" fmla="*/ f54 1 f2"/>
              <a:gd name="f63" fmla="*/ f55 1 f2"/>
              <a:gd name="f64" fmla="*/ f56 1 f2"/>
              <a:gd name="f65" fmla="*/ f58 1 f59"/>
              <a:gd name="f66" fmla="*/ f57 1 f60"/>
              <a:gd name="f67" fmla="*/ 0 1 f59"/>
              <a:gd name="f68" fmla="*/ f6 1 f59"/>
              <a:gd name="f69" fmla="*/ 0 1 f60"/>
              <a:gd name="f70" fmla="*/ f7 1 f60"/>
              <a:gd name="f71" fmla="+- f61 0 f1"/>
              <a:gd name="f72" fmla="+- f62 0 f1"/>
              <a:gd name="f73" fmla="+- f63 0 f1"/>
              <a:gd name="f74" fmla="+- f64 0 f1"/>
              <a:gd name="f75" fmla="*/ f67 f49 1"/>
              <a:gd name="f76" fmla="*/ f68 f49 1"/>
              <a:gd name="f77" fmla="*/ f70 f50 1"/>
              <a:gd name="f78" fmla="*/ f69 f50 1"/>
              <a:gd name="f79" fmla="*/ f65 f49 1"/>
              <a:gd name="f80" fmla="*/ f66 f50 1"/>
            </a:gdLst>
            <a:ahLst/>
            <a:cxnLst>
              <a:cxn ang="3cd4">
                <a:pos x="hc" y="t"/>
              </a:cxn>
              <a:cxn ang="0">
                <a:pos x="r" y="vc"/>
              </a:cxn>
              <a:cxn ang="cd4">
                <a:pos x="hc" y="b"/>
              </a:cxn>
              <a:cxn ang="cd2">
                <a:pos x="l" y="vc"/>
              </a:cxn>
              <a:cxn ang="f71">
                <a:pos x="f79" y="f80"/>
              </a:cxn>
              <a:cxn ang="f72">
                <a:pos x="f79" y="f80"/>
              </a:cxn>
              <a:cxn ang="f73">
                <a:pos x="f79" y="f80"/>
              </a:cxn>
              <a:cxn ang="f74">
                <a:pos x="f79" y="f80"/>
              </a:cxn>
            </a:cxnLst>
            <a:rect l="f75" t="f78" r="f76" b="f77"/>
            <a:pathLst>
              <a:path w="21600" h="20619">
                <a:moveTo>
                  <a:pt x="f5" y="f8"/>
                </a:moveTo>
                <a:cubicBezTo>
                  <a:pt x="f9" y="f10"/>
                  <a:pt x="f11" y="f12"/>
                  <a:pt x="f13" y="f14"/>
                </a:cubicBezTo>
                <a:cubicBezTo>
                  <a:pt x="f15" y="f16"/>
                  <a:pt x="f17" y="f18"/>
                  <a:pt x="f19" y="f20"/>
                </a:cubicBezTo>
                <a:cubicBezTo>
                  <a:pt x="f21" y="f22"/>
                  <a:pt x="f23" y="f24"/>
                  <a:pt x="f25" y="f26"/>
                </a:cubicBezTo>
                <a:lnTo>
                  <a:pt x="f6" y="f27"/>
                </a:lnTo>
                <a:cubicBezTo>
                  <a:pt x="f28" y="f29"/>
                  <a:pt x="f30" y="f31"/>
                  <a:pt x="f32" y="f33"/>
                </a:cubicBezTo>
                <a:cubicBezTo>
                  <a:pt x="f34" y="f35"/>
                  <a:pt x="f36" y="f37"/>
                  <a:pt x="f38" y="f39"/>
                </a:cubicBezTo>
                <a:cubicBezTo>
                  <a:pt x="f40" y="f41"/>
                  <a:pt x="f42" y="f43"/>
                  <a:pt x="f5" y="f44"/>
                </a:cubicBezTo>
                <a:lnTo>
                  <a:pt x="f5" y="f8"/>
                </a:lnTo>
                <a:close/>
              </a:path>
            </a:pathLst>
          </a:custGeom>
          <a:gradFill>
            <a:gsLst>
              <a:gs pos="0">
                <a:srgbClr val="1C498B">
                  <a:alpha val="0"/>
                </a:srgbClr>
              </a:gs>
              <a:gs pos="100000">
                <a:srgbClr val="1C498B">
                  <a:alpha val="63000"/>
                </a:srgbClr>
              </a:gs>
            </a:gsLst>
            <a:lin ang="0"/>
          </a:gradFill>
          <a:ln cap="flat">
            <a:noFill/>
            <a:prstDash val="solid"/>
          </a:ln>
        </p:spPr>
        <p:txBody>
          <a:bodyPr vert="horz" wrap="square" lIns="0" tIns="0" rIns="0" bIns="0" anchor="ctr" anchorCtr="1" compatLnSpc="1">
            <a:noAutofit/>
          </a:bodyPr>
          <a:lstStyle/>
          <a:p>
            <a:pPr marL="0" marR="0" lvl="0" indent="0" algn="ctr" defTabSz="412772" rtl="0" fontAlgn="auto" hangingPunct="0">
              <a:lnSpc>
                <a:spcPct val="100000"/>
              </a:lnSpc>
              <a:spcBef>
                <a:spcPts val="0"/>
              </a:spcBef>
              <a:spcAft>
                <a:spcPts val="0"/>
              </a:spcAft>
              <a:buNone/>
              <a:tabLst/>
              <a:defRPr sz="2400" b="0" i="0" u="none" strike="noStrike" kern="0" cap="none" spc="0" baseline="0">
                <a:solidFill>
                  <a:srgbClr val="FFFFFF"/>
                </a:solidFill>
                <a:uFillTx/>
                <a:latin typeface="Helvetica Neue Medium"/>
                <a:ea typeface="Helvetica Neue Medium"/>
                <a:cs typeface="Helvetica Neue Medium"/>
              </a:defRPr>
            </a:pPr>
            <a:endParaRPr lang="en-US" sz="1525" b="0" i="0" u="none" strike="noStrike" kern="0" cap="none" spc="0" baseline="0">
              <a:solidFill>
                <a:srgbClr val="FFFFFF"/>
              </a:solidFill>
              <a:uFillTx/>
              <a:latin typeface="Helvetica Neue Medium"/>
              <a:ea typeface="Helvetica Neue Medium"/>
              <a:cs typeface="Helvetica Neue Medium"/>
            </a:endParaRPr>
          </a:p>
        </p:txBody>
      </p:sp>
      <p:sp>
        <p:nvSpPr>
          <p:cNvPr id="6" name="Title 1">
            <a:extLst>
              <a:ext uri="{FF2B5EF4-FFF2-40B4-BE49-F238E27FC236}">
                <a16:creationId xmlns:a16="http://schemas.microsoft.com/office/drawing/2014/main" id="{C2019036-2B8B-4C21-AB37-D00392CBEB71}"/>
              </a:ext>
            </a:extLst>
          </p:cNvPr>
          <p:cNvSpPr txBox="1">
            <a:spLocks noGrp="1"/>
          </p:cNvSpPr>
          <p:nvPr>
            <p:ph type="title"/>
          </p:nvPr>
        </p:nvSpPr>
        <p:spPr>
          <a:xfrm>
            <a:off x="304796" y="170060"/>
            <a:ext cx="11430000" cy="1143000"/>
          </a:xfrm>
        </p:spPr>
        <p:txBody>
          <a:bodyPr/>
          <a:lstStyle>
            <a:lvl1pPr>
              <a:defRPr sz="3200">
                <a:solidFill>
                  <a:srgbClr val="FFFFFF"/>
                </a:solidFill>
              </a:defRPr>
            </a:lvl1pPr>
          </a:lstStyle>
          <a:p>
            <a:pPr lvl="0"/>
            <a:r>
              <a:rPr lang="en-US"/>
              <a:t>Click to edit Master title style</a:t>
            </a:r>
          </a:p>
        </p:txBody>
      </p:sp>
      <p:sp>
        <p:nvSpPr>
          <p:cNvPr id="7" name="Text Placeholder 4">
            <a:extLst>
              <a:ext uri="{FF2B5EF4-FFF2-40B4-BE49-F238E27FC236}">
                <a16:creationId xmlns:a16="http://schemas.microsoft.com/office/drawing/2014/main" id="{DF810125-F642-795D-8600-DDF94D0DA8FE}"/>
              </a:ext>
            </a:extLst>
          </p:cNvPr>
          <p:cNvSpPr txBox="1">
            <a:spLocks noGrp="1"/>
          </p:cNvSpPr>
          <p:nvPr>
            <p:ph type="body" idx="4294967295"/>
          </p:nvPr>
        </p:nvSpPr>
        <p:spPr>
          <a:xfrm>
            <a:off x="332184" y="953345"/>
            <a:ext cx="11430109" cy="415923"/>
          </a:xfrm>
        </p:spPr>
        <p:txBody>
          <a:bodyPr>
            <a:normAutofit/>
          </a:bodyPr>
          <a:lstStyle>
            <a:lvl1pPr marL="0" indent="0">
              <a:buNone/>
              <a:defRPr sz="1400">
                <a:solidFill>
                  <a:srgbClr val="FFFFFF"/>
                </a:solidFill>
              </a:defRPr>
            </a:lvl1pPr>
          </a:lstStyle>
          <a:p>
            <a:pPr lvl="0"/>
            <a:r>
              <a:rPr lang="en-US"/>
              <a:t>Subtitle</a:t>
            </a:r>
          </a:p>
        </p:txBody>
      </p:sp>
      <p:cxnSp>
        <p:nvCxnSpPr>
          <p:cNvPr id="8" name="Straight Connector 15">
            <a:extLst>
              <a:ext uri="{FF2B5EF4-FFF2-40B4-BE49-F238E27FC236}">
                <a16:creationId xmlns:a16="http://schemas.microsoft.com/office/drawing/2014/main" id="{4A3C3CEA-8490-BB65-13C6-ED8055957320}"/>
              </a:ext>
            </a:extLst>
          </p:cNvPr>
          <p:cNvCxnSpPr/>
          <p:nvPr/>
        </p:nvCxnSpPr>
        <p:spPr>
          <a:xfrm>
            <a:off x="11311722" y="6447270"/>
            <a:ext cx="0" cy="267883"/>
          </a:xfrm>
          <a:prstGeom prst="straightConnector1">
            <a:avLst/>
          </a:prstGeom>
          <a:noFill/>
          <a:ln w="6345" cap="flat">
            <a:solidFill>
              <a:srgbClr val="7F7F7F"/>
            </a:solidFill>
            <a:prstDash val="solid"/>
            <a:miter/>
          </a:ln>
        </p:spPr>
      </p:cxnSp>
      <p:sp>
        <p:nvSpPr>
          <p:cNvPr id="9" name="Slide Number Placeholder 6">
            <a:extLst>
              <a:ext uri="{FF2B5EF4-FFF2-40B4-BE49-F238E27FC236}">
                <a16:creationId xmlns:a16="http://schemas.microsoft.com/office/drawing/2014/main" id="{99132E42-12DF-59DC-C3F3-904682D8BD30}"/>
              </a:ext>
            </a:extLst>
          </p:cNvPr>
          <p:cNvSpPr txBox="1">
            <a:spLocks noGrp="1"/>
          </p:cNvSpPr>
          <p:nvPr>
            <p:ph type="sldNum" sz="quarter" idx="8"/>
          </p:nvPr>
        </p:nvSpPr>
        <p:spPr>
          <a:xfrm>
            <a:off x="11202597" y="6454531"/>
            <a:ext cx="559704" cy="319171"/>
          </a:xfrm>
        </p:spPr>
        <p:txBody>
          <a:bodyPr/>
          <a:lstStyle>
            <a:lvl1pPr>
              <a:defRPr sz="1000">
                <a:solidFill>
                  <a:srgbClr val="7F7F7F"/>
                </a:solidFill>
              </a:defRPr>
            </a:lvl1pPr>
          </a:lstStyle>
          <a:p>
            <a:pPr lvl="0"/>
            <a:fld id="{BD2982DB-456B-4AE6-92A7-4B33DB150EEB}" type="slidenum">
              <a:t>‹#›</a:t>
            </a:fld>
            <a:endParaRPr lang="en-US"/>
          </a:p>
        </p:txBody>
      </p:sp>
      <p:pic>
        <p:nvPicPr>
          <p:cNvPr id="10" name="Picture 11">
            <a:extLst>
              <a:ext uri="{FF2B5EF4-FFF2-40B4-BE49-F238E27FC236}">
                <a16:creationId xmlns:a16="http://schemas.microsoft.com/office/drawing/2014/main" id="{CF6D4844-383D-8811-43D5-347320D149F3}"/>
              </a:ext>
            </a:extLst>
          </p:cNvPr>
          <p:cNvPicPr>
            <a:picLocks noChangeAspect="1"/>
          </p:cNvPicPr>
          <p:nvPr/>
        </p:nvPicPr>
        <p:blipFill>
          <a:blip r:embed="rId2"/>
          <a:stretch>
            <a:fillRect/>
          </a:stretch>
        </p:blipFill>
        <p:spPr>
          <a:xfrm>
            <a:off x="9596464" y="6492240"/>
            <a:ext cx="1606134" cy="229240"/>
          </a:xfrm>
          <a:prstGeom prst="rect">
            <a:avLst/>
          </a:prstGeom>
          <a:noFill/>
          <a:ln cap="flat">
            <a:noFill/>
          </a:ln>
        </p:spPr>
      </p:pic>
    </p:spTree>
    <p:extLst>
      <p:ext uri="{BB962C8B-B14F-4D97-AF65-F5344CB8AC3E}">
        <p14:creationId xmlns:p14="http://schemas.microsoft.com/office/powerpoint/2010/main" val="2095150961"/>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showMasterSp="0" preserve="1">
  <p:cSld name="11_EVERYDAY CONTENT ONLY">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53CA08CF-51EA-B93C-25AE-7752F57991E0}"/>
              </a:ext>
            </a:extLst>
          </p:cNvPr>
          <p:cNvSpPr/>
          <p:nvPr/>
        </p:nvSpPr>
        <p:spPr>
          <a:xfrm>
            <a:off x="0" y="0"/>
            <a:ext cx="12191996" cy="1313060"/>
          </a:xfrm>
          <a:prstGeom prst="rect">
            <a:avLst/>
          </a:prstGeom>
          <a:gradFill>
            <a:gsLst>
              <a:gs pos="0">
                <a:srgbClr val="1C498B"/>
              </a:gs>
              <a:gs pos="100000">
                <a:srgbClr val="79818A"/>
              </a:gs>
            </a:gsLst>
            <a:lin ang="0"/>
          </a:gradFill>
          <a:ln cap="flat">
            <a:noFill/>
            <a:prstDash val="solid"/>
          </a:ln>
        </p:spPr>
        <p:txBody>
          <a:bodyPr vert="horz" wrap="square" lIns="91440" tIns="45720" rIns="91440" bIns="45720"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Shape">
            <a:extLst>
              <a:ext uri="{FF2B5EF4-FFF2-40B4-BE49-F238E27FC236}">
                <a16:creationId xmlns:a16="http://schemas.microsoft.com/office/drawing/2014/main" id="{BD40BCA0-D775-A955-D692-460CAD522944}"/>
              </a:ext>
            </a:extLst>
          </p:cNvPr>
          <p:cNvSpPr/>
          <p:nvPr/>
        </p:nvSpPr>
        <p:spPr>
          <a:xfrm>
            <a:off x="6863642" y="16268"/>
            <a:ext cx="5328355" cy="812270"/>
          </a:xfrm>
          <a:custGeom>
            <a:avLst/>
            <a:gdLst>
              <a:gd name="f0" fmla="val 10800000"/>
              <a:gd name="f1" fmla="val 5400000"/>
              <a:gd name="f2" fmla="val 180"/>
              <a:gd name="f3" fmla="val w"/>
              <a:gd name="f4" fmla="val h"/>
              <a:gd name="f5" fmla="val 0"/>
              <a:gd name="f6" fmla="val 21600"/>
              <a:gd name="f7" fmla="val 20619"/>
              <a:gd name="f8" fmla="val 7043"/>
              <a:gd name="f9" fmla="val 1599"/>
              <a:gd name="f10" fmla="val 10431"/>
              <a:gd name="f11" fmla="val 3359"/>
              <a:gd name="f12" fmla="val 12009"/>
              <a:gd name="f13" fmla="val 5125"/>
              <a:gd name="f14" fmla="val 11638"/>
              <a:gd name="f15" fmla="val 8965"/>
              <a:gd name="f16" fmla="val 10834"/>
              <a:gd name="f17" fmla="val 12429"/>
              <a:gd name="f18" fmla="val 1037"/>
              <a:gd name="f19" fmla="val 16255"/>
              <a:gd name="f20" fmla="val 77"/>
              <a:gd name="f21" fmla="val 18093"/>
              <a:gd name="f22" fmla="+- 0 0 385"/>
              <a:gd name="f23" fmla="val 19927"/>
              <a:gd name="f24" fmla="val 1227"/>
              <a:gd name="f25" fmla="val 21590"/>
              <a:gd name="f26" fmla="val 4766"/>
              <a:gd name="f27" fmla="val 14041"/>
              <a:gd name="f28" fmla="val 19718"/>
              <a:gd name="f29" fmla="val 9870"/>
              <a:gd name="f30" fmla="val 17612"/>
              <a:gd name="f31" fmla="val 8157"/>
              <a:gd name="f32" fmla="val 15523"/>
              <a:gd name="f33" fmla="val 9097"/>
              <a:gd name="f34" fmla="val 12138"/>
              <a:gd name="f35" fmla="val 10620"/>
              <a:gd name="f36" fmla="val 9076"/>
              <a:gd name="f37" fmla="val 19001"/>
              <a:gd name="f38" fmla="val 5674"/>
              <a:gd name="f39" fmla="val 20410"/>
              <a:gd name="f40" fmla="val 3728"/>
              <a:gd name="f41" fmla="val 21215"/>
              <a:gd name="f42" fmla="val 1770"/>
              <a:gd name="f43" fmla="val 19679"/>
              <a:gd name="f44" fmla="val 15961"/>
              <a:gd name="f45" fmla="+- 0 0 -90"/>
              <a:gd name="f46" fmla="+- 0 0 -180"/>
              <a:gd name="f47" fmla="+- 0 0 -270"/>
              <a:gd name="f48" fmla="+- 0 0 -360"/>
              <a:gd name="f49" fmla="*/ f3 1 21600"/>
              <a:gd name="f50" fmla="*/ f4 1 20619"/>
              <a:gd name="f51" fmla="+- f7 0 f5"/>
              <a:gd name="f52" fmla="+- f6 0 f5"/>
              <a:gd name="f53" fmla="*/ f45 f0 1"/>
              <a:gd name="f54" fmla="*/ f46 f0 1"/>
              <a:gd name="f55" fmla="*/ f47 f0 1"/>
              <a:gd name="f56" fmla="*/ f48 f0 1"/>
              <a:gd name="f57" fmla="*/ f51 1 2"/>
              <a:gd name="f58" fmla="*/ f52 1 2"/>
              <a:gd name="f59" fmla="*/ f52 1 21600"/>
              <a:gd name="f60" fmla="*/ f51 1 20619"/>
              <a:gd name="f61" fmla="*/ f53 1 f2"/>
              <a:gd name="f62" fmla="*/ f54 1 f2"/>
              <a:gd name="f63" fmla="*/ f55 1 f2"/>
              <a:gd name="f64" fmla="*/ f56 1 f2"/>
              <a:gd name="f65" fmla="*/ f58 1 f59"/>
              <a:gd name="f66" fmla="*/ f57 1 f60"/>
              <a:gd name="f67" fmla="*/ 0 1 f59"/>
              <a:gd name="f68" fmla="*/ f6 1 f59"/>
              <a:gd name="f69" fmla="*/ 0 1 f60"/>
              <a:gd name="f70" fmla="*/ f7 1 f60"/>
              <a:gd name="f71" fmla="+- f61 0 f1"/>
              <a:gd name="f72" fmla="+- f62 0 f1"/>
              <a:gd name="f73" fmla="+- f63 0 f1"/>
              <a:gd name="f74" fmla="+- f64 0 f1"/>
              <a:gd name="f75" fmla="*/ f67 f49 1"/>
              <a:gd name="f76" fmla="*/ f68 f49 1"/>
              <a:gd name="f77" fmla="*/ f70 f50 1"/>
              <a:gd name="f78" fmla="*/ f69 f50 1"/>
              <a:gd name="f79" fmla="*/ f65 f49 1"/>
              <a:gd name="f80" fmla="*/ f66 f50 1"/>
            </a:gdLst>
            <a:ahLst/>
            <a:cxnLst>
              <a:cxn ang="3cd4">
                <a:pos x="hc" y="t"/>
              </a:cxn>
              <a:cxn ang="0">
                <a:pos x="r" y="vc"/>
              </a:cxn>
              <a:cxn ang="cd4">
                <a:pos x="hc" y="b"/>
              </a:cxn>
              <a:cxn ang="cd2">
                <a:pos x="l" y="vc"/>
              </a:cxn>
              <a:cxn ang="f71">
                <a:pos x="f79" y="f80"/>
              </a:cxn>
              <a:cxn ang="f72">
                <a:pos x="f79" y="f80"/>
              </a:cxn>
              <a:cxn ang="f73">
                <a:pos x="f79" y="f80"/>
              </a:cxn>
              <a:cxn ang="f74">
                <a:pos x="f79" y="f80"/>
              </a:cxn>
            </a:cxnLst>
            <a:rect l="f75" t="f78" r="f76" b="f77"/>
            <a:pathLst>
              <a:path w="21600" h="20619">
                <a:moveTo>
                  <a:pt x="f5" y="f8"/>
                </a:moveTo>
                <a:cubicBezTo>
                  <a:pt x="f9" y="f10"/>
                  <a:pt x="f11" y="f12"/>
                  <a:pt x="f13" y="f14"/>
                </a:cubicBezTo>
                <a:cubicBezTo>
                  <a:pt x="f15" y="f16"/>
                  <a:pt x="f17" y="f18"/>
                  <a:pt x="f19" y="f20"/>
                </a:cubicBezTo>
                <a:cubicBezTo>
                  <a:pt x="f21" y="f22"/>
                  <a:pt x="f23" y="f24"/>
                  <a:pt x="f25" y="f26"/>
                </a:cubicBezTo>
                <a:lnTo>
                  <a:pt x="f6" y="f27"/>
                </a:lnTo>
                <a:cubicBezTo>
                  <a:pt x="f28" y="f29"/>
                  <a:pt x="f30" y="f31"/>
                  <a:pt x="f32" y="f33"/>
                </a:cubicBezTo>
                <a:cubicBezTo>
                  <a:pt x="f34" y="f35"/>
                  <a:pt x="f36" y="f37"/>
                  <a:pt x="f38" y="f39"/>
                </a:cubicBezTo>
                <a:cubicBezTo>
                  <a:pt x="f40" y="f41"/>
                  <a:pt x="f42" y="f43"/>
                  <a:pt x="f5" y="f44"/>
                </a:cubicBezTo>
                <a:lnTo>
                  <a:pt x="f5" y="f8"/>
                </a:lnTo>
                <a:close/>
              </a:path>
            </a:pathLst>
          </a:custGeom>
          <a:gradFill>
            <a:gsLst>
              <a:gs pos="0">
                <a:srgbClr val="1C498B">
                  <a:alpha val="0"/>
                </a:srgbClr>
              </a:gs>
              <a:gs pos="100000">
                <a:srgbClr val="1C498B">
                  <a:alpha val="63000"/>
                </a:srgbClr>
              </a:gs>
            </a:gsLst>
            <a:lin ang="0"/>
          </a:gradFill>
          <a:ln cap="flat">
            <a:noFill/>
            <a:prstDash val="solid"/>
          </a:ln>
        </p:spPr>
        <p:txBody>
          <a:bodyPr vert="horz" wrap="square" lIns="0" tIns="0" rIns="0" bIns="0" anchor="ctr" anchorCtr="1" compatLnSpc="1">
            <a:noAutofit/>
          </a:bodyPr>
          <a:lstStyle/>
          <a:p>
            <a:pPr marL="0" marR="0" lvl="0" indent="0" algn="ctr" defTabSz="412772" rtl="0" fontAlgn="auto" hangingPunct="0">
              <a:lnSpc>
                <a:spcPct val="100000"/>
              </a:lnSpc>
              <a:spcBef>
                <a:spcPts val="0"/>
              </a:spcBef>
              <a:spcAft>
                <a:spcPts val="0"/>
              </a:spcAft>
              <a:buNone/>
              <a:tabLst/>
              <a:defRPr sz="2400" b="0" i="0" u="none" strike="noStrike" kern="0" cap="none" spc="0" baseline="0">
                <a:solidFill>
                  <a:srgbClr val="FFFFFF"/>
                </a:solidFill>
                <a:uFillTx/>
                <a:latin typeface="Helvetica Neue Medium"/>
                <a:ea typeface="Helvetica Neue Medium"/>
                <a:cs typeface="Helvetica Neue Medium"/>
              </a:defRPr>
            </a:pPr>
            <a:endParaRPr lang="en-US" sz="1525" b="0" i="0" u="none" strike="noStrike" kern="0" cap="none" spc="0" baseline="0">
              <a:solidFill>
                <a:srgbClr val="FFFFFF"/>
              </a:solidFill>
              <a:uFillTx/>
              <a:latin typeface="Helvetica Neue Medium"/>
              <a:ea typeface="Helvetica Neue Medium"/>
              <a:cs typeface="Helvetica Neue Medium"/>
            </a:endParaRPr>
          </a:p>
        </p:txBody>
      </p:sp>
      <p:sp>
        <p:nvSpPr>
          <p:cNvPr id="4" name="Content Placeholder 2">
            <a:extLst>
              <a:ext uri="{FF2B5EF4-FFF2-40B4-BE49-F238E27FC236}">
                <a16:creationId xmlns:a16="http://schemas.microsoft.com/office/drawing/2014/main" id="{FC69EC28-E4F3-DE2A-09FE-4C7D019273E4}"/>
              </a:ext>
            </a:extLst>
          </p:cNvPr>
          <p:cNvSpPr txBox="1">
            <a:spLocks noGrp="1"/>
          </p:cNvSpPr>
          <p:nvPr>
            <p:ph idx="4294967295"/>
          </p:nvPr>
        </p:nvSpPr>
        <p:spPr>
          <a:xfrm>
            <a:off x="508544" y="1707789"/>
            <a:ext cx="11203667" cy="4648571"/>
          </a:xfrm>
        </p:spPr>
        <p:txBody>
          <a:bodyPr/>
          <a:lstStyle>
            <a:lvl1pPr>
              <a:defRPr>
                <a:solidFill>
                  <a:srgbClr val="4C555F"/>
                </a:solidFill>
              </a:defRPr>
            </a:lvl1pPr>
            <a:lvl2pPr>
              <a:defRPr>
                <a:solidFill>
                  <a:srgbClr val="4C555F"/>
                </a:solidFill>
              </a:defRPr>
            </a:lvl2pPr>
            <a:lvl3pPr>
              <a:defRPr>
                <a:solidFill>
                  <a:srgbClr val="4C555F"/>
                </a:solidFill>
              </a:defRPr>
            </a:lvl3pPr>
            <a:lvl4pPr>
              <a:defRPr>
                <a:solidFill>
                  <a:srgbClr val="4C555F"/>
                </a:solidFill>
              </a:defRPr>
            </a:lvl4pPr>
            <a:lvl5pPr>
              <a:defRPr>
                <a:solidFill>
                  <a:srgbClr val="4C555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hape">
            <a:extLst>
              <a:ext uri="{FF2B5EF4-FFF2-40B4-BE49-F238E27FC236}">
                <a16:creationId xmlns:a16="http://schemas.microsoft.com/office/drawing/2014/main" id="{1F8142E0-6B59-DBF0-2427-9E2699BFCEE4}"/>
              </a:ext>
            </a:extLst>
          </p:cNvPr>
          <p:cNvSpPr/>
          <p:nvPr/>
        </p:nvSpPr>
        <p:spPr>
          <a:xfrm>
            <a:off x="6863642" y="519644"/>
            <a:ext cx="5328355" cy="812270"/>
          </a:xfrm>
          <a:custGeom>
            <a:avLst/>
            <a:gdLst>
              <a:gd name="f0" fmla="val 10800000"/>
              <a:gd name="f1" fmla="val 5400000"/>
              <a:gd name="f2" fmla="val 180"/>
              <a:gd name="f3" fmla="val w"/>
              <a:gd name="f4" fmla="val h"/>
              <a:gd name="f5" fmla="val 0"/>
              <a:gd name="f6" fmla="val 21600"/>
              <a:gd name="f7" fmla="val 20619"/>
              <a:gd name="f8" fmla="val 7043"/>
              <a:gd name="f9" fmla="val 1599"/>
              <a:gd name="f10" fmla="val 10431"/>
              <a:gd name="f11" fmla="val 3359"/>
              <a:gd name="f12" fmla="val 12009"/>
              <a:gd name="f13" fmla="val 5125"/>
              <a:gd name="f14" fmla="val 11638"/>
              <a:gd name="f15" fmla="val 8965"/>
              <a:gd name="f16" fmla="val 10834"/>
              <a:gd name="f17" fmla="val 12429"/>
              <a:gd name="f18" fmla="val 1037"/>
              <a:gd name="f19" fmla="val 16255"/>
              <a:gd name="f20" fmla="val 77"/>
              <a:gd name="f21" fmla="val 18093"/>
              <a:gd name="f22" fmla="+- 0 0 385"/>
              <a:gd name="f23" fmla="val 19927"/>
              <a:gd name="f24" fmla="val 1227"/>
              <a:gd name="f25" fmla="val 21590"/>
              <a:gd name="f26" fmla="val 4766"/>
              <a:gd name="f27" fmla="val 14041"/>
              <a:gd name="f28" fmla="val 19718"/>
              <a:gd name="f29" fmla="val 9870"/>
              <a:gd name="f30" fmla="val 17612"/>
              <a:gd name="f31" fmla="val 8157"/>
              <a:gd name="f32" fmla="val 15523"/>
              <a:gd name="f33" fmla="val 9097"/>
              <a:gd name="f34" fmla="val 12138"/>
              <a:gd name="f35" fmla="val 10620"/>
              <a:gd name="f36" fmla="val 9076"/>
              <a:gd name="f37" fmla="val 19001"/>
              <a:gd name="f38" fmla="val 5674"/>
              <a:gd name="f39" fmla="val 20410"/>
              <a:gd name="f40" fmla="val 3728"/>
              <a:gd name="f41" fmla="val 21215"/>
              <a:gd name="f42" fmla="val 1770"/>
              <a:gd name="f43" fmla="val 19679"/>
              <a:gd name="f44" fmla="val 15961"/>
              <a:gd name="f45" fmla="+- 0 0 -90"/>
              <a:gd name="f46" fmla="+- 0 0 -180"/>
              <a:gd name="f47" fmla="+- 0 0 -270"/>
              <a:gd name="f48" fmla="+- 0 0 -360"/>
              <a:gd name="f49" fmla="*/ f3 1 21600"/>
              <a:gd name="f50" fmla="*/ f4 1 20619"/>
              <a:gd name="f51" fmla="+- f7 0 f5"/>
              <a:gd name="f52" fmla="+- f6 0 f5"/>
              <a:gd name="f53" fmla="*/ f45 f0 1"/>
              <a:gd name="f54" fmla="*/ f46 f0 1"/>
              <a:gd name="f55" fmla="*/ f47 f0 1"/>
              <a:gd name="f56" fmla="*/ f48 f0 1"/>
              <a:gd name="f57" fmla="*/ f51 1 2"/>
              <a:gd name="f58" fmla="*/ f52 1 2"/>
              <a:gd name="f59" fmla="*/ f52 1 21600"/>
              <a:gd name="f60" fmla="*/ f51 1 20619"/>
              <a:gd name="f61" fmla="*/ f53 1 f2"/>
              <a:gd name="f62" fmla="*/ f54 1 f2"/>
              <a:gd name="f63" fmla="*/ f55 1 f2"/>
              <a:gd name="f64" fmla="*/ f56 1 f2"/>
              <a:gd name="f65" fmla="*/ f58 1 f59"/>
              <a:gd name="f66" fmla="*/ f57 1 f60"/>
              <a:gd name="f67" fmla="*/ 0 1 f59"/>
              <a:gd name="f68" fmla="*/ f6 1 f59"/>
              <a:gd name="f69" fmla="*/ 0 1 f60"/>
              <a:gd name="f70" fmla="*/ f7 1 f60"/>
              <a:gd name="f71" fmla="+- f61 0 f1"/>
              <a:gd name="f72" fmla="+- f62 0 f1"/>
              <a:gd name="f73" fmla="+- f63 0 f1"/>
              <a:gd name="f74" fmla="+- f64 0 f1"/>
              <a:gd name="f75" fmla="*/ f67 f49 1"/>
              <a:gd name="f76" fmla="*/ f68 f49 1"/>
              <a:gd name="f77" fmla="*/ f70 f50 1"/>
              <a:gd name="f78" fmla="*/ f69 f50 1"/>
              <a:gd name="f79" fmla="*/ f65 f49 1"/>
              <a:gd name="f80" fmla="*/ f66 f50 1"/>
            </a:gdLst>
            <a:ahLst/>
            <a:cxnLst>
              <a:cxn ang="3cd4">
                <a:pos x="hc" y="t"/>
              </a:cxn>
              <a:cxn ang="0">
                <a:pos x="r" y="vc"/>
              </a:cxn>
              <a:cxn ang="cd4">
                <a:pos x="hc" y="b"/>
              </a:cxn>
              <a:cxn ang="cd2">
                <a:pos x="l" y="vc"/>
              </a:cxn>
              <a:cxn ang="f71">
                <a:pos x="f79" y="f80"/>
              </a:cxn>
              <a:cxn ang="f72">
                <a:pos x="f79" y="f80"/>
              </a:cxn>
              <a:cxn ang="f73">
                <a:pos x="f79" y="f80"/>
              </a:cxn>
              <a:cxn ang="f74">
                <a:pos x="f79" y="f80"/>
              </a:cxn>
            </a:cxnLst>
            <a:rect l="f75" t="f78" r="f76" b="f77"/>
            <a:pathLst>
              <a:path w="21600" h="20619">
                <a:moveTo>
                  <a:pt x="f5" y="f8"/>
                </a:moveTo>
                <a:cubicBezTo>
                  <a:pt x="f9" y="f10"/>
                  <a:pt x="f11" y="f12"/>
                  <a:pt x="f13" y="f14"/>
                </a:cubicBezTo>
                <a:cubicBezTo>
                  <a:pt x="f15" y="f16"/>
                  <a:pt x="f17" y="f18"/>
                  <a:pt x="f19" y="f20"/>
                </a:cubicBezTo>
                <a:cubicBezTo>
                  <a:pt x="f21" y="f22"/>
                  <a:pt x="f23" y="f24"/>
                  <a:pt x="f25" y="f26"/>
                </a:cubicBezTo>
                <a:lnTo>
                  <a:pt x="f6" y="f27"/>
                </a:lnTo>
                <a:cubicBezTo>
                  <a:pt x="f28" y="f29"/>
                  <a:pt x="f30" y="f31"/>
                  <a:pt x="f32" y="f33"/>
                </a:cubicBezTo>
                <a:cubicBezTo>
                  <a:pt x="f34" y="f35"/>
                  <a:pt x="f36" y="f37"/>
                  <a:pt x="f38" y="f39"/>
                </a:cubicBezTo>
                <a:cubicBezTo>
                  <a:pt x="f40" y="f41"/>
                  <a:pt x="f42" y="f43"/>
                  <a:pt x="f5" y="f44"/>
                </a:cubicBezTo>
                <a:lnTo>
                  <a:pt x="f5" y="f8"/>
                </a:lnTo>
                <a:close/>
              </a:path>
            </a:pathLst>
          </a:custGeom>
          <a:gradFill>
            <a:gsLst>
              <a:gs pos="0">
                <a:srgbClr val="1C498B">
                  <a:alpha val="0"/>
                </a:srgbClr>
              </a:gs>
              <a:gs pos="100000">
                <a:srgbClr val="1C498B">
                  <a:alpha val="63000"/>
                </a:srgbClr>
              </a:gs>
            </a:gsLst>
            <a:lin ang="0"/>
          </a:gradFill>
          <a:ln cap="flat">
            <a:noFill/>
            <a:prstDash val="solid"/>
          </a:ln>
        </p:spPr>
        <p:txBody>
          <a:bodyPr vert="horz" wrap="square" lIns="0" tIns="0" rIns="0" bIns="0" anchor="ctr" anchorCtr="1" compatLnSpc="1">
            <a:noAutofit/>
          </a:bodyPr>
          <a:lstStyle/>
          <a:p>
            <a:pPr marL="0" marR="0" lvl="0" indent="0" algn="ctr" defTabSz="412772" rtl="0" fontAlgn="auto" hangingPunct="0">
              <a:lnSpc>
                <a:spcPct val="100000"/>
              </a:lnSpc>
              <a:spcBef>
                <a:spcPts val="0"/>
              </a:spcBef>
              <a:spcAft>
                <a:spcPts val="0"/>
              </a:spcAft>
              <a:buNone/>
              <a:tabLst/>
              <a:defRPr sz="2400" b="0" i="0" u="none" strike="noStrike" kern="0" cap="none" spc="0" baseline="0">
                <a:solidFill>
                  <a:srgbClr val="FFFFFF"/>
                </a:solidFill>
                <a:uFillTx/>
                <a:latin typeface="Helvetica Neue Medium"/>
                <a:ea typeface="Helvetica Neue Medium"/>
                <a:cs typeface="Helvetica Neue Medium"/>
              </a:defRPr>
            </a:pPr>
            <a:endParaRPr lang="en-US" sz="1525" b="0" i="0" u="none" strike="noStrike" kern="0" cap="none" spc="0" baseline="0">
              <a:solidFill>
                <a:srgbClr val="FFFFFF"/>
              </a:solidFill>
              <a:uFillTx/>
              <a:latin typeface="Helvetica Neue Medium"/>
              <a:ea typeface="Helvetica Neue Medium"/>
              <a:cs typeface="Helvetica Neue Medium"/>
            </a:endParaRPr>
          </a:p>
        </p:txBody>
      </p:sp>
      <p:sp>
        <p:nvSpPr>
          <p:cNvPr id="6" name="Title 1">
            <a:extLst>
              <a:ext uri="{FF2B5EF4-FFF2-40B4-BE49-F238E27FC236}">
                <a16:creationId xmlns:a16="http://schemas.microsoft.com/office/drawing/2014/main" id="{D9AF9C83-1078-2008-1AC6-E048F8BC71AB}"/>
              </a:ext>
            </a:extLst>
          </p:cNvPr>
          <p:cNvSpPr txBox="1">
            <a:spLocks noGrp="1"/>
          </p:cNvSpPr>
          <p:nvPr>
            <p:ph type="title"/>
          </p:nvPr>
        </p:nvSpPr>
        <p:spPr>
          <a:xfrm>
            <a:off x="304796" y="170060"/>
            <a:ext cx="11430000" cy="1143000"/>
          </a:xfrm>
        </p:spPr>
        <p:txBody>
          <a:bodyPr/>
          <a:lstStyle>
            <a:lvl1pPr>
              <a:defRPr sz="3200">
                <a:solidFill>
                  <a:srgbClr val="FFFFFF"/>
                </a:solidFill>
              </a:defRPr>
            </a:lvl1pPr>
          </a:lstStyle>
          <a:p>
            <a:pPr lvl="0"/>
            <a:r>
              <a:rPr lang="en-US"/>
              <a:t>Click to edit Master title style</a:t>
            </a:r>
          </a:p>
        </p:txBody>
      </p:sp>
      <p:sp>
        <p:nvSpPr>
          <p:cNvPr id="7" name="Text Placeholder 4">
            <a:extLst>
              <a:ext uri="{FF2B5EF4-FFF2-40B4-BE49-F238E27FC236}">
                <a16:creationId xmlns:a16="http://schemas.microsoft.com/office/drawing/2014/main" id="{43F2E841-AD2B-4B55-5E79-BA901D5CAFDE}"/>
              </a:ext>
            </a:extLst>
          </p:cNvPr>
          <p:cNvSpPr txBox="1">
            <a:spLocks noGrp="1"/>
          </p:cNvSpPr>
          <p:nvPr>
            <p:ph type="body" idx="4294967295"/>
          </p:nvPr>
        </p:nvSpPr>
        <p:spPr>
          <a:xfrm>
            <a:off x="332184" y="953345"/>
            <a:ext cx="11430109" cy="415923"/>
          </a:xfrm>
        </p:spPr>
        <p:txBody>
          <a:bodyPr>
            <a:normAutofit/>
          </a:bodyPr>
          <a:lstStyle>
            <a:lvl1pPr marL="0" indent="0">
              <a:buNone/>
              <a:defRPr sz="1400">
                <a:solidFill>
                  <a:srgbClr val="FFFFFF"/>
                </a:solidFill>
              </a:defRPr>
            </a:lvl1pPr>
          </a:lstStyle>
          <a:p>
            <a:pPr lvl="0"/>
            <a:r>
              <a:rPr lang="en-US"/>
              <a:t>Subtitle</a:t>
            </a:r>
          </a:p>
        </p:txBody>
      </p:sp>
      <p:cxnSp>
        <p:nvCxnSpPr>
          <p:cNvPr id="8" name="Straight Connector 15">
            <a:extLst>
              <a:ext uri="{FF2B5EF4-FFF2-40B4-BE49-F238E27FC236}">
                <a16:creationId xmlns:a16="http://schemas.microsoft.com/office/drawing/2014/main" id="{A2F66367-B5BA-6146-4E1E-82452DE6C606}"/>
              </a:ext>
            </a:extLst>
          </p:cNvPr>
          <p:cNvCxnSpPr/>
          <p:nvPr/>
        </p:nvCxnSpPr>
        <p:spPr>
          <a:xfrm>
            <a:off x="11311722" y="6447270"/>
            <a:ext cx="0" cy="267883"/>
          </a:xfrm>
          <a:prstGeom prst="straightConnector1">
            <a:avLst/>
          </a:prstGeom>
          <a:noFill/>
          <a:ln w="6345" cap="flat">
            <a:solidFill>
              <a:srgbClr val="7F7F7F"/>
            </a:solidFill>
            <a:prstDash val="solid"/>
            <a:miter/>
          </a:ln>
        </p:spPr>
      </p:cxnSp>
      <p:sp>
        <p:nvSpPr>
          <p:cNvPr id="9" name="Slide Number Placeholder 6">
            <a:extLst>
              <a:ext uri="{FF2B5EF4-FFF2-40B4-BE49-F238E27FC236}">
                <a16:creationId xmlns:a16="http://schemas.microsoft.com/office/drawing/2014/main" id="{036A99C1-2473-7806-A25F-85C01F8DE515}"/>
              </a:ext>
            </a:extLst>
          </p:cNvPr>
          <p:cNvSpPr txBox="1">
            <a:spLocks noGrp="1"/>
          </p:cNvSpPr>
          <p:nvPr>
            <p:ph type="sldNum" sz="quarter" idx="8"/>
          </p:nvPr>
        </p:nvSpPr>
        <p:spPr>
          <a:xfrm>
            <a:off x="11202597" y="6454531"/>
            <a:ext cx="559704" cy="319171"/>
          </a:xfrm>
        </p:spPr>
        <p:txBody>
          <a:bodyPr/>
          <a:lstStyle>
            <a:lvl1pPr>
              <a:defRPr sz="1000">
                <a:solidFill>
                  <a:srgbClr val="7F7F7F"/>
                </a:solidFill>
              </a:defRPr>
            </a:lvl1pPr>
          </a:lstStyle>
          <a:p>
            <a:pPr lvl="0"/>
            <a:fld id="{968121AF-C8C7-458D-9D3D-84F13F30D025}" type="slidenum">
              <a:t>‹#›</a:t>
            </a:fld>
            <a:endParaRPr lang="en-US"/>
          </a:p>
        </p:txBody>
      </p:sp>
      <p:pic>
        <p:nvPicPr>
          <p:cNvPr id="10" name="Picture 11">
            <a:extLst>
              <a:ext uri="{FF2B5EF4-FFF2-40B4-BE49-F238E27FC236}">
                <a16:creationId xmlns:a16="http://schemas.microsoft.com/office/drawing/2014/main" id="{E074DA66-EB60-889D-4803-CDB75DAFD1AA}"/>
              </a:ext>
            </a:extLst>
          </p:cNvPr>
          <p:cNvPicPr>
            <a:picLocks noChangeAspect="1"/>
          </p:cNvPicPr>
          <p:nvPr/>
        </p:nvPicPr>
        <p:blipFill>
          <a:blip r:embed="rId2"/>
          <a:stretch>
            <a:fillRect/>
          </a:stretch>
        </p:blipFill>
        <p:spPr>
          <a:xfrm>
            <a:off x="9596464" y="6492240"/>
            <a:ext cx="1606134" cy="229240"/>
          </a:xfrm>
          <a:prstGeom prst="rect">
            <a:avLst/>
          </a:prstGeom>
          <a:noFill/>
          <a:ln cap="flat">
            <a:noFill/>
          </a:ln>
        </p:spPr>
      </p:pic>
    </p:spTree>
    <p:extLst>
      <p:ext uri="{BB962C8B-B14F-4D97-AF65-F5344CB8AC3E}">
        <p14:creationId xmlns:p14="http://schemas.microsoft.com/office/powerpoint/2010/main" val="2099899515"/>
      </p:ext>
    </p:extLst>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p:cSld name="30_Cover">
    <p:spTree>
      <p:nvGrpSpPr>
        <p:cNvPr id="1" name=""/>
        <p:cNvGrpSpPr/>
        <p:nvPr/>
      </p:nvGrpSpPr>
      <p:grpSpPr>
        <a:xfrm>
          <a:off x="0" y="0"/>
          <a:ext cx="0" cy="0"/>
          <a:chOff x="0" y="0"/>
          <a:chExt cx="0" cy="0"/>
        </a:xfrm>
      </p:grpSpPr>
      <p:sp>
        <p:nvSpPr>
          <p:cNvPr id="2" name="Google Shape;26;p3">
            <a:extLst>
              <a:ext uri="{FF2B5EF4-FFF2-40B4-BE49-F238E27FC236}">
                <a16:creationId xmlns:a16="http://schemas.microsoft.com/office/drawing/2014/main" id="{5A8478CB-4239-43E8-837C-C0A67814DC30}"/>
              </a:ext>
            </a:extLst>
          </p:cNvPr>
          <p:cNvSpPr/>
          <p:nvPr/>
        </p:nvSpPr>
        <p:spPr>
          <a:xfrm>
            <a:off x="902366" y="1294416"/>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27;p3">
            <a:extLst>
              <a:ext uri="{FF2B5EF4-FFF2-40B4-BE49-F238E27FC236}">
                <a16:creationId xmlns:a16="http://schemas.microsoft.com/office/drawing/2014/main" id="{B74C57FA-7A39-AA7A-0D30-5E024C2B2FD4}"/>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28;p3">
            <a:extLst>
              <a:ext uri="{FF2B5EF4-FFF2-40B4-BE49-F238E27FC236}">
                <a16:creationId xmlns:a16="http://schemas.microsoft.com/office/drawing/2014/main" id="{95EF0C4C-561F-A313-01FE-B51F0D22B489}"/>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30;p3">
            <a:extLst>
              <a:ext uri="{FF2B5EF4-FFF2-40B4-BE49-F238E27FC236}">
                <a16:creationId xmlns:a16="http://schemas.microsoft.com/office/drawing/2014/main" id="{C8C3827E-C46B-315C-1768-15C84642DBA9}"/>
              </a:ext>
            </a:extLst>
          </p:cNvPr>
          <p:cNvGrpSpPr/>
          <p:nvPr/>
        </p:nvGrpSpPr>
        <p:grpSpPr>
          <a:xfrm>
            <a:off x="0" y="5020349"/>
            <a:ext cx="12191996" cy="1837651"/>
            <a:chOff x="0" y="5020348"/>
            <a:chExt cx="12191996" cy="1837651"/>
          </a:xfrm>
        </p:grpSpPr>
        <p:sp>
          <p:nvSpPr>
            <p:cNvPr id="6" name="Google Shape;31;p3">
              <a:extLst>
                <a:ext uri="{FF2B5EF4-FFF2-40B4-BE49-F238E27FC236}">
                  <a16:creationId xmlns:a16="http://schemas.microsoft.com/office/drawing/2014/main" id="{D9D4F536-F269-BC98-4F37-819E20E9A302}"/>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32;p3">
              <a:extLst>
                <a:ext uri="{FF2B5EF4-FFF2-40B4-BE49-F238E27FC236}">
                  <a16:creationId xmlns:a16="http://schemas.microsoft.com/office/drawing/2014/main" id="{F1A32AC9-52AC-FDB7-105B-459CAF563794}"/>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4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33;p3">
              <a:extLst>
                <a:ext uri="{FF2B5EF4-FFF2-40B4-BE49-F238E27FC236}">
                  <a16:creationId xmlns:a16="http://schemas.microsoft.com/office/drawing/2014/main" id="{CCD892C9-7D07-30C0-B93A-E7DB30E9E86D}"/>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108024523"/>
      </p:ext>
    </p:extLst>
  </p:cSld>
  <p:clrMapOvr>
    <a:masterClrMapping/>
  </p:clrMapOvr>
  <p:hf sldNum="0" hdr="0" ftr="0" dt="0"/>
</p:sldLayout>
</file>

<file path=ppt/slideLayouts/slideLayout68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31" indent="0" algn="ctr">
              <a:buNone/>
              <a:defRPr>
                <a:solidFill>
                  <a:schemeClr val="tx1">
                    <a:tint val="75000"/>
                  </a:schemeClr>
                </a:solidFill>
              </a:defRPr>
            </a:lvl2pPr>
            <a:lvl3pPr marL="609660" indent="0" algn="ctr">
              <a:buNone/>
              <a:defRPr>
                <a:solidFill>
                  <a:schemeClr val="tx1">
                    <a:tint val="75000"/>
                  </a:schemeClr>
                </a:solidFill>
              </a:defRPr>
            </a:lvl3pPr>
            <a:lvl4pPr marL="914492" indent="0" algn="ctr">
              <a:buNone/>
              <a:defRPr>
                <a:solidFill>
                  <a:schemeClr val="tx1">
                    <a:tint val="75000"/>
                  </a:schemeClr>
                </a:solidFill>
              </a:defRPr>
            </a:lvl4pPr>
            <a:lvl5pPr marL="1219322" indent="0" algn="ctr">
              <a:buNone/>
              <a:defRPr>
                <a:solidFill>
                  <a:schemeClr val="tx1">
                    <a:tint val="75000"/>
                  </a:schemeClr>
                </a:solidFill>
              </a:defRPr>
            </a:lvl5pPr>
            <a:lvl6pPr marL="1524152" indent="0" algn="ctr">
              <a:buNone/>
              <a:defRPr>
                <a:solidFill>
                  <a:schemeClr val="tx1">
                    <a:tint val="75000"/>
                  </a:schemeClr>
                </a:solidFill>
              </a:defRPr>
            </a:lvl6pPr>
            <a:lvl7pPr marL="1828983" indent="0" algn="ctr">
              <a:buNone/>
              <a:defRPr>
                <a:solidFill>
                  <a:schemeClr val="tx1">
                    <a:tint val="75000"/>
                  </a:schemeClr>
                </a:solidFill>
              </a:defRPr>
            </a:lvl7pPr>
            <a:lvl8pPr marL="2133814" indent="0" algn="ctr">
              <a:buNone/>
              <a:defRPr>
                <a:solidFill>
                  <a:schemeClr val="tx1">
                    <a:tint val="75000"/>
                  </a:schemeClr>
                </a:solidFill>
              </a:defRPr>
            </a:lvl8pPr>
            <a:lvl9pPr marL="2438644"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287734004"/>
      </p:ext>
    </p:extLst>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Title Only">
  <p:cSld name="Title Only 2">
    <p:spTree>
      <p:nvGrpSpPr>
        <p:cNvPr id="1" name="Shape 9641"/>
        <p:cNvGrpSpPr/>
        <p:nvPr/>
      </p:nvGrpSpPr>
      <p:grpSpPr>
        <a:xfrm>
          <a:off x="0" y="0"/>
          <a:ext cx="0" cy="0"/>
          <a:chOff x="0" y="0"/>
          <a:chExt cx="0" cy="0"/>
        </a:xfrm>
      </p:grpSpPr>
      <p:grpSp>
        <p:nvGrpSpPr>
          <p:cNvPr id="9642" name="Google Shape;9642;p1373"/>
          <p:cNvGrpSpPr/>
          <p:nvPr/>
        </p:nvGrpSpPr>
        <p:grpSpPr>
          <a:xfrm>
            <a:off x="7191542" y="1"/>
            <a:ext cx="5000459" cy="1425992"/>
            <a:chOff x="7191542" y="1"/>
            <a:chExt cx="5000459" cy="1425992"/>
          </a:xfrm>
        </p:grpSpPr>
        <p:pic>
          <p:nvPicPr>
            <p:cNvPr id="9643" name="Google Shape;9643;p13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644" name="Google Shape;9644;p1373"/>
            <p:cNvGrpSpPr/>
            <p:nvPr/>
          </p:nvGrpSpPr>
          <p:grpSpPr>
            <a:xfrm>
              <a:off x="7191542" y="1"/>
              <a:ext cx="5000459" cy="1425992"/>
              <a:chOff x="7186272" y="0"/>
              <a:chExt cx="5005729" cy="1427495"/>
            </a:xfrm>
          </p:grpSpPr>
          <p:sp>
            <p:nvSpPr>
              <p:cNvPr id="9645" name="Google Shape;9645;p13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646" name="Google Shape;9646;p13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647" name="Google Shape;9647;p13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48" name="Google Shape;9648;p13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649" name="Google Shape;9649;p13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650" name="Google Shape;9650;p13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10"/>
            <a:ext cx="5181600" cy="1000125"/>
          </a:xfrm>
        </p:spPr>
        <p:txBody>
          <a:bodyPr anchor="b"/>
          <a:lstStyle>
            <a:lvl1pPr marL="0" indent="0">
              <a:buNone/>
              <a:defRPr sz="1333">
                <a:solidFill>
                  <a:schemeClr val="tx1">
                    <a:tint val="75000"/>
                  </a:schemeClr>
                </a:solidFill>
              </a:defRPr>
            </a:lvl1pPr>
            <a:lvl2pPr marL="304831" indent="0">
              <a:buNone/>
              <a:defRPr sz="1200">
                <a:solidFill>
                  <a:schemeClr val="tx1">
                    <a:tint val="75000"/>
                  </a:schemeClr>
                </a:solidFill>
              </a:defRPr>
            </a:lvl2pPr>
            <a:lvl3pPr marL="609660" indent="0">
              <a:buNone/>
              <a:defRPr sz="1067">
                <a:solidFill>
                  <a:schemeClr val="tx1">
                    <a:tint val="75000"/>
                  </a:schemeClr>
                </a:solidFill>
              </a:defRPr>
            </a:lvl3pPr>
            <a:lvl4pPr marL="914492" indent="0">
              <a:buNone/>
              <a:defRPr sz="933">
                <a:solidFill>
                  <a:schemeClr val="tx1">
                    <a:tint val="75000"/>
                  </a:schemeClr>
                </a:solidFill>
              </a:defRPr>
            </a:lvl4pPr>
            <a:lvl5pPr marL="1219322" indent="0">
              <a:buNone/>
              <a:defRPr sz="933">
                <a:solidFill>
                  <a:schemeClr val="tx1">
                    <a:tint val="75000"/>
                  </a:schemeClr>
                </a:solidFill>
              </a:defRPr>
            </a:lvl5pPr>
            <a:lvl6pPr marL="1524152" indent="0">
              <a:buNone/>
              <a:defRPr sz="933">
                <a:solidFill>
                  <a:schemeClr val="tx1">
                    <a:tint val="75000"/>
                  </a:schemeClr>
                </a:solidFill>
              </a:defRPr>
            </a:lvl6pPr>
            <a:lvl7pPr marL="1828983" indent="0">
              <a:buNone/>
              <a:defRPr sz="933">
                <a:solidFill>
                  <a:schemeClr val="tx1">
                    <a:tint val="75000"/>
                  </a:schemeClr>
                </a:solidFill>
              </a:defRPr>
            </a:lvl7pPr>
            <a:lvl8pPr marL="2133814" indent="0">
              <a:buNone/>
              <a:defRPr sz="933">
                <a:solidFill>
                  <a:schemeClr val="tx1">
                    <a:tint val="75000"/>
                  </a:schemeClr>
                </a:solidFill>
              </a:defRPr>
            </a:lvl8pPr>
            <a:lvl9pPr marL="2438644"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058461402"/>
      </p:ext>
    </p:extLst>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5/20/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1" y="1023409"/>
            <a:ext cx="2693459" cy="426508"/>
          </a:xfrm>
        </p:spPr>
        <p:txBody>
          <a:bodyPr anchor="b"/>
          <a:lstStyle>
            <a:lvl1pPr marL="0" indent="0">
              <a:buNone/>
              <a:defRPr sz="1600" b="1"/>
            </a:lvl1pPr>
            <a:lvl2pPr marL="304831" indent="0">
              <a:buNone/>
              <a:defRPr sz="1333" b="1"/>
            </a:lvl2pPr>
            <a:lvl3pPr marL="609660" indent="0">
              <a:buNone/>
              <a:defRPr sz="1200" b="1"/>
            </a:lvl3pPr>
            <a:lvl4pPr marL="914492" indent="0">
              <a:buNone/>
              <a:defRPr sz="1067" b="1"/>
            </a:lvl4pPr>
            <a:lvl5pPr marL="1219322" indent="0">
              <a:buNone/>
              <a:defRPr sz="1067" b="1"/>
            </a:lvl5pPr>
            <a:lvl6pPr marL="1524152" indent="0">
              <a:buNone/>
              <a:defRPr sz="1067" b="1"/>
            </a:lvl6pPr>
            <a:lvl7pPr marL="1828983" indent="0">
              <a:buNone/>
              <a:defRPr sz="1067" b="1"/>
            </a:lvl7pPr>
            <a:lvl8pPr marL="2133814" indent="0">
              <a:buNone/>
              <a:defRPr sz="1067" b="1"/>
            </a:lvl8pPr>
            <a:lvl9pPr marL="2438644"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1"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5" y="1023409"/>
            <a:ext cx="2694517" cy="426508"/>
          </a:xfrm>
        </p:spPr>
        <p:txBody>
          <a:bodyPr anchor="b"/>
          <a:lstStyle>
            <a:lvl1pPr marL="0" indent="0">
              <a:buNone/>
              <a:defRPr sz="1600" b="1"/>
            </a:lvl1pPr>
            <a:lvl2pPr marL="304831" indent="0">
              <a:buNone/>
              <a:defRPr sz="1333" b="1"/>
            </a:lvl2pPr>
            <a:lvl3pPr marL="609660" indent="0">
              <a:buNone/>
              <a:defRPr sz="1200" b="1"/>
            </a:lvl3pPr>
            <a:lvl4pPr marL="914492" indent="0">
              <a:buNone/>
              <a:defRPr sz="1067" b="1"/>
            </a:lvl4pPr>
            <a:lvl5pPr marL="1219322" indent="0">
              <a:buNone/>
              <a:defRPr sz="1067" b="1"/>
            </a:lvl5pPr>
            <a:lvl6pPr marL="1524152" indent="0">
              <a:buNone/>
              <a:defRPr sz="1067" b="1"/>
            </a:lvl6pPr>
            <a:lvl7pPr marL="1828983" indent="0">
              <a:buNone/>
              <a:defRPr sz="1067" b="1"/>
            </a:lvl7pPr>
            <a:lvl8pPr marL="2133814" indent="0">
              <a:buNone/>
              <a:defRPr sz="1067" b="1"/>
            </a:lvl8pPr>
            <a:lvl9pPr marL="2438644"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5"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5/20/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160800046"/>
      </p:ext>
    </p:extLst>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5/20/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5/20/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5/20/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8" y="182035"/>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5"/>
            <a:ext cx="2005542" cy="3127375"/>
          </a:xfrm>
        </p:spPr>
        <p:txBody>
          <a:bodyPr/>
          <a:lstStyle>
            <a:lvl1pPr marL="0" indent="0">
              <a:buNone/>
              <a:defRPr sz="933"/>
            </a:lvl1pPr>
            <a:lvl2pPr marL="304831" indent="0">
              <a:buNone/>
              <a:defRPr sz="800"/>
            </a:lvl2pPr>
            <a:lvl3pPr marL="609660" indent="0">
              <a:buNone/>
              <a:defRPr sz="667"/>
            </a:lvl3pPr>
            <a:lvl4pPr marL="914492" indent="0">
              <a:buNone/>
              <a:defRPr sz="600"/>
            </a:lvl4pPr>
            <a:lvl5pPr marL="1219322" indent="0">
              <a:buNone/>
              <a:defRPr sz="600"/>
            </a:lvl5pPr>
            <a:lvl6pPr marL="1524152" indent="0">
              <a:buNone/>
              <a:defRPr sz="600"/>
            </a:lvl6pPr>
            <a:lvl7pPr marL="1828983" indent="0">
              <a:buNone/>
              <a:defRPr sz="600"/>
            </a:lvl7pPr>
            <a:lvl8pPr marL="2133814" indent="0">
              <a:buNone/>
              <a:defRPr sz="600"/>
            </a:lvl8pPr>
            <a:lvl9pPr marL="2438644"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5/20/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386455809"/>
      </p:ext>
    </p:extLst>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1"/>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31" indent="0">
              <a:buNone/>
              <a:defRPr sz="1867"/>
            </a:lvl2pPr>
            <a:lvl3pPr marL="609660" indent="0">
              <a:buNone/>
              <a:defRPr sz="1600"/>
            </a:lvl3pPr>
            <a:lvl4pPr marL="914492" indent="0">
              <a:buNone/>
              <a:defRPr sz="1333"/>
            </a:lvl4pPr>
            <a:lvl5pPr marL="1219322" indent="0">
              <a:buNone/>
              <a:defRPr sz="1333"/>
            </a:lvl5pPr>
            <a:lvl6pPr marL="1524152" indent="0">
              <a:buNone/>
              <a:defRPr sz="1333"/>
            </a:lvl6pPr>
            <a:lvl7pPr marL="1828983" indent="0">
              <a:buNone/>
              <a:defRPr sz="1333"/>
            </a:lvl7pPr>
            <a:lvl8pPr marL="2133814" indent="0">
              <a:buNone/>
              <a:defRPr sz="1333"/>
            </a:lvl8pPr>
            <a:lvl9pPr marL="2438644" indent="0">
              <a:buNone/>
              <a:defRPr sz="1333"/>
            </a:lvl9pPr>
          </a:lstStyle>
          <a:p>
            <a:endParaRPr lang="en-US"/>
          </a:p>
        </p:txBody>
      </p:sp>
      <p:sp>
        <p:nvSpPr>
          <p:cNvPr id="4" name="Text Placeholder 3"/>
          <p:cNvSpPr>
            <a:spLocks noGrp="1"/>
          </p:cNvSpPr>
          <p:nvPr>
            <p:ph type="body" sz="half" idx="2"/>
          </p:nvPr>
        </p:nvSpPr>
        <p:spPr>
          <a:xfrm>
            <a:off x="1194859" y="3578226"/>
            <a:ext cx="3657600" cy="536575"/>
          </a:xfrm>
        </p:spPr>
        <p:txBody>
          <a:bodyPr/>
          <a:lstStyle>
            <a:lvl1pPr marL="0" indent="0">
              <a:buNone/>
              <a:defRPr sz="933"/>
            </a:lvl1pPr>
            <a:lvl2pPr marL="304831" indent="0">
              <a:buNone/>
              <a:defRPr sz="800"/>
            </a:lvl2pPr>
            <a:lvl3pPr marL="609660" indent="0">
              <a:buNone/>
              <a:defRPr sz="667"/>
            </a:lvl3pPr>
            <a:lvl4pPr marL="914492" indent="0">
              <a:buNone/>
              <a:defRPr sz="600"/>
            </a:lvl4pPr>
            <a:lvl5pPr marL="1219322" indent="0">
              <a:buNone/>
              <a:defRPr sz="600"/>
            </a:lvl5pPr>
            <a:lvl6pPr marL="1524152" indent="0">
              <a:buNone/>
              <a:defRPr sz="600"/>
            </a:lvl6pPr>
            <a:lvl7pPr marL="1828983" indent="0">
              <a:buNone/>
              <a:defRPr sz="600"/>
            </a:lvl7pPr>
            <a:lvl8pPr marL="2133814" indent="0">
              <a:buNone/>
              <a:defRPr sz="600"/>
            </a:lvl8pPr>
            <a:lvl9pPr marL="2438644"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5/20/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575430312"/>
      </p:ext>
    </p:extLst>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5/20/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5/20/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Cover">
  <p:cSld name="Cover 5">
    <p:spTree>
      <p:nvGrpSpPr>
        <p:cNvPr id="1" name="Shape 9651"/>
        <p:cNvGrpSpPr/>
        <p:nvPr/>
      </p:nvGrpSpPr>
      <p:grpSpPr>
        <a:xfrm>
          <a:off x="0" y="0"/>
          <a:ext cx="0" cy="0"/>
          <a:chOff x="0" y="0"/>
          <a:chExt cx="0" cy="0"/>
        </a:xfrm>
      </p:grpSpPr>
      <p:sp>
        <p:nvSpPr>
          <p:cNvPr id="9652" name="Google Shape;9652;p137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653" name="Google Shape;9653;p137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54" name="Google Shape;9654;p137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655" name="Google Shape;9655;p1374"/>
          <p:cNvSpPr>
            <a:spLocks noGrp="1"/>
          </p:cNvSpPr>
          <p:nvPr>
            <p:ph type="pic" idx="2"/>
          </p:nvPr>
        </p:nvSpPr>
        <p:spPr>
          <a:xfrm>
            <a:off x="7118684" y="233915"/>
            <a:ext cx="5073316" cy="5943600"/>
          </a:xfrm>
          <a:prstGeom prst="rect">
            <a:avLst/>
          </a:prstGeom>
          <a:noFill/>
          <a:ln>
            <a:noFill/>
          </a:ln>
        </p:spPr>
      </p:sp>
      <p:grpSp>
        <p:nvGrpSpPr>
          <p:cNvPr id="9656" name="Google Shape;9656;p1374"/>
          <p:cNvGrpSpPr/>
          <p:nvPr/>
        </p:nvGrpSpPr>
        <p:grpSpPr>
          <a:xfrm>
            <a:off x="0" y="5020348"/>
            <a:ext cx="12192000" cy="1837653"/>
            <a:chOff x="0" y="5020348"/>
            <a:chExt cx="12192000" cy="1837653"/>
          </a:xfrm>
        </p:grpSpPr>
        <p:sp>
          <p:nvSpPr>
            <p:cNvPr id="9657" name="Google Shape;9657;p137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658" name="Google Shape;9658;p137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659" name="Google Shape;9659;p137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5/20/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33287330"/>
      </p:ext>
    </p:extLst>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19201493"/>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23648582"/>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52013981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Divider">
  <p:cSld name="Divider 6">
    <p:spTree>
      <p:nvGrpSpPr>
        <p:cNvPr id="1" name="Shape 9660"/>
        <p:cNvGrpSpPr/>
        <p:nvPr/>
      </p:nvGrpSpPr>
      <p:grpSpPr>
        <a:xfrm>
          <a:off x="0" y="0"/>
          <a:ext cx="0" cy="0"/>
          <a:chOff x="0" y="0"/>
          <a:chExt cx="0" cy="0"/>
        </a:xfrm>
      </p:grpSpPr>
      <p:grpSp>
        <p:nvGrpSpPr>
          <p:cNvPr id="9661" name="Google Shape;9661;p1375"/>
          <p:cNvGrpSpPr/>
          <p:nvPr/>
        </p:nvGrpSpPr>
        <p:grpSpPr>
          <a:xfrm>
            <a:off x="0" y="5020347"/>
            <a:ext cx="12192000" cy="1837653"/>
            <a:chOff x="0" y="5020347"/>
            <a:chExt cx="12192000" cy="1837653"/>
          </a:xfrm>
        </p:grpSpPr>
        <p:sp>
          <p:nvSpPr>
            <p:cNvPr id="9662" name="Google Shape;9662;p137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663" name="Google Shape;9663;p137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664" name="Google Shape;9664;p137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665" name="Google Shape;9665;p137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666" name="Google Shape;9666;p137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67" name="Google Shape;9667;p137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21705536"/>
      </p:ext>
    </p:extLst>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716605091"/>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229060169"/>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13952948"/>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91578072"/>
      </p:ext>
    </p:extLst>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09983147"/>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87412334"/>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088638423"/>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01586670"/>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4491249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Photo Slide">
  <p:cSld name="Photo Slide 5">
    <p:spTree>
      <p:nvGrpSpPr>
        <p:cNvPr id="1" name="Shape 9668"/>
        <p:cNvGrpSpPr/>
        <p:nvPr/>
      </p:nvGrpSpPr>
      <p:grpSpPr>
        <a:xfrm>
          <a:off x="0" y="0"/>
          <a:ext cx="0" cy="0"/>
          <a:chOff x="0" y="0"/>
          <a:chExt cx="0" cy="0"/>
        </a:xfrm>
      </p:grpSpPr>
      <p:sp>
        <p:nvSpPr>
          <p:cNvPr id="9669" name="Google Shape;9669;p137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670" name="Google Shape;9670;p137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671" name="Google Shape;9671;p1376"/>
          <p:cNvGrpSpPr/>
          <p:nvPr/>
        </p:nvGrpSpPr>
        <p:grpSpPr>
          <a:xfrm>
            <a:off x="0" y="5379426"/>
            <a:ext cx="2807368" cy="753891"/>
            <a:chOff x="0" y="5379426"/>
            <a:chExt cx="2807368" cy="753891"/>
          </a:xfrm>
        </p:grpSpPr>
        <p:sp>
          <p:nvSpPr>
            <p:cNvPr id="9672" name="Google Shape;9672;p137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673" name="Google Shape;9673;p137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674" name="Google Shape;9674;p1376"/>
          <p:cNvSpPr>
            <a:spLocks noGrp="1"/>
          </p:cNvSpPr>
          <p:nvPr>
            <p:ph type="pic" idx="2"/>
          </p:nvPr>
        </p:nvSpPr>
        <p:spPr>
          <a:xfrm>
            <a:off x="2807368" y="457202"/>
            <a:ext cx="8915400" cy="5943598"/>
          </a:xfrm>
          <a:prstGeom prst="rect">
            <a:avLst/>
          </a:prstGeom>
          <a:noFill/>
          <a:ln>
            <a:noFill/>
          </a:ln>
        </p:spPr>
      </p:sp>
      <p:pic>
        <p:nvPicPr>
          <p:cNvPr id="9675" name="Google Shape;9675;p137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3463255075"/>
      </p:ext>
    </p:extLst>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07782610"/>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24239018"/>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99433753"/>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3719583585"/>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22967309"/>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826985291"/>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421845112"/>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14421044"/>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8286203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Quotation">
  <p:cSld name="Quotation 5">
    <p:spTree>
      <p:nvGrpSpPr>
        <p:cNvPr id="1" name="Shape 9676"/>
        <p:cNvGrpSpPr/>
        <p:nvPr/>
      </p:nvGrpSpPr>
      <p:grpSpPr>
        <a:xfrm>
          <a:off x="0" y="0"/>
          <a:ext cx="0" cy="0"/>
          <a:chOff x="0" y="0"/>
          <a:chExt cx="0" cy="0"/>
        </a:xfrm>
      </p:grpSpPr>
      <p:sp>
        <p:nvSpPr>
          <p:cNvPr id="9677" name="Google Shape;9677;p137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678" name="Google Shape;9678;p137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79" name="Google Shape;9679;p137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680" name="Google Shape;9680;p13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681" name="Google Shape;9681;p13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682" name="Google Shape;9682;p13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683" name="Google Shape;9683;p1377"/>
          <p:cNvGrpSpPr/>
          <p:nvPr/>
        </p:nvGrpSpPr>
        <p:grpSpPr>
          <a:xfrm>
            <a:off x="7191542" y="1"/>
            <a:ext cx="5000459" cy="1425992"/>
            <a:chOff x="7191542" y="1"/>
            <a:chExt cx="5000459" cy="1425992"/>
          </a:xfrm>
        </p:grpSpPr>
        <p:pic>
          <p:nvPicPr>
            <p:cNvPr id="9684" name="Google Shape;9684;p13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685" name="Google Shape;9685;p1377"/>
            <p:cNvGrpSpPr/>
            <p:nvPr/>
          </p:nvGrpSpPr>
          <p:grpSpPr>
            <a:xfrm>
              <a:off x="7191542" y="1"/>
              <a:ext cx="5000459" cy="1425992"/>
              <a:chOff x="7186272" y="0"/>
              <a:chExt cx="5005729" cy="1427495"/>
            </a:xfrm>
          </p:grpSpPr>
          <p:sp>
            <p:nvSpPr>
              <p:cNvPr id="9686" name="Google Shape;9686;p13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687" name="Google Shape;9687;p13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688" name="Google Shape;9688;p137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30.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47463770"/>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50"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50" y="5400327"/>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2389703002"/>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08909011"/>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3714170712"/>
      </p:ext>
    </p:extLst>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325483243"/>
      </p:ext>
    </p:extLst>
  </p:cSld>
  <p:clrMapOvr>
    <a:masterClrMapping/>
  </p:clrMapOvr>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Quotation">
  <p:cSld name="Quotation 6">
    <p:spTree>
      <p:nvGrpSpPr>
        <p:cNvPr id="1" name="Shape 9689"/>
        <p:cNvGrpSpPr/>
        <p:nvPr/>
      </p:nvGrpSpPr>
      <p:grpSpPr>
        <a:xfrm>
          <a:off x="0" y="0"/>
          <a:ext cx="0" cy="0"/>
          <a:chOff x="0" y="0"/>
          <a:chExt cx="0" cy="0"/>
        </a:xfrm>
      </p:grpSpPr>
      <p:sp>
        <p:nvSpPr>
          <p:cNvPr id="9690" name="Google Shape;9690;p137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691" name="Google Shape;9691;p137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92" name="Google Shape;9692;p137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693" name="Google Shape;9693;p13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694" name="Google Shape;9694;p13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695" name="Google Shape;9695;p13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696" name="Google Shape;9696;p1378"/>
          <p:cNvGrpSpPr/>
          <p:nvPr/>
        </p:nvGrpSpPr>
        <p:grpSpPr>
          <a:xfrm>
            <a:off x="7191542" y="1"/>
            <a:ext cx="5000459" cy="1425992"/>
            <a:chOff x="7191542" y="1"/>
            <a:chExt cx="5000459" cy="1425992"/>
          </a:xfrm>
        </p:grpSpPr>
        <p:pic>
          <p:nvPicPr>
            <p:cNvPr id="9697" name="Google Shape;9697;p13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698" name="Google Shape;9698;p1378"/>
            <p:cNvGrpSpPr/>
            <p:nvPr/>
          </p:nvGrpSpPr>
          <p:grpSpPr>
            <a:xfrm>
              <a:off x="7191542" y="1"/>
              <a:ext cx="5000459" cy="1425992"/>
              <a:chOff x="7186272" y="0"/>
              <a:chExt cx="5005729" cy="1427495"/>
            </a:xfrm>
          </p:grpSpPr>
          <p:sp>
            <p:nvSpPr>
              <p:cNvPr id="9699" name="Google Shape;9699;p13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700" name="Google Shape;9700;p13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701" name="Google Shape;9701;p137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99438757"/>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18351779"/>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100751441"/>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39655966"/>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8216190"/>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39252859"/>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6805559"/>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51823033"/>
      </p:ext>
    </p:extLst>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34417745"/>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4416058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Two Content">
  <p:cSld name="Two Content 4">
    <p:spTree>
      <p:nvGrpSpPr>
        <p:cNvPr id="1" name="Shape 9702"/>
        <p:cNvGrpSpPr/>
        <p:nvPr/>
      </p:nvGrpSpPr>
      <p:grpSpPr>
        <a:xfrm>
          <a:off x="0" y="0"/>
          <a:ext cx="0" cy="0"/>
          <a:chOff x="0" y="0"/>
          <a:chExt cx="0" cy="0"/>
        </a:xfrm>
      </p:grpSpPr>
      <p:sp>
        <p:nvSpPr>
          <p:cNvPr id="9703" name="Google Shape;9703;p137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04" name="Google Shape;9704;p137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705" name="Google Shape;9705;p1379"/>
          <p:cNvGrpSpPr/>
          <p:nvPr/>
        </p:nvGrpSpPr>
        <p:grpSpPr>
          <a:xfrm>
            <a:off x="7191542" y="1"/>
            <a:ext cx="5000459" cy="1425992"/>
            <a:chOff x="7191542" y="1"/>
            <a:chExt cx="5000459" cy="1425992"/>
          </a:xfrm>
        </p:grpSpPr>
        <p:pic>
          <p:nvPicPr>
            <p:cNvPr id="9706" name="Google Shape;9706;p13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07" name="Google Shape;9707;p1379"/>
            <p:cNvGrpSpPr/>
            <p:nvPr/>
          </p:nvGrpSpPr>
          <p:grpSpPr>
            <a:xfrm>
              <a:off x="7191542" y="1"/>
              <a:ext cx="5000459" cy="1425992"/>
              <a:chOff x="7186272" y="0"/>
              <a:chExt cx="5005729" cy="1427495"/>
            </a:xfrm>
          </p:grpSpPr>
          <p:sp>
            <p:nvSpPr>
              <p:cNvPr id="9708" name="Google Shape;9708;p13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709" name="Google Shape;9709;p13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710" name="Google Shape;9710;p137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11" name="Google Shape;9711;p137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712" name="Google Shape;9712;p13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13" name="Google Shape;9713;p13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6343632"/>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735636018"/>
      </p:ext>
    </p:extLst>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04249671"/>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795617242"/>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145282042"/>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801569931"/>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12529371"/>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82237149"/>
      </p:ext>
    </p:extLst>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6300861"/>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343662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Comparison">
  <p:cSld name="Comparison 3">
    <p:spTree>
      <p:nvGrpSpPr>
        <p:cNvPr id="1" name="Shape 9714"/>
        <p:cNvGrpSpPr/>
        <p:nvPr/>
      </p:nvGrpSpPr>
      <p:grpSpPr>
        <a:xfrm>
          <a:off x="0" y="0"/>
          <a:ext cx="0" cy="0"/>
          <a:chOff x="0" y="0"/>
          <a:chExt cx="0" cy="0"/>
        </a:xfrm>
      </p:grpSpPr>
      <p:grpSp>
        <p:nvGrpSpPr>
          <p:cNvPr id="9715" name="Google Shape;9715;p1380"/>
          <p:cNvGrpSpPr/>
          <p:nvPr/>
        </p:nvGrpSpPr>
        <p:grpSpPr>
          <a:xfrm>
            <a:off x="7191542" y="1"/>
            <a:ext cx="5000459" cy="1425992"/>
            <a:chOff x="7191542" y="1"/>
            <a:chExt cx="5000459" cy="1425992"/>
          </a:xfrm>
        </p:grpSpPr>
        <p:pic>
          <p:nvPicPr>
            <p:cNvPr id="9716" name="Google Shape;9716;p13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17" name="Google Shape;9717;p1380"/>
            <p:cNvGrpSpPr/>
            <p:nvPr/>
          </p:nvGrpSpPr>
          <p:grpSpPr>
            <a:xfrm>
              <a:off x="7191542" y="1"/>
              <a:ext cx="5000459" cy="1425992"/>
              <a:chOff x="7186272" y="0"/>
              <a:chExt cx="5005729" cy="1427495"/>
            </a:xfrm>
          </p:grpSpPr>
          <p:sp>
            <p:nvSpPr>
              <p:cNvPr id="9718" name="Google Shape;9718;p13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719" name="Google Shape;9719;p13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720" name="Google Shape;9720;p138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21" name="Google Shape;9721;p138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722" name="Google Shape;9722;p138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23" name="Google Shape;9723;p138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724" name="Google Shape;9724;p138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25" name="Google Shape;9725;p13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726" name="Google Shape;9726;p13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27" name="Google Shape;9727;p13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60.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06901972"/>
      </p:ext>
    </p:extLst>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73952743"/>
      </p:ext>
    </p:extLst>
  </p:cSld>
  <p:clrMapOvr>
    <a:masterClrMapping/>
  </p:clrMapOvr>
</p:sldLayout>
</file>

<file path=ppt/slideLayouts/slideLayout762.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3533869"/>
      </p:ext>
    </p:extLst>
  </p:cSld>
  <p:clrMapOvr>
    <a:masterClrMapping/>
  </p:clrMapOvr>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764.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190575823"/>
      </p:ext>
    </p:extLst>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43845325"/>
      </p:ext>
    </p:extLst>
  </p:cSld>
  <p:clrMapOvr>
    <a:masterClrMapping/>
  </p:clrMapOvr>
</p:sldLayout>
</file>

<file path=ppt/slideLayouts/slideLayout766.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4"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7"/>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8" y="5564125"/>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0/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4">
              <a:lnSpc>
                <a:spcPts val="1425"/>
              </a:lnSpc>
            </a:pPr>
            <a:fld id="{81D60167-4931-47E6-BA6A-407CBD079E47}" type="slidenum">
              <a:rPr lang="en-US" spc="-5" smtClean="0">
                <a:solidFill>
                  <a:srgbClr val="929599"/>
                </a:solidFill>
              </a:rPr>
              <a:pPr marL="38104">
                <a:lnSpc>
                  <a:spcPts val="1425"/>
                </a:lnSpc>
              </a:pPr>
              <a:t>‹#›</a:t>
            </a:fld>
            <a:endParaRPr lang="en-US" spc="-5">
              <a:solidFill>
                <a:srgbClr val="929599"/>
              </a:solidFill>
            </a:endParaRPr>
          </a:p>
        </p:txBody>
      </p:sp>
    </p:spTree>
    <p:extLst>
      <p:ext uri="{BB962C8B-B14F-4D97-AF65-F5344CB8AC3E}">
        <p14:creationId xmlns:p14="http://schemas.microsoft.com/office/powerpoint/2010/main" val="244403117"/>
      </p:ext>
    </p:extLst>
  </p:cSld>
  <p:clrMapOvr>
    <a:masterClrMapping/>
  </p:clrMapOvr>
</p:sldLayout>
</file>

<file path=ppt/slideLayouts/slideLayout767.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0/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584947335"/>
      </p:ext>
    </p:extLst>
  </p:cSld>
  <p:clrMapOvr>
    <a:masterClrMapping/>
  </p:clrMapOvr>
</p:sldLayout>
</file>

<file path=ppt/slideLayouts/slideLayout768.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11888109"/>
      </p:ext>
    </p:extLst>
  </p:cSld>
  <p:clrMapOvr>
    <a:masterClrMapping/>
  </p:clrMapOvr>
</p:sldLayout>
</file>

<file path=ppt/slideLayouts/slideLayout769.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Title Only">
  <p:cSld name="Title Only 3">
    <p:spTree>
      <p:nvGrpSpPr>
        <p:cNvPr id="1" name="Shape 9728"/>
        <p:cNvGrpSpPr/>
        <p:nvPr/>
      </p:nvGrpSpPr>
      <p:grpSpPr>
        <a:xfrm>
          <a:off x="0" y="0"/>
          <a:ext cx="0" cy="0"/>
          <a:chOff x="0" y="0"/>
          <a:chExt cx="0" cy="0"/>
        </a:xfrm>
      </p:grpSpPr>
      <p:grpSp>
        <p:nvGrpSpPr>
          <p:cNvPr id="9729" name="Google Shape;9729;p1381"/>
          <p:cNvGrpSpPr/>
          <p:nvPr/>
        </p:nvGrpSpPr>
        <p:grpSpPr>
          <a:xfrm>
            <a:off x="7191542" y="1"/>
            <a:ext cx="5000459" cy="1425992"/>
            <a:chOff x="7191542" y="1"/>
            <a:chExt cx="5000459" cy="1425992"/>
          </a:xfrm>
        </p:grpSpPr>
        <p:pic>
          <p:nvPicPr>
            <p:cNvPr id="9730" name="Google Shape;9730;p13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31" name="Google Shape;9731;p1381"/>
            <p:cNvGrpSpPr/>
            <p:nvPr/>
          </p:nvGrpSpPr>
          <p:grpSpPr>
            <a:xfrm>
              <a:off x="7191542" y="1"/>
              <a:ext cx="5000459" cy="1425992"/>
              <a:chOff x="7186272" y="0"/>
              <a:chExt cx="5005729" cy="1427495"/>
            </a:xfrm>
          </p:grpSpPr>
          <p:sp>
            <p:nvSpPr>
              <p:cNvPr id="9732" name="Google Shape;9732;p13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733" name="Google Shape;9733;p13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734" name="Google Shape;9734;p13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35" name="Google Shape;9735;p13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736" name="Google Shape;9736;p13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37" name="Google Shape;9737;p13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70.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6464925"/>
      </p:ext>
    </p:extLst>
  </p:cSld>
  <p:clrMapOvr>
    <a:masterClrMapping/>
  </p:clrMapOvr>
</p:sldLayout>
</file>

<file path=ppt/slideLayouts/slideLayout771.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25758113"/>
      </p:ext>
    </p:extLst>
  </p:cSld>
  <p:clrMapOvr>
    <a:masterClrMapping/>
  </p:clrMapOvr>
</p:sldLayout>
</file>

<file path=ppt/slideLayouts/slideLayout772.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1266241"/>
      </p:ext>
    </p:extLst>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46722601"/>
      </p:ext>
    </p:extLst>
  </p:cSld>
  <p:clrMapOvr>
    <a:masterClrMapping/>
  </p:clrMapOvr>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775.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059439835"/>
      </p:ext>
    </p:extLst>
  </p:cSld>
  <p:clrMapOvr>
    <a:masterClrMapping/>
  </p:clrMapOvr>
</p:sldLayout>
</file>

<file path=ppt/slideLayouts/slideLayout77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77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4355431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End">
  <p:cSld name="End 3">
    <p:spTree>
      <p:nvGrpSpPr>
        <p:cNvPr id="1" name="Shape 9738"/>
        <p:cNvGrpSpPr/>
        <p:nvPr/>
      </p:nvGrpSpPr>
      <p:grpSpPr>
        <a:xfrm>
          <a:off x="0" y="0"/>
          <a:ext cx="0" cy="0"/>
          <a:chOff x="0" y="0"/>
          <a:chExt cx="0" cy="0"/>
        </a:xfrm>
      </p:grpSpPr>
      <p:grpSp>
        <p:nvGrpSpPr>
          <p:cNvPr id="9739" name="Google Shape;9739;p1382"/>
          <p:cNvGrpSpPr/>
          <p:nvPr/>
        </p:nvGrpSpPr>
        <p:grpSpPr>
          <a:xfrm>
            <a:off x="0" y="0"/>
            <a:ext cx="12192000" cy="2148830"/>
            <a:chOff x="0" y="0"/>
            <a:chExt cx="12192000" cy="2148830"/>
          </a:xfrm>
        </p:grpSpPr>
        <p:sp>
          <p:nvSpPr>
            <p:cNvPr id="9740" name="Google Shape;9740;p138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741" name="Google Shape;9741;p138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9742" name="Google Shape;9742;p138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743" name="Google Shape;9743;p138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44" name="Google Shape;9744;p138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9745" name="Google Shape;9745;p138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746" name="Google Shape;9746;p138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80.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439158626"/>
      </p:ext>
    </p:extLst>
  </p:cSld>
  <p:clrMapOvr>
    <a:masterClrMapping/>
  </p:clrMapOvr>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06325661"/>
      </p:ext>
    </p:extLst>
  </p:cSld>
  <p:clrMapOvr>
    <a:masterClrMapping/>
  </p:clrMapOvr>
</p:sldLayout>
</file>

<file path=ppt/slideLayouts/slideLayout782.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057302065"/>
      </p:ext>
    </p:extLst>
  </p:cSld>
  <p:clrMapOvr>
    <a:masterClrMapping/>
  </p:clrMapOvr>
</p:sldLayout>
</file>

<file path=ppt/slideLayouts/slideLayout783.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6738126"/>
      </p:ext>
    </p:extLst>
  </p:cSld>
  <p:clrMapOvr>
    <a:masterClrMapping/>
  </p:clrMapOvr>
</p:sldLayout>
</file>

<file path=ppt/slideLayouts/slideLayout78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785.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149101902"/>
      </p:ext>
    </p:extLst>
  </p:cSld>
  <p:clrMapOvr>
    <a:masterClrMapping/>
  </p:clrMapOvr>
</p:sldLayout>
</file>

<file path=ppt/slideLayouts/slideLayout786.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2816609"/>
      </p:ext>
    </p:extLst>
  </p:cSld>
  <p:clrMapOvr>
    <a:masterClrMapping/>
  </p:clrMapOvr>
</p:sldLayout>
</file>

<file path=ppt/slideLayouts/slideLayout787.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678347883"/>
      </p:ext>
    </p:extLst>
  </p:cSld>
  <p:clrMapOvr>
    <a:masterClrMapping/>
  </p:clrMapOvr>
</p:sldLayout>
</file>

<file path=ppt/slideLayouts/slideLayout788.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57426420"/>
      </p:ext>
    </p:extLst>
  </p:cSld>
  <p:clrMapOvr>
    <a:masterClrMapping/>
  </p:clrMapOvr>
</p:sldLayout>
</file>

<file path=ppt/slideLayouts/slideLayout789.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28871917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Blank">
  <p:cSld name="Blank 2 2">
    <p:spTree>
      <p:nvGrpSpPr>
        <p:cNvPr id="1" name="Shape 9747"/>
        <p:cNvGrpSpPr/>
        <p:nvPr/>
      </p:nvGrpSpPr>
      <p:grpSpPr>
        <a:xfrm>
          <a:off x="0" y="0"/>
          <a:ext cx="0" cy="0"/>
          <a:chOff x="0" y="0"/>
          <a:chExt cx="0" cy="0"/>
        </a:xfrm>
      </p:grpSpPr>
      <p:sp>
        <p:nvSpPr>
          <p:cNvPr id="9748" name="Google Shape;9748;p13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749" name="Google Shape;9749;p13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50" name="Google Shape;9750;p13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751" name="Google Shape;9751;p1383"/>
          <p:cNvGrpSpPr/>
          <p:nvPr/>
        </p:nvGrpSpPr>
        <p:grpSpPr>
          <a:xfrm>
            <a:off x="7191542" y="1"/>
            <a:ext cx="5000459" cy="1425992"/>
            <a:chOff x="7191542" y="1"/>
            <a:chExt cx="5000459" cy="1425992"/>
          </a:xfrm>
        </p:grpSpPr>
        <p:pic>
          <p:nvPicPr>
            <p:cNvPr id="9752" name="Google Shape;9752;p13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53" name="Google Shape;9753;p1383"/>
            <p:cNvGrpSpPr/>
            <p:nvPr/>
          </p:nvGrpSpPr>
          <p:grpSpPr>
            <a:xfrm>
              <a:off x="7191542" y="1"/>
              <a:ext cx="5000459" cy="1425992"/>
              <a:chOff x="7186272" y="0"/>
              <a:chExt cx="5005729" cy="1427495"/>
            </a:xfrm>
          </p:grpSpPr>
          <p:sp>
            <p:nvSpPr>
              <p:cNvPr id="9754" name="Google Shape;9754;p13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755" name="Google Shape;9755;p13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90.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96452672"/>
      </p:ext>
    </p:extLst>
  </p:cSld>
  <p:clrMapOvr>
    <a:masterClrMapping/>
  </p:clrMapOvr>
</p:sldLayout>
</file>

<file path=ppt/slideLayouts/slideLayout791.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47159586"/>
      </p:ext>
    </p:extLst>
  </p:cSld>
  <p:clrMapOvr>
    <a:masterClrMapping/>
  </p:clrMapOvr>
</p:sldLayout>
</file>

<file path=ppt/slideLayouts/slideLayout792.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14769481"/>
      </p:ext>
    </p:extLst>
  </p:cSld>
  <p:clrMapOvr>
    <a:masterClrMapping/>
  </p:clrMapOvr>
</p:sldLayout>
</file>

<file path=ppt/slideLayouts/slideLayout793.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36691116"/>
      </p:ext>
    </p:extLst>
  </p:cSld>
  <p:clrMapOvr>
    <a:masterClrMapping/>
  </p:clrMapOvr>
</p:sldLayout>
</file>

<file path=ppt/slideLayouts/slideLayout794.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80336372"/>
      </p:ext>
    </p:extLst>
  </p:cSld>
  <p:clrMapOvr>
    <a:masterClrMapping/>
  </p:clrMapOvr>
</p:sldLayout>
</file>

<file path=ppt/slideLayouts/slideLayout79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796.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752443023"/>
      </p:ext>
    </p:extLst>
  </p:cSld>
  <p:clrMapOvr>
    <a:masterClrMapping/>
  </p:clrMapOvr>
</p:sldLayout>
</file>

<file path=ppt/slideLayouts/slideLayout79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798.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28824402"/>
      </p:ext>
    </p:extLst>
  </p:cSld>
  <p:clrMapOvr>
    <a:masterClrMapping/>
  </p:clrMapOvr>
</p:sldLayout>
</file>

<file path=ppt/slideLayouts/slideLayout799.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1859636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5/20/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9756"/>
        <p:cNvGrpSpPr/>
        <p:nvPr/>
      </p:nvGrpSpPr>
      <p:grpSpPr>
        <a:xfrm>
          <a:off x="0" y="0"/>
          <a:ext cx="0" cy="0"/>
          <a:chOff x="0" y="0"/>
          <a:chExt cx="0" cy="0"/>
        </a:xfrm>
      </p:grpSpPr>
      <p:sp>
        <p:nvSpPr>
          <p:cNvPr id="9757" name="Google Shape;9757;p1384"/>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58" name="Google Shape;9758;p1384"/>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9759" name="Google Shape;9759;p1384"/>
          <p:cNvGrpSpPr/>
          <p:nvPr/>
        </p:nvGrpSpPr>
        <p:grpSpPr>
          <a:xfrm flipH="1">
            <a:off x="-1" y="1"/>
            <a:ext cx="6418725" cy="1509822"/>
            <a:chOff x="7522541" y="1"/>
            <a:chExt cx="4669459" cy="1098357"/>
          </a:xfrm>
        </p:grpSpPr>
        <p:sp>
          <p:nvSpPr>
            <p:cNvPr id="9760" name="Google Shape;9760;p1384"/>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761" name="Google Shape;9761;p1384"/>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9762" name="Google Shape;9762;p138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800.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35218792"/>
      </p:ext>
    </p:extLst>
  </p:cSld>
  <p:clrMapOvr>
    <a:masterClrMapping/>
  </p:clrMapOvr>
</p:sldLayout>
</file>

<file path=ppt/slideLayouts/slideLayout801.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539455449"/>
      </p:ext>
    </p:extLst>
  </p:cSld>
  <p:clrMapOvr>
    <a:masterClrMapping/>
  </p:clrMapOvr>
</p:sldLayout>
</file>

<file path=ppt/slideLayouts/slideLayout802.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41487147"/>
      </p:ext>
    </p:extLst>
  </p:cSld>
  <p:clrMapOvr>
    <a:masterClrMapping/>
  </p:clrMapOvr>
</p:sldLayout>
</file>

<file path=ppt/slideLayouts/slideLayout803.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3818276"/>
      </p:ext>
    </p:extLst>
  </p:cSld>
  <p:clrMapOvr>
    <a:masterClrMapping/>
  </p:clrMapOvr>
</p:sldLayout>
</file>

<file path=ppt/slideLayouts/slideLayout804.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71293938"/>
      </p:ext>
    </p:extLst>
  </p:cSld>
  <p:clrMapOvr>
    <a:masterClrMapping/>
  </p:clrMapOvr>
</p:sldLayout>
</file>

<file path=ppt/slideLayouts/slideLayout805.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84586235"/>
      </p:ext>
    </p:extLst>
  </p:cSld>
  <p:clrMapOvr>
    <a:masterClrMapping/>
  </p:clrMapOvr>
</p:sldLayout>
</file>

<file path=ppt/slideLayouts/slideLayout806.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3258697"/>
      </p:ext>
    </p:extLst>
  </p:cSld>
  <p:clrMapOvr>
    <a:masterClrMapping/>
  </p:clrMapOvr>
</p:sldLayout>
</file>

<file path=ppt/slideLayouts/slideLayout80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80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809.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22310394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Cover">
  <p:cSld name="Cover 5 2">
    <p:spTree>
      <p:nvGrpSpPr>
        <p:cNvPr id="1" name="Shape 9763"/>
        <p:cNvGrpSpPr/>
        <p:nvPr/>
      </p:nvGrpSpPr>
      <p:grpSpPr>
        <a:xfrm>
          <a:off x="0" y="0"/>
          <a:ext cx="0" cy="0"/>
          <a:chOff x="0" y="0"/>
          <a:chExt cx="0" cy="0"/>
        </a:xfrm>
      </p:grpSpPr>
      <p:sp>
        <p:nvSpPr>
          <p:cNvPr id="9764" name="Google Shape;9764;p138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765" name="Google Shape;9765;p138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66" name="Google Shape;9766;p138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767" name="Google Shape;9767;p1385"/>
          <p:cNvSpPr>
            <a:spLocks noGrp="1"/>
          </p:cNvSpPr>
          <p:nvPr>
            <p:ph type="pic" idx="2"/>
          </p:nvPr>
        </p:nvSpPr>
        <p:spPr>
          <a:xfrm>
            <a:off x="7118684" y="233915"/>
            <a:ext cx="5073316" cy="5943600"/>
          </a:xfrm>
          <a:prstGeom prst="rect">
            <a:avLst/>
          </a:prstGeom>
          <a:noFill/>
          <a:ln>
            <a:noFill/>
          </a:ln>
        </p:spPr>
      </p:sp>
      <p:grpSp>
        <p:nvGrpSpPr>
          <p:cNvPr id="9768" name="Google Shape;9768;p1385"/>
          <p:cNvGrpSpPr/>
          <p:nvPr/>
        </p:nvGrpSpPr>
        <p:grpSpPr>
          <a:xfrm>
            <a:off x="0" y="5020348"/>
            <a:ext cx="12192000" cy="1837653"/>
            <a:chOff x="0" y="5020348"/>
            <a:chExt cx="12192000" cy="1837653"/>
          </a:xfrm>
        </p:grpSpPr>
        <p:sp>
          <p:nvSpPr>
            <p:cNvPr id="9769" name="Google Shape;9769;p138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770" name="Google Shape;9770;p138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771" name="Google Shape;9771;p138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10.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19259428"/>
      </p:ext>
    </p:extLst>
  </p:cSld>
  <p:clrMapOvr>
    <a:masterClrMapping/>
  </p:clrMapOvr>
</p:sldLayout>
</file>

<file path=ppt/slideLayouts/slideLayout811.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257367"/>
      </p:ext>
    </p:extLst>
  </p:cSld>
  <p:clrMapOvr>
    <a:masterClrMapping/>
  </p:clrMapOvr>
</p:sldLayout>
</file>

<file path=ppt/slideLayouts/slideLayout812.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491785118"/>
      </p:ext>
    </p:extLst>
  </p:cSld>
  <p:clrMapOvr>
    <a:masterClrMapping/>
  </p:clrMapOvr>
</p:sldLayout>
</file>

<file path=ppt/slideLayouts/slideLayout813.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8111021"/>
      </p:ext>
    </p:extLst>
  </p:cSld>
  <p:clrMapOvr>
    <a:masterClrMapping/>
  </p:clrMapOvr>
</p:sldLayout>
</file>

<file path=ppt/slideLayouts/slideLayout814.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62559463"/>
      </p:ext>
    </p:extLst>
  </p:cSld>
  <p:clrMapOvr>
    <a:masterClrMapping/>
  </p:clrMapOvr>
</p:sldLayout>
</file>

<file path=ppt/slideLayouts/slideLayout815.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28695465"/>
      </p:ext>
    </p:extLst>
  </p:cSld>
  <p:clrMapOvr>
    <a:masterClrMapping/>
  </p:clrMapOvr>
</p:sldLayout>
</file>

<file path=ppt/slideLayouts/slideLayout81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50" y="4385538"/>
            <a:ext cx="2025315" cy="911940"/>
          </a:xfrm>
          <a:prstGeom prst="rect">
            <a:avLst/>
          </a:prstGeom>
        </p:spPr>
      </p:pic>
    </p:spTree>
    <p:extLst>
      <p:ext uri="{BB962C8B-B14F-4D97-AF65-F5344CB8AC3E}">
        <p14:creationId xmlns:p14="http://schemas.microsoft.com/office/powerpoint/2010/main" val="3984238912"/>
      </p:ext>
    </p:extLst>
  </p:cSld>
  <p:clrMapOvr>
    <a:masterClrMapping/>
  </p:clrMapOvr>
</p:sldLayout>
</file>

<file path=ppt/slideLayouts/slideLayout817.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70744699"/>
      </p:ext>
    </p:extLst>
  </p:cSld>
  <p:clrMapOvr>
    <a:masterClrMapping/>
  </p:clrMapOvr>
</p:sldLayout>
</file>

<file path=ppt/slideLayouts/slideLayout818.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04687920"/>
      </p:ext>
    </p:extLst>
  </p:cSld>
  <p:clrMapOvr>
    <a:masterClrMapping/>
  </p:clrMapOvr>
</p:sldLayout>
</file>

<file path=ppt/slideLayouts/slideLayout819.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4126982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Divider">
  <p:cSld name="Divider 6 2">
    <p:spTree>
      <p:nvGrpSpPr>
        <p:cNvPr id="1" name="Shape 9772"/>
        <p:cNvGrpSpPr/>
        <p:nvPr/>
      </p:nvGrpSpPr>
      <p:grpSpPr>
        <a:xfrm>
          <a:off x="0" y="0"/>
          <a:ext cx="0" cy="0"/>
          <a:chOff x="0" y="0"/>
          <a:chExt cx="0" cy="0"/>
        </a:xfrm>
      </p:grpSpPr>
      <p:grpSp>
        <p:nvGrpSpPr>
          <p:cNvPr id="9773" name="Google Shape;9773;p1386"/>
          <p:cNvGrpSpPr/>
          <p:nvPr/>
        </p:nvGrpSpPr>
        <p:grpSpPr>
          <a:xfrm>
            <a:off x="0" y="5020347"/>
            <a:ext cx="12192000" cy="1837653"/>
            <a:chOff x="0" y="5020347"/>
            <a:chExt cx="12192000" cy="1837653"/>
          </a:xfrm>
        </p:grpSpPr>
        <p:sp>
          <p:nvSpPr>
            <p:cNvPr id="9774" name="Google Shape;9774;p138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775" name="Google Shape;9775;p138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776" name="Google Shape;9776;p138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777" name="Google Shape;9777;p138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778" name="Google Shape;9778;p138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79" name="Google Shape;9779;p138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2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132318659"/>
      </p:ext>
    </p:extLst>
  </p:cSld>
  <p:clrMapOvr>
    <a:masterClrMapping/>
  </p:clrMapOvr>
</p:sldLayout>
</file>

<file path=ppt/slideLayouts/slideLayout821.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911330960"/>
      </p:ext>
    </p:extLst>
  </p:cSld>
  <p:clrMapOvr>
    <a:masterClrMapping/>
  </p:clrMapOvr>
</p:sldLayout>
</file>

<file path=ppt/slideLayouts/slideLayout82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82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82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825.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68216156"/>
      </p:ext>
    </p:extLst>
  </p:cSld>
  <p:clrMapOvr>
    <a:masterClrMapping/>
  </p:clrMapOvr>
</p:sldLayout>
</file>

<file path=ppt/slideLayouts/slideLayout826.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38170746"/>
      </p:ext>
    </p:extLst>
  </p:cSld>
  <p:clrMapOvr>
    <a:masterClrMapping/>
  </p:clrMapOvr>
</p:sldLayout>
</file>

<file path=ppt/slideLayouts/slideLayout827.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44504630"/>
      </p:ext>
    </p:extLst>
  </p:cSld>
  <p:clrMapOvr>
    <a:masterClrMapping/>
  </p:clrMapOvr>
</p:sldLayout>
</file>

<file path=ppt/slideLayouts/slideLayout828.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94891398"/>
      </p:ext>
    </p:extLst>
  </p:cSld>
  <p:clrMapOvr>
    <a:masterClrMapping/>
  </p:clrMapOvr>
</p:sldLayout>
</file>

<file path=ppt/slideLayouts/slideLayout829.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7009118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Photo Slide">
  <p:cSld name="Photo Slide 5 2">
    <p:spTree>
      <p:nvGrpSpPr>
        <p:cNvPr id="1" name="Shape 9780"/>
        <p:cNvGrpSpPr/>
        <p:nvPr/>
      </p:nvGrpSpPr>
      <p:grpSpPr>
        <a:xfrm>
          <a:off x="0" y="0"/>
          <a:ext cx="0" cy="0"/>
          <a:chOff x="0" y="0"/>
          <a:chExt cx="0" cy="0"/>
        </a:xfrm>
      </p:grpSpPr>
      <p:sp>
        <p:nvSpPr>
          <p:cNvPr id="9781" name="Google Shape;9781;p138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782" name="Google Shape;9782;p138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783" name="Google Shape;9783;p1387"/>
          <p:cNvGrpSpPr/>
          <p:nvPr/>
        </p:nvGrpSpPr>
        <p:grpSpPr>
          <a:xfrm>
            <a:off x="0" y="5379426"/>
            <a:ext cx="2807368" cy="753891"/>
            <a:chOff x="0" y="5379426"/>
            <a:chExt cx="2807368" cy="753891"/>
          </a:xfrm>
        </p:grpSpPr>
        <p:sp>
          <p:nvSpPr>
            <p:cNvPr id="9784" name="Google Shape;9784;p138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785" name="Google Shape;9785;p138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786" name="Google Shape;9786;p1387"/>
          <p:cNvSpPr>
            <a:spLocks noGrp="1"/>
          </p:cNvSpPr>
          <p:nvPr>
            <p:ph type="pic" idx="2"/>
          </p:nvPr>
        </p:nvSpPr>
        <p:spPr>
          <a:xfrm>
            <a:off x="2807368" y="457202"/>
            <a:ext cx="8915400" cy="5943598"/>
          </a:xfrm>
          <a:prstGeom prst="rect">
            <a:avLst/>
          </a:prstGeom>
          <a:noFill/>
          <a:ln>
            <a:noFill/>
          </a:ln>
        </p:spPr>
      </p:sp>
      <p:pic>
        <p:nvPicPr>
          <p:cNvPr id="9787" name="Google Shape;9787;p138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30.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491348"/>
      </p:ext>
    </p:extLst>
  </p:cSld>
  <p:clrMapOvr>
    <a:masterClrMapping/>
  </p:clrMapOvr>
</p:sldLayout>
</file>

<file path=ppt/slideLayouts/slideLayout831.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126565"/>
      </p:ext>
    </p:extLst>
  </p:cSld>
  <p:clrMapOvr>
    <a:masterClrMapping/>
  </p:clrMapOvr>
</p:sldLayout>
</file>

<file path=ppt/slideLayouts/slideLayout83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833.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060359273"/>
      </p:ext>
    </p:extLst>
  </p:cSld>
  <p:clrMapOvr>
    <a:masterClrMapping/>
  </p:clrMapOvr>
</p:sldLayout>
</file>

<file path=ppt/slideLayouts/slideLayout834.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75649488"/>
      </p:ext>
    </p:extLst>
  </p:cSld>
  <p:clrMapOvr>
    <a:masterClrMapping/>
  </p:clrMapOvr>
</p:sldLayout>
</file>

<file path=ppt/slideLayouts/slideLayout835.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47234476"/>
      </p:ext>
    </p:extLst>
  </p:cSld>
  <p:clrMapOvr>
    <a:masterClrMapping/>
  </p:clrMapOvr>
</p:sldLayout>
</file>

<file path=ppt/slideLayouts/slideLayout836.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4108638"/>
      </p:ext>
    </p:extLst>
  </p:cSld>
  <p:clrMapOvr>
    <a:masterClrMapping/>
  </p:clrMapOvr>
</p:sldLayout>
</file>

<file path=ppt/slideLayouts/slideLayout837.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98259827"/>
      </p:ext>
    </p:extLst>
  </p:cSld>
  <p:clrMapOvr>
    <a:masterClrMapping/>
  </p:clrMapOvr>
</p:sldLayout>
</file>

<file path=ppt/slideLayouts/slideLayout838.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27944981"/>
      </p:ext>
    </p:extLst>
  </p:cSld>
  <p:clrMapOvr>
    <a:masterClrMapping/>
  </p:clrMapOvr>
</p:sldLayout>
</file>

<file path=ppt/slideLayouts/slideLayout839.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0052670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Quotation">
  <p:cSld name="Quotation 5 2">
    <p:spTree>
      <p:nvGrpSpPr>
        <p:cNvPr id="1" name="Shape 9788"/>
        <p:cNvGrpSpPr/>
        <p:nvPr/>
      </p:nvGrpSpPr>
      <p:grpSpPr>
        <a:xfrm>
          <a:off x="0" y="0"/>
          <a:ext cx="0" cy="0"/>
          <a:chOff x="0" y="0"/>
          <a:chExt cx="0" cy="0"/>
        </a:xfrm>
      </p:grpSpPr>
      <p:sp>
        <p:nvSpPr>
          <p:cNvPr id="9789" name="Google Shape;9789;p138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790" name="Google Shape;9790;p138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91" name="Google Shape;9791;p138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92" name="Google Shape;9792;p138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793" name="Google Shape;9793;p13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94" name="Google Shape;9794;p13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795" name="Google Shape;9795;p1388"/>
          <p:cNvGrpSpPr/>
          <p:nvPr/>
        </p:nvGrpSpPr>
        <p:grpSpPr>
          <a:xfrm>
            <a:off x="7191542" y="1"/>
            <a:ext cx="5000459" cy="1425992"/>
            <a:chOff x="7191542" y="1"/>
            <a:chExt cx="5000459" cy="1425992"/>
          </a:xfrm>
        </p:grpSpPr>
        <p:pic>
          <p:nvPicPr>
            <p:cNvPr id="9796" name="Google Shape;9796;p13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97" name="Google Shape;9797;p1388"/>
            <p:cNvGrpSpPr/>
            <p:nvPr/>
          </p:nvGrpSpPr>
          <p:grpSpPr>
            <a:xfrm>
              <a:off x="7191542" y="1"/>
              <a:ext cx="5000459" cy="1425992"/>
              <a:chOff x="7186272" y="0"/>
              <a:chExt cx="5005729" cy="1427495"/>
            </a:xfrm>
          </p:grpSpPr>
          <p:sp>
            <p:nvSpPr>
              <p:cNvPr id="9798" name="Google Shape;9798;p13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799" name="Google Shape;9799;p13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800" name="Google Shape;9800;p138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4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841.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941525445"/>
      </p:ext>
    </p:extLst>
  </p:cSld>
  <p:clrMapOvr>
    <a:masterClrMapping/>
  </p:clrMapOvr>
</p:sldLayout>
</file>

<file path=ppt/slideLayouts/slideLayout84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84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844.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51246962"/>
      </p:ext>
    </p:extLst>
  </p:cSld>
  <p:clrMapOvr>
    <a:masterClrMapping/>
  </p:clrMapOvr>
</p:sldLayout>
</file>

<file path=ppt/slideLayouts/slideLayout845.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898388229"/>
      </p:ext>
    </p:extLst>
  </p:cSld>
  <p:clrMapOvr>
    <a:masterClrMapping/>
  </p:clrMapOvr>
</p:sldLayout>
</file>

<file path=ppt/slideLayouts/slideLayout846.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48961085"/>
      </p:ext>
    </p:extLst>
  </p:cSld>
  <p:clrMapOvr>
    <a:masterClrMapping/>
  </p:clrMapOvr>
</p:sldLayout>
</file>

<file path=ppt/slideLayouts/slideLayout84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848.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74229795"/>
      </p:ext>
    </p:extLst>
  </p:cSld>
  <p:clrMapOvr>
    <a:masterClrMapping/>
  </p:clrMapOvr>
</p:sldLayout>
</file>

<file path=ppt/slideLayouts/slideLayout849.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5166955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Quotation">
  <p:cSld name="Quotation 6 2">
    <p:spTree>
      <p:nvGrpSpPr>
        <p:cNvPr id="1" name="Shape 9801"/>
        <p:cNvGrpSpPr/>
        <p:nvPr/>
      </p:nvGrpSpPr>
      <p:grpSpPr>
        <a:xfrm>
          <a:off x="0" y="0"/>
          <a:ext cx="0" cy="0"/>
          <a:chOff x="0" y="0"/>
          <a:chExt cx="0" cy="0"/>
        </a:xfrm>
      </p:grpSpPr>
      <p:sp>
        <p:nvSpPr>
          <p:cNvPr id="9802" name="Google Shape;9802;p13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803" name="Google Shape;9803;p13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04" name="Google Shape;9804;p13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05" name="Google Shape;9805;p13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806" name="Google Shape;9806;p13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807" name="Google Shape;9807;p13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808" name="Google Shape;9808;p1389"/>
          <p:cNvGrpSpPr/>
          <p:nvPr/>
        </p:nvGrpSpPr>
        <p:grpSpPr>
          <a:xfrm>
            <a:off x="7191542" y="1"/>
            <a:ext cx="5000459" cy="1425992"/>
            <a:chOff x="7191542" y="1"/>
            <a:chExt cx="5000459" cy="1425992"/>
          </a:xfrm>
        </p:grpSpPr>
        <p:pic>
          <p:nvPicPr>
            <p:cNvPr id="9809" name="Google Shape;9809;p13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10" name="Google Shape;9810;p1389"/>
            <p:cNvGrpSpPr/>
            <p:nvPr/>
          </p:nvGrpSpPr>
          <p:grpSpPr>
            <a:xfrm>
              <a:off x="7191542" y="1"/>
              <a:ext cx="5000459" cy="1425992"/>
              <a:chOff x="7186272" y="0"/>
              <a:chExt cx="5005729" cy="1427495"/>
            </a:xfrm>
          </p:grpSpPr>
          <p:sp>
            <p:nvSpPr>
              <p:cNvPr id="9811" name="Google Shape;9811;p13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812" name="Google Shape;9812;p13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813" name="Google Shape;9813;p138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50.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0597245"/>
      </p:ext>
    </p:extLst>
  </p:cSld>
  <p:clrMapOvr>
    <a:masterClrMapping/>
  </p:clrMapOvr>
</p:sldLayout>
</file>

<file path=ppt/slideLayouts/slideLayout85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852.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51604107"/>
      </p:ext>
    </p:extLst>
  </p:cSld>
  <p:clrMapOvr>
    <a:masterClrMapping/>
  </p:clrMapOvr>
</p:sldLayout>
</file>

<file path=ppt/slideLayouts/slideLayout853.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69549069"/>
      </p:ext>
    </p:extLst>
  </p:cSld>
  <p:clrMapOvr>
    <a:masterClrMapping/>
  </p:clrMapOvr>
</p:sldLayout>
</file>

<file path=ppt/slideLayouts/slideLayout854.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40211217"/>
      </p:ext>
    </p:extLst>
  </p:cSld>
  <p:clrMapOvr>
    <a:masterClrMapping/>
  </p:clrMapOvr>
</p:sldLayout>
</file>

<file path=ppt/slideLayouts/slideLayout855.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774408067"/>
      </p:ext>
    </p:extLst>
  </p:cSld>
  <p:clrMapOvr>
    <a:masterClrMapping/>
  </p:clrMapOvr>
</p:sldLayout>
</file>

<file path=ppt/slideLayouts/slideLayout856.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729686266"/>
      </p:ext>
    </p:extLst>
  </p:cSld>
  <p:clrMapOvr>
    <a:masterClrMapping/>
  </p:clrMapOvr>
</p:sldLayout>
</file>

<file path=ppt/slideLayouts/slideLayout857.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9060781"/>
      </p:ext>
    </p:extLst>
  </p:cSld>
  <p:clrMapOvr>
    <a:masterClrMapping/>
  </p:clrMapOvr>
</p:sldLayout>
</file>

<file path=ppt/slideLayouts/slideLayout858.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4"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7"/>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8" y="5564125"/>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0/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4">
              <a:lnSpc>
                <a:spcPts val="1425"/>
              </a:lnSpc>
            </a:pPr>
            <a:fld id="{81D60167-4931-47E6-BA6A-407CBD079E47}" type="slidenum">
              <a:rPr lang="en-US" spc="-5" smtClean="0">
                <a:solidFill>
                  <a:srgbClr val="929599"/>
                </a:solidFill>
              </a:rPr>
              <a:pPr marL="38104">
                <a:lnSpc>
                  <a:spcPts val="1425"/>
                </a:lnSpc>
              </a:pPr>
              <a:t>‹#›</a:t>
            </a:fld>
            <a:endParaRPr lang="en-US" spc="-5">
              <a:solidFill>
                <a:srgbClr val="929599"/>
              </a:solidFill>
            </a:endParaRPr>
          </a:p>
        </p:txBody>
      </p:sp>
    </p:spTree>
    <p:extLst>
      <p:ext uri="{BB962C8B-B14F-4D97-AF65-F5344CB8AC3E}">
        <p14:creationId xmlns:p14="http://schemas.microsoft.com/office/powerpoint/2010/main" val="1620622602"/>
      </p:ext>
    </p:extLst>
  </p:cSld>
  <p:clrMapOvr>
    <a:masterClrMapping/>
  </p:clrMapOvr>
</p:sldLayout>
</file>

<file path=ppt/slideLayouts/slideLayout859.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0/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234243880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Two Content">
  <p:cSld name="Two Content 4 2">
    <p:spTree>
      <p:nvGrpSpPr>
        <p:cNvPr id="1" name="Shape 9814"/>
        <p:cNvGrpSpPr/>
        <p:nvPr/>
      </p:nvGrpSpPr>
      <p:grpSpPr>
        <a:xfrm>
          <a:off x="0" y="0"/>
          <a:ext cx="0" cy="0"/>
          <a:chOff x="0" y="0"/>
          <a:chExt cx="0" cy="0"/>
        </a:xfrm>
      </p:grpSpPr>
      <p:sp>
        <p:nvSpPr>
          <p:cNvPr id="9815" name="Google Shape;9815;p139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16" name="Google Shape;9816;p1390"/>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817" name="Google Shape;9817;p1390"/>
          <p:cNvGrpSpPr/>
          <p:nvPr/>
        </p:nvGrpSpPr>
        <p:grpSpPr>
          <a:xfrm>
            <a:off x="7191542" y="1"/>
            <a:ext cx="5000459" cy="1425992"/>
            <a:chOff x="7191542" y="1"/>
            <a:chExt cx="5000459" cy="1425992"/>
          </a:xfrm>
        </p:grpSpPr>
        <p:pic>
          <p:nvPicPr>
            <p:cNvPr id="9818" name="Google Shape;9818;p13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19" name="Google Shape;9819;p1390"/>
            <p:cNvGrpSpPr/>
            <p:nvPr/>
          </p:nvGrpSpPr>
          <p:grpSpPr>
            <a:xfrm>
              <a:off x="7191542" y="1"/>
              <a:ext cx="5000459" cy="1425992"/>
              <a:chOff x="7186272" y="0"/>
              <a:chExt cx="5005729" cy="1427495"/>
            </a:xfrm>
          </p:grpSpPr>
          <p:sp>
            <p:nvSpPr>
              <p:cNvPr id="9820" name="Google Shape;9820;p13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821" name="Google Shape;9821;p13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822" name="Google Shape;9822;p1390"/>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23" name="Google Shape;9823;p1390"/>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824" name="Google Shape;9824;p13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825" name="Google Shape;9825;p13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60.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62003750"/>
      </p:ext>
    </p:extLst>
  </p:cSld>
  <p:clrMapOvr>
    <a:masterClrMapping/>
  </p:clrMapOvr>
</p:sldLayout>
</file>

<file path=ppt/slideLayouts/slideLayout861.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59425408"/>
      </p:ext>
    </p:extLst>
  </p:cSld>
  <p:clrMapOvr>
    <a:masterClrMapping/>
  </p:clrMapOvr>
</p:sldLayout>
</file>

<file path=ppt/slideLayouts/slideLayout862.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561838455"/>
      </p:ext>
    </p:extLst>
  </p:cSld>
  <p:clrMapOvr>
    <a:masterClrMapping/>
  </p:clrMapOvr>
</p:sldLayout>
</file>

<file path=ppt/slideLayouts/slideLayout863.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166423705"/>
      </p:ext>
    </p:extLst>
  </p:cSld>
  <p:clrMapOvr>
    <a:masterClrMapping/>
  </p:clrMapOvr>
</p:sldLayout>
</file>

<file path=ppt/slideLayouts/slideLayout864.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14363586"/>
      </p:ext>
    </p:extLst>
  </p:cSld>
  <p:clrMapOvr>
    <a:masterClrMapping/>
  </p:clrMapOvr>
</p:sldLayout>
</file>

<file path=ppt/slideLayouts/slideLayout865.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37846058"/>
      </p:ext>
    </p:extLst>
  </p:cSld>
  <p:clrMapOvr>
    <a:masterClrMapping/>
  </p:clrMapOvr>
</p:sldLayout>
</file>

<file path=ppt/slideLayouts/slideLayout866.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89019468"/>
      </p:ext>
    </p:extLst>
  </p:cSld>
  <p:clrMapOvr>
    <a:masterClrMapping/>
  </p:clrMapOvr>
</p:sldLayout>
</file>

<file path=ppt/slideLayouts/slideLayout867.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81755469"/>
      </p:ext>
    </p:extLst>
  </p:cSld>
  <p:clrMapOvr>
    <a:masterClrMapping/>
  </p:clrMapOvr>
</p:sldLayout>
</file>

<file path=ppt/slideLayouts/slideLayout868.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84625385"/>
      </p:ext>
    </p:extLst>
  </p:cSld>
  <p:clrMapOvr>
    <a:masterClrMapping/>
  </p:clrMapOvr>
</p:sldLayout>
</file>

<file path=ppt/slideLayouts/slideLayout869.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6690255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Comparison">
  <p:cSld name="Comparison 3 2">
    <p:spTree>
      <p:nvGrpSpPr>
        <p:cNvPr id="1" name="Shape 9826"/>
        <p:cNvGrpSpPr/>
        <p:nvPr/>
      </p:nvGrpSpPr>
      <p:grpSpPr>
        <a:xfrm>
          <a:off x="0" y="0"/>
          <a:ext cx="0" cy="0"/>
          <a:chOff x="0" y="0"/>
          <a:chExt cx="0" cy="0"/>
        </a:xfrm>
      </p:grpSpPr>
      <p:grpSp>
        <p:nvGrpSpPr>
          <p:cNvPr id="9827" name="Google Shape;9827;p1391"/>
          <p:cNvGrpSpPr/>
          <p:nvPr/>
        </p:nvGrpSpPr>
        <p:grpSpPr>
          <a:xfrm>
            <a:off x="7191542" y="1"/>
            <a:ext cx="5000459" cy="1425992"/>
            <a:chOff x="7191542" y="1"/>
            <a:chExt cx="5000459" cy="1425992"/>
          </a:xfrm>
        </p:grpSpPr>
        <p:pic>
          <p:nvPicPr>
            <p:cNvPr id="9828" name="Google Shape;9828;p13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29" name="Google Shape;9829;p1391"/>
            <p:cNvGrpSpPr/>
            <p:nvPr/>
          </p:nvGrpSpPr>
          <p:grpSpPr>
            <a:xfrm>
              <a:off x="7191542" y="1"/>
              <a:ext cx="5000459" cy="1425992"/>
              <a:chOff x="7186272" y="0"/>
              <a:chExt cx="5005729" cy="1427495"/>
            </a:xfrm>
          </p:grpSpPr>
          <p:sp>
            <p:nvSpPr>
              <p:cNvPr id="9830" name="Google Shape;9830;p13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831" name="Google Shape;9831;p13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832" name="Google Shape;9832;p139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33" name="Google Shape;9833;p1391"/>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834" name="Google Shape;9834;p1391"/>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35" name="Google Shape;9835;p139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836" name="Google Shape;9836;p139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37" name="Google Shape;9837;p13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838" name="Google Shape;9838;p13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839" name="Google Shape;9839;p13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7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871.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86861689"/>
      </p:ext>
    </p:extLst>
  </p:cSld>
  <p:clrMapOvr>
    <a:masterClrMapping/>
  </p:clrMapOvr>
</p:sldLayout>
</file>

<file path=ppt/slideLayouts/slideLayout872.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0/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spc="-5" dirty="0">
                <a:solidFill>
                  <a:srgbClr val="929599"/>
                </a:solidFill>
              </a:rPr>
              <a:pPr marL="38102">
                <a:lnSpc>
                  <a:spcPts val="1425"/>
                </a:lnSpc>
              </a:p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873.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60578766"/>
      </p:ext>
    </p:extLst>
  </p:cSld>
  <p:clrMapOvr>
    <a:masterClrMapping/>
  </p:clrMapOvr>
</p:sldLayout>
</file>

<file path=ppt/slideLayouts/slideLayout874.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57418275"/>
      </p:ext>
    </p:extLst>
  </p:cSld>
  <p:clrMapOvr>
    <a:masterClrMapping/>
  </p:clrMapOvr>
</p:sldLayout>
</file>

<file path=ppt/slideLayouts/slideLayout875.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69981545"/>
      </p:ext>
    </p:extLst>
  </p:cSld>
  <p:clrMapOvr>
    <a:masterClrMapping/>
  </p:clrMapOvr>
</p:sldLayout>
</file>

<file path=ppt/slideLayouts/slideLayout876.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01553045"/>
      </p:ext>
    </p:extLst>
  </p:cSld>
  <p:clrMapOvr>
    <a:masterClrMapping/>
  </p:clrMapOvr>
</p:sldLayout>
</file>

<file path=ppt/slideLayouts/slideLayout877.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849295054"/>
      </p:ext>
    </p:extLst>
  </p:cSld>
  <p:clrMapOvr>
    <a:masterClrMapping/>
  </p:clrMapOvr>
</p:sldLayout>
</file>

<file path=ppt/slideLayouts/slideLayout87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87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Title Only">
  <p:cSld name="Title Only 3 2">
    <p:spTree>
      <p:nvGrpSpPr>
        <p:cNvPr id="1" name="Shape 9840"/>
        <p:cNvGrpSpPr/>
        <p:nvPr/>
      </p:nvGrpSpPr>
      <p:grpSpPr>
        <a:xfrm>
          <a:off x="0" y="0"/>
          <a:ext cx="0" cy="0"/>
          <a:chOff x="0" y="0"/>
          <a:chExt cx="0" cy="0"/>
        </a:xfrm>
      </p:grpSpPr>
      <p:grpSp>
        <p:nvGrpSpPr>
          <p:cNvPr id="9841" name="Google Shape;9841;p1392"/>
          <p:cNvGrpSpPr/>
          <p:nvPr/>
        </p:nvGrpSpPr>
        <p:grpSpPr>
          <a:xfrm>
            <a:off x="7191542" y="1"/>
            <a:ext cx="5000459" cy="1425992"/>
            <a:chOff x="7191542" y="1"/>
            <a:chExt cx="5000459" cy="1425992"/>
          </a:xfrm>
        </p:grpSpPr>
        <p:pic>
          <p:nvPicPr>
            <p:cNvPr id="9842" name="Google Shape;9842;p13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43" name="Google Shape;9843;p1392"/>
            <p:cNvGrpSpPr/>
            <p:nvPr/>
          </p:nvGrpSpPr>
          <p:grpSpPr>
            <a:xfrm>
              <a:off x="7191542" y="1"/>
              <a:ext cx="5000459" cy="1425992"/>
              <a:chOff x="7186272" y="0"/>
              <a:chExt cx="5005729" cy="1427495"/>
            </a:xfrm>
          </p:grpSpPr>
          <p:sp>
            <p:nvSpPr>
              <p:cNvPr id="9844" name="Google Shape;9844;p13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845" name="Google Shape;9845;p13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846" name="Google Shape;9846;p13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47" name="Google Shape;9847;p139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848" name="Google Shape;9848;p13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849" name="Google Shape;9849;p13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8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881.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059442228"/>
      </p:ext>
    </p:extLst>
  </p:cSld>
  <p:clrMapOvr>
    <a:masterClrMapping/>
  </p:clrMapOvr>
</p:sldLayout>
</file>

<file path=ppt/slideLayouts/slideLayout882.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094285534"/>
      </p:ext>
    </p:extLst>
  </p:cSld>
  <p:clrMapOvr>
    <a:masterClrMapping/>
  </p:clrMapOvr>
</p:sldLayout>
</file>

<file path=ppt/slideLayouts/slideLayout883.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97644545"/>
      </p:ext>
    </p:extLst>
  </p:cSld>
  <p:clrMapOvr>
    <a:masterClrMapping/>
  </p:clrMapOvr>
</p:sldLayout>
</file>

<file path=ppt/slideLayouts/slideLayout884.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84884016"/>
      </p:ext>
    </p:extLst>
  </p:cSld>
  <p:clrMapOvr>
    <a:masterClrMapping/>
  </p:clrMapOvr>
</p:sldLayout>
</file>

<file path=ppt/slideLayouts/slideLayout885.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36579054"/>
      </p:ext>
    </p:extLst>
  </p:cSld>
  <p:clrMapOvr>
    <a:masterClrMapping/>
  </p:clrMapOvr>
</p:sldLayout>
</file>

<file path=ppt/slideLayouts/slideLayout886.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24205788"/>
      </p:ext>
    </p:extLst>
  </p:cSld>
  <p:clrMapOvr>
    <a:masterClrMapping/>
  </p:clrMapOvr>
</p:sldLayout>
</file>

<file path=ppt/slideLayouts/slideLayout887.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05271710"/>
      </p:ext>
    </p:extLst>
  </p:cSld>
  <p:clrMapOvr>
    <a:masterClrMapping/>
  </p:clrMapOvr>
</p:sldLayout>
</file>

<file path=ppt/slideLayouts/slideLayout888.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46037430"/>
      </p:ext>
    </p:extLst>
  </p:cSld>
  <p:clrMapOvr>
    <a:masterClrMapping/>
  </p:clrMapOvr>
</p:sldLayout>
</file>

<file path=ppt/slideLayouts/slideLayout88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End">
  <p:cSld name="End 3 2">
    <p:spTree>
      <p:nvGrpSpPr>
        <p:cNvPr id="1" name="Shape 9850"/>
        <p:cNvGrpSpPr/>
        <p:nvPr/>
      </p:nvGrpSpPr>
      <p:grpSpPr>
        <a:xfrm>
          <a:off x="0" y="0"/>
          <a:ext cx="0" cy="0"/>
          <a:chOff x="0" y="0"/>
          <a:chExt cx="0" cy="0"/>
        </a:xfrm>
      </p:grpSpPr>
      <p:grpSp>
        <p:nvGrpSpPr>
          <p:cNvPr id="9851" name="Google Shape;9851;p1393"/>
          <p:cNvGrpSpPr/>
          <p:nvPr/>
        </p:nvGrpSpPr>
        <p:grpSpPr>
          <a:xfrm>
            <a:off x="0" y="0"/>
            <a:ext cx="12192000" cy="2148830"/>
            <a:chOff x="0" y="0"/>
            <a:chExt cx="12192000" cy="2148830"/>
          </a:xfrm>
        </p:grpSpPr>
        <p:sp>
          <p:nvSpPr>
            <p:cNvPr id="9852" name="Google Shape;9852;p139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853" name="Google Shape;9853;p139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9854" name="Google Shape;9854;p1393"/>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855" name="Google Shape;9855;p1393"/>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56" name="Google Shape;9856;p1393"/>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9857" name="Google Shape;9857;p1393"/>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858" name="Google Shape;9858;p1393"/>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90.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30566520"/>
      </p:ext>
    </p:extLst>
  </p:cSld>
  <p:clrMapOvr>
    <a:masterClrMapping/>
  </p:clrMapOvr>
</p:sldLayout>
</file>

<file path=ppt/slideLayouts/slideLayout89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89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89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894.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41999457"/>
      </p:ext>
    </p:extLst>
  </p:cSld>
  <p:clrMapOvr>
    <a:masterClrMapping/>
  </p:clrMapOvr>
</p:sldLayout>
</file>

<file path=ppt/slideLayouts/slideLayout895.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53619680"/>
      </p:ext>
    </p:extLst>
  </p:cSld>
  <p:clrMapOvr>
    <a:masterClrMapping/>
  </p:clrMapOvr>
</p:sldLayout>
</file>

<file path=ppt/slideLayouts/slideLayout896.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04110681"/>
      </p:ext>
    </p:extLst>
  </p:cSld>
  <p:clrMapOvr>
    <a:masterClrMapping/>
  </p:clrMapOvr>
</p:sldLayout>
</file>

<file path=ppt/slideLayouts/slideLayout897.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38577988"/>
      </p:ext>
    </p:extLst>
  </p:cSld>
  <p:clrMapOvr>
    <a:masterClrMapping/>
  </p:clrMapOvr>
</p:sldLayout>
</file>

<file path=ppt/slideLayouts/slideLayout898.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73473294"/>
      </p:ext>
    </p:extLst>
  </p:cSld>
  <p:clrMapOvr>
    <a:masterClrMapping/>
  </p:clrMapOvr>
</p:sldLayout>
</file>

<file path=ppt/slideLayouts/slideLayout899.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336979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5/20/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Blank">
  <p:cSld name="Blank 2 3">
    <p:spTree>
      <p:nvGrpSpPr>
        <p:cNvPr id="1" name="Shape 9859"/>
        <p:cNvGrpSpPr/>
        <p:nvPr/>
      </p:nvGrpSpPr>
      <p:grpSpPr>
        <a:xfrm>
          <a:off x="0" y="0"/>
          <a:ext cx="0" cy="0"/>
          <a:chOff x="0" y="0"/>
          <a:chExt cx="0" cy="0"/>
        </a:xfrm>
      </p:grpSpPr>
      <p:sp>
        <p:nvSpPr>
          <p:cNvPr id="9860" name="Google Shape;9860;p13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861" name="Google Shape;9861;p13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862" name="Google Shape;9862;p13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863" name="Google Shape;9863;p1394"/>
          <p:cNvGrpSpPr/>
          <p:nvPr/>
        </p:nvGrpSpPr>
        <p:grpSpPr>
          <a:xfrm>
            <a:off x="7191542" y="1"/>
            <a:ext cx="5000459" cy="1425992"/>
            <a:chOff x="7191542" y="1"/>
            <a:chExt cx="5000459" cy="1425992"/>
          </a:xfrm>
        </p:grpSpPr>
        <p:pic>
          <p:nvPicPr>
            <p:cNvPr id="9864" name="Google Shape;9864;p13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65" name="Google Shape;9865;p1394"/>
            <p:cNvGrpSpPr/>
            <p:nvPr/>
          </p:nvGrpSpPr>
          <p:grpSpPr>
            <a:xfrm>
              <a:off x="7191542" y="1"/>
              <a:ext cx="5000459" cy="1425992"/>
              <a:chOff x="7186272" y="0"/>
              <a:chExt cx="5005729" cy="1427495"/>
            </a:xfrm>
          </p:grpSpPr>
          <p:sp>
            <p:nvSpPr>
              <p:cNvPr id="9866" name="Google Shape;9866;p13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867" name="Google Shape;9867;p13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900.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37044679"/>
      </p:ext>
    </p:extLst>
  </p:cSld>
  <p:clrMapOvr>
    <a:masterClrMapping/>
  </p:clrMapOvr>
</p:sldLayout>
</file>

<file path=ppt/slideLayouts/slideLayout901.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86781369"/>
      </p:ext>
    </p:extLst>
  </p:cSld>
  <p:clrMapOvr>
    <a:masterClrMapping/>
  </p:clrMapOvr>
</p:sldLayout>
</file>

<file path=ppt/slideLayouts/slideLayout90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903.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58308801"/>
      </p:ext>
    </p:extLst>
  </p:cSld>
  <p:clrMapOvr>
    <a:masterClrMapping/>
  </p:clrMapOvr>
</p:sldLayout>
</file>

<file path=ppt/slideLayouts/slideLayout904.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41492746"/>
      </p:ext>
    </p:extLst>
  </p:cSld>
  <p:clrMapOvr>
    <a:masterClrMapping/>
  </p:clrMapOvr>
</p:sldLayout>
</file>

<file path=ppt/slideLayouts/slideLayout905.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1562286968"/>
      </p:ext>
    </p:extLst>
  </p:cSld>
  <p:clrMapOvr>
    <a:masterClrMapping/>
  </p:clrMapOvr>
</p:sldLayout>
</file>

<file path=ppt/slideLayouts/slideLayout906.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991634568"/>
      </p:ext>
    </p:extLst>
  </p:cSld>
  <p:clrMapOvr>
    <a:masterClrMapping/>
  </p:clrMapOvr>
</p:sldLayout>
</file>

<file path=ppt/slideLayouts/slideLayout907.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217680299"/>
      </p:ext>
    </p:extLst>
  </p:cSld>
  <p:clrMapOvr>
    <a:masterClrMapping/>
  </p:clrMapOvr>
</p:sldLayout>
</file>

<file path=ppt/slideLayouts/slideLayout908.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42425484"/>
      </p:ext>
    </p:extLst>
  </p:cSld>
  <p:clrMapOvr>
    <a:masterClrMapping/>
  </p:clrMapOvr>
</p:sldLayout>
</file>

<file path=ppt/slideLayouts/slideLayout909.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4581175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Divider">
  <p:cSld name="Divider 7">
    <p:spTree>
      <p:nvGrpSpPr>
        <p:cNvPr id="1" name="Shape 9868"/>
        <p:cNvGrpSpPr/>
        <p:nvPr/>
      </p:nvGrpSpPr>
      <p:grpSpPr>
        <a:xfrm>
          <a:off x="0" y="0"/>
          <a:ext cx="0" cy="0"/>
          <a:chOff x="0" y="0"/>
          <a:chExt cx="0" cy="0"/>
        </a:xfrm>
      </p:grpSpPr>
      <p:grpSp>
        <p:nvGrpSpPr>
          <p:cNvPr id="9869" name="Google Shape;9869;p1395"/>
          <p:cNvGrpSpPr/>
          <p:nvPr/>
        </p:nvGrpSpPr>
        <p:grpSpPr>
          <a:xfrm>
            <a:off x="0" y="5020347"/>
            <a:ext cx="12192000" cy="1837653"/>
            <a:chOff x="0" y="5020347"/>
            <a:chExt cx="12192000" cy="1837653"/>
          </a:xfrm>
        </p:grpSpPr>
        <p:sp>
          <p:nvSpPr>
            <p:cNvPr id="9870" name="Google Shape;9870;p139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871" name="Google Shape;9871;p139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872" name="Google Shape;9872;p139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873" name="Google Shape;9873;p139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874" name="Google Shape;9874;p139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75" name="Google Shape;9875;p139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10.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633653881"/>
      </p:ext>
    </p:extLst>
  </p:cSld>
  <p:clrMapOvr>
    <a:masterClrMapping/>
  </p:clrMapOvr>
</p:sldLayout>
</file>

<file path=ppt/slideLayouts/slideLayout911.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47316988"/>
      </p:ext>
    </p:extLst>
  </p:cSld>
  <p:clrMapOvr>
    <a:masterClrMapping/>
  </p:clrMapOvr>
</p:sldLayout>
</file>

<file path=ppt/slideLayouts/slideLayout91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48692378"/>
      </p:ext>
    </p:extLst>
  </p:cSld>
  <p:clrMapOvr>
    <a:masterClrMapping/>
  </p:clrMapOvr>
</p:sldLayout>
</file>

<file path=ppt/slideLayouts/slideLayout91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91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912375348"/>
      </p:ext>
    </p:extLst>
  </p:cSld>
  <p:clrMapOvr>
    <a:masterClrMapping/>
  </p:clrMapOvr>
</p:sldLayout>
</file>

<file path=ppt/slideLayouts/slideLayout915.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916.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917.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918.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91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Photo Slide">
  <p:cSld name="Photo Slide 6">
    <p:spTree>
      <p:nvGrpSpPr>
        <p:cNvPr id="1" name="Shape 9876"/>
        <p:cNvGrpSpPr/>
        <p:nvPr/>
      </p:nvGrpSpPr>
      <p:grpSpPr>
        <a:xfrm>
          <a:off x="0" y="0"/>
          <a:ext cx="0" cy="0"/>
          <a:chOff x="0" y="0"/>
          <a:chExt cx="0" cy="0"/>
        </a:xfrm>
      </p:grpSpPr>
      <p:sp>
        <p:nvSpPr>
          <p:cNvPr id="9877" name="Google Shape;9877;p139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878" name="Google Shape;9878;p139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879" name="Google Shape;9879;p1396"/>
          <p:cNvGrpSpPr/>
          <p:nvPr/>
        </p:nvGrpSpPr>
        <p:grpSpPr>
          <a:xfrm>
            <a:off x="0" y="5379426"/>
            <a:ext cx="2807368" cy="753891"/>
            <a:chOff x="0" y="5379426"/>
            <a:chExt cx="2807368" cy="753891"/>
          </a:xfrm>
        </p:grpSpPr>
        <p:sp>
          <p:nvSpPr>
            <p:cNvPr id="9880" name="Google Shape;9880;p139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881" name="Google Shape;9881;p139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882" name="Google Shape;9882;p1396"/>
          <p:cNvSpPr>
            <a:spLocks noGrp="1"/>
          </p:cNvSpPr>
          <p:nvPr>
            <p:ph type="pic" idx="2"/>
          </p:nvPr>
        </p:nvSpPr>
        <p:spPr>
          <a:xfrm>
            <a:off x="2807368" y="457202"/>
            <a:ext cx="8915400" cy="5943598"/>
          </a:xfrm>
          <a:prstGeom prst="rect">
            <a:avLst/>
          </a:prstGeom>
          <a:noFill/>
          <a:ln>
            <a:noFill/>
          </a:ln>
        </p:spPr>
      </p:sp>
      <p:pic>
        <p:nvPicPr>
          <p:cNvPr id="9883" name="Google Shape;9883;p139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20.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921.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92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92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92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92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92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92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928.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050475807"/>
      </p:ext>
    </p:extLst>
  </p:cSld>
  <p:clrMapOvr>
    <a:masterClrMapping/>
  </p:clrMapOvr>
</p:sldLayout>
</file>

<file path=ppt/slideLayouts/slideLayout929.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0361719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Cover">
  <p:cSld name="Cover 6">
    <p:spTree>
      <p:nvGrpSpPr>
        <p:cNvPr id="1" name="Shape 9884"/>
        <p:cNvGrpSpPr/>
        <p:nvPr/>
      </p:nvGrpSpPr>
      <p:grpSpPr>
        <a:xfrm>
          <a:off x="0" y="0"/>
          <a:ext cx="0" cy="0"/>
          <a:chOff x="0" y="0"/>
          <a:chExt cx="0" cy="0"/>
        </a:xfrm>
      </p:grpSpPr>
      <p:sp>
        <p:nvSpPr>
          <p:cNvPr id="9885" name="Google Shape;9885;p139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886" name="Google Shape;9886;p139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87" name="Google Shape;9887;p139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888" name="Google Shape;9888;p1397"/>
          <p:cNvSpPr>
            <a:spLocks noGrp="1"/>
          </p:cNvSpPr>
          <p:nvPr>
            <p:ph type="pic" idx="2"/>
          </p:nvPr>
        </p:nvSpPr>
        <p:spPr>
          <a:xfrm>
            <a:off x="7118684" y="233915"/>
            <a:ext cx="5073316" cy="5943600"/>
          </a:xfrm>
          <a:prstGeom prst="rect">
            <a:avLst/>
          </a:prstGeom>
          <a:noFill/>
          <a:ln>
            <a:noFill/>
          </a:ln>
        </p:spPr>
      </p:sp>
      <p:grpSp>
        <p:nvGrpSpPr>
          <p:cNvPr id="9889" name="Google Shape;9889;p1397"/>
          <p:cNvGrpSpPr/>
          <p:nvPr/>
        </p:nvGrpSpPr>
        <p:grpSpPr>
          <a:xfrm>
            <a:off x="0" y="5020348"/>
            <a:ext cx="12192000" cy="1837653"/>
            <a:chOff x="0" y="5020348"/>
            <a:chExt cx="12192000" cy="1837653"/>
          </a:xfrm>
        </p:grpSpPr>
        <p:sp>
          <p:nvSpPr>
            <p:cNvPr id="9890" name="Google Shape;9890;p139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891" name="Google Shape;9891;p139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892" name="Google Shape;9892;p139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30.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12547244"/>
      </p:ext>
    </p:extLst>
  </p:cSld>
  <p:clrMapOvr>
    <a:masterClrMapping/>
  </p:clrMapOvr>
</p:sldLayout>
</file>

<file path=ppt/slideLayouts/slideLayout931.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24722582"/>
      </p:ext>
    </p:extLst>
  </p:cSld>
  <p:clrMapOvr>
    <a:masterClrMapping/>
  </p:clrMapOvr>
</p:sldLayout>
</file>

<file path=ppt/slideLayouts/slideLayout932.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27714319"/>
      </p:ext>
    </p:extLst>
  </p:cSld>
  <p:clrMapOvr>
    <a:masterClrMapping/>
  </p:clrMapOvr>
</p:sldLayout>
</file>

<file path=ppt/slideLayouts/slideLayout933.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110679891"/>
      </p:ext>
    </p:extLst>
  </p:cSld>
  <p:clrMapOvr>
    <a:masterClrMapping/>
  </p:clrMapOvr>
</p:sldLayout>
</file>

<file path=ppt/slideLayouts/slideLayout934.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25537969"/>
      </p:ext>
    </p:extLst>
  </p:cSld>
  <p:clrMapOvr>
    <a:masterClrMapping/>
  </p:clrMapOvr>
</p:sldLayout>
</file>

<file path=ppt/slideLayouts/slideLayout935.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175075520"/>
      </p:ext>
    </p:extLst>
  </p:cSld>
  <p:clrMapOvr>
    <a:masterClrMapping/>
  </p:clrMapOvr>
</p:sldLayout>
</file>

<file path=ppt/slideLayouts/slideLayout936.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17297007"/>
      </p:ext>
    </p:extLst>
  </p:cSld>
  <p:clrMapOvr>
    <a:masterClrMapping/>
  </p:clrMapOvr>
</p:sldLayout>
</file>

<file path=ppt/slideLayouts/slideLayout937.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277177429"/>
      </p:ext>
    </p:extLst>
  </p:cSld>
  <p:clrMapOvr>
    <a:masterClrMapping/>
  </p:clrMapOvr>
</p:sldLayout>
</file>

<file path=ppt/slideLayouts/slideLayout938.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0568488"/>
      </p:ext>
    </p:extLst>
  </p:cSld>
  <p:clrMapOvr>
    <a:masterClrMapping/>
  </p:clrMapOvr>
</p:sldLayout>
</file>

<file path=ppt/slideLayouts/slideLayout939.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2242315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Title and Content">
  <p:cSld name="Title and Content 9">
    <p:spTree>
      <p:nvGrpSpPr>
        <p:cNvPr id="1" name="Shape 9893"/>
        <p:cNvGrpSpPr/>
        <p:nvPr/>
      </p:nvGrpSpPr>
      <p:grpSpPr>
        <a:xfrm>
          <a:off x="0" y="0"/>
          <a:ext cx="0" cy="0"/>
          <a:chOff x="0" y="0"/>
          <a:chExt cx="0" cy="0"/>
        </a:xfrm>
      </p:grpSpPr>
      <p:grpSp>
        <p:nvGrpSpPr>
          <p:cNvPr id="9894" name="Google Shape;9894;p1398"/>
          <p:cNvGrpSpPr/>
          <p:nvPr/>
        </p:nvGrpSpPr>
        <p:grpSpPr>
          <a:xfrm>
            <a:off x="7191542" y="1"/>
            <a:ext cx="5000459" cy="1425992"/>
            <a:chOff x="7191542" y="1"/>
            <a:chExt cx="5000459" cy="1425992"/>
          </a:xfrm>
        </p:grpSpPr>
        <p:pic>
          <p:nvPicPr>
            <p:cNvPr id="9895" name="Google Shape;9895;p13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96" name="Google Shape;9896;p1398"/>
            <p:cNvGrpSpPr/>
            <p:nvPr/>
          </p:nvGrpSpPr>
          <p:grpSpPr>
            <a:xfrm>
              <a:off x="7191542" y="1"/>
              <a:ext cx="5000459" cy="1425992"/>
              <a:chOff x="7186272" y="0"/>
              <a:chExt cx="5005729" cy="1427495"/>
            </a:xfrm>
          </p:grpSpPr>
          <p:sp>
            <p:nvSpPr>
              <p:cNvPr id="9897" name="Google Shape;9897;p13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898" name="Google Shape;9898;p13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899" name="Google Shape;9899;p139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00" name="Google Shape;9900;p139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01" name="Google Shape;9901;p13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902" name="Google Shape;9902;p13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03" name="Google Shape;9903;p13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40.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79025856"/>
      </p:ext>
    </p:extLst>
  </p:cSld>
  <p:clrMapOvr>
    <a:masterClrMapping/>
  </p:clrMapOvr>
</p:sldLayout>
</file>

<file path=ppt/slideLayouts/slideLayout941.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46745569"/>
      </p:ext>
    </p:extLst>
  </p:cSld>
  <p:clrMapOvr>
    <a:masterClrMapping/>
  </p:clrMapOvr>
</p:sldLayout>
</file>

<file path=ppt/slideLayouts/slideLayout942.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45151987"/>
      </p:ext>
    </p:extLst>
  </p:cSld>
  <p:clrMapOvr>
    <a:masterClrMapping/>
  </p:clrMapOvr>
</p:sldLayout>
</file>

<file path=ppt/slideLayouts/slideLayout943.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991588673"/>
      </p:ext>
    </p:extLst>
  </p:cSld>
  <p:clrMapOvr>
    <a:masterClrMapping/>
  </p:clrMapOvr>
</p:sldLayout>
</file>

<file path=ppt/slideLayouts/slideLayout944.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52693079"/>
      </p:ext>
    </p:extLst>
  </p:cSld>
  <p:clrMapOvr>
    <a:masterClrMapping/>
  </p:clrMapOvr>
</p:sldLayout>
</file>

<file path=ppt/slideLayouts/slideLayout945.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1252734"/>
      </p:ext>
    </p:extLst>
  </p:cSld>
  <p:clrMapOvr>
    <a:masterClrMapping/>
  </p:clrMapOvr>
</p:sldLayout>
</file>

<file path=ppt/slideLayouts/slideLayout946.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274803561"/>
      </p:ext>
    </p:extLst>
  </p:cSld>
  <p:clrMapOvr>
    <a:masterClrMapping/>
  </p:clrMapOvr>
</p:sldLayout>
</file>

<file path=ppt/slideLayouts/slideLayout947.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97668464"/>
      </p:ext>
    </p:extLst>
  </p:cSld>
  <p:clrMapOvr>
    <a:masterClrMapping/>
  </p:clrMapOvr>
</p:sldLayout>
</file>

<file path=ppt/slideLayouts/slideLayout948.xml><?xml version="1.0" encoding="utf-8"?>
<p:sldLayout xmlns:a="http://schemas.openxmlformats.org/drawingml/2006/main" xmlns:r="http://schemas.openxmlformats.org/officeDocument/2006/relationships" xmlns:p="http://schemas.openxmlformats.org/presentationml/2006/main" userDrawn="1">
  <p:cSld name="1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385120405"/>
      </p:ext>
    </p:extLst>
  </p:cSld>
  <p:clrMapOvr>
    <a:masterClrMapping/>
  </p:clrMapOvr>
</p:sldLayout>
</file>

<file path=ppt/slideLayouts/slideLayout949.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6464664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Two Content">
  <p:cSld name="Two Content 5">
    <p:spTree>
      <p:nvGrpSpPr>
        <p:cNvPr id="1" name="Shape 9904"/>
        <p:cNvGrpSpPr/>
        <p:nvPr/>
      </p:nvGrpSpPr>
      <p:grpSpPr>
        <a:xfrm>
          <a:off x="0" y="0"/>
          <a:ext cx="0" cy="0"/>
          <a:chOff x="0" y="0"/>
          <a:chExt cx="0" cy="0"/>
        </a:xfrm>
      </p:grpSpPr>
      <p:sp>
        <p:nvSpPr>
          <p:cNvPr id="9905" name="Google Shape;9905;p139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06" name="Google Shape;9906;p139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907" name="Google Shape;9907;p1399"/>
          <p:cNvGrpSpPr/>
          <p:nvPr/>
        </p:nvGrpSpPr>
        <p:grpSpPr>
          <a:xfrm>
            <a:off x="7191542" y="1"/>
            <a:ext cx="5000459" cy="1425992"/>
            <a:chOff x="7191542" y="1"/>
            <a:chExt cx="5000459" cy="1425992"/>
          </a:xfrm>
        </p:grpSpPr>
        <p:pic>
          <p:nvPicPr>
            <p:cNvPr id="9908" name="Google Shape;9908;p13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09" name="Google Shape;9909;p1399"/>
            <p:cNvGrpSpPr/>
            <p:nvPr/>
          </p:nvGrpSpPr>
          <p:grpSpPr>
            <a:xfrm>
              <a:off x="7191542" y="1"/>
              <a:ext cx="5000459" cy="1425992"/>
              <a:chOff x="7186272" y="0"/>
              <a:chExt cx="5005729" cy="1427495"/>
            </a:xfrm>
          </p:grpSpPr>
          <p:sp>
            <p:nvSpPr>
              <p:cNvPr id="9910" name="Google Shape;9910;p13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911" name="Google Shape;9911;p13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912" name="Google Shape;9912;p139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13" name="Google Shape;9913;p139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914" name="Google Shape;9914;p13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15" name="Google Shape;9915;p13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50.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276551247"/>
      </p:ext>
    </p:extLst>
  </p:cSld>
  <p:clrMapOvr>
    <a:masterClrMapping/>
  </p:clrMapOvr>
</p:sldLayout>
</file>

<file path=ppt/slideLayouts/slideLayout951.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57235748"/>
      </p:ext>
    </p:extLst>
  </p:cSld>
  <p:clrMapOvr>
    <a:masterClrMapping/>
  </p:clrMapOvr>
</p:sldLayout>
</file>

<file path=ppt/slideLayouts/slideLayout952.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58486246"/>
      </p:ext>
    </p:extLst>
  </p:cSld>
  <p:clrMapOvr>
    <a:masterClrMapping/>
  </p:clrMapOvr>
</p:sldLayout>
</file>

<file path=ppt/slideLayouts/slideLayout953.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959398333"/>
      </p:ext>
    </p:extLst>
  </p:cSld>
  <p:clrMapOvr>
    <a:masterClrMapping/>
  </p:clrMapOvr>
</p:sldLayout>
</file>

<file path=ppt/slideLayouts/slideLayout954.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63048146"/>
      </p:ext>
    </p:extLst>
  </p:cSld>
  <p:clrMapOvr>
    <a:masterClrMapping/>
  </p:clrMapOvr>
</p:sldLayout>
</file>

<file path=ppt/slideLayouts/slideLayout955.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12857818"/>
      </p:ext>
    </p:extLst>
  </p:cSld>
  <p:clrMapOvr>
    <a:masterClrMapping/>
  </p:clrMapOvr>
</p:sldLayout>
</file>

<file path=ppt/slideLayouts/slideLayout956.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994656784"/>
      </p:ext>
    </p:extLst>
  </p:cSld>
  <p:clrMapOvr>
    <a:masterClrMapping/>
  </p:clrMapOvr>
</p:sldLayout>
</file>

<file path=ppt/slideLayouts/slideLayout957.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58228608"/>
      </p:ext>
    </p:extLst>
  </p:cSld>
  <p:clrMapOvr>
    <a:masterClrMapping/>
  </p:clrMapOvr>
</p:sldLayout>
</file>

<file path=ppt/slideLayouts/slideLayout958.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41541559"/>
      </p:ext>
    </p:extLst>
  </p:cSld>
  <p:clrMapOvr>
    <a:masterClrMapping/>
  </p:clrMapOvr>
</p:sldLayout>
</file>

<file path=ppt/slideLayouts/slideLayout959.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8959395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Comparison">
  <p:cSld name="Comparison 4">
    <p:spTree>
      <p:nvGrpSpPr>
        <p:cNvPr id="1" name="Shape 9916"/>
        <p:cNvGrpSpPr/>
        <p:nvPr/>
      </p:nvGrpSpPr>
      <p:grpSpPr>
        <a:xfrm>
          <a:off x="0" y="0"/>
          <a:ext cx="0" cy="0"/>
          <a:chOff x="0" y="0"/>
          <a:chExt cx="0" cy="0"/>
        </a:xfrm>
      </p:grpSpPr>
      <p:grpSp>
        <p:nvGrpSpPr>
          <p:cNvPr id="9917" name="Google Shape;9917;p1400"/>
          <p:cNvGrpSpPr/>
          <p:nvPr/>
        </p:nvGrpSpPr>
        <p:grpSpPr>
          <a:xfrm>
            <a:off x="7191542" y="1"/>
            <a:ext cx="5000459" cy="1425992"/>
            <a:chOff x="7191542" y="1"/>
            <a:chExt cx="5000459" cy="1425992"/>
          </a:xfrm>
        </p:grpSpPr>
        <p:pic>
          <p:nvPicPr>
            <p:cNvPr id="9918" name="Google Shape;9918;p14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19" name="Google Shape;9919;p1400"/>
            <p:cNvGrpSpPr/>
            <p:nvPr/>
          </p:nvGrpSpPr>
          <p:grpSpPr>
            <a:xfrm>
              <a:off x="7191542" y="1"/>
              <a:ext cx="5000459" cy="1425992"/>
              <a:chOff x="7186272" y="0"/>
              <a:chExt cx="5005729" cy="1427495"/>
            </a:xfrm>
          </p:grpSpPr>
          <p:sp>
            <p:nvSpPr>
              <p:cNvPr id="9920" name="Google Shape;9920;p14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921" name="Google Shape;9921;p14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922" name="Google Shape;9922;p140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23" name="Google Shape;9923;p140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924" name="Google Shape;9924;p140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25" name="Google Shape;9925;p140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926" name="Google Shape;9926;p140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27" name="Google Shape;9927;p14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928" name="Google Shape;9928;p14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29" name="Google Shape;9929;p14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60.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57081914"/>
      </p:ext>
    </p:extLst>
  </p:cSld>
  <p:clrMapOvr>
    <a:masterClrMapping/>
  </p:clrMapOvr>
</p:sldLayout>
</file>

<file path=ppt/slideLayouts/slideLayout961.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53146767"/>
      </p:ext>
    </p:extLst>
  </p:cSld>
  <p:clrMapOvr>
    <a:masterClrMapping/>
  </p:clrMapOvr>
</p:sldLayout>
</file>

<file path=ppt/slideLayouts/slideLayout962.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91137650"/>
      </p:ext>
    </p:extLst>
  </p:cSld>
  <p:clrMapOvr>
    <a:masterClrMapping/>
  </p:clrMapOvr>
</p:sldLayout>
</file>

<file path=ppt/slideLayouts/slideLayout963.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185579355"/>
      </p:ext>
    </p:extLst>
  </p:cSld>
  <p:clrMapOvr>
    <a:masterClrMapping/>
  </p:clrMapOvr>
</p:sldLayout>
</file>

<file path=ppt/slideLayouts/slideLayout964.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168887207"/>
      </p:ext>
    </p:extLst>
  </p:cSld>
  <p:clrMapOvr>
    <a:masterClrMapping/>
  </p:clrMapOvr>
</p:sldLayout>
</file>

<file path=ppt/slideLayouts/slideLayout965.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30752960"/>
      </p:ext>
    </p:extLst>
  </p:cSld>
  <p:clrMapOvr>
    <a:masterClrMapping/>
  </p:clrMapOvr>
</p:sldLayout>
</file>

<file path=ppt/slideLayouts/slideLayout96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96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96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96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Quotation">
  <p:cSld name="Quotation 7">
    <p:spTree>
      <p:nvGrpSpPr>
        <p:cNvPr id="1" name="Shape 9930"/>
        <p:cNvGrpSpPr/>
        <p:nvPr/>
      </p:nvGrpSpPr>
      <p:grpSpPr>
        <a:xfrm>
          <a:off x="0" y="0"/>
          <a:ext cx="0" cy="0"/>
          <a:chOff x="0" y="0"/>
          <a:chExt cx="0" cy="0"/>
        </a:xfrm>
      </p:grpSpPr>
      <p:sp>
        <p:nvSpPr>
          <p:cNvPr id="9931" name="Google Shape;9931;p140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932" name="Google Shape;9932;p140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33" name="Google Shape;9933;p140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34" name="Google Shape;9934;p14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935" name="Google Shape;9935;p14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36" name="Google Shape;9936;p14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937" name="Google Shape;9937;p1401"/>
          <p:cNvGrpSpPr/>
          <p:nvPr/>
        </p:nvGrpSpPr>
        <p:grpSpPr>
          <a:xfrm>
            <a:off x="7191542" y="1"/>
            <a:ext cx="5000459" cy="1425992"/>
            <a:chOff x="7191542" y="1"/>
            <a:chExt cx="5000459" cy="1425992"/>
          </a:xfrm>
        </p:grpSpPr>
        <p:pic>
          <p:nvPicPr>
            <p:cNvPr id="9938" name="Google Shape;9938;p14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39" name="Google Shape;9939;p1401"/>
            <p:cNvGrpSpPr/>
            <p:nvPr/>
          </p:nvGrpSpPr>
          <p:grpSpPr>
            <a:xfrm>
              <a:off x="7191542" y="1"/>
              <a:ext cx="5000459" cy="1425992"/>
              <a:chOff x="7186272" y="0"/>
              <a:chExt cx="5005729" cy="1427495"/>
            </a:xfrm>
          </p:grpSpPr>
          <p:sp>
            <p:nvSpPr>
              <p:cNvPr id="9940" name="Google Shape;9940;p14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941" name="Google Shape;9941;p14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942" name="Google Shape;9942;p140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70.xml><?xml version="1.0" encoding="utf-8"?>
<p:sldLayout xmlns:a="http://schemas.openxmlformats.org/drawingml/2006/main" xmlns:r="http://schemas.openxmlformats.org/officeDocument/2006/relationships" xmlns:p="http://schemas.openxmlformats.org/presentationml/2006/main" preserve="1" userDrawn="1">
  <p:cSld name="2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52920475"/>
      </p:ext>
    </p:extLst>
  </p:cSld>
  <p:clrMapOvr>
    <a:masterClrMapping/>
  </p:clrMapOvr>
</p:sldLayout>
</file>

<file path=ppt/slideLayouts/slideLayout9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9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9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9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975.xml><?xml version="1.0" encoding="utf-8"?>
<p:sldLayout xmlns:a="http://schemas.openxmlformats.org/drawingml/2006/main" xmlns:r="http://schemas.openxmlformats.org/officeDocument/2006/relationships" xmlns:p="http://schemas.openxmlformats.org/presentationml/2006/main" preserve="1" userDrawn="1">
  <p:cSld name="2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771841522"/>
      </p:ext>
    </p:extLst>
  </p:cSld>
  <p:clrMapOvr>
    <a:masterClrMapping/>
  </p:clrMapOvr>
</p:sldLayout>
</file>

<file path=ppt/slideLayouts/slideLayout976.xml><?xml version="1.0" encoding="utf-8"?>
<p:sldLayout xmlns:a="http://schemas.openxmlformats.org/drawingml/2006/main" xmlns:r="http://schemas.openxmlformats.org/officeDocument/2006/relationships" xmlns:p="http://schemas.openxmlformats.org/presentationml/2006/main" type="obj" preserve="1">
  <p:cSld name="4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51806391"/>
      </p:ext>
    </p:extLst>
  </p:cSld>
  <p:clrMapOvr>
    <a:masterClrMapping/>
  </p:clrMapOvr>
</p:sldLayout>
</file>

<file path=ppt/slideLayouts/slideLayout977.xml><?xml version="1.0" encoding="utf-8"?>
<p:sldLayout xmlns:a="http://schemas.openxmlformats.org/drawingml/2006/main" xmlns:r="http://schemas.openxmlformats.org/officeDocument/2006/relationships" xmlns:p="http://schemas.openxmlformats.org/presentationml/2006/main" type="obj" preserve="1">
  <p:cSld name="3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22651660"/>
      </p:ext>
    </p:extLst>
  </p:cSld>
  <p:clrMapOvr>
    <a:masterClrMapping/>
  </p:clrMapOvr>
</p:sldLayout>
</file>

<file path=ppt/slideLayouts/slideLayout978.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69481592"/>
      </p:ext>
    </p:extLst>
  </p:cSld>
  <p:clrMapOvr>
    <a:masterClrMapping/>
  </p:clrMapOvr>
</p:sldLayout>
</file>

<file path=ppt/slideLayouts/slideLayout979.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6716377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Quotation">
  <p:cSld name="Quotation 7 2">
    <p:spTree>
      <p:nvGrpSpPr>
        <p:cNvPr id="1" name="Shape 9943"/>
        <p:cNvGrpSpPr/>
        <p:nvPr/>
      </p:nvGrpSpPr>
      <p:grpSpPr>
        <a:xfrm>
          <a:off x="0" y="0"/>
          <a:ext cx="0" cy="0"/>
          <a:chOff x="0" y="0"/>
          <a:chExt cx="0" cy="0"/>
        </a:xfrm>
      </p:grpSpPr>
      <p:sp>
        <p:nvSpPr>
          <p:cNvPr id="9944" name="Google Shape;9944;p140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945" name="Google Shape;9945;p140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46" name="Google Shape;9946;p140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47" name="Google Shape;9947;p14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948" name="Google Shape;9948;p14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49" name="Google Shape;9949;p14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950" name="Google Shape;9950;p1402"/>
          <p:cNvGrpSpPr/>
          <p:nvPr/>
        </p:nvGrpSpPr>
        <p:grpSpPr>
          <a:xfrm>
            <a:off x="7191542" y="1"/>
            <a:ext cx="5000459" cy="1425992"/>
            <a:chOff x="7191542" y="1"/>
            <a:chExt cx="5000459" cy="1425992"/>
          </a:xfrm>
        </p:grpSpPr>
        <p:pic>
          <p:nvPicPr>
            <p:cNvPr id="9951" name="Google Shape;9951;p14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52" name="Google Shape;9952;p1402"/>
            <p:cNvGrpSpPr/>
            <p:nvPr/>
          </p:nvGrpSpPr>
          <p:grpSpPr>
            <a:xfrm>
              <a:off x="7191542" y="1"/>
              <a:ext cx="5000459" cy="1425992"/>
              <a:chOff x="7186272" y="0"/>
              <a:chExt cx="5005729" cy="1427495"/>
            </a:xfrm>
          </p:grpSpPr>
          <p:sp>
            <p:nvSpPr>
              <p:cNvPr id="9953" name="Google Shape;9953;p14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954" name="Google Shape;9954;p14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955" name="Google Shape;9955;p140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80.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61940977"/>
      </p:ext>
    </p:extLst>
  </p:cSld>
  <p:clrMapOvr>
    <a:masterClrMapping/>
  </p:clrMapOvr>
</p:sldLayout>
</file>

<file path=ppt/slideLayouts/slideLayout981.xml><?xml version="1.0" encoding="utf-8"?>
<p:sldLayout xmlns:a="http://schemas.openxmlformats.org/drawingml/2006/main" xmlns:r="http://schemas.openxmlformats.org/officeDocument/2006/relationships" xmlns:p="http://schemas.openxmlformats.org/presentationml/2006/main" preserve="1" userDrawn="1">
  <p:cSld name="2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371788899"/>
      </p:ext>
    </p:extLst>
  </p:cSld>
  <p:clrMapOvr>
    <a:masterClrMapping/>
  </p:clrMapOvr>
</p:sldLayout>
</file>

<file path=ppt/slideLayouts/slideLayout982.xml><?xml version="1.0" encoding="utf-8"?>
<p:sldLayout xmlns:a="http://schemas.openxmlformats.org/drawingml/2006/main" xmlns:r="http://schemas.openxmlformats.org/officeDocument/2006/relationships" xmlns:p="http://schemas.openxmlformats.org/presentationml/2006/main" type="blank" preserve="1">
  <p:cSld name="2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509513876"/>
      </p:ext>
    </p:extLst>
  </p:cSld>
  <p:clrMapOvr>
    <a:masterClrMapping/>
  </p:clrMapOvr>
</p:sldLayout>
</file>

<file path=ppt/slideLayouts/slideLayout983.xml><?xml version="1.0" encoding="utf-8"?>
<p:sldLayout xmlns:a="http://schemas.openxmlformats.org/drawingml/2006/main" xmlns:r="http://schemas.openxmlformats.org/officeDocument/2006/relationships" xmlns:p="http://schemas.openxmlformats.org/presentationml/2006/main" type="obj" preserve="1">
  <p:cSld name="4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26005393"/>
      </p:ext>
    </p:extLst>
  </p:cSld>
  <p:clrMapOvr>
    <a:masterClrMapping/>
  </p:clrMapOvr>
</p:sldLayout>
</file>

<file path=ppt/slideLayouts/slideLayout984.xml><?xml version="1.0" encoding="utf-8"?>
<p:sldLayout xmlns:a="http://schemas.openxmlformats.org/drawingml/2006/main" xmlns:r="http://schemas.openxmlformats.org/officeDocument/2006/relationships" xmlns:p="http://schemas.openxmlformats.org/presentationml/2006/main" preserve="1" userDrawn="1">
  <p:cSld name="2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8815300"/>
      </p:ext>
    </p:extLst>
  </p:cSld>
  <p:clrMapOvr>
    <a:masterClrMapping/>
  </p:clrMapOvr>
</p:sldLayout>
</file>

<file path=ppt/slideLayouts/slideLayout985.xml><?xml version="1.0" encoding="utf-8"?>
<p:sldLayout xmlns:a="http://schemas.openxmlformats.org/drawingml/2006/main" xmlns:r="http://schemas.openxmlformats.org/officeDocument/2006/relationships" xmlns:p="http://schemas.openxmlformats.org/presentationml/2006/main" preserve="1" userDrawn="1">
  <p:cSld name="2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88474973"/>
      </p:ext>
    </p:extLst>
  </p:cSld>
  <p:clrMapOvr>
    <a:masterClrMapping/>
  </p:clrMapOvr>
</p:sldLayout>
</file>

<file path=ppt/slideLayouts/slideLayout986.xml><?xml version="1.0" encoding="utf-8"?>
<p:sldLayout xmlns:a="http://schemas.openxmlformats.org/drawingml/2006/main" xmlns:r="http://schemas.openxmlformats.org/officeDocument/2006/relationships" xmlns:p="http://schemas.openxmlformats.org/presentationml/2006/main" preserve="1" userDrawn="1">
  <p:cSld name="2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059714829"/>
      </p:ext>
    </p:extLst>
  </p:cSld>
  <p:clrMapOvr>
    <a:masterClrMapping/>
  </p:clrMapOvr>
</p:sldLayout>
</file>

<file path=ppt/slideLayouts/slideLayout987.xml><?xml version="1.0" encoding="utf-8"?>
<p:sldLayout xmlns:a="http://schemas.openxmlformats.org/drawingml/2006/main" xmlns:r="http://schemas.openxmlformats.org/officeDocument/2006/relationships" xmlns:p="http://schemas.openxmlformats.org/presentationml/2006/main" type="obj" preserve="1">
  <p:cSld name="4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23035200"/>
      </p:ext>
    </p:extLst>
  </p:cSld>
  <p:clrMapOvr>
    <a:masterClrMapping/>
  </p:clrMapOvr>
</p:sldLayout>
</file>

<file path=ppt/slideLayouts/slideLayout988.xml><?xml version="1.0" encoding="utf-8"?>
<p:sldLayout xmlns:a="http://schemas.openxmlformats.org/drawingml/2006/main" xmlns:r="http://schemas.openxmlformats.org/officeDocument/2006/relationships" xmlns:p="http://schemas.openxmlformats.org/presentationml/2006/main" type="obj" preserve="1">
  <p:cSld name="3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69676421"/>
      </p:ext>
    </p:extLst>
  </p:cSld>
  <p:clrMapOvr>
    <a:masterClrMapping/>
  </p:clrMapOvr>
</p:sldLayout>
</file>

<file path=ppt/slideLayouts/slideLayout989.xml><?xml version="1.0" encoding="utf-8"?>
<p:sldLayout xmlns:a="http://schemas.openxmlformats.org/drawingml/2006/main" xmlns:r="http://schemas.openxmlformats.org/officeDocument/2006/relationships" xmlns:p="http://schemas.openxmlformats.org/presentationml/2006/main" type="twoObj" preserve="1">
  <p:cSld name="2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12208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End">
  <p:cSld name="End 4">
    <p:spTree>
      <p:nvGrpSpPr>
        <p:cNvPr id="1" name="Shape 9956"/>
        <p:cNvGrpSpPr/>
        <p:nvPr/>
      </p:nvGrpSpPr>
      <p:grpSpPr>
        <a:xfrm>
          <a:off x="0" y="0"/>
          <a:ext cx="0" cy="0"/>
          <a:chOff x="0" y="0"/>
          <a:chExt cx="0" cy="0"/>
        </a:xfrm>
      </p:grpSpPr>
      <p:grpSp>
        <p:nvGrpSpPr>
          <p:cNvPr id="9957" name="Google Shape;9957;p1403"/>
          <p:cNvGrpSpPr/>
          <p:nvPr/>
        </p:nvGrpSpPr>
        <p:grpSpPr>
          <a:xfrm>
            <a:off x="0" y="0"/>
            <a:ext cx="12192000" cy="2148830"/>
            <a:chOff x="0" y="0"/>
            <a:chExt cx="12192000" cy="2148830"/>
          </a:xfrm>
        </p:grpSpPr>
        <p:sp>
          <p:nvSpPr>
            <p:cNvPr id="9958" name="Google Shape;9958;p140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959" name="Google Shape;9959;p140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9960" name="Google Shape;9960;p1403"/>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961" name="Google Shape;9961;p1403"/>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62" name="Google Shape;9962;p1403"/>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9963" name="Google Shape;9963;p1403"/>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964" name="Google Shape;9964;p1403"/>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90.xml><?xml version="1.0" encoding="utf-8"?>
<p:sldLayout xmlns:a="http://schemas.openxmlformats.org/drawingml/2006/main" xmlns:r="http://schemas.openxmlformats.org/officeDocument/2006/relationships" xmlns:p="http://schemas.openxmlformats.org/presentationml/2006/main" type="twoTxTwoObj" preserve="1">
  <p:cSld name="2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00769002"/>
      </p:ext>
    </p:extLst>
  </p:cSld>
  <p:clrMapOvr>
    <a:masterClrMapping/>
  </p:clrMapOvr>
</p:sldLayout>
</file>

<file path=ppt/slideLayouts/slideLayout991.xml><?xml version="1.0" encoding="utf-8"?>
<p:sldLayout xmlns:a="http://schemas.openxmlformats.org/drawingml/2006/main" xmlns:r="http://schemas.openxmlformats.org/officeDocument/2006/relationships" xmlns:p="http://schemas.openxmlformats.org/presentationml/2006/main" type="titleOnly" preserve="1">
  <p:cSld name="2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25601840"/>
      </p:ext>
    </p:extLst>
  </p:cSld>
  <p:clrMapOvr>
    <a:masterClrMapping/>
  </p:clrMapOvr>
</p:sldLayout>
</file>

<file path=ppt/slideLayouts/slideLayout992.xml><?xml version="1.0" encoding="utf-8"?>
<p:sldLayout xmlns:a="http://schemas.openxmlformats.org/drawingml/2006/main" xmlns:r="http://schemas.openxmlformats.org/officeDocument/2006/relationships" xmlns:p="http://schemas.openxmlformats.org/presentationml/2006/main" preserve="1" userDrawn="1">
  <p:cSld name="2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039239700"/>
      </p:ext>
    </p:extLst>
  </p:cSld>
  <p:clrMapOvr>
    <a:masterClrMapping/>
  </p:clrMapOvr>
</p:sldLayout>
</file>

<file path=ppt/slideLayouts/slideLayout993.xml><?xml version="1.0" encoding="utf-8"?>
<p:sldLayout xmlns:a="http://schemas.openxmlformats.org/drawingml/2006/main" xmlns:r="http://schemas.openxmlformats.org/officeDocument/2006/relationships" xmlns:p="http://schemas.openxmlformats.org/presentationml/2006/main" type="blank" preserve="1">
  <p:cSld name="2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235435242"/>
      </p:ext>
    </p:extLst>
  </p:cSld>
  <p:clrMapOvr>
    <a:masterClrMapping/>
  </p:clrMapOvr>
</p:sldLayout>
</file>

<file path=ppt/slideLayouts/slideLayout994.xml><?xml version="1.0" encoding="utf-8"?>
<p:sldLayout xmlns:a="http://schemas.openxmlformats.org/drawingml/2006/main" xmlns:r="http://schemas.openxmlformats.org/officeDocument/2006/relationships" xmlns:p="http://schemas.openxmlformats.org/presentationml/2006/main" preserve="1" userDrawn="1">
  <p:cSld name="2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83638904"/>
      </p:ext>
    </p:extLst>
  </p:cSld>
  <p:clrMapOvr>
    <a:masterClrMapping/>
  </p:clrMapOvr>
</p:sldLayout>
</file>

<file path=ppt/slideLayouts/slideLayout995.xml><?xml version="1.0" encoding="utf-8"?>
<p:sldLayout xmlns:a="http://schemas.openxmlformats.org/drawingml/2006/main" xmlns:r="http://schemas.openxmlformats.org/officeDocument/2006/relationships" xmlns:p="http://schemas.openxmlformats.org/presentationml/2006/main" preserve="1" userDrawn="1">
  <p:cSld name="2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79944669"/>
      </p:ext>
    </p:extLst>
  </p:cSld>
  <p:clrMapOvr>
    <a:masterClrMapping/>
  </p:clrMapOvr>
</p:sldLayout>
</file>

<file path=ppt/slideLayouts/slideLayout996.xml><?xml version="1.0" encoding="utf-8"?>
<p:sldLayout xmlns:a="http://schemas.openxmlformats.org/drawingml/2006/main" xmlns:r="http://schemas.openxmlformats.org/officeDocument/2006/relationships" xmlns:p="http://schemas.openxmlformats.org/presentationml/2006/main" type="obj" preserve="1">
  <p:cSld name="4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43171624"/>
      </p:ext>
    </p:extLst>
  </p:cSld>
  <p:clrMapOvr>
    <a:masterClrMapping/>
  </p:clrMapOvr>
</p:sldLayout>
</file>

<file path=ppt/slideLayouts/slideLayout997.xml><?xml version="1.0" encoding="utf-8"?>
<p:sldLayout xmlns:a="http://schemas.openxmlformats.org/drawingml/2006/main" xmlns:r="http://schemas.openxmlformats.org/officeDocument/2006/relationships" xmlns:p="http://schemas.openxmlformats.org/presentationml/2006/main" preserve="1" userDrawn="1">
  <p:cSld name="2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307193366"/>
      </p:ext>
    </p:extLst>
  </p:cSld>
  <p:clrMapOvr>
    <a:masterClrMapping/>
  </p:clrMapOvr>
</p:sldLayout>
</file>

<file path=ppt/slideLayouts/slideLayout998.xml><?xml version="1.0" encoding="utf-8"?>
<p:sldLayout xmlns:a="http://schemas.openxmlformats.org/drawingml/2006/main" xmlns:r="http://schemas.openxmlformats.org/officeDocument/2006/relationships" xmlns:p="http://schemas.openxmlformats.org/presentationml/2006/main" type="obj" preserve="1">
  <p:cSld name="4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76009518"/>
      </p:ext>
    </p:extLst>
  </p:cSld>
  <p:clrMapOvr>
    <a:masterClrMapping/>
  </p:clrMapOvr>
</p:sldLayout>
</file>

<file path=ppt/slideLayouts/slideLayout999.xml><?xml version="1.0" encoding="utf-8"?>
<p:sldLayout xmlns:a="http://schemas.openxmlformats.org/drawingml/2006/main" xmlns:r="http://schemas.openxmlformats.org/officeDocument/2006/relationships" xmlns:p="http://schemas.openxmlformats.org/presentationml/2006/main" type="obj" preserve="1">
  <p:cSld name="3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602648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117" Type="http://schemas.openxmlformats.org/officeDocument/2006/relationships/slideLayout" Target="../slideLayouts/slideLayout2071.xml"/><Relationship Id="rId21" Type="http://schemas.openxmlformats.org/officeDocument/2006/relationships/slideLayout" Target="../slideLayouts/slideLayout1975.xml"/><Relationship Id="rId42" Type="http://schemas.openxmlformats.org/officeDocument/2006/relationships/slideLayout" Target="../slideLayouts/slideLayout1996.xml"/><Relationship Id="rId47" Type="http://schemas.openxmlformats.org/officeDocument/2006/relationships/slideLayout" Target="../slideLayouts/slideLayout2001.xml"/><Relationship Id="rId63" Type="http://schemas.openxmlformats.org/officeDocument/2006/relationships/slideLayout" Target="../slideLayouts/slideLayout2017.xml"/><Relationship Id="rId68" Type="http://schemas.openxmlformats.org/officeDocument/2006/relationships/slideLayout" Target="../slideLayouts/slideLayout2022.xml"/><Relationship Id="rId84" Type="http://schemas.openxmlformats.org/officeDocument/2006/relationships/slideLayout" Target="../slideLayouts/slideLayout2038.xml"/><Relationship Id="rId89" Type="http://schemas.openxmlformats.org/officeDocument/2006/relationships/slideLayout" Target="../slideLayouts/slideLayout2043.xml"/><Relationship Id="rId112" Type="http://schemas.openxmlformats.org/officeDocument/2006/relationships/slideLayout" Target="../slideLayouts/slideLayout2066.xml"/><Relationship Id="rId16" Type="http://schemas.openxmlformats.org/officeDocument/2006/relationships/slideLayout" Target="../slideLayouts/slideLayout1970.xml"/><Relationship Id="rId107" Type="http://schemas.openxmlformats.org/officeDocument/2006/relationships/slideLayout" Target="../slideLayouts/slideLayout2061.xml"/><Relationship Id="rId11" Type="http://schemas.openxmlformats.org/officeDocument/2006/relationships/slideLayout" Target="../slideLayouts/slideLayout1965.xml"/><Relationship Id="rId32" Type="http://schemas.openxmlformats.org/officeDocument/2006/relationships/slideLayout" Target="../slideLayouts/slideLayout1986.xml"/><Relationship Id="rId37" Type="http://schemas.openxmlformats.org/officeDocument/2006/relationships/slideLayout" Target="../slideLayouts/slideLayout1991.xml"/><Relationship Id="rId53" Type="http://schemas.openxmlformats.org/officeDocument/2006/relationships/slideLayout" Target="../slideLayouts/slideLayout2007.xml"/><Relationship Id="rId58" Type="http://schemas.openxmlformats.org/officeDocument/2006/relationships/slideLayout" Target="../slideLayouts/slideLayout2012.xml"/><Relationship Id="rId74" Type="http://schemas.openxmlformats.org/officeDocument/2006/relationships/slideLayout" Target="../slideLayouts/slideLayout2028.xml"/><Relationship Id="rId79" Type="http://schemas.openxmlformats.org/officeDocument/2006/relationships/slideLayout" Target="../slideLayouts/slideLayout2033.xml"/><Relationship Id="rId102" Type="http://schemas.openxmlformats.org/officeDocument/2006/relationships/slideLayout" Target="../slideLayouts/slideLayout2056.xml"/><Relationship Id="rId123" Type="http://schemas.openxmlformats.org/officeDocument/2006/relationships/slideLayout" Target="../slideLayouts/slideLayout2077.xml"/><Relationship Id="rId128" Type="http://schemas.openxmlformats.org/officeDocument/2006/relationships/slideLayout" Target="../slideLayouts/slideLayout2082.xml"/><Relationship Id="rId5" Type="http://schemas.openxmlformats.org/officeDocument/2006/relationships/slideLayout" Target="../slideLayouts/slideLayout1959.xml"/><Relationship Id="rId90" Type="http://schemas.openxmlformats.org/officeDocument/2006/relationships/slideLayout" Target="../slideLayouts/slideLayout2044.xml"/><Relationship Id="rId95" Type="http://schemas.openxmlformats.org/officeDocument/2006/relationships/slideLayout" Target="../slideLayouts/slideLayout2049.xml"/><Relationship Id="rId22" Type="http://schemas.openxmlformats.org/officeDocument/2006/relationships/slideLayout" Target="../slideLayouts/slideLayout1976.xml"/><Relationship Id="rId27" Type="http://schemas.openxmlformats.org/officeDocument/2006/relationships/slideLayout" Target="../slideLayouts/slideLayout1981.xml"/><Relationship Id="rId43" Type="http://schemas.openxmlformats.org/officeDocument/2006/relationships/slideLayout" Target="../slideLayouts/slideLayout1997.xml"/><Relationship Id="rId48" Type="http://schemas.openxmlformats.org/officeDocument/2006/relationships/slideLayout" Target="../slideLayouts/slideLayout2002.xml"/><Relationship Id="rId64" Type="http://schemas.openxmlformats.org/officeDocument/2006/relationships/slideLayout" Target="../slideLayouts/slideLayout2018.xml"/><Relationship Id="rId69" Type="http://schemas.openxmlformats.org/officeDocument/2006/relationships/slideLayout" Target="../slideLayouts/slideLayout2023.xml"/><Relationship Id="rId113" Type="http://schemas.openxmlformats.org/officeDocument/2006/relationships/slideLayout" Target="../slideLayouts/slideLayout2067.xml"/><Relationship Id="rId118" Type="http://schemas.openxmlformats.org/officeDocument/2006/relationships/slideLayout" Target="../slideLayouts/slideLayout2072.xml"/><Relationship Id="rId80" Type="http://schemas.openxmlformats.org/officeDocument/2006/relationships/slideLayout" Target="../slideLayouts/slideLayout2034.xml"/><Relationship Id="rId85" Type="http://schemas.openxmlformats.org/officeDocument/2006/relationships/slideLayout" Target="../slideLayouts/slideLayout2039.xml"/><Relationship Id="rId12" Type="http://schemas.openxmlformats.org/officeDocument/2006/relationships/slideLayout" Target="../slideLayouts/slideLayout1966.xml"/><Relationship Id="rId17" Type="http://schemas.openxmlformats.org/officeDocument/2006/relationships/slideLayout" Target="../slideLayouts/slideLayout1971.xml"/><Relationship Id="rId33" Type="http://schemas.openxmlformats.org/officeDocument/2006/relationships/slideLayout" Target="../slideLayouts/slideLayout1987.xml"/><Relationship Id="rId38" Type="http://schemas.openxmlformats.org/officeDocument/2006/relationships/slideLayout" Target="../slideLayouts/slideLayout1992.xml"/><Relationship Id="rId59" Type="http://schemas.openxmlformats.org/officeDocument/2006/relationships/slideLayout" Target="../slideLayouts/slideLayout2013.xml"/><Relationship Id="rId103" Type="http://schemas.openxmlformats.org/officeDocument/2006/relationships/slideLayout" Target="../slideLayouts/slideLayout2057.xml"/><Relationship Id="rId108" Type="http://schemas.openxmlformats.org/officeDocument/2006/relationships/slideLayout" Target="../slideLayouts/slideLayout2062.xml"/><Relationship Id="rId124" Type="http://schemas.openxmlformats.org/officeDocument/2006/relationships/slideLayout" Target="../slideLayouts/slideLayout2078.xml"/><Relationship Id="rId129" Type="http://schemas.openxmlformats.org/officeDocument/2006/relationships/theme" Target="../theme/theme10.xml"/><Relationship Id="rId54" Type="http://schemas.openxmlformats.org/officeDocument/2006/relationships/slideLayout" Target="../slideLayouts/slideLayout2008.xml"/><Relationship Id="rId70" Type="http://schemas.openxmlformats.org/officeDocument/2006/relationships/slideLayout" Target="../slideLayouts/slideLayout2024.xml"/><Relationship Id="rId75" Type="http://schemas.openxmlformats.org/officeDocument/2006/relationships/slideLayout" Target="../slideLayouts/slideLayout2029.xml"/><Relationship Id="rId91" Type="http://schemas.openxmlformats.org/officeDocument/2006/relationships/slideLayout" Target="../slideLayouts/slideLayout2045.xml"/><Relationship Id="rId96" Type="http://schemas.openxmlformats.org/officeDocument/2006/relationships/slideLayout" Target="../slideLayouts/slideLayout2050.xml"/><Relationship Id="rId1" Type="http://schemas.openxmlformats.org/officeDocument/2006/relationships/slideLayout" Target="../slideLayouts/slideLayout1955.xml"/><Relationship Id="rId6" Type="http://schemas.openxmlformats.org/officeDocument/2006/relationships/slideLayout" Target="../slideLayouts/slideLayout1960.xml"/><Relationship Id="rId23" Type="http://schemas.openxmlformats.org/officeDocument/2006/relationships/slideLayout" Target="../slideLayouts/slideLayout1977.xml"/><Relationship Id="rId28" Type="http://schemas.openxmlformats.org/officeDocument/2006/relationships/slideLayout" Target="../slideLayouts/slideLayout1982.xml"/><Relationship Id="rId49" Type="http://schemas.openxmlformats.org/officeDocument/2006/relationships/slideLayout" Target="../slideLayouts/slideLayout2003.xml"/><Relationship Id="rId114" Type="http://schemas.openxmlformats.org/officeDocument/2006/relationships/slideLayout" Target="../slideLayouts/slideLayout2068.xml"/><Relationship Id="rId119" Type="http://schemas.openxmlformats.org/officeDocument/2006/relationships/slideLayout" Target="../slideLayouts/slideLayout2073.xml"/><Relationship Id="rId44" Type="http://schemas.openxmlformats.org/officeDocument/2006/relationships/slideLayout" Target="../slideLayouts/slideLayout1998.xml"/><Relationship Id="rId60" Type="http://schemas.openxmlformats.org/officeDocument/2006/relationships/slideLayout" Target="../slideLayouts/slideLayout2014.xml"/><Relationship Id="rId65" Type="http://schemas.openxmlformats.org/officeDocument/2006/relationships/slideLayout" Target="../slideLayouts/slideLayout2019.xml"/><Relationship Id="rId81" Type="http://schemas.openxmlformats.org/officeDocument/2006/relationships/slideLayout" Target="../slideLayouts/slideLayout2035.xml"/><Relationship Id="rId86" Type="http://schemas.openxmlformats.org/officeDocument/2006/relationships/slideLayout" Target="../slideLayouts/slideLayout2040.xml"/><Relationship Id="rId13" Type="http://schemas.openxmlformats.org/officeDocument/2006/relationships/slideLayout" Target="../slideLayouts/slideLayout1967.xml"/><Relationship Id="rId18" Type="http://schemas.openxmlformats.org/officeDocument/2006/relationships/slideLayout" Target="../slideLayouts/slideLayout1972.xml"/><Relationship Id="rId39" Type="http://schemas.openxmlformats.org/officeDocument/2006/relationships/slideLayout" Target="../slideLayouts/slideLayout1993.xml"/><Relationship Id="rId109" Type="http://schemas.openxmlformats.org/officeDocument/2006/relationships/slideLayout" Target="../slideLayouts/slideLayout2063.xml"/><Relationship Id="rId34" Type="http://schemas.openxmlformats.org/officeDocument/2006/relationships/slideLayout" Target="../slideLayouts/slideLayout1988.xml"/><Relationship Id="rId50" Type="http://schemas.openxmlformats.org/officeDocument/2006/relationships/slideLayout" Target="../slideLayouts/slideLayout2004.xml"/><Relationship Id="rId55" Type="http://schemas.openxmlformats.org/officeDocument/2006/relationships/slideLayout" Target="../slideLayouts/slideLayout2009.xml"/><Relationship Id="rId76" Type="http://schemas.openxmlformats.org/officeDocument/2006/relationships/slideLayout" Target="../slideLayouts/slideLayout2030.xml"/><Relationship Id="rId97" Type="http://schemas.openxmlformats.org/officeDocument/2006/relationships/slideLayout" Target="../slideLayouts/slideLayout2051.xml"/><Relationship Id="rId104" Type="http://schemas.openxmlformats.org/officeDocument/2006/relationships/slideLayout" Target="../slideLayouts/slideLayout2058.xml"/><Relationship Id="rId120" Type="http://schemas.openxmlformats.org/officeDocument/2006/relationships/slideLayout" Target="../slideLayouts/slideLayout2074.xml"/><Relationship Id="rId125" Type="http://schemas.openxmlformats.org/officeDocument/2006/relationships/slideLayout" Target="../slideLayouts/slideLayout2079.xml"/><Relationship Id="rId7" Type="http://schemas.openxmlformats.org/officeDocument/2006/relationships/slideLayout" Target="../slideLayouts/slideLayout1961.xml"/><Relationship Id="rId71" Type="http://schemas.openxmlformats.org/officeDocument/2006/relationships/slideLayout" Target="../slideLayouts/slideLayout2025.xml"/><Relationship Id="rId92" Type="http://schemas.openxmlformats.org/officeDocument/2006/relationships/slideLayout" Target="../slideLayouts/slideLayout2046.xml"/><Relationship Id="rId2" Type="http://schemas.openxmlformats.org/officeDocument/2006/relationships/slideLayout" Target="../slideLayouts/slideLayout1956.xml"/><Relationship Id="rId29" Type="http://schemas.openxmlformats.org/officeDocument/2006/relationships/slideLayout" Target="../slideLayouts/slideLayout1983.xml"/><Relationship Id="rId24" Type="http://schemas.openxmlformats.org/officeDocument/2006/relationships/slideLayout" Target="../slideLayouts/slideLayout1978.xml"/><Relationship Id="rId40" Type="http://schemas.openxmlformats.org/officeDocument/2006/relationships/slideLayout" Target="../slideLayouts/slideLayout1994.xml"/><Relationship Id="rId45" Type="http://schemas.openxmlformats.org/officeDocument/2006/relationships/slideLayout" Target="../slideLayouts/slideLayout1999.xml"/><Relationship Id="rId66" Type="http://schemas.openxmlformats.org/officeDocument/2006/relationships/slideLayout" Target="../slideLayouts/slideLayout2020.xml"/><Relationship Id="rId87" Type="http://schemas.openxmlformats.org/officeDocument/2006/relationships/slideLayout" Target="../slideLayouts/slideLayout2041.xml"/><Relationship Id="rId110" Type="http://schemas.openxmlformats.org/officeDocument/2006/relationships/slideLayout" Target="../slideLayouts/slideLayout2064.xml"/><Relationship Id="rId115" Type="http://schemas.openxmlformats.org/officeDocument/2006/relationships/slideLayout" Target="../slideLayouts/slideLayout2069.xml"/><Relationship Id="rId61" Type="http://schemas.openxmlformats.org/officeDocument/2006/relationships/slideLayout" Target="../slideLayouts/slideLayout2015.xml"/><Relationship Id="rId82" Type="http://schemas.openxmlformats.org/officeDocument/2006/relationships/slideLayout" Target="../slideLayouts/slideLayout2036.xml"/><Relationship Id="rId19" Type="http://schemas.openxmlformats.org/officeDocument/2006/relationships/slideLayout" Target="../slideLayouts/slideLayout1973.xml"/><Relationship Id="rId14" Type="http://schemas.openxmlformats.org/officeDocument/2006/relationships/slideLayout" Target="../slideLayouts/slideLayout1968.xml"/><Relationship Id="rId30" Type="http://schemas.openxmlformats.org/officeDocument/2006/relationships/slideLayout" Target="../slideLayouts/slideLayout1984.xml"/><Relationship Id="rId35" Type="http://schemas.openxmlformats.org/officeDocument/2006/relationships/slideLayout" Target="../slideLayouts/slideLayout1989.xml"/><Relationship Id="rId56" Type="http://schemas.openxmlformats.org/officeDocument/2006/relationships/slideLayout" Target="../slideLayouts/slideLayout2010.xml"/><Relationship Id="rId77" Type="http://schemas.openxmlformats.org/officeDocument/2006/relationships/slideLayout" Target="../slideLayouts/slideLayout2031.xml"/><Relationship Id="rId100" Type="http://schemas.openxmlformats.org/officeDocument/2006/relationships/slideLayout" Target="../slideLayouts/slideLayout2054.xml"/><Relationship Id="rId105" Type="http://schemas.openxmlformats.org/officeDocument/2006/relationships/slideLayout" Target="../slideLayouts/slideLayout2059.xml"/><Relationship Id="rId126" Type="http://schemas.openxmlformats.org/officeDocument/2006/relationships/slideLayout" Target="../slideLayouts/slideLayout2080.xml"/><Relationship Id="rId8" Type="http://schemas.openxmlformats.org/officeDocument/2006/relationships/slideLayout" Target="../slideLayouts/slideLayout1962.xml"/><Relationship Id="rId51" Type="http://schemas.openxmlformats.org/officeDocument/2006/relationships/slideLayout" Target="../slideLayouts/slideLayout2005.xml"/><Relationship Id="rId72" Type="http://schemas.openxmlformats.org/officeDocument/2006/relationships/slideLayout" Target="../slideLayouts/slideLayout2026.xml"/><Relationship Id="rId93" Type="http://schemas.openxmlformats.org/officeDocument/2006/relationships/slideLayout" Target="../slideLayouts/slideLayout2047.xml"/><Relationship Id="rId98" Type="http://schemas.openxmlformats.org/officeDocument/2006/relationships/slideLayout" Target="../slideLayouts/slideLayout2052.xml"/><Relationship Id="rId121" Type="http://schemas.openxmlformats.org/officeDocument/2006/relationships/slideLayout" Target="../slideLayouts/slideLayout2075.xml"/><Relationship Id="rId3" Type="http://schemas.openxmlformats.org/officeDocument/2006/relationships/slideLayout" Target="../slideLayouts/slideLayout1957.xml"/><Relationship Id="rId25" Type="http://schemas.openxmlformats.org/officeDocument/2006/relationships/slideLayout" Target="../slideLayouts/slideLayout1979.xml"/><Relationship Id="rId46" Type="http://schemas.openxmlformats.org/officeDocument/2006/relationships/slideLayout" Target="../slideLayouts/slideLayout2000.xml"/><Relationship Id="rId67" Type="http://schemas.openxmlformats.org/officeDocument/2006/relationships/slideLayout" Target="../slideLayouts/slideLayout2021.xml"/><Relationship Id="rId116" Type="http://schemas.openxmlformats.org/officeDocument/2006/relationships/slideLayout" Target="../slideLayouts/slideLayout2070.xml"/><Relationship Id="rId20" Type="http://schemas.openxmlformats.org/officeDocument/2006/relationships/slideLayout" Target="../slideLayouts/slideLayout1974.xml"/><Relationship Id="rId41" Type="http://schemas.openxmlformats.org/officeDocument/2006/relationships/slideLayout" Target="../slideLayouts/slideLayout1995.xml"/><Relationship Id="rId62" Type="http://schemas.openxmlformats.org/officeDocument/2006/relationships/slideLayout" Target="../slideLayouts/slideLayout2016.xml"/><Relationship Id="rId83" Type="http://schemas.openxmlformats.org/officeDocument/2006/relationships/slideLayout" Target="../slideLayouts/slideLayout2037.xml"/><Relationship Id="rId88" Type="http://schemas.openxmlformats.org/officeDocument/2006/relationships/slideLayout" Target="../slideLayouts/slideLayout2042.xml"/><Relationship Id="rId111" Type="http://schemas.openxmlformats.org/officeDocument/2006/relationships/slideLayout" Target="../slideLayouts/slideLayout2065.xml"/><Relationship Id="rId15" Type="http://schemas.openxmlformats.org/officeDocument/2006/relationships/slideLayout" Target="../slideLayouts/slideLayout1969.xml"/><Relationship Id="rId36" Type="http://schemas.openxmlformats.org/officeDocument/2006/relationships/slideLayout" Target="../slideLayouts/slideLayout1990.xml"/><Relationship Id="rId57" Type="http://schemas.openxmlformats.org/officeDocument/2006/relationships/slideLayout" Target="../slideLayouts/slideLayout2011.xml"/><Relationship Id="rId106" Type="http://schemas.openxmlformats.org/officeDocument/2006/relationships/slideLayout" Target="../slideLayouts/slideLayout2060.xml"/><Relationship Id="rId127" Type="http://schemas.openxmlformats.org/officeDocument/2006/relationships/slideLayout" Target="../slideLayouts/slideLayout2081.xml"/><Relationship Id="rId10" Type="http://schemas.openxmlformats.org/officeDocument/2006/relationships/slideLayout" Target="../slideLayouts/slideLayout1964.xml"/><Relationship Id="rId31" Type="http://schemas.openxmlformats.org/officeDocument/2006/relationships/slideLayout" Target="../slideLayouts/slideLayout1985.xml"/><Relationship Id="rId52" Type="http://schemas.openxmlformats.org/officeDocument/2006/relationships/slideLayout" Target="../slideLayouts/slideLayout2006.xml"/><Relationship Id="rId73" Type="http://schemas.openxmlformats.org/officeDocument/2006/relationships/slideLayout" Target="../slideLayouts/slideLayout2027.xml"/><Relationship Id="rId78" Type="http://schemas.openxmlformats.org/officeDocument/2006/relationships/slideLayout" Target="../slideLayouts/slideLayout2032.xml"/><Relationship Id="rId94" Type="http://schemas.openxmlformats.org/officeDocument/2006/relationships/slideLayout" Target="../slideLayouts/slideLayout2048.xml"/><Relationship Id="rId99" Type="http://schemas.openxmlformats.org/officeDocument/2006/relationships/slideLayout" Target="../slideLayouts/slideLayout2053.xml"/><Relationship Id="rId101" Type="http://schemas.openxmlformats.org/officeDocument/2006/relationships/slideLayout" Target="../slideLayouts/slideLayout2055.xml"/><Relationship Id="rId122" Type="http://schemas.openxmlformats.org/officeDocument/2006/relationships/slideLayout" Target="../slideLayouts/slideLayout2076.xml"/><Relationship Id="rId4" Type="http://schemas.openxmlformats.org/officeDocument/2006/relationships/slideLayout" Target="../slideLayouts/slideLayout1958.xml"/><Relationship Id="rId9" Type="http://schemas.openxmlformats.org/officeDocument/2006/relationships/slideLayout" Target="../slideLayouts/slideLayout1963.xml"/><Relationship Id="rId26" Type="http://schemas.openxmlformats.org/officeDocument/2006/relationships/slideLayout" Target="../slideLayouts/slideLayout198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90.xml"/><Relationship Id="rId3" Type="http://schemas.openxmlformats.org/officeDocument/2006/relationships/slideLayout" Target="../slideLayouts/slideLayout2085.xml"/><Relationship Id="rId7" Type="http://schemas.openxmlformats.org/officeDocument/2006/relationships/slideLayout" Target="../slideLayouts/slideLayout2089.xml"/><Relationship Id="rId12" Type="http://schemas.openxmlformats.org/officeDocument/2006/relationships/theme" Target="../theme/theme11.xml"/><Relationship Id="rId2" Type="http://schemas.openxmlformats.org/officeDocument/2006/relationships/slideLayout" Target="../slideLayouts/slideLayout2084.xml"/><Relationship Id="rId1" Type="http://schemas.openxmlformats.org/officeDocument/2006/relationships/slideLayout" Target="../slideLayouts/slideLayout2083.xml"/><Relationship Id="rId6" Type="http://schemas.openxmlformats.org/officeDocument/2006/relationships/slideLayout" Target="../slideLayouts/slideLayout2088.xml"/><Relationship Id="rId11" Type="http://schemas.openxmlformats.org/officeDocument/2006/relationships/slideLayout" Target="../slideLayouts/slideLayout2093.xml"/><Relationship Id="rId5" Type="http://schemas.openxmlformats.org/officeDocument/2006/relationships/slideLayout" Target="../slideLayouts/slideLayout2087.xml"/><Relationship Id="rId10" Type="http://schemas.openxmlformats.org/officeDocument/2006/relationships/slideLayout" Target="../slideLayouts/slideLayout2092.xml"/><Relationship Id="rId4" Type="http://schemas.openxmlformats.org/officeDocument/2006/relationships/slideLayout" Target="../slideLayouts/slideLayout2086.xml"/><Relationship Id="rId9" Type="http://schemas.openxmlformats.org/officeDocument/2006/relationships/slideLayout" Target="../slideLayouts/slideLayout2091.xml"/></Relationships>
</file>

<file path=ppt/slideMasters/_rels/slideMaster2.xml.rels><?xml version="1.0" encoding="UTF-8" standalone="yes"?>
<Relationships xmlns="http://schemas.openxmlformats.org/package/2006/relationships"><Relationship Id="rId117" Type="http://schemas.openxmlformats.org/officeDocument/2006/relationships/slideLayout" Target="../slideLayouts/slideLayout129.xml"/><Relationship Id="rId21" Type="http://schemas.openxmlformats.org/officeDocument/2006/relationships/slideLayout" Target="../slideLayouts/slideLayout33.xml"/><Relationship Id="rId63" Type="http://schemas.openxmlformats.org/officeDocument/2006/relationships/slideLayout" Target="../slideLayouts/slideLayout75.xml"/><Relationship Id="rId159" Type="http://schemas.openxmlformats.org/officeDocument/2006/relationships/slideLayout" Target="../slideLayouts/slideLayout171.xml"/><Relationship Id="rId170" Type="http://schemas.openxmlformats.org/officeDocument/2006/relationships/slideLayout" Target="../slideLayouts/slideLayout182.xml"/><Relationship Id="rId226" Type="http://schemas.openxmlformats.org/officeDocument/2006/relationships/slideLayout" Target="../slideLayouts/slideLayout238.xml"/><Relationship Id="rId268" Type="http://schemas.openxmlformats.org/officeDocument/2006/relationships/slideLayout" Target="../slideLayouts/slideLayout280.xml"/><Relationship Id="rId32" Type="http://schemas.openxmlformats.org/officeDocument/2006/relationships/slideLayout" Target="../slideLayouts/slideLayout44.xml"/><Relationship Id="rId74" Type="http://schemas.openxmlformats.org/officeDocument/2006/relationships/slideLayout" Target="../slideLayouts/slideLayout86.xml"/><Relationship Id="rId128" Type="http://schemas.openxmlformats.org/officeDocument/2006/relationships/slideLayout" Target="../slideLayouts/slideLayout140.xml"/><Relationship Id="rId5" Type="http://schemas.openxmlformats.org/officeDocument/2006/relationships/slideLayout" Target="../slideLayouts/slideLayout17.xml"/><Relationship Id="rId181" Type="http://schemas.openxmlformats.org/officeDocument/2006/relationships/slideLayout" Target="../slideLayouts/slideLayout193.xml"/><Relationship Id="rId237" Type="http://schemas.openxmlformats.org/officeDocument/2006/relationships/slideLayout" Target="../slideLayouts/slideLayout249.xml"/><Relationship Id="rId279" Type="http://schemas.openxmlformats.org/officeDocument/2006/relationships/slideLayout" Target="../slideLayouts/slideLayout291.xml"/><Relationship Id="rId43" Type="http://schemas.openxmlformats.org/officeDocument/2006/relationships/slideLayout" Target="../slideLayouts/slideLayout55.xml"/><Relationship Id="rId139" Type="http://schemas.openxmlformats.org/officeDocument/2006/relationships/slideLayout" Target="../slideLayouts/slideLayout151.xml"/><Relationship Id="rId85" Type="http://schemas.openxmlformats.org/officeDocument/2006/relationships/slideLayout" Target="../slideLayouts/slideLayout97.xml"/><Relationship Id="rId150" Type="http://schemas.openxmlformats.org/officeDocument/2006/relationships/slideLayout" Target="../slideLayouts/slideLayout162.xml"/><Relationship Id="rId171" Type="http://schemas.openxmlformats.org/officeDocument/2006/relationships/slideLayout" Target="../slideLayouts/slideLayout183.xml"/><Relationship Id="rId192" Type="http://schemas.openxmlformats.org/officeDocument/2006/relationships/slideLayout" Target="../slideLayouts/slideLayout204.xml"/><Relationship Id="rId206" Type="http://schemas.openxmlformats.org/officeDocument/2006/relationships/slideLayout" Target="../slideLayouts/slideLayout218.xml"/><Relationship Id="rId227" Type="http://schemas.openxmlformats.org/officeDocument/2006/relationships/slideLayout" Target="../slideLayouts/slideLayout239.xml"/><Relationship Id="rId248" Type="http://schemas.openxmlformats.org/officeDocument/2006/relationships/slideLayout" Target="../slideLayouts/slideLayout260.xml"/><Relationship Id="rId269" Type="http://schemas.openxmlformats.org/officeDocument/2006/relationships/slideLayout" Target="../slideLayouts/slideLayout281.xml"/><Relationship Id="rId12" Type="http://schemas.openxmlformats.org/officeDocument/2006/relationships/slideLayout" Target="../slideLayouts/slideLayout24.xml"/><Relationship Id="rId33" Type="http://schemas.openxmlformats.org/officeDocument/2006/relationships/slideLayout" Target="../slideLayouts/slideLayout45.xml"/><Relationship Id="rId108" Type="http://schemas.openxmlformats.org/officeDocument/2006/relationships/slideLayout" Target="../slideLayouts/slideLayout120.xml"/><Relationship Id="rId129" Type="http://schemas.openxmlformats.org/officeDocument/2006/relationships/slideLayout" Target="../slideLayouts/slideLayout141.xml"/><Relationship Id="rId280" Type="http://schemas.openxmlformats.org/officeDocument/2006/relationships/slideLayout" Target="../slideLayouts/slideLayout292.xml"/><Relationship Id="rId54" Type="http://schemas.openxmlformats.org/officeDocument/2006/relationships/slideLayout" Target="../slideLayouts/slideLayout66.xml"/><Relationship Id="rId75" Type="http://schemas.openxmlformats.org/officeDocument/2006/relationships/slideLayout" Target="../slideLayouts/slideLayout87.xml"/><Relationship Id="rId96" Type="http://schemas.openxmlformats.org/officeDocument/2006/relationships/slideLayout" Target="../slideLayouts/slideLayout108.xml"/><Relationship Id="rId140" Type="http://schemas.openxmlformats.org/officeDocument/2006/relationships/slideLayout" Target="../slideLayouts/slideLayout152.xml"/><Relationship Id="rId161" Type="http://schemas.openxmlformats.org/officeDocument/2006/relationships/slideLayout" Target="../slideLayouts/slideLayout173.xml"/><Relationship Id="rId182" Type="http://schemas.openxmlformats.org/officeDocument/2006/relationships/slideLayout" Target="../slideLayouts/slideLayout194.xml"/><Relationship Id="rId217" Type="http://schemas.openxmlformats.org/officeDocument/2006/relationships/slideLayout" Target="../slideLayouts/slideLayout229.xml"/><Relationship Id="rId6" Type="http://schemas.openxmlformats.org/officeDocument/2006/relationships/slideLayout" Target="../slideLayouts/slideLayout18.xml"/><Relationship Id="rId238" Type="http://schemas.openxmlformats.org/officeDocument/2006/relationships/slideLayout" Target="../slideLayouts/slideLayout250.xml"/><Relationship Id="rId259" Type="http://schemas.openxmlformats.org/officeDocument/2006/relationships/slideLayout" Target="../slideLayouts/slideLayout271.xml"/><Relationship Id="rId23" Type="http://schemas.openxmlformats.org/officeDocument/2006/relationships/slideLayout" Target="../slideLayouts/slideLayout35.xml"/><Relationship Id="rId119" Type="http://schemas.openxmlformats.org/officeDocument/2006/relationships/slideLayout" Target="../slideLayouts/slideLayout131.xml"/><Relationship Id="rId270" Type="http://schemas.openxmlformats.org/officeDocument/2006/relationships/slideLayout" Target="../slideLayouts/slideLayout282.xml"/><Relationship Id="rId44" Type="http://schemas.openxmlformats.org/officeDocument/2006/relationships/slideLayout" Target="../slideLayouts/slideLayout56.xml"/><Relationship Id="rId65" Type="http://schemas.openxmlformats.org/officeDocument/2006/relationships/slideLayout" Target="../slideLayouts/slideLayout77.xml"/><Relationship Id="rId86" Type="http://schemas.openxmlformats.org/officeDocument/2006/relationships/slideLayout" Target="../slideLayouts/slideLayout98.xml"/><Relationship Id="rId130" Type="http://schemas.openxmlformats.org/officeDocument/2006/relationships/slideLayout" Target="../slideLayouts/slideLayout142.xml"/><Relationship Id="rId151" Type="http://schemas.openxmlformats.org/officeDocument/2006/relationships/slideLayout" Target="../slideLayouts/slideLayout163.xml"/><Relationship Id="rId172" Type="http://schemas.openxmlformats.org/officeDocument/2006/relationships/slideLayout" Target="../slideLayouts/slideLayout184.xml"/><Relationship Id="rId193" Type="http://schemas.openxmlformats.org/officeDocument/2006/relationships/slideLayout" Target="../slideLayouts/slideLayout205.xml"/><Relationship Id="rId207" Type="http://schemas.openxmlformats.org/officeDocument/2006/relationships/slideLayout" Target="../slideLayouts/slideLayout219.xml"/><Relationship Id="rId228" Type="http://schemas.openxmlformats.org/officeDocument/2006/relationships/slideLayout" Target="../slideLayouts/slideLayout240.xml"/><Relationship Id="rId249" Type="http://schemas.openxmlformats.org/officeDocument/2006/relationships/slideLayout" Target="../slideLayouts/slideLayout261.xml"/><Relationship Id="rId13" Type="http://schemas.openxmlformats.org/officeDocument/2006/relationships/slideLayout" Target="../slideLayouts/slideLayout25.xml"/><Relationship Id="rId109" Type="http://schemas.openxmlformats.org/officeDocument/2006/relationships/slideLayout" Target="../slideLayouts/slideLayout121.xml"/><Relationship Id="rId260" Type="http://schemas.openxmlformats.org/officeDocument/2006/relationships/slideLayout" Target="../slideLayouts/slideLayout272.xml"/><Relationship Id="rId281" Type="http://schemas.openxmlformats.org/officeDocument/2006/relationships/slideLayout" Target="../slideLayouts/slideLayout293.xml"/><Relationship Id="rId34" Type="http://schemas.openxmlformats.org/officeDocument/2006/relationships/slideLayout" Target="../slideLayouts/slideLayout46.xml"/><Relationship Id="rId55" Type="http://schemas.openxmlformats.org/officeDocument/2006/relationships/slideLayout" Target="../slideLayouts/slideLayout67.xml"/><Relationship Id="rId76" Type="http://schemas.openxmlformats.org/officeDocument/2006/relationships/slideLayout" Target="../slideLayouts/slideLayout88.xml"/><Relationship Id="rId97" Type="http://schemas.openxmlformats.org/officeDocument/2006/relationships/slideLayout" Target="../slideLayouts/slideLayout109.xml"/><Relationship Id="rId120" Type="http://schemas.openxmlformats.org/officeDocument/2006/relationships/slideLayout" Target="../slideLayouts/slideLayout132.xml"/><Relationship Id="rId141" Type="http://schemas.openxmlformats.org/officeDocument/2006/relationships/slideLayout" Target="../slideLayouts/slideLayout153.xml"/><Relationship Id="rId7" Type="http://schemas.openxmlformats.org/officeDocument/2006/relationships/slideLayout" Target="../slideLayouts/slideLayout19.xml"/><Relationship Id="rId162" Type="http://schemas.openxmlformats.org/officeDocument/2006/relationships/slideLayout" Target="../slideLayouts/slideLayout174.xml"/><Relationship Id="rId183" Type="http://schemas.openxmlformats.org/officeDocument/2006/relationships/slideLayout" Target="../slideLayouts/slideLayout195.xml"/><Relationship Id="rId218" Type="http://schemas.openxmlformats.org/officeDocument/2006/relationships/slideLayout" Target="../slideLayouts/slideLayout230.xml"/><Relationship Id="rId239" Type="http://schemas.openxmlformats.org/officeDocument/2006/relationships/slideLayout" Target="../slideLayouts/slideLayout251.xml"/><Relationship Id="rId250" Type="http://schemas.openxmlformats.org/officeDocument/2006/relationships/slideLayout" Target="../slideLayouts/slideLayout262.xml"/><Relationship Id="rId271" Type="http://schemas.openxmlformats.org/officeDocument/2006/relationships/slideLayout" Target="../slideLayouts/slideLayout283.xml"/><Relationship Id="rId24" Type="http://schemas.openxmlformats.org/officeDocument/2006/relationships/slideLayout" Target="../slideLayouts/slideLayout36.xml"/><Relationship Id="rId45" Type="http://schemas.openxmlformats.org/officeDocument/2006/relationships/slideLayout" Target="../slideLayouts/slideLayout57.xml"/><Relationship Id="rId66" Type="http://schemas.openxmlformats.org/officeDocument/2006/relationships/slideLayout" Target="../slideLayouts/slideLayout78.xml"/><Relationship Id="rId87" Type="http://schemas.openxmlformats.org/officeDocument/2006/relationships/slideLayout" Target="../slideLayouts/slideLayout99.xml"/><Relationship Id="rId110" Type="http://schemas.openxmlformats.org/officeDocument/2006/relationships/slideLayout" Target="../slideLayouts/slideLayout122.xml"/><Relationship Id="rId131" Type="http://schemas.openxmlformats.org/officeDocument/2006/relationships/slideLayout" Target="../slideLayouts/slideLayout143.xml"/><Relationship Id="rId152" Type="http://schemas.openxmlformats.org/officeDocument/2006/relationships/slideLayout" Target="../slideLayouts/slideLayout164.xml"/><Relationship Id="rId173" Type="http://schemas.openxmlformats.org/officeDocument/2006/relationships/slideLayout" Target="../slideLayouts/slideLayout185.xml"/><Relationship Id="rId194" Type="http://schemas.openxmlformats.org/officeDocument/2006/relationships/slideLayout" Target="../slideLayouts/slideLayout206.xml"/><Relationship Id="rId208" Type="http://schemas.openxmlformats.org/officeDocument/2006/relationships/slideLayout" Target="../slideLayouts/slideLayout220.xml"/><Relationship Id="rId229" Type="http://schemas.openxmlformats.org/officeDocument/2006/relationships/slideLayout" Target="../slideLayouts/slideLayout241.xml"/><Relationship Id="rId240" Type="http://schemas.openxmlformats.org/officeDocument/2006/relationships/slideLayout" Target="../slideLayouts/slideLayout252.xml"/><Relationship Id="rId261" Type="http://schemas.openxmlformats.org/officeDocument/2006/relationships/slideLayout" Target="../slideLayouts/slideLayout273.xml"/><Relationship Id="rId14" Type="http://schemas.openxmlformats.org/officeDocument/2006/relationships/slideLayout" Target="../slideLayouts/slideLayout26.xml"/><Relationship Id="rId35" Type="http://schemas.openxmlformats.org/officeDocument/2006/relationships/slideLayout" Target="../slideLayouts/slideLayout47.xml"/><Relationship Id="rId56" Type="http://schemas.openxmlformats.org/officeDocument/2006/relationships/slideLayout" Target="../slideLayouts/slideLayout68.xml"/><Relationship Id="rId77" Type="http://schemas.openxmlformats.org/officeDocument/2006/relationships/slideLayout" Target="../slideLayouts/slideLayout89.xml"/><Relationship Id="rId100" Type="http://schemas.openxmlformats.org/officeDocument/2006/relationships/slideLayout" Target="../slideLayouts/slideLayout112.xml"/><Relationship Id="rId282" Type="http://schemas.openxmlformats.org/officeDocument/2006/relationships/slideLayout" Target="../slideLayouts/slideLayout294.xml"/><Relationship Id="rId8" Type="http://schemas.openxmlformats.org/officeDocument/2006/relationships/slideLayout" Target="../slideLayouts/slideLayout20.xml"/><Relationship Id="rId98" Type="http://schemas.openxmlformats.org/officeDocument/2006/relationships/slideLayout" Target="../slideLayouts/slideLayout110.xml"/><Relationship Id="rId121" Type="http://schemas.openxmlformats.org/officeDocument/2006/relationships/slideLayout" Target="../slideLayouts/slideLayout133.xml"/><Relationship Id="rId142" Type="http://schemas.openxmlformats.org/officeDocument/2006/relationships/slideLayout" Target="../slideLayouts/slideLayout154.xml"/><Relationship Id="rId163" Type="http://schemas.openxmlformats.org/officeDocument/2006/relationships/slideLayout" Target="../slideLayouts/slideLayout175.xml"/><Relationship Id="rId184" Type="http://schemas.openxmlformats.org/officeDocument/2006/relationships/slideLayout" Target="../slideLayouts/slideLayout196.xml"/><Relationship Id="rId219" Type="http://schemas.openxmlformats.org/officeDocument/2006/relationships/slideLayout" Target="../slideLayouts/slideLayout231.xml"/><Relationship Id="rId230" Type="http://schemas.openxmlformats.org/officeDocument/2006/relationships/slideLayout" Target="../slideLayouts/slideLayout242.xml"/><Relationship Id="rId251" Type="http://schemas.openxmlformats.org/officeDocument/2006/relationships/slideLayout" Target="../slideLayouts/slideLayout263.xml"/><Relationship Id="rId25" Type="http://schemas.openxmlformats.org/officeDocument/2006/relationships/slideLayout" Target="../slideLayouts/slideLayout37.xml"/><Relationship Id="rId46" Type="http://schemas.openxmlformats.org/officeDocument/2006/relationships/slideLayout" Target="../slideLayouts/slideLayout58.xml"/><Relationship Id="rId67" Type="http://schemas.openxmlformats.org/officeDocument/2006/relationships/slideLayout" Target="../slideLayouts/slideLayout79.xml"/><Relationship Id="rId272" Type="http://schemas.openxmlformats.org/officeDocument/2006/relationships/slideLayout" Target="../slideLayouts/slideLayout284.xml"/><Relationship Id="rId88" Type="http://schemas.openxmlformats.org/officeDocument/2006/relationships/slideLayout" Target="../slideLayouts/slideLayout100.xml"/><Relationship Id="rId111" Type="http://schemas.openxmlformats.org/officeDocument/2006/relationships/slideLayout" Target="../slideLayouts/slideLayout123.xml"/><Relationship Id="rId132" Type="http://schemas.openxmlformats.org/officeDocument/2006/relationships/slideLayout" Target="../slideLayouts/slideLayout144.xml"/><Relationship Id="rId153" Type="http://schemas.openxmlformats.org/officeDocument/2006/relationships/slideLayout" Target="../slideLayouts/slideLayout165.xml"/><Relationship Id="rId174" Type="http://schemas.openxmlformats.org/officeDocument/2006/relationships/slideLayout" Target="../slideLayouts/slideLayout186.xml"/><Relationship Id="rId195" Type="http://schemas.openxmlformats.org/officeDocument/2006/relationships/slideLayout" Target="../slideLayouts/slideLayout207.xml"/><Relationship Id="rId209" Type="http://schemas.openxmlformats.org/officeDocument/2006/relationships/slideLayout" Target="../slideLayouts/slideLayout221.xml"/><Relationship Id="rId220" Type="http://schemas.openxmlformats.org/officeDocument/2006/relationships/slideLayout" Target="../slideLayouts/slideLayout232.xml"/><Relationship Id="rId241" Type="http://schemas.openxmlformats.org/officeDocument/2006/relationships/slideLayout" Target="../slideLayouts/slideLayout253.xml"/><Relationship Id="rId15" Type="http://schemas.openxmlformats.org/officeDocument/2006/relationships/slideLayout" Target="../slideLayouts/slideLayout27.xml"/><Relationship Id="rId36" Type="http://schemas.openxmlformats.org/officeDocument/2006/relationships/slideLayout" Target="../slideLayouts/slideLayout48.xml"/><Relationship Id="rId57" Type="http://schemas.openxmlformats.org/officeDocument/2006/relationships/slideLayout" Target="../slideLayouts/slideLayout69.xml"/><Relationship Id="rId262" Type="http://schemas.openxmlformats.org/officeDocument/2006/relationships/slideLayout" Target="../slideLayouts/slideLayout274.xml"/><Relationship Id="rId283" Type="http://schemas.openxmlformats.org/officeDocument/2006/relationships/slideLayout" Target="../slideLayouts/slideLayout295.xml"/><Relationship Id="rId78" Type="http://schemas.openxmlformats.org/officeDocument/2006/relationships/slideLayout" Target="../slideLayouts/slideLayout90.xml"/><Relationship Id="rId99" Type="http://schemas.openxmlformats.org/officeDocument/2006/relationships/slideLayout" Target="../slideLayouts/slideLayout111.xml"/><Relationship Id="rId101" Type="http://schemas.openxmlformats.org/officeDocument/2006/relationships/slideLayout" Target="../slideLayouts/slideLayout113.xml"/><Relationship Id="rId122" Type="http://schemas.openxmlformats.org/officeDocument/2006/relationships/slideLayout" Target="../slideLayouts/slideLayout134.xml"/><Relationship Id="rId143" Type="http://schemas.openxmlformats.org/officeDocument/2006/relationships/slideLayout" Target="../slideLayouts/slideLayout155.xml"/><Relationship Id="rId164" Type="http://schemas.openxmlformats.org/officeDocument/2006/relationships/slideLayout" Target="../slideLayouts/slideLayout176.xml"/><Relationship Id="rId185" Type="http://schemas.openxmlformats.org/officeDocument/2006/relationships/slideLayout" Target="../slideLayouts/slideLayout197.xml"/><Relationship Id="rId9" Type="http://schemas.openxmlformats.org/officeDocument/2006/relationships/slideLayout" Target="../slideLayouts/slideLayout21.xml"/><Relationship Id="rId210" Type="http://schemas.openxmlformats.org/officeDocument/2006/relationships/slideLayout" Target="../slideLayouts/slideLayout222.xml"/><Relationship Id="rId26" Type="http://schemas.openxmlformats.org/officeDocument/2006/relationships/slideLayout" Target="../slideLayouts/slideLayout38.xml"/><Relationship Id="rId231" Type="http://schemas.openxmlformats.org/officeDocument/2006/relationships/slideLayout" Target="../slideLayouts/slideLayout243.xml"/><Relationship Id="rId252" Type="http://schemas.openxmlformats.org/officeDocument/2006/relationships/slideLayout" Target="../slideLayouts/slideLayout264.xml"/><Relationship Id="rId273" Type="http://schemas.openxmlformats.org/officeDocument/2006/relationships/slideLayout" Target="../slideLayouts/slideLayout285.xml"/><Relationship Id="rId47" Type="http://schemas.openxmlformats.org/officeDocument/2006/relationships/slideLayout" Target="../slideLayouts/slideLayout59.xml"/><Relationship Id="rId68" Type="http://schemas.openxmlformats.org/officeDocument/2006/relationships/slideLayout" Target="../slideLayouts/slideLayout80.xml"/><Relationship Id="rId89" Type="http://schemas.openxmlformats.org/officeDocument/2006/relationships/slideLayout" Target="../slideLayouts/slideLayout101.xml"/><Relationship Id="rId112" Type="http://schemas.openxmlformats.org/officeDocument/2006/relationships/slideLayout" Target="../slideLayouts/slideLayout124.xml"/><Relationship Id="rId133" Type="http://schemas.openxmlformats.org/officeDocument/2006/relationships/slideLayout" Target="../slideLayouts/slideLayout145.xml"/><Relationship Id="rId154" Type="http://schemas.openxmlformats.org/officeDocument/2006/relationships/slideLayout" Target="../slideLayouts/slideLayout166.xml"/><Relationship Id="rId175" Type="http://schemas.openxmlformats.org/officeDocument/2006/relationships/slideLayout" Target="../slideLayouts/slideLayout187.xml"/><Relationship Id="rId196" Type="http://schemas.openxmlformats.org/officeDocument/2006/relationships/slideLayout" Target="../slideLayouts/slideLayout208.xml"/><Relationship Id="rId200" Type="http://schemas.openxmlformats.org/officeDocument/2006/relationships/slideLayout" Target="../slideLayouts/slideLayout212.xml"/><Relationship Id="rId16" Type="http://schemas.openxmlformats.org/officeDocument/2006/relationships/slideLayout" Target="../slideLayouts/slideLayout28.xml"/><Relationship Id="rId221" Type="http://schemas.openxmlformats.org/officeDocument/2006/relationships/slideLayout" Target="../slideLayouts/slideLayout233.xml"/><Relationship Id="rId242" Type="http://schemas.openxmlformats.org/officeDocument/2006/relationships/slideLayout" Target="../slideLayouts/slideLayout254.xml"/><Relationship Id="rId263" Type="http://schemas.openxmlformats.org/officeDocument/2006/relationships/slideLayout" Target="../slideLayouts/slideLayout275.xml"/><Relationship Id="rId284" Type="http://schemas.openxmlformats.org/officeDocument/2006/relationships/slideLayout" Target="../slideLayouts/slideLayout296.xml"/><Relationship Id="rId37" Type="http://schemas.openxmlformats.org/officeDocument/2006/relationships/slideLayout" Target="../slideLayouts/slideLayout49.xml"/><Relationship Id="rId58" Type="http://schemas.openxmlformats.org/officeDocument/2006/relationships/slideLayout" Target="../slideLayouts/slideLayout70.xml"/><Relationship Id="rId79" Type="http://schemas.openxmlformats.org/officeDocument/2006/relationships/slideLayout" Target="../slideLayouts/slideLayout91.xml"/><Relationship Id="rId102" Type="http://schemas.openxmlformats.org/officeDocument/2006/relationships/slideLayout" Target="../slideLayouts/slideLayout114.xml"/><Relationship Id="rId123" Type="http://schemas.openxmlformats.org/officeDocument/2006/relationships/slideLayout" Target="../slideLayouts/slideLayout135.xml"/><Relationship Id="rId144" Type="http://schemas.openxmlformats.org/officeDocument/2006/relationships/slideLayout" Target="../slideLayouts/slideLayout156.xml"/><Relationship Id="rId90" Type="http://schemas.openxmlformats.org/officeDocument/2006/relationships/slideLayout" Target="../slideLayouts/slideLayout102.xml"/><Relationship Id="rId165" Type="http://schemas.openxmlformats.org/officeDocument/2006/relationships/slideLayout" Target="../slideLayouts/slideLayout177.xml"/><Relationship Id="rId186" Type="http://schemas.openxmlformats.org/officeDocument/2006/relationships/slideLayout" Target="../slideLayouts/slideLayout198.xml"/><Relationship Id="rId211" Type="http://schemas.openxmlformats.org/officeDocument/2006/relationships/slideLayout" Target="../slideLayouts/slideLayout223.xml"/><Relationship Id="rId232" Type="http://schemas.openxmlformats.org/officeDocument/2006/relationships/slideLayout" Target="../slideLayouts/slideLayout244.xml"/><Relationship Id="rId253" Type="http://schemas.openxmlformats.org/officeDocument/2006/relationships/slideLayout" Target="../slideLayouts/slideLayout265.xml"/><Relationship Id="rId274" Type="http://schemas.openxmlformats.org/officeDocument/2006/relationships/slideLayout" Target="../slideLayouts/slideLayout286.xml"/><Relationship Id="rId27" Type="http://schemas.openxmlformats.org/officeDocument/2006/relationships/slideLayout" Target="../slideLayouts/slideLayout39.xml"/><Relationship Id="rId48" Type="http://schemas.openxmlformats.org/officeDocument/2006/relationships/slideLayout" Target="../slideLayouts/slideLayout60.xml"/><Relationship Id="rId69" Type="http://schemas.openxmlformats.org/officeDocument/2006/relationships/slideLayout" Target="../slideLayouts/slideLayout81.xml"/><Relationship Id="rId113" Type="http://schemas.openxmlformats.org/officeDocument/2006/relationships/slideLayout" Target="../slideLayouts/slideLayout125.xml"/><Relationship Id="rId134" Type="http://schemas.openxmlformats.org/officeDocument/2006/relationships/slideLayout" Target="../slideLayouts/slideLayout146.xml"/><Relationship Id="rId80" Type="http://schemas.openxmlformats.org/officeDocument/2006/relationships/slideLayout" Target="../slideLayouts/slideLayout92.xml"/><Relationship Id="rId155" Type="http://schemas.openxmlformats.org/officeDocument/2006/relationships/slideLayout" Target="../slideLayouts/slideLayout167.xml"/><Relationship Id="rId176" Type="http://schemas.openxmlformats.org/officeDocument/2006/relationships/slideLayout" Target="../slideLayouts/slideLayout188.xml"/><Relationship Id="rId197" Type="http://schemas.openxmlformats.org/officeDocument/2006/relationships/slideLayout" Target="../slideLayouts/slideLayout209.xml"/><Relationship Id="rId201" Type="http://schemas.openxmlformats.org/officeDocument/2006/relationships/slideLayout" Target="../slideLayouts/slideLayout213.xml"/><Relationship Id="rId222" Type="http://schemas.openxmlformats.org/officeDocument/2006/relationships/slideLayout" Target="../slideLayouts/slideLayout234.xml"/><Relationship Id="rId243" Type="http://schemas.openxmlformats.org/officeDocument/2006/relationships/slideLayout" Target="../slideLayouts/slideLayout255.xml"/><Relationship Id="rId264" Type="http://schemas.openxmlformats.org/officeDocument/2006/relationships/slideLayout" Target="../slideLayouts/slideLayout276.xml"/><Relationship Id="rId285" Type="http://schemas.openxmlformats.org/officeDocument/2006/relationships/slideLayout" Target="../slideLayouts/slideLayout297.xml"/><Relationship Id="rId17" Type="http://schemas.openxmlformats.org/officeDocument/2006/relationships/slideLayout" Target="../slideLayouts/slideLayout29.xml"/><Relationship Id="rId38" Type="http://schemas.openxmlformats.org/officeDocument/2006/relationships/slideLayout" Target="../slideLayouts/slideLayout50.xml"/><Relationship Id="rId59" Type="http://schemas.openxmlformats.org/officeDocument/2006/relationships/slideLayout" Target="../slideLayouts/slideLayout71.xml"/><Relationship Id="rId103" Type="http://schemas.openxmlformats.org/officeDocument/2006/relationships/slideLayout" Target="../slideLayouts/slideLayout115.xml"/><Relationship Id="rId124" Type="http://schemas.openxmlformats.org/officeDocument/2006/relationships/slideLayout" Target="../slideLayouts/slideLayout136.xml"/><Relationship Id="rId70" Type="http://schemas.openxmlformats.org/officeDocument/2006/relationships/slideLayout" Target="../slideLayouts/slideLayout82.xml"/><Relationship Id="rId91" Type="http://schemas.openxmlformats.org/officeDocument/2006/relationships/slideLayout" Target="../slideLayouts/slideLayout103.xml"/><Relationship Id="rId145" Type="http://schemas.openxmlformats.org/officeDocument/2006/relationships/slideLayout" Target="../slideLayouts/slideLayout157.xml"/><Relationship Id="rId166" Type="http://schemas.openxmlformats.org/officeDocument/2006/relationships/slideLayout" Target="../slideLayouts/slideLayout178.xml"/><Relationship Id="rId187" Type="http://schemas.openxmlformats.org/officeDocument/2006/relationships/slideLayout" Target="../slideLayouts/slideLayout199.xml"/><Relationship Id="rId1" Type="http://schemas.openxmlformats.org/officeDocument/2006/relationships/slideLayout" Target="../slideLayouts/slideLayout13.xml"/><Relationship Id="rId212" Type="http://schemas.openxmlformats.org/officeDocument/2006/relationships/slideLayout" Target="../slideLayouts/slideLayout224.xml"/><Relationship Id="rId233" Type="http://schemas.openxmlformats.org/officeDocument/2006/relationships/slideLayout" Target="../slideLayouts/slideLayout245.xml"/><Relationship Id="rId254" Type="http://schemas.openxmlformats.org/officeDocument/2006/relationships/slideLayout" Target="../slideLayouts/slideLayout266.xml"/><Relationship Id="rId28" Type="http://schemas.openxmlformats.org/officeDocument/2006/relationships/slideLayout" Target="../slideLayouts/slideLayout40.xml"/><Relationship Id="rId49" Type="http://schemas.openxmlformats.org/officeDocument/2006/relationships/slideLayout" Target="../slideLayouts/slideLayout61.xml"/><Relationship Id="rId114" Type="http://schemas.openxmlformats.org/officeDocument/2006/relationships/slideLayout" Target="../slideLayouts/slideLayout126.xml"/><Relationship Id="rId275" Type="http://schemas.openxmlformats.org/officeDocument/2006/relationships/slideLayout" Target="../slideLayouts/slideLayout287.xml"/><Relationship Id="rId60" Type="http://schemas.openxmlformats.org/officeDocument/2006/relationships/slideLayout" Target="../slideLayouts/slideLayout72.xml"/><Relationship Id="rId81" Type="http://schemas.openxmlformats.org/officeDocument/2006/relationships/slideLayout" Target="../slideLayouts/slideLayout93.xml"/><Relationship Id="rId135" Type="http://schemas.openxmlformats.org/officeDocument/2006/relationships/slideLayout" Target="../slideLayouts/slideLayout147.xml"/><Relationship Id="rId156" Type="http://schemas.openxmlformats.org/officeDocument/2006/relationships/slideLayout" Target="../slideLayouts/slideLayout168.xml"/><Relationship Id="rId177" Type="http://schemas.openxmlformats.org/officeDocument/2006/relationships/slideLayout" Target="../slideLayouts/slideLayout189.xml"/><Relationship Id="rId198" Type="http://schemas.openxmlformats.org/officeDocument/2006/relationships/slideLayout" Target="../slideLayouts/slideLayout210.xml"/><Relationship Id="rId202" Type="http://schemas.openxmlformats.org/officeDocument/2006/relationships/slideLayout" Target="../slideLayouts/slideLayout214.xml"/><Relationship Id="rId223" Type="http://schemas.openxmlformats.org/officeDocument/2006/relationships/slideLayout" Target="../slideLayouts/slideLayout235.xml"/><Relationship Id="rId244" Type="http://schemas.openxmlformats.org/officeDocument/2006/relationships/slideLayout" Target="../slideLayouts/slideLayout256.xml"/><Relationship Id="rId18" Type="http://schemas.openxmlformats.org/officeDocument/2006/relationships/slideLayout" Target="../slideLayouts/slideLayout30.xml"/><Relationship Id="rId39" Type="http://schemas.openxmlformats.org/officeDocument/2006/relationships/slideLayout" Target="../slideLayouts/slideLayout51.xml"/><Relationship Id="rId265" Type="http://schemas.openxmlformats.org/officeDocument/2006/relationships/slideLayout" Target="../slideLayouts/slideLayout277.xml"/><Relationship Id="rId286" Type="http://schemas.openxmlformats.org/officeDocument/2006/relationships/slideLayout" Target="../slideLayouts/slideLayout298.xml"/><Relationship Id="rId50" Type="http://schemas.openxmlformats.org/officeDocument/2006/relationships/slideLayout" Target="../slideLayouts/slideLayout62.xml"/><Relationship Id="rId104" Type="http://schemas.openxmlformats.org/officeDocument/2006/relationships/slideLayout" Target="../slideLayouts/slideLayout116.xml"/><Relationship Id="rId125" Type="http://schemas.openxmlformats.org/officeDocument/2006/relationships/slideLayout" Target="../slideLayouts/slideLayout137.xml"/><Relationship Id="rId146" Type="http://schemas.openxmlformats.org/officeDocument/2006/relationships/slideLayout" Target="../slideLayouts/slideLayout158.xml"/><Relationship Id="rId167" Type="http://schemas.openxmlformats.org/officeDocument/2006/relationships/slideLayout" Target="../slideLayouts/slideLayout179.xml"/><Relationship Id="rId188" Type="http://schemas.openxmlformats.org/officeDocument/2006/relationships/slideLayout" Target="../slideLayouts/slideLayout200.xml"/><Relationship Id="rId71" Type="http://schemas.openxmlformats.org/officeDocument/2006/relationships/slideLayout" Target="../slideLayouts/slideLayout83.xml"/><Relationship Id="rId92" Type="http://schemas.openxmlformats.org/officeDocument/2006/relationships/slideLayout" Target="../slideLayouts/slideLayout104.xml"/><Relationship Id="rId213" Type="http://schemas.openxmlformats.org/officeDocument/2006/relationships/slideLayout" Target="../slideLayouts/slideLayout225.xml"/><Relationship Id="rId234" Type="http://schemas.openxmlformats.org/officeDocument/2006/relationships/slideLayout" Target="../slideLayouts/slideLayout246.xml"/><Relationship Id="rId2" Type="http://schemas.openxmlformats.org/officeDocument/2006/relationships/slideLayout" Target="../slideLayouts/slideLayout14.xml"/><Relationship Id="rId29" Type="http://schemas.openxmlformats.org/officeDocument/2006/relationships/slideLayout" Target="../slideLayouts/slideLayout41.xml"/><Relationship Id="rId255" Type="http://schemas.openxmlformats.org/officeDocument/2006/relationships/slideLayout" Target="../slideLayouts/slideLayout267.xml"/><Relationship Id="rId276" Type="http://schemas.openxmlformats.org/officeDocument/2006/relationships/slideLayout" Target="../slideLayouts/slideLayout288.xml"/><Relationship Id="rId40" Type="http://schemas.openxmlformats.org/officeDocument/2006/relationships/slideLayout" Target="../slideLayouts/slideLayout52.xml"/><Relationship Id="rId115" Type="http://schemas.openxmlformats.org/officeDocument/2006/relationships/slideLayout" Target="../slideLayouts/slideLayout127.xml"/><Relationship Id="rId136" Type="http://schemas.openxmlformats.org/officeDocument/2006/relationships/slideLayout" Target="../slideLayouts/slideLayout148.xml"/><Relationship Id="rId157" Type="http://schemas.openxmlformats.org/officeDocument/2006/relationships/slideLayout" Target="../slideLayouts/slideLayout169.xml"/><Relationship Id="rId178" Type="http://schemas.openxmlformats.org/officeDocument/2006/relationships/slideLayout" Target="../slideLayouts/slideLayout190.xml"/><Relationship Id="rId61" Type="http://schemas.openxmlformats.org/officeDocument/2006/relationships/slideLayout" Target="../slideLayouts/slideLayout73.xml"/><Relationship Id="rId82" Type="http://schemas.openxmlformats.org/officeDocument/2006/relationships/slideLayout" Target="../slideLayouts/slideLayout94.xml"/><Relationship Id="rId199" Type="http://schemas.openxmlformats.org/officeDocument/2006/relationships/slideLayout" Target="../slideLayouts/slideLayout211.xml"/><Relationship Id="rId203" Type="http://schemas.openxmlformats.org/officeDocument/2006/relationships/slideLayout" Target="../slideLayouts/slideLayout215.xml"/><Relationship Id="rId19" Type="http://schemas.openxmlformats.org/officeDocument/2006/relationships/slideLayout" Target="../slideLayouts/slideLayout31.xml"/><Relationship Id="rId224" Type="http://schemas.openxmlformats.org/officeDocument/2006/relationships/slideLayout" Target="../slideLayouts/slideLayout236.xml"/><Relationship Id="rId245" Type="http://schemas.openxmlformats.org/officeDocument/2006/relationships/slideLayout" Target="../slideLayouts/slideLayout257.xml"/><Relationship Id="rId266" Type="http://schemas.openxmlformats.org/officeDocument/2006/relationships/slideLayout" Target="../slideLayouts/slideLayout278.xml"/><Relationship Id="rId287" Type="http://schemas.openxmlformats.org/officeDocument/2006/relationships/theme" Target="../theme/theme2.xml"/><Relationship Id="rId30" Type="http://schemas.openxmlformats.org/officeDocument/2006/relationships/slideLayout" Target="../slideLayouts/slideLayout42.xml"/><Relationship Id="rId105" Type="http://schemas.openxmlformats.org/officeDocument/2006/relationships/slideLayout" Target="../slideLayouts/slideLayout117.xml"/><Relationship Id="rId126" Type="http://schemas.openxmlformats.org/officeDocument/2006/relationships/slideLayout" Target="../slideLayouts/slideLayout138.xml"/><Relationship Id="rId147" Type="http://schemas.openxmlformats.org/officeDocument/2006/relationships/slideLayout" Target="../slideLayouts/slideLayout159.xml"/><Relationship Id="rId168" Type="http://schemas.openxmlformats.org/officeDocument/2006/relationships/slideLayout" Target="../slideLayouts/slideLayout180.xml"/><Relationship Id="rId51" Type="http://schemas.openxmlformats.org/officeDocument/2006/relationships/slideLayout" Target="../slideLayouts/slideLayout63.xml"/><Relationship Id="rId72" Type="http://schemas.openxmlformats.org/officeDocument/2006/relationships/slideLayout" Target="../slideLayouts/slideLayout84.xml"/><Relationship Id="rId93" Type="http://schemas.openxmlformats.org/officeDocument/2006/relationships/slideLayout" Target="../slideLayouts/slideLayout105.xml"/><Relationship Id="rId189" Type="http://schemas.openxmlformats.org/officeDocument/2006/relationships/slideLayout" Target="../slideLayouts/slideLayout201.xml"/><Relationship Id="rId3" Type="http://schemas.openxmlformats.org/officeDocument/2006/relationships/slideLayout" Target="../slideLayouts/slideLayout15.xml"/><Relationship Id="rId214" Type="http://schemas.openxmlformats.org/officeDocument/2006/relationships/slideLayout" Target="../slideLayouts/slideLayout226.xml"/><Relationship Id="rId235" Type="http://schemas.openxmlformats.org/officeDocument/2006/relationships/slideLayout" Target="../slideLayouts/slideLayout247.xml"/><Relationship Id="rId256" Type="http://schemas.openxmlformats.org/officeDocument/2006/relationships/slideLayout" Target="../slideLayouts/slideLayout268.xml"/><Relationship Id="rId277" Type="http://schemas.openxmlformats.org/officeDocument/2006/relationships/slideLayout" Target="../slideLayouts/slideLayout289.xml"/><Relationship Id="rId116" Type="http://schemas.openxmlformats.org/officeDocument/2006/relationships/slideLayout" Target="../slideLayouts/slideLayout128.xml"/><Relationship Id="rId137" Type="http://schemas.openxmlformats.org/officeDocument/2006/relationships/slideLayout" Target="../slideLayouts/slideLayout149.xml"/><Relationship Id="rId158" Type="http://schemas.openxmlformats.org/officeDocument/2006/relationships/slideLayout" Target="../slideLayouts/slideLayout170.xml"/><Relationship Id="rId20" Type="http://schemas.openxmlformats.org/officeDocument/2006/relationships/slideLayout" Target="../slideLayouts/slideLayout32.xml"/><Relationship Id="rId41" Type="http://schemas.openxmlformats.org/officeDocument/2006/relationships/slideLayout" Target="../slideLayouts/slideLayout53.xml"/><Relationship Id="rId62" Type="http://schemas.openxmlformats.org/officeDocument/2006/relationships/slideLayout" Target="../slideLayouts/slideLayout74.xml"/><Relationship Id="rId83" Type="http://schemas.openxmlformats.org/officeDocument/2006/relationships/slideLayout" Target="../slideLayouts/slideLayout95.xml"/><Relationship Id="rId179" Type="http://schemas.openxmlformats.org/officeDocument/2006/relationships/slideLayout" Target="../slideLayouts/slideLayout191.xml"/><Relationship Id="rId190" Type="http://schemas.openxmlformats.org/officeDocument/2006/relationships/slideLayout" Target="../slideLayouts/slideLayout202.xml"/><Relationship Id="rId204" Type="http://schemas.openxmlformats.org/officeDocument/2006/relationships/slideLayout" Target="../slideLayouts/slideLayout216.xml"/><Relationship Id="rId225" Type="http://schemas.openxmlformats.org/officeDocument/2006/relationships/slideLayout" Target="../slideLayouts/slideLayout237.xml"/><Relationship Id="rId246" Type="http://schemas.openxmlformats.org/officeDocument/2006/relationships/slideLayout" Target="../slideLayouts/slideLayout258.xml"/><Relationship Id="rId267" Type="http://schemas.openxmlformats.org/officeDocument/2006/relationships/slideLayout" Target="../slideLayouts/slideLayout279.xml"/><Relationship Id="rId106" Type="http://schemas.openxmlformats.org/officeDocument/2006/relationships/slideLayout" Target="../slideLayouts/slideLayout118.xml"/><Relationship Id="rId127" Type="http://schemas.openxmlformats.org/officeDocument/2006/relationships/slideLayout" Target="../slideLayouts/slideLayout139.xml"/><Relationship Id="rId10" Type="http://schemas.openxmlformats.org/officeDocument/2006/relationships/slideLayout" Target="../slideLayouts/slideLayout22.xml"/><Relationship Id="rId31" Type="http://schemas.openxmlformats.org/officeDocument/2006/relationships/slideLayout" Target="../slideLayouts/slideLayout43.xml"/><Relationship Id="rId52" Type="http://schemas.openxmlformats.org/officeDocument/2006/relationships/slideLayout" Target="../slideLayouts/slideLayout64.xml"/><Relationship Id="rId73" Type="http://schemas.openxmlformats.org/officeDocument/2006/relationships/slideLayout" Target="../slideLayouts/slideLayout85.xml"/><Relationship Id="rId94" Type="http://schemas.openxmlformats.org/officeDocument/2006/relationships/slideLayout" Target="../slideLayouts/slideLayout106.xml"/><Relationship Id="rId148" Type="http://schemas.openxmlformats.org/officeDocument/2006/relationships/slideLayout" Target="../slideLayouts/slideLayout160.xml"/><Relationship Id="rId169" Type="http://schemas.openxmlformats.org/officeDocument/2006/relationships/slideLayout" Target="../slideLayouts/slideLayout181.xml"/><Relationship Id="rId4" Type="http://schemas.openxmlformats.org/officeDocument/2006/relationships/slideLayout" Target="../slideLayouts/slideLayout16.xml"/><Relationship Id="rId180" Type="http://schemas.openxmlformats.org/officeDocument/2006/relationships/slideLayout" Target="../slideLayouts/slideLayout192.xml"/><Relationship Id="rId215" Type="http://schemas.openxmlformats.org/officeDocument/2006/relationships/slideLayout" Target="../slideLayouts/slideLayout227.xml"/><Relationship Id="rId236" Type="http://schemas.openxmlformats.org/officeDocument/2006/relationships/slideLayout" Target="../slideLayouts/slideLayout248.xml"/><Relationship Id="rId257" Type="http://schemas.openxmlformats.org/officeDocument/2006/relationships/slideLayout" Target="../slideLayouts/slideLayout269.xml"/><Relationship Id="rId278" Type="http://schemas.openxmlformats.org/officeDocument/2006/relationships/slideLayout" Target="../slideLayouts/slideLayout290.xml"/><Relationship Id="rId42" Type="http://schemas.openxmlformats.org/officeDocument/2006/relationships/slideLayout" Target="../slideLayouts/slideLayout54.xml"/><Relationship Id="rId84" Type="http://schemas.openxmlformats.org/officeDocument/2006/relationships/slideLayout" Target="../slideLayouts/slideLayout96.xml"/><Relationship Id="rId138" Type="http://schemas.openxmlformats.org/officeDocument/2006/relationships/slideLayout" Target="../slideLayouts/slideLayout150.xml"/><Relationship Id="rId191" Type="http://schemas.openxmlformats.org/officeDocument/2006/relationships/slideLayout" Target="../slideLayouts/slideLayout203.xml"/><Relationship Id="rId205" Type="http://schemas.openxmlformats.org/officeDocument/2006/relationships/slideLayout" Target="../slideLayouts/slideLayout217.xml"/><Relationship Id="rId247" Type="http://schemas.openxmlformats.org/officeDocument/2006/relationships/slideLayout" Target="../slideLayouts/slideLayout259.xml"/><Relationship Id="rId107" Type="http://schemas.openxmlformats.org/officeDocument/2006/relationships/slideLayout" Target="../slideLayouts/slideLayout119.xml"/><Relationship Id="rId11" Type="http://schemas.openxmlformats.org/officeDocument/2006/relationships/slideLayout" Target="../slideLayouts/slideLayout23.xml"/><Relationship Id="rId53" Type="http://schemas.openxmlformats.org/officeDocument/2006/relationships/slideLayout" Target="../slideLayouts/slideLayout65.xml"/><Relationship Id="rId149" Type="http://schemas.openxmlformats.org/officeDocument/2006/relationships/slideLayout" Target="../slideLayouts/slideLayout161.xml"/><Relationship Id="rId95" Type="http://schemas.openxmlformats.org/officeDocument/2006/relationships/slideLayout" Target="../slideLayouts/slideLayout107.xml"/><Relationship Id="rId160" Type="http://schemas.openxmlformats.org/officeDocument/2006/relationships/slideLayout" Target="../slideLayouts/slideLayout172.xml"/><Relationship Id="rId216" Type="http://schemas.openxmlformats.org/officeDocument/2006/relationships/slideLayout" Target="../slideLayouts/slideLayout228.xml"/><Relationship Id="rId258" Type="http://schemas.openxmlformats.org/officeDocument/2006/relationships/slideLayout" Target="../slideLayouts/slideLayout270.xml"/><Relationship Id="rId22" Type="http://schemas.openxmlformats.org/officeDocument/2006/relationships/slideLayout" Target="../slideLayouts/slideLayout34.xml"/><Relationship Id="rId64" Type="http://schemas.openxmlformats.org/officeDocument/2006/relationships/slideLayout" Target="../slideLayouts/slideLayout76.xml"/><Relationship Id="rId118" Type="http://schemas.openxmlformats.org/officeDocument/2006/relationships/slideLayout" Target="../slideLayouts/slideLayout130.xml"/></Relationships>
</file>

<file path=ppt/slideMasters/_rels/slideMaster3.xml.rels><?xml version="1.0" encoding="UTF-8" standalone="yes"?>
<Relationships xmlns="http://schemas.openxmlformats.org/package/2006/relationships"><Relationship Id="rId117" Type="http://schemas.openxmlformats.org/officeDocument/2006/relationships/slideLayout" Target="../slideLayouts/slideLayout415.xml"/><Relationship Id="rId299" Type="http://schemas.openxmlformats.org/officeDocument/2006/relationships/slideLayout" Target="../slideLayouts/slideLayout597.xml"/><Relationship Id="rId21" Type="http://schemas.openxmlformats.org/officeDocument/2006/relationships/slideLayout" Target="../slideLayouts/slideLayout319.xml"/><Relationship Id="rId63" Type="http://schemas.openxmlformats.org/officeDocument/2006/relationships/slideLayout" Target="../slideLayouts/slideLayout361.xml"/><Relationship Id="rId159" Type="http://schemas.openxmlformats.org/officeDocument/2006/relationships/slideLayout" Target="../slideLayouts/slideLayout457.xml"/><Relationship Id="rId324" Type="http://schemas.openxmlformats.org/officeDocument/2006/relationships/slideLayout" Target="../slideLayouts/slideLayout622.xml"/><Relationship Id="rId366" Type="http://schemas.openxmlformats.org/officeDocument/2006/relationships/slideLayout" Target="../slideLayouts/slideLayout664.xml"/><Relationship Id="rId170" Type="http://schemas.openxmlformats.org/officeDocument/2006/relationships/slideLayout" Target="../slideLayouts/slideLayout468.xml"/><Relationship Id="rId226" Type="http://schemas.openxmlformats.org/officeDocument/2006/relationships/slideLayout" Target="../slideLayouts/slideLayout524.xml"/><Relationship Id="rId268" Type="http://schemas.openxmlformats.org/officeDocument/2006/relationships/slideLayout" Target="../slideLayouts/slideLayout566.xml"/><Relationship Id="rId32" Type="http://schemas.openxmlformats.org/officeDocument/2006/relationships/slideLayout" Target="../slideLayouts/slideLayout330.xml"/><Relationship Id="rId74" Type="http://schemas.openxmlformats.org/officeDocument/2006/relationships/slideLayout" Target="../slideLayouts/slideLayout372.xml"/><Relationship Id="rId128" Type="http://schemas.openxmlformats.org/officeDocument/2006/relationships/slideLayout" Target="../slideLayouts/slideLayout426.xml"/><Relationship Id="rId335" Type="http://schemas.openxmlformats.org/officeDocument/2006/relationships/slideLayout" Target="../slideLayouts/slideLayout633.xml"/><Relationship Id="rId377" Type="http://schemas.openxmlformats.org/officeDocument/2006/relationships/slideLayout" Target="../slideLayouts/slideLayout675.xml"/><Relationship Id="rId5" Type="http://schemas.openxmlformats.org/officeDocument/2006/relationships/slideLayout" Target="../slideLayouts/slideLayout303.xml"/><Relationship Id="rId181" Type="http://schemas.openxmlformats.org/officeDocument/2006/relationships/slideLayout" Target="../slideLayouts/slideLayout479.xml"/><Relationship Id="rId237" Type="http://schemas.openxmlformats.org/officeDocument/2006/relationships/slideLayout" Target="../slideLayouts/slideLayout535.xml"/><Relationship Id="rId279" Type="http://schemas.openxmlformats.org/officeDocument/2006/relationships/slideLayout" Target="../slideLayouts/slideLayout577.xml"/><Relationship Id="rId43" Type="http://schemas.openxmlformats.org/officeDocument/2006/relationships/slideLayout" Target="../slideLayouts/slideLayout341.xml"/><Relationship Id="rId139" Type="http://schemas.openxmlformats.org/officeDocument/2006/relationships/slideLayout" Target="../slideLayouts/slideLayout437.xml"/><Relationship Id="rId290" Type="http://schemas.openxmlformats.org/officeDocument/2006/relationships/slideLayout" Target="../slideLayouts/slideLayout588.xml"/><Relationship Id="rId304" Type="http://schemas.openxmlformats.org/officeDocument/2006/relationships/slideLayout" Target="../slideLayouts/slideLayout602.xml"/><Relationship Id="rId346" Type="http://schemas.openxmlformats.org/officeDocument/2006/relationships/slideLayout" Target="../slideLayouts/slideLayout644.xml"/><Relationship Id="rId388" Type="http://schemas.openxmlformats.org/officeDocument/2006/relationships/slideLayout" Target="../slideLayouts/slideLayout686.xml"/><Relationship Id="rId85" Type="http://schemas.openxmlformats.org/officeDocument/2006/relationships/slideLayout" Target="../slideLayouts/slideLayout383.xml"/><Relationship Id="rId150" Type="http://schemas.openxmlformats.org/officeDocument/2006/relationships/slideLayout" Target="../slideLayouts/slideLayout448.xml"/><Relationship Id="rId192" Type="http://schemas.openxmlformats.org/officeDocument/2006/relationships/slideLayout" Target="../slideLayouts/slideLayout490.xml"/><Relationship Id="rId206" Type="http://schemas.openxmlformats.org/officeDocument/2006/relationships/slideLayout" Target="../slideLayouts/slideLayout504.xml"/><Relationship Id="rId248" Type="http://schemas.openxmlformats.org/officeDocument/2006/relationships/slideLayout" Target="../slideLayouts/slideLayout546.xml"/><Relationship Id="rId12" Type="http://schemas.openxmlformats.org/officeDocument/2006/relationships/slideLayout" Target="../slideLayouts/slideLayout310.xml"/><Relationship Id="rId108" Type="http://schemas.openxmlformats.org/officeDocument/2006/relationships/slideLayout" Target="../slideLayouts/slideLayout406.xml"/><Relationship Id="rId315" Type="http://schemas.openxmlformats.org/officeDocument/2006/relationships/slideLayout" Target="../slideLayouts/slideLayout613.xml"/><Relationship Id="rId357" Type="http://schemas.openxmlformats.org/officeDocument/2006/relationships/slideLayout" Target="../slideLayouts/slideLayout655.xml"/><Relationship Id="rId54" Type="http://schemas.openxmlformats.org/officeDocument/2006/relationships/slideLayout" Target="../slideLayouts/slideLayout352.xml"/><Relationship Id="rId96" Type="http://schemas.openxmlformats.org/officeDocument/2006/relationships/slideLayout" Target="../slideLayouts/slideLayout394.xml"/><Relationship Id="rId161" Type="http://schemas.openxmlformats.org/officeDocument/2006/relationships/slideLayout" Target="../slideLayouts/slideLayout459.xml"/><Relationship Id="rId217" Type="http://schemas.openxmlformats.org/officeDocument/2006/relationships/slideLayout" Target="../slideLayouts/slideLayout515.xml"/><Relationship Id="rId259" Type="http://schemas.openxmlformats.org/officeDocument/2006/relationships/slideLayout" Target="../slideLayouts/slideLayout557.xml"/><Relationship Id="rId23" Type="http://schemas.openxmlformats.org/officeDocument/2006/relationships/slideLayout" Target="../slideLayouts/slideLayout321.xml"/><Relationship Id="rId119" Type="http://schemas.openxmlformats.org/officeDocument/2006/relationships/slideLayout" Target="../slideLayouts/slideLayout417.xml"/><Relationship Id="rId270" Type="http://schemas.openxmlformats.org/officeDocument/2006/relationships/slideLayout" Target="../slideLayouts/slideLayout568.xml"/><Relationship Id="rId326" Type="http://schemas.openxmlformats.org/officeDocument/2006/relationships/slideLayout" Target="../slideLayouts/slideLayout624.xml"/><Relationship Id="rId65" Type="http://schemas.openxmlformats.org/officeDocument/2006/relationships/slideLayout" Target="../slideLayouts/slideLayout363.xml"/><Relationship Id="rId130" Type="http://schemas.openxmlformats.org/officeDocument/2006/relationships/slideLayout" Target="../slideLayouts/slideLayout428.xml"/><Relationship Id="rId368" Type="http://schemas.openxmlformats.org/officeDocument/2006/relationships/slideLayout" Target="../slideLayouts/slideLayout666.xml"/><Relationship Id="rId172" Type="http://schemas.openxmlformats.org/officeDocument/2006/relationships/slideLayout" Target="../slideLayouts/slideLayout470.xml"/><Relationship Id="rId228" Type="http://schemas.openxmlformats.org/officeDocument/2006/relationships/slideLayout" Target="../slideLayouts/slideLayout526.xml"/><Relationship Id="rId281" Type="http://schemas.openxmlformats.org/officeDocument/2006/relationships/slideLayout" Target="../slideLayouts/slideLayout579.xml"/><Relationship Id="rId337" Type="http://schemas.openxmlformats.org/officeDocument/2006/relationships/slideLayout" Target="../slideLayouts/slideLayout635.xml"/><Relationship Id="rId34" Type="http://schemas.openxmlformats.org/officeDocument/2006/relationships/slideLayout" Target="../slideLayouts/slideLayout332.xml"/><Relationship Id="rId76" Type="http://schemas.openxmlformats.org/officeDocument/2006/relationships/slideLayout" Target="../slideLayouts/slideLayout374.xml"/><Relationship Id="rId141" Type="http://schemas.openxmlformats.org/officeDocument/2006/relationships/slideLayout" Target="../slideLayouts/slideLayout439.xml"/><Relationship Id="rId379" Type="http://schemas.openxmlformats.org/officeDocument/2006/relationships/slideLayout" Target="../slideLayouts/slideLayout677.xml"/><Relationship Id="rId7" Type="http://schemas.openxmlformats.org/officeDocument/2006/relationships/slideLayout" Target="../slideLayouts/slideLayout305.xml"/><Relationship Id="rId183" Type="http://schemas.openxmlformats.org/officeDocument/2006/relationships/slideLayout" Target="../slideLayouts/slideLayout481.xml"/><Relationship Id="rId239" Type="http://schemas.openxmlformats.org/officeDocument/2006/relationships/slideLayout" Target="../slideLayouts/slideLayout537.xml"/><Relationship Id="rId250" Type="http://schemas.openxmlformats.org/officeDocument/2006/relationships/slideLayout" Target="../slideLayouts/slideLayout548.xml"/><Relationship Id="rId292" Type="http://schemas.openxmlformats.org/officeDocument/2006/relationships/slideLayout" Target="../slideLayouts/slideLayout590.xml"/><Relationship Id="rId306" Type="http://schemas.openxmlformats.org/officeDocument/2006/relationships/slideLayout" Target="../slideLayouts/slideLayout604.xml"/><Relationship Id="rId45" Type="http://schemas.openxmlformats.org/officeDocument/2006/relationships/slideLayout" Target="../slideLayouts/slideLayout343.xml"/><Relationship Id="rId87" Type="http://schemas.openxmlformats.org/officeDocument/2006/relationships/slideLayout" Target="../slideLayouts/slideLayout385.xml"/><Relationship Id="rId110" Type="http://schemas.openxmlformats.org/officeDocument/2006/relationships/slideLayout" Target="../slideLayouts/slideLayout408.xml"/><Relationship Id="rId348" Type="http://schemas.openxmlformats.org/officeDocument/2006/relationships/slideLayout" Target="../slideLayouts/slideLayout646.xml"/><Relationship Id="rId152" Type="http://schemas.openxmlformats.org/officeDocument/2006/relationships/slideLayout" Target="../slideLayouts/slideLayout450.xml"/><Relationship Id="rId194" Type="http://schemas.openxmlformats.org/officeDocument/2006/relationships/slideLayout" Target="../slideLayouts/slideLayout492.xml"/><Relationship Id="rId208" Type="http://schemas.openxmlformats.org/officeDocument/2006/relationships/slideLayout" Target="../slideLayouts/slideLayout506.xml"/><Relationship Id="rId261" Type="http://schemas.openxmlformats.org/officeDocument/2006/relationships/slideLayout" Target="../slideLayouts/slideLayout559.xml"/><Relationship Id="rId14" Type="http://schemas.openxmlformats.org/officeDocument/2006/relationships/slideLayout" Target="../slideLayouts/slideLayout312.xml"/><Relationship Id="rId56" Type="http://schemas.openxmlformats.org/officeDocument/2006/relationships/slideLayout" Target="../slideLayouts/slideLayout354.xml"/><Relationship Id="rId317" Type="http://schemas.openxmlformats.org/officeDocument/2006/relationships/slideLayout" Target="../slideLayouts/slideLayout615.xml"/><Relationship Id="rId359" Type="http://schemas.openxmlformats.org/officeDocument/2006/relationships/slideLayout" Target="../slideLayouts/slideLayout657.xml"/><Relationship Id="rId98" Type="http://schemas.openxmlformats.org/officeDocument/2006/relationships/slideLayout" Target="../slideLayouts/slideLayout396.xml"/><Relationship Id="rId121" Type="http://schemas.openxmlformats.org/officeDocument/2006/relationships/slideLayout" Target="../slideLayouts/slideLayout419.xml"/><Relationship Id="rId163" Type="http://schemas.openxmlformats.org/officeDocument/2006/relationships/slideLayout" Target="../slideLayouts/slideLayout461.xml"/><Relationship Id="rId219" Type="http://schemas.openxmlformats.org/officeDocument/2006/relationships/slideLayout" Target="../slideLayouts/slideLayout517.xml"/><Relationship Id="rId370" Type="http://schemas.openxmlformats.org/officeDocument/2006/relationships/slideLayout" Target="../slideLayouts/slideLayout668.xml"/><Relationship Id="rId230" Type="http://schemas.openxmlformats.org/officeDocument/2006/relationships/slideLayout" Target="../slideLayouts/slideLayout528.xml"/><Relationship Id="rId25" Type="http://schemas.openxmlformats.org/officeDocument/2006/relationships/slideLayout" Target="../slideLayouts/slideLayout323.xml"/><Relationship Id="rId67" Type="http://schemas.openxmlformats.org/officeDocument/2006/relationships/slideLayout" Target="../slideLayouts/slideLayout365.xml"/><Relationship Id="rId272" Type="http://schemas.openxmlformats.org/officeDocument/2006/relationships/slideLayout" Target="../slideLayouts/slideLayout570.xml"/><Relationship Id="rId328" Type="http://schemas.openxmlformats.org/officeDocument/2006/relationships/slideLayout" Target="../slideLayouts/slideLayout626.xml"/><Relationship Id="rId132" Type="http://schemas.openxmlformats.org/officeDocument/2006/relationships/slideLayout" Target="../slideLayouts/slideLayout430.xml"/><Relationship Id="rId174" Type="http://schemas.openxmlformats.org/officeDocument/2006/relationships/slideLayout" Target="../slideLayouts/slideLayout472.xml"/><Relationship Id="rId381" Type="http://schemas.openxmlformats.org/officeDocument/2006/relationships/slideLayout" Target="../slideLayouts/slideLayout679.xml"/><Relationship Id="rId241" Type="http://schemas.openxmlformats.org/officeDocument/2006/relationships/slideLayout" Target="../slideLayouts/slideLayout539.xml"/><Relationship Id="rId36" Type="http://schemas.openxmlformats.org/officeDocument/2006/relationships/slideLayout" Target="../slideLayouts/slideLayout334.xml"/><Relationship Id="rId283" Type="http://schemas.openxmlformats.org/officeDocument/2006/relationships/slideLayout" Target="../slideLayouts/slideLayout581.xml"/><Relationship Id="rId339" Type="http://schemas.openxmlformats.org/officeDocument/2006/relationships/slideLayout" Target="../slideLayouts/slideLayout637.xml"/><Relationship Id="rId78" Type="http://schemas.openxmlformats.org/officeDocument/2006/relationships/slideLayout" Target="../slideLayouts/slideLayout376.xml"/><Relationship Id="rId101" Type="http://schemas.openxmlformats.org/officeDocument/2006/relationships/slideLayout" Target="../slideLayouts/slideLayout399.xml"/><Relationship Id="rId143" Type="http://schemas.openxmlformats.org/officeDocument/2006/relationships/slideLayout" Target="../slideLayouts/slideLayout441.xml"/><Relationship Id="rId185" Type="http://schemas.openxmlformats.org/officeDocument/2006/relationships/slideLayout" Target="../slideLayouts/slideLayout483.xml"/><Relationship Id="rId350" Type="http://schemas.openxmlformats.org/officeDocument/2006/relationships/slideLayout" Target="../slideLayouts/slideLayout648.xml"/><Relationship Id="rId9" Type="http://schemas.openxmlformats.org/officeDocument/2006/relationships/slideLayout" Target="../slideLayouts/slideLayout307.xml"/><Relationship Id="rId210" Type="http://schemas.openxmlformats.org/officeDocument/2006/relationships/slideLayout" Target="../slideLayouts/slideLayout508.xml"/><Relationship Id="rId252" Type="http://schemas.openxmlformats.org/officeDocument/2006/relationships/slideLayout" Target="../slideLayouts/slideLayout550.xml"/><Relationship Id="rId294" Type="http://schemas.openxmlformats.org/officeDocument/2006/relationships/slideLayout" Target="../slideLayouts/slideLayout592.xml"/><Relationship Id="rId308" Type="http://schemas.openxmlformats.org/officeDocument/2006/relationships/slideLayout" Target="../slideLayouts/slideLayout606.xml"/><Relationship Id="rId47" Type="http://schemas.openxmlformats.org/officeDocument/2006/relationships/slideLayout" Target="../slideLayouts/slideLayout345.xml"/><Relationship Id="rId89" Type="http://schemas.openxmlformats.org/officeDocument/2006/relationships/slideLayout" Target="../slideLayouts/slideLayout387.xml"/><Relationship Id="rId112" Type="http://schemas.openxmlformats.org/officeDocument/2006/relationships/slideLayout" Target="../slideLayouts/slideLayout410.xml"/><Relationship Id="rId154" Type="http://schemas.openxmlformats.org/officeDocument/2006/relationships/slideLayout" Target="../slideLayouts/slideLayout452.xml"/><Relationship Id="rId361" Type="http://schemas.openxmlformats.org/officeDocument/2006/relationships/slideLayout" Target="../slideLayouts/slideLayout659.xml"/><Relationship Id="rId196" Type="http://schemas.openxmlformats.org/officeDocument/2006/relationships/slideLayout" Target="../slideLayouts/slideLayout494.xml"/><Relationship Id="rId200" Type="http://schemas.openxmlformats.org/officeDocument/2006/relationships/slideLayout" Target="../slideLayouts/slideLayout498.xml"/><Relationship Id="rId382" Type="http://schemas.openxmlformats.org/officeDocument/2006/relationships/slideLayout" Target="../slideLayouts/slideLayout680.xml"/><Relationship Id="rId16" Type="http://schemas.openxmlformats.org/officeDocument/2006/relationships/slideLayout" Target="../slideLayouts/slideLayout314.xml"/><Relationship Id="rId221" Type="http://schemas.openxmlformats.org/officeDocument/2006/relationships/slideLayout" Target="../slideLayouts/slideLayout519.xml"/><Relationship Id="rId242" Type="http://schemas.openxmlformats.org/officeDocument/2006/relationships/slideLayout" Target="../slideLayouts/slideLayout540.xml"/><Relationship Id="rId263" Type="http://schemas.openxmlformats.org/officeDocument/2006/relationships/slideLayout" Target="../slideLayouts/slideLayout561.xml"/><Relationship Id="rId284" Type="http://schemas.openxmlformats.org/officeDocument/2006/relationships/slideLayout" Target="../slideLayouts/slideLayout582.xml"/><Relationship Id="rId319" Type="http://schemas.openxmlformats.org/officeDocument/2006/relationships/slideLayout" Target="../slideLayouts/slideLayout617.xml"/><Relationship Id="rId37" Type="http://schemas.openxmlformats.org/officeDocument/2006/relationships/slideLayout" Target="../slideLayouts/slideLayout335.xml"/><Relationship Id="rId58" Type="http://schemas.openxmlformats.org/officeDocument/2006/relationships/slideLayout" Target="../slideLayouts/slideLayout356.xml"/><Relationship Id="rId79" Type="http://schemas.openxmlformats.org/officeDocument/2006/relationships/slideLayout" Target="../slideLayouts/slideLayout377.xml"/><Relationship Id="rId102" Type="http://schemas.openxmlformats.org/officeDocument/2006/relationships/slideLayout" Target="../slideLayouts/slideLayout400.xml"/><Relationship Id="rId123" Type="http://schemas.openxmlformats.org/officeDocument/2006/relationships/slideLayout" Target="../slideLayouts/slideLayout421.xml"/><Relationship Id="rId144" Type="http://schemas.openxmlformats.org/officeDocument/2006/relationships/slideLayout" Target="../slideLayouts/slideLayout442.xml"/><Relationship Id="rId330" Type="http://schemas.openxmlformats.org/officeDocument/2006/relationships/slideLayout" Target="../slideLayouts/slideLayout628.xml"/><Relationship Id="rId90" Type="http://schemas.openxmlformats.org/officeDocument/2006/relationships/slideLayout" Target="../slideLayouts/slideLayout388.xml"/><Relationship Id="rId165" Type="http://schemas.openxmlformats.org/officeDocument/2006/relationships/slideLayout" Target="../slideLayouts/slideLayout463.xml"/><Relationship Id="rId186" Type="http://schemas.openxmlformats.org/officeDocument/2006/relationships/slideLayout" Target="../slideLayouts/slideLayout484.xml"/><Relationship Id="rId351" Type="http://schemas.openxmlformats.org/officeDocument/2006/relationships/slideLayout" Target="../slideLayouts/slideLayout649.xml"/><Relationship Id="rId372" Type="http://schemas.openxmlformats.org/officeDocument/2006/relationships/slideLayout" Target="../slideLayouts/slideLayout670.xml"/><Relationship Id="rId211" Type="http://schemas.openxmlformats.org/officeDocument/2006/relationships/slideLayout" Target="../slideLayouts/slideLayout509.xml"/><Relationship Id="rId232" Type="http://schemas.openxmlformats.org/officeDocument/2006/relationships/slideLayout" Target="../slideLayouts/slideLayout530.xml"/><Relationship Id="rId253" Type="http://schemas.openxmlformats.org/officeDocument/2006/relationships/slideLayout" Target="../slideLayouts/slideLayout551.xml"/><Relationship Id="rId274" Type="http://schemas.openxmlformats.org/officeDocument/2006/relationships/slideLayout" Target="../slideLayouts/slideLayout572.xml"/><Relationship Id="rId295" Type="http://schemas.openxmlformats.org/officeDocument/2006/relationships/slideLayout" Target="../slideLayouts/slideLayout593.xml"/><Relationship Id="rId309" Type="http://schemas.openxmlformats.org/officeDocument/2006/relationships/slideLayout" Target="../slideLayouts/slideLayout607.xml"/><Relationship Id="rId27" Type="http://schemas.openxmlformats.org/officeDocument/2006/relationships/slideLayout" Target="../slideLayouts/slideLayout325.xml"/><Relationship Id="rId48" Type="http://schemas.openxmlformats.org/officeDocument/2006/relationships/slideLayout" Target="../slideLayouts/slideLayout346.xml"/><Relationship Id="rId69" Type="http://schemas.openxmlformats.org/officeDocument/2006/relationships/slideLayout" Target="../slideLayouts/slideLayout367.xml"/><Relationship Id="rId113" Type="http://schemas.openxmlformats.org/officeDocument/2006/relationships/slideLayout" Target="../slideLayouts/slideLayout411.xml"/><Relationship Id="rId134" Type="http://schemas.openxmlformats.org/officeDocument/2006/relationships/slideLayout" Target="../slideLayouts/slideLayout432.xml"/><Relationship Id="rId320" Type="http://schemas.openxmlformats.org/officeDocument/2006/relationships/slideLayout" Target="../slideLayouts/slideLayout618.xml"/><Relationship Id="rId80" Type="http://schemas.openxmlformats.org/officeDocument/2006/relationships/slideLayout" Target="../slideLayouts/slideLayout378.xml"/><Relationship Id="rId155" Type="http://schemas.openxmlformats.org/officeDocument/2006/relationships/slideLayout" Target="../slideLayouts/slideLayout453.xml"/><Relationship Id="rId176" Type="http://schemas.openxmlformats.org/officeDocument/2006/relationships/slideLayout" Target="../slideLayouts/slideLayout474.xml"/><Relationship Id="rId197" Type="http://schemas.openxmlformats.org/officeDocument/2006/relationships/slideLayout" Target="../slideLayouts/slideLayout495.xml"/><Relationship Id="rId341" Type="http://schemas.openxmlformats.org/officeDocument/2006/relationships/slideLayout" Target="../slideLayouts/slideLayout639.xml"/><Relationship Id="rId362" Type="http://schemas.openxmlformats.org/officeDocument/2006/relationships/slideLayout" Target="../slideLayouts/slideLayout660.xml"/><Relationship Id="rId383" Type="http://schemas.openxmlformats.org/officeDocument/2006/relationships/slideLayout" Target="../slideLayouts/slideLayout681.xml"/><Relationship Id="rId201" Type="http://schemas.openxmlformats.org/officeDocument/2006/relationships/slideLayout" Target="../slideLayouts/slideLayout499.xml"/><Relationship Id="rId222" Type="http://schemas.openxmlformats.org/officeDocument/2006/relationships/slideLayout" Target="../slideLayouts/slideLayout520.xml"/><Relationship Id="rId243" Type="http://schemas.openxmlformats.org/officeDocument/2006/relationships/slideLayout" Target="../slideLayouts/slideLayout541.xml"/><Relationship Id="rId264" Type="http://schemas.openxmlformats.org/officeDocument/2006/relationships/slideLayout" Target="../slideLayouts/slideLayout562.xml"/><Relationship Id="rId285" Type="http://schemas.openxmlformats.org/officeDocument/2006/relationships/slideLayout" Target="../slideLayouts/slideLayout583.xml"/><Relationship Id="rId17" Type="http://schemas.openxmlformats.org/officeDocument/2006/relationships/slideLayout" Target="../slideLayouts/slideLayout315.xml"/><Relationship Id="rId38" Type="http://schemas.openxmlformats.org/officeDocument/2006/relationships/slideLayout" Target="../slideLayouts/slideLayout336.xml"/><Relationship Id="rId59" Type="http://schemas.openxmlformats.org/officeDocument/2006/relationships/slideLayout" Target="../slideLayouts/slideLayout357.xml"/><Relationship Id="rId103" Type="http://schemas.openxmlformats.org/officeDocument/2006/relationships/slideLayout" Target="../slideLayouts/slideLayout401.xml"/><Relationship Id="rId124" Type="http://schemas.openxmlformats.org/officeDocument/2006/relationships/slideLayout" Target="../slideLayouts/slideLayout422.xml"/><Relationship Id="rId310" Type="http://schemas.openxmlformats.org/officeDocument/2006/relationships/slideLayout" Target="../slideLayouts/slideLayout608.xml"/><Relationship Id="rId70" Type="http://schemas.openxmlformats.org/officeDocument/2006/relationships/slideLayout" Target="../slideLayouts/slideLayout368.xml"/><Relationship Id="rId91" Type="http://schemas.openxmlformats.org/officeDocument/2006/relationships/slideLayout" Target="../slideLayouts/slideLayout389.xml"/><Relationship Id="rId145" Type="http://schemas.openxmlformats.org/officeDocument/2006/relationships/slideLayout" Target="../slideLayouts/slideLayout443.xml"/><Relationship Id="rId166" Type="http://schemas.openxmlformats.org/officeDocument/2006/relationships/slideLayout" Target="../slideLayouts/slideLayout464.xml"/><Relationship Id="rId187" Type="http://schemas.openxmlformats.org/officeDocument/2006/relationships/slideLayout" Target="../slideLayouts/slideLayout485.xml"/><Relationship Id="rId331" Type="http://schemas.openxmlformats.org/officeDocument/2006/relationships/slideLayout" Target="../slideLayouts/slideLayout629.xml"/><Relationship Id="rId352" Type="http://schemas.openxmlformats.org/officeDocument/2006/relationships/slideLayout" Target="../slideLayouts/slideLayout650.xml"/><Relationship Id="rId373" Type="http://schemas.openxmlformats.org/officeDocument/2006/relationships/slideLayout" Target="../slideLayouts/slideLayout671.xml"/><Relationship Id="rId1" Type="http://schemas.openxmlformats.org/officeDocument/2006/relationships/slideLayout" Target="../slideLayouts/slideLayout299.xml"/><Relationship Id="rId212" Type="http://schemas.openxmlformats.org/officeDocument/2006/relationships/slideLayout" Target="../slideLayouts/slideLayout510.xml"/><Relationship Id="rId233" Type="http://schemas.openxmlformats.org/officeDocument/2006/relationships/slideLayout" Target="../slideLayouts/slideLayout531.xml"/><Relationship Id="rId254" Type="http://schemas.openxmlformats.org/officeDocument/2006/relationships/slideLayout" Target="../slideLayouts/slideLayout552.xml"/><Relationship Id="rId28" Type="http://schemas.openxmlformats.org/officeDocument/2006/relationships/slideLayout" Target="../slideLayouts/slideLayout326.xml"/><Relationship Id="rId49" Type="http://schemas.openxmlformats.org/officeDocument/2006/relationships/slideLayout" Target="../slideLayouts/slideLayout347.xml"/><Relationship Id="rId114" Type="http://schemas.openxmlformats.org/officeDocument/2006/relationships/slideLayout" Target="../slideLayouts/slideLayout412.xml"/><Relationship Id="rId275" Type="http://schemas.openxmlformats.org/officeDocument/2006/relationships/slideLayout" Target="../slideLayouts/slideLayout573.xml"/><Relationship Id="rId296" Type="http://schemas.openxmlformats.org/officeDocument/2006/relationships/slideLayout" Target="../slideLayouts/slideLayout594.xml"/><Relationship Id="rId300" Type="http://schemas.openxmlformats.org/officeDocument/2006/relationships/slideLayout" Target="../slideLayouts/slideLayout598.xml"/><Relationship Id="rId60" Type="http://schemas.openxmlformats.org/officeDocument/2006/relationships/slideLayout" Target="../slideLayouts/slideLayout358.xml"/><Relationship Id="rId81" Type="http://schemas.openxmlformats.org/officeDocument/2006/relationships/slideLayout" Target="../slideLayouts/slideLayout379.xml"/><Relationship Id="rId135" Type="http://schemas.openxmlformats.org/officeDocument/2006/relationships/slideLayout" Target="../slideLayouts/slideLayout433.xml"/><Relationship Id="rId156" Type="http://schemas.openxmlformats.org/officeDocument/2006/relationships/slideLayout" Target="../slideLayouts/slideLayout454.xml"/><Relationship Id="rId177" Type="http://schemas.openxmlformats.org/officeDocument/2006/relationships/slideLayout" Target="../slideLayouts/slideLayout475.xml"/><Relationship Id="rId198" Type="http://schemas.openxmlformats.org/officeDocument/2006/relationships/slideLayout" Target="../slideLayouts/slideLayout496.xml"/><Relationship Id="rId321" Type="http://schemas.openxmlformats.org/officeDocument/2006/relationships/slideLayout" Target="../slideLayouts/slideLayout619.xml"/><Relationship Id="rId342" Type="http://schemas.openxmlformats.org/officeDocument/2006/relationships/slideLayout" Target="../slideLayouts/slideLayout640.xml"/><Relationship Id="rId363" Type="http://schemas.openxmlformats.org/officeDocument/2006/relationships/slideLayout" Target="../slideLayouts/slideLayout661.xml"/><Relationship Id="rId384" Type="http://schemas.openxmlformats.org/officeDocument/2006/relationships/slideLayout" Target="../slideLayouts/slideLayout682.xml"/><Relationship Id="rId202" Type="http://schemas.openxmlformats.org/officeDocument/2006/relationships/slideLayout" Target="../slideLayouts/slideLayout500.xml"/><Relationship Id="rId223" Type="http://schemas.openxmlformats.org/officeDocument/2006/relationships/slideLayout" Target="../slideLayouts/slideLayout521.xml"/><Relationship Id="rId244" Type="http://schemas.openxmlformats.org/officeDocument/2006/relationships/slideLayout" Target="../slideLayouts/slideLayout542.xml"/><Relationship Id="rId18" Type="http://schemas.openxmlformats.org/officeDocument/2006/relationships/slideLayout" Target="../slideLayouts/slideLayout316.xml"/><Relationship Id="rId39" Type="http://schemas.openxmlformats.org/officeDocument/2006/relationships/slideLayout" Target="../slideLayouts/slideLayout337.xml"/><Relationship Id="rId265" Type="http://schemas.openxmlformats.org/officeDocument/2006/relationships/slideLayout" Target="../slideLayouts/slideLayout563.xml"/><Relationship Id="rId286" Type="http://schemas.openxmlformats.org/officeDocument/2006/relationships/slideLayout" Target="../slideLayouts/slideLayout584.xml"/><Relationship Id="rId50" Type="http://schemas.openxmlformats.org/officeDocument/2006/relationships/slideLayout" Target="../slideLayouts/slideLayout348.xml"/><Relationship Id="rId104" Type="http://schemas.openxmlformats.org/officeDocument/2006/relationships/slideLayout" Target="../slideLayouts/slideLayout402.xml"/><Relationship Id="rId125" Type="http://schemas.openxmlformats.org/officeDocument/2006/relationships/slideLayout" Target="../slideLayouts/slideLayout423.xml"/><Relationship Id="rId146" Type="http://schemas.openxmlformats.org/officeDocument/2006/relationships/slideLayout" Target="../slideLayouts/slideLayout444.xml"/><Relationship Id="rId167" Type="http://schemas.openxmlformats.org/officeDocument/2006/relationships/slideLayout" Target="../slideLayouts/slideLayout465.xml"/><Relationship Id="rId188" Type="http://schemas.openxmlformats.org/officeDocument/2006/relationships/slideLayout" Target="../slideLayouts/slideLayout486.xml"/><Relationship Id="rId311" Type="http://schemas.openxmlformats.org/officeDocument/2006/relationships/slideLayout" Target="../slideLayouts/slideLayout609.xml"/><Relationship Id="rId332" Type="http://schemas.openxmlformats.org/officeDocument/2006/relationships/slideLayout" Target="../slideLayouts/slideLayout630.xml"/><Relationship Id="rId353" Type="http://schemas.openxmlformats.org/officeDocument/2006/relationships/slideLayout" Target="../slideLayouts/slideLayout651.xml"/><Relationship Id="rId374" Type="http://schemas.openxmlformats.org/officeDocument/2006/relationships/slideLayout" Target="../slideLayouts/slideLayout672.xml"/><Relationship Id="rId71" Type="http://schemas.openxmlformats.org/officeDocument/2006/relationships/slideLayout" Target="../slideLayouts/slideLayout369.xml"/><Relationship Id="rId92" Type="http://schemas.openxmlformats.org/officeDocument/2006/relationships/slideLayout" Target="../slideLayouts/slideLayout390.xml"/><Relationship Id="rId213" Type="http://schemas.openxmlformats.org/officeDocument/2006/relationships/slideLayout" Target="../slideLayouts/slideLayout511.xml"/><Relationship Id="rId234" Type="http://schemas.openxmlformats.org/officeDocument/2006/relationships/slideLayout" Target="../slideLayouts/slideLayout532.xml"/><Relationship Id="rId2" Type="http://schemas.openxmlformats.org/officeDocument/2006/relationships/slideLayout" Target="../slideLayouts/slideLayout300.xml"/><Relationship Id="rId29" Type="http://schemas.openxmlformats.org/officeDocument/2006/relationships/slideLayout" Target="../slideLayouts/slideLayout327.xml"/><Relationship Id="rId255" Type="http://schemas.openxmlformats.org/officeDocument/2006/relationships/slideLayout" Target="../slideLayouts/slideLayout553.xml"/><Relationship Id="rId276" Type="http://schemas.openxmlformats.org/officeDocument/2006/relationships/slideLayout" Target="../slideLayouts/slideLayout574.xml"/><Relationship Id="rId297" Type="http://schemas.openxmlformats.org/officeDocument/2006/relationships/slideLayout" Target="../slideLayouts/slideLayout595.xml"/><Relationship Id="rId40" Type="http://schemas.openxmlformats.org/officeDocument/2006/relationships/slideLayout" Target="../slideLayouts/slideLayout338.xml"/><Relationship Id="rId115" Type="http://schemas.openxmlformats.org/officeDocument/2006/relationships/slideLayout" Target="../slideLayouts/slideLayout413.xml"/><Relationship Id="rId136" Type="http://schemas.openxmlformats.org/officeDocument/2006/relationships/slideLayout" Target="../slideLayouts/slideLayout434.xml"/><Relationship Id="rId157" Type="http://schemas.openxmlformats.org/officeDocument/2006/relationships/slideLayout" Target="../slideLayouts/slideLayout455.xml"/><Relationship Id="rId178" Type="http://schemas.openxmlformats.org/officeDocument/2006/relationships/slideLayout" Target="../slideLayouts/slideLayout476.xml"/><Relationship Id="rId301" Type="http://schemas.openxmlformats.org/officeDocument/2006/relationships/slideLayout" Target="../slideLayouts/slideLayout599.xml"/><Relationship Id="rId322" Type="http://schemas.openxmlformats.org/officeDocument/2006/relationships/slideLayout" Target="../slideLayouts/slideLayout620.xml"/><Relationship Id="rId343" Type="http://schemas.openxmlformats.org/officeDocument/2006/relationships/slideLayout" Target="../slideLayouts/slideLayout641.xml"/><Relationship Id="rId364" Type="http://schemas.openxmlformats.org/officeDocument/2006/relationships/slideLayout" Target="../slideLayouts/slideLayout662.xml"/><Relationship Id="rId61" Type="http://schemas.openxmlformats.org/officeDocument/2006/relationships/slideLayout" Target="../slideLayouts/slideLayout359.xml"/><Relationship Id="rId82" Type="http://schemas.openxmlformats.org/officeDocument/2006/relationships/slideLayout" Target="../slideLayouts/slideLayout380.xml"/><Relationship Id="rId199" Type="http://schemas.openxmlformats.org/officeDocument/2006/relationships/slideLayout" Target="../slideLayouts/slideLayout497.xml"/><Relationship Id="rId203" Type="http://schemas.openxmlformats.org/officeDocument/2006/relationships/slideLayout" Target="../slideLayouts/slideLayout501.xml"/><Relationship Id="rId385" Type="http://schemas.openxmlformats.org/officeDocument/2006/relationships/slideLayout" Target="../slideLayouts/slideLayout683.xml"/><Relationship Id="rId19" Type="http://schemas.openxmlformats.org/officeDocument/2006/relationships/slideLayout" Target="../slideLayouts/slideLayout317.xml"/><Relationship Id="rId224" Type="http://schemas.openxmlformats.org/officeDocument/2006/relationships/slideLayout" Target="../slideLayouts/slideLayout522.xml"/><Relationship Id="rId245" Type="http://schemas.openxmlformats.org/officeDocument/2006/relationships/slideLayout" Target="../slideLayouts/slideLayout543.xml"/><Relationship Id="rId266" Type="http://schemas.openxmlformats.org/officeDocument/2006/relationships/slideLayout" Target="../slideLayouts/slideLayout564.xml"/><Relationship Id="rId287" Type="http://schemas.openxmlformats.org/officeDocument/2006/relationships/slideLayout" Target="../slideLayouts/slideLayout585.xml"/><Relationship Id="rId30" Type="http://schemas.openxmlformats.org/officeDocument/2006/relationships/slideLayout" Target="../slideLayouts/slideLayout328.xml"/><Relationship Id="rId105" Type="http://schemas.openxmlformats.org/officeDocument/2006/relationships/slideLayout" Target="../slideLayouts/slideLayout403.xml"/><Relationship Id="rId126" Type="http://schemas.openxmlformats.org/officeDocument/2006/relationships/slideLayout" Target="../slideLayouts/slideLayout424.xml"/><Relationship Id="rId147" Type="http://schemas.openxmlformats.org/officeDocument/2006/relationships/slideLayout" Target="../slideLayouts/slideLayout445.xml"/><Relationship Id="rId168" Type="http://schemas.openxmlformats.org/officeDocument/2006/relationships/slideLayout" Target="../slideLayouts/slideLayout466.xml"/><Relationship Id="rId312" Type="http://schemas.openxmlformats.org/officeDocument/2006/relationships/slideLayout" Target="../slideLayouts/slideLayout610.xml"/><Relationship Id="rId333" Type="http://schemas.openxmlformats.org/officeDocument/2006/relationships/slideLayout" Target="../slideLayouts/slideLayout631.xml"/><Relationship Id="rId354" Type="http://schemas.openxmlformats.org/officeDocument/2006/relationships/slideLayout" Target="../slideLayouts/slideLayout652.xml"/><Relationship Id="rId51" Type="http://schemas.openxmlformats.org/officeDocument/2006/relationships/slideLayout" Target="../slideLayouts/slideLayout349.xml"/><Relationship Id="rId72" Type="http://schemas.openxmlformats.org/officeDocument/2006/relationships/slideLayout" Target="../slideLayouts/slideLayout370.xml"/><Relationship Id="rId93" Type="http://schemas.openxmlformats.org/officeDocument/2006/relationships/slideLayout" Target="../slideLayouts/slideLayout391.xml"/><Relationship Id="rId189" Type="http://schemas.openxmlformats.org/officeDocument/2006/relationships/slideLayout" Target="../slideLayouts/slideLayout487.xml"/><Relationship Id="rId375" Type="http://schemas.openxmlformats.org/officeDocument/2006/relationships/slideLayout" Target="../slideLayouts/slideLayout673.xml"/><Relationship Id="rId3" Type="http://schemas.openxmlformats.org/officeDocument/2006/relationships/slideLayout" Target="../slideLayouts/slideLayout301.xml"/><Relationship Id="rId214" Type="http://schemas.openxmlformats.org/officeDocument/2006/relationships/slideLayout" Target="../slideLayouts/slideLayout512.xml"/><Relationship Id="rId235" Type="http://schemas.openxmlformats.org/officeDocument/2006/relationships/slideLayout" Target="../slideLayouts/slideLayout533.xml"/><Relationship Id="rId256" Type="http://schemas.openxmlformats.org/officeDocument/2006/relationships/slideLayout" Target="../slideLayouts/slideLayout554.xml"/><Relationship Id="rId277" Type="http://schemas.openxmlformats.org/officeDocument/2006/relationships/slideLayout" Target="../slideLayouts/slideLayout575.xml"/><Relationship Id="rId298" Type="http://schemas.openxmlformats.org/officeDocument/2006/relationships/slideLayout" Target="../slideLayouts/slideLayout596.xml"/><Relationship Id="rId116" Type="http://schemas.openxmlformats.org/officeDocument/2006/relationships/slideLayout" Target="../slideLayouts/slideLayout414.xml"/><Relationship Id="rId137" Type="http://schemas.openxmlformats.org/officeDocument/2006/relationships/slideLayout" Target="../slideLayouts/slideLayout435.xml"/><Relationship Id="rId158" Type="http://schemas.openxmlformats.org/officeDocument/2006/relationships/slideLayout" Target="../slideLayouts/slideLayout456.xml"/><Relationship Id="rId302" Type="http://schemas.openxmlformats.org/officeDocument/2006/relationships/slideLayout" Target="../slideLayouts/slideLayout600.xml"/><Relationship Id="rId323" Type="http://schemas.openxmlformats.org/officeDocument/2006/relationships/slideLayout" Target="../slideLayouts/slideLayout621.xml"/><Relationship Id="rId344" Type="http://schemas.openxmlformats.org/officeDocument/2006/relationships/slideLayout" Target="../slideLayouts/slideLayout642.xml"/><Relationship Id="rId20" Type="http://schemas.openxmlformats.org/officeDocument/2006/relationships/slideLayout" Target="../slideLayouts/slideLayout318.xml"/><Relationship Id="rId41" Type="http://schemas.openxmlformats.org/officeDocument/2006/relationships/slideLayout" Target="../slideLayouts/slideLayout339.xml"/><Relationship Id="rId62" Type="http://schemas.openxmlformats.org/officeDocument/2006/relationships/slideLayout" Target="../slideLayouts/slideLayout360.xml"/><Relationship Id="rId83" Type="http://schemas.openxmlformats.org/officeDocument/2006/relationships/slideLayout" Target="../slideLayouts/slideLayout381.xml"/><Relationship Id="rId179" Type="http://schemas.openxmlformats.org/officeDocument/2006/relationships/slideLayout" Target="../slideLayouts/slideLayout477.xml"/><Relationship Id="rId365" Type="http://schemas.openxmlformats.org/officeDocument/2006/relationships/slideLayout" Target="../slideLayouts/slideLayout663.xml"/><Relationship Id="rId386" Type="http://schemas.openxmlformats.org/officeDocument/2006/relationships/slideLayout" Target="../slideLayouts/slideLayout684.xml"/><Relationship Id="rId190" Type="http://schemas.openxmlformats.org/officeDocument/2006/relationships/slideLayout" Target="../slideLayouts/slideLayout488.xml"/><Relationship Id="rId204" Type="http://schemas.openxmlformats.org/officeDocument/2006/relationships/slideLayout" Target="../slideLayouts/slideLayout502.xml"/><Relationship Id="rId225" Type="http://schemas.openxmlformats.org/officeDocument/2006/relationships/slideLayout" Target="../slideLayouts/slideLayout523.xml"/><Relationship Id="rId246" Type="http://schemas.openxmlformats.org/officeDocument/2006/relationships/slideLayout" Target="../slideLayouts/slideLayout544.xml"/><Relationship Id="rId267" Type="http://schemas.openxmlformats.org/officeDocument/2006/relationships/slideLayout" Target="../slideLayouts/slideLayout565.xml"/><Relationship Id="rId288" Type="http://schemas.openxmlformats.org/officeDocument/2006/relationships/slideLayout" Target="../slideLayouts/slideLayout586.xml"/><Relationship Id="rId106" Type="http://schemas.openxmlformats.org/officeDocument/2006/relationships/slideLayout" Target="../slideLayouts/slideLayout404.xml"/><Relationship Id="rId127" Type="http://schemas.openxmlformats.org/officeDocument/2006/relationships/slideLayout" Target="../slideLayouts/slideLayout425.xml"/><Relationship Id="rId313" Type="http://schemas.openxmlformats.org/officeDocument/2006/relationships/slideLayout" Target="../slideLayouts/slideLayout611.xml"/><Relationship Id="rId10" Type="http://schemas.openxmlformats.org/officeDocument/2006/relationships/slideLayout" Target="../slideLayouts/slideLayout308.xml"/><Relationship Id="rId31" Type="http://schemas.openxmlformats.org/officeDocument/2006/relationships/slideLayout" Target="../slideLayouts/slideLayout329.xml"/><Relationship Id="rId52" Type="http://schemas.openxmlformats.org/officeDocument/2006/relationships/slideLayout" Target="../slideLayouts/slideLayout350.xml"/><Relationship Id="rId73" Type="http://schemas.openxmlformats.org/officeDocument/2006/relationships/slideLayout" Target="../slideLayouts/slideLayout371.xml"/><Relationship Id="rId94" Type="http://schemas.openxmlformats.org/officeDocument/2006/relationships/slideLayout" Target="../slideLayouts/slideLayout392.xml"/><Relationship Id="rId148" Type="http://schemas.openxmlformats.org/officeDocument/2006/relationships/slideLayout" Target="../slideLayouts/slideLayout446.xml"/><Relationship Id="rId169" Type="http://schemas.openxmlformats.org/officeDocument/2006/relationships/slideLayout" Target="../slideLayouts/slideLayout467.xml"/><Relationship Id="rId334" Type="http://schemas.openxmlformats.org/officeDocument/2006/relationships/slideLayout" Target="../slideLayouts/slideLayout632.xml"/><Relationship Id="rId355" Type="http://schemas.openxmlformats.org/officeDocument/2006/relationships/slideLayout" Target="../slideLayouts/slideLayout653.xml"/><Relationship Id="rId376" Type="http://schemas.openxmlformats.org/officeDocument/2006/relationships/slideLayout" Target="../slideLayouts/slideLayout674.xml"/><Relationship Id="rId4" Type="http://schemas.openxmlformats.org/officeDocument/2006/relationships/slideLayout" Target="../slideLayouts/slideLayout302.xml"/><Relationship Id="rId180" Type="http://schemas.openxmlformats.org/officeDocument/2006/relationships/slideLayout" Target="../slideLayouts/slideLayout478.xml"/><Relationship Id="rId215" Type="http://schemas.openxmlformats.org/officeDocument/2006/relationships/slideLayout" Target="../slideLayouts/slideLayout513.xml"/><Relationship Id="rId236" Type="http://schemas.openxmlformats.org/officeDocument/2006/relationships/slideLayout" Target="../slideLayouts/slideLayout534.xml"/><Relationship Id="rId257" Type="http://schemas.openxmlformats.org/officeDocument/2006/relationships/slideLayout" Target="../slideLayouts/slideLayout555.xml"/><Relationship Id="rId278" Type="http://schemas.openxmlformats.org/officeDocument/2006/relationships/slideLayout" Target="../slideLayouts/slideLayout576.xml"/><Relationship Id="rId303" Type="http://schemas.openxmlformats.org/officeDocument/2006/relationships/slideLayout" Target="../slideLayouts/slideLayout601.xml"/><Relationship Id="rId42" Type="http://schemas.openxmlformats.org/officeDocument/2006/relationships/slideLayout" Target="../slideLayouts/slideLayout340.xml"/><Relationship Id="rId84" Type="http://schemas.openxmlformats.org/officeDocument/2006/relationships/slideLayout" Target="../slideLayouts/slideLayout382.xml"/><Relationship Id="rId138" Type="http://schemas.openxmlformats.org/officeDocument/2006/relationships/slideLayout" Target="../slideLayouts/slideLayout436.xml"/><Relationship Id="rId345" Type="http://schemas.openxmlformats.org/officeDocument/2006/relationships/slideLayout" Target="../slideLayouts/slideLayout643.xml"/><Relationship Id="rId387" Type="http://schemas.openxmlformats.org/officeDocument/2006/relationships/slideLayout" Target="../slideLayouts/slideLayout685.xml"/><Relationship Id="rId191" Type="http://schemas.openxmlformats.org/officeDocument/2006/relationships/slideLayout" Target="../slideLayouts/slideLayout489.xml"/><Relationship Id="rId205" Type="http://schemas.openxmlformats.org/officeDocument/2006/relationships/slideLayout" Target="../slideLayouts/slideLayout503.xml"/><Relationship Id="rId247" Type="http://schemas.openxmlformats.org/officeDocument/2006/relationships/slideLayout" Target="../slideLayouts/slideLayout545.xml"/><Relationship Id="rId107" Type="http://schemas.openxmlformats.org/officeDocument/2006/relationships/slideLayout" Target="../slideLayouts/slideLayout405.xml"/><Relationship Id="rId289" Type="http://schemas.openxmlformats.org/officeDocument/2006/relationships/slideLayout" Target="../slideLayouts/slideLayout587.xml"/><Relationship Id="rId11" Type="http://schemas.openxmlformats.org/officeDocument/2006/relationships/slideLayout" Target="../slideLayouts/slideLayout309.xml"/><Relationship Id="rId53" Type="http://schemas.openxmlformats.org/officeDocument/2006/relationships/slideLayout" Target="../slideLayouts/slideLayout351.xml"/><Relationship Id="rId149" Type="http://schemas.openxmlformats.org/officeDocument/2006/relationships/slideLayout" Target="../slideLayouts/slideLayout447.xml"/><Relationship Id="rId314" Type="http://schemas.openxmlformats.org/officeDocument/2006/relationships/slideLayout" Target="../slideLayouts/slideLayout612.xml"/><Relationship Id="rId356" Type="http://schemas.openxmlformats.org/officeDocument/2006/relationships/slideLayout" Target="../slideLayouts/slideLayout654.xml"/><Relationship Id="rId95" Type="http://schemas.openxmlformats.org/officeDocument/2006/relationships/slideLayout" Target="../slideLayouts/slideLayout393.xml"/><Relationship Id="rId160" Type="http://schemas.openxmlformats.org/officeDocument/2006/relationships/slideLayout" Target="../slideLayouts/slideLayout458.xml"/><Relationship Id="rId216" Type="http://schemas.openxmlformats.org/officeDocument/2006/relationships/slideLayout" Target="../slideLayouts/slideLayout514.xml"/><Relationship Id="rId258" Type="http://schemas.openxmlformats.org/officeDocument/2006/relationships/slideLayout" Target="../slideLayouts/slideLayout556.xml"/><Relationship Id="rId22" Type="http://schemas.openxmlformats.org/officeDocument/2006/relationships/slideLayout" Target="../slideLayouts/slideLayout320.xml"/><Relationship Id="rId64" Type="http://schemas.openxmlformats.org/officeDocument/2006/relationships/slideLayout" Target="../slideLayouts/slideLayout362.xml"/><Relationship Id="rId118" Type="http://schemas.openxmlformats.org/officeDocument/2006/relationships/slideLayout" Target="../slideLayouts/slideLayout416.xml"/><Relationship Id="rId325" Type="http://schemas.openxmlformats.org/officeDocument/2006/relationships/slideLayout" Target="../slideLayouts/slideLayout623.xml"/><Relationship Id="rId367" Type="http://schemas.openxmlformats.org/officeDocument/2006/relationships/slideLayout" Target="../slideLayouts/slideLayout665.xml"/><Relationship Id="rId171" Type="http://schemas.openxmlformats.org/officeDocument/2006/relationships/slideLayout" Target="../slideLayouts/slideLayout469.xml"/><Relationship Id="rId227" Type="http://schemas.openxmlformats.org/officeDocument/2006/relationships/slideLayout" Target="../slideLayouts/slideLayout525.xml"/><Relationship Id="rId269" Type="http://schemas.openxmlformats.org/officeDocument/2006/relationships/slideLayout" Target="../slideLayouts/slideLayout567.xml"/><Relationship Id="rId33" Type="http://schemas.openxmlformats.org/officeDocument/2006/relationships/slideLayout" Target="../slideLayouts/slideLayout331.xml"/><Relationship Id="rId129" Type="http://schemas.openxmlformats.org/officeDocument/2006/relationships/slideLayout" Target="../slideLayouts/slideLayout427.xml"/><Relationship Id="rId280" Type="http://schemas.openxmlformats.org/officeDocument/2006/relationships/slideLayout" Target="../slideLayouts/slideLayout578.xml"/><Relationship Id="rId336" Type="http://schemas.openxmlformats.org/officeDocument/2006/relationships/slideLayout" Target="../slideLayouts/slideLayout634.xml"/><Relationship Id="rId75" Type="http://schemas.openxmlformats.org/officeDocument/2006/relationships/slideLayout" Target="../slideLayouts/slideLayout373.xml"/><Relationship Id="rId140" Type="http://schemas.openxmlformats.org/officeDocument/2006/relationships/slideLayout" Target="../slideLayouts/slideLayout438.xml"/><Relationship Id="rId182" Type="http://schemas.openxmlformats.org/officeDocument/2006/relationships/slideLayout" Target="../slideLayouts/slideLayout480.xml"/><Relationship Id="rId378" Type="http://schemas.openxmlformats.org/officeDocument/2006/relationships/slideLayout" Target="../slideLayouts/slideLayout676.xml"/><Relationship Id="rId6" Type="http://schemas.openxmlformats.org/officeDocument/2006/relationships/slideLayout" Target="../slideLayouts/slideLayout304.xml"/><Relationship Id="rId238" Type="http://schemas.openxmlformats.org/officeDocument/2006/relationships/slideLayout" Target="../slideLayouts/slideLayout536.xml"/><Relationship Id="rId291" Type="http://schemas.openxmlformats.org/officeDocument/2006/relationships/slideLayout" Target="../slideLayouts/slideLayout589.xml"/><Relationship Id="rId305" Type="http://schemas.openxmlformats.org/officeDocument/2006/relationships/slideLayout" Target="../slideLayouts/slideLayout603.xml"/><Relationship Id="rId347" Type="http://schemas.openxmlformats.org/officeDocument/2006/relationships/slideLayout" Target="../slideLayouts/slideLayout645.xml"/><Relationship Id="rId44" Type="http://schemas.openxmlformats.org/officeDocument/2006/relationships/slideLayout" Target="../slideLayouts/slideLayout342.xml"/><Relationship Id="rId86" Type="http://schemas.openxmlformats.org/officeDocument/2006/relationships/slideLayout" Target="../slideLayouts/slideLayout384.xml"/><Relationship Id="rId151" Type="http://schemas.openxmlformats.org/officeDocument/2006/relationships/slideLayout" Target="../slideLayouts/slideLayout449.xml"/><Relationship Id="rId389" Type="http://schemas.openxmlformats.org/officeDocument/2006/relationships/theme" Target="../theme/theme3.xml"/><Relationship Id="rId193" Type="http://schemas.openxmlformats.org/officeDocument/2006/relationships/slideLayout" Target="../slideLayouts/slideLayout491.xml"/><Relationship Id="rId207" Type="http://schemas.openxmlformats.org/officeDocument/2006/relationships/slideLayout" Target="../slideLayouts/slideLayout505.xml"/><Relationship Id="rId249" Type="http://schemas.openxmlformats.org/officeDocument/2006/relationships/slideLayout" Target="../slideLayouts/slideLayout547.xml"/><Relationship Id="rId13" Type="http://schemas.openxmlformats.org/officeDocument/2006/relationships/slideLayout" Target="../slideLayouts/slideLayout311.xml"/><Relationship Id="rId109" Type="http://schemas.openxmlformats.org/officeDocument/2006/relationships/slideLayout" Target="../slideLayouts/slideLayout407.xml"/><Relationship Id="rId260" Type="http://schemas.openxmlformats.org/officeDocument/2006/relationships/slideLayout" Target="../slideLayouts/slideLayout558.xml"/><Relationship Id="rId316" Type="http://schemas.openxmlformats.org/officeDocument/2006/relationships/slideLayout" Target="../slideLayouts/slideLayout614.xml"/><Relationship Id="rId55" Type="http://schemas.openxmlformats.org/officeDocument/2006/relationships/slideLayout" Target="../slideLayouts/slideLayout353.xml"/><Relationship Id="rId97" Type="http://schemas.openxmlformats.org/officeDocument/2006/relationships/slideLayout" Target="../slideLayouts/slideLayout395.xml"/><Relationship Id="rId120" Type="http://schemas.openxmlformats.org/officeDocument/2006/relationships/slideLayout" Target="../slideLayouts/slideLayout418.xml"/><Relationship Id="rId358" Type="http://schemas.openxmlformats.org/officeDocument/2006/relationships/slideLayout" Target="../slideLayouts/slideLayout656.xml"/><Relationship Id="rId162" Type="http://schemas.openxmlformats.org/officeDocument/2006/relationships/slideLayout" Target="../slideLayouts/slideLayout460.xml"/><Relationship Id="rId218" Type="http://schemas.openxmlformats.org/officeDocument/2006/relationships/slideLayout" Target="../slideLayouts/slideLayout516.xml"/><Relationship Id="rId271" Type="http://schemas.openxmlformats.org/officeDocument/2006/relationships/slideLayout" Target="../slideLayouts/slideLayout569.xml"/><Relationship Id="rId24" Type="http://schemas.openxmlformats.org/officeDocument/2006/relationships/slideLayout" Target="../slideLayouts/slideLayout322.xml"/><Relationship Id="rId66" Type="http://schemas.openxmlformats.org/officeDocument/2006/relationships/slideLayout" Target="../slideLayouts/slideLayout364.xml"/><Relationship Id="rId131" Type="http://schemas.openxmlformats.org/officeDocument/2006/relationships/slideLayout" Target="../slideLayouts/slideLayout429.xml"/><Relationship Id="rId327" Type="http://schemas.openxmlformats.org/officeDocument/2006/relationships/slideLayout" Target="../slideLayouts/slideLayout625.xml"/><Relationship Id="rId369" Type="http://schemas.openxmlformats.org/officeDocument/2006/relationships/slideLayout" Target="../slideLayouts/slideLayout667.xml"/><Relationship Id="rId173" Type="http://schemas.openxmlformats.org/officeDocument/2006/relationships/slideLayout" Target="../slideLayouts/slideLayout471.xml"/><Relationship Id="rId229" Type="http://schemas.openxmlformats.org/officeDocument/2006/relationships/slideLayout" Target="../slideLayouts/slideLayout527.xml"/><Relationship Id="rId380" Type="http://schemas.openxmlformats.org/officeDocument/2006/relationships/slideLayout" Target="../slideLayouts/slideLayout678.xml"/><Relationship Id="rId240" Type="http://schemas.openxmlformats.org/officeDocument/2006/relationships/slideLayout" Target="../slideLayouts/slideLayout538.xml"/><Relationship Id="rId35" Type="http://schemas.openxmlformats.org/officeDocument/2006/relationships/slideLayout" Target="../slideLayouts/slideLayout333.xml"/><Relationship Id="rId77" Type="http://schemas.openxmlformats.org/officeDocument/2006/relationships/slideLayout" Target="../slideLayouts/slideLayout375.xml"/><Relationship Id="rId100" Type="http://schemas.openxmlformats.org/officeDocument/2006/relationships/slideLayout" Target="../slideLayouts/slideLayout398.xml"/><Relationship Id="rId282" Type="http://schemas.openxmlformats.org/officeDocument/2006/relationships/slideLayout" Target="../slideLayouts/slideLayout580.xml"/><Relationship Id="rId338" Type="http://schemas.openxmlformats.org/officeDocument/2006/relationships/slideLayout" Target="../slideLayouts/slideLayout636.xml"/><Relationship Id="rId8" Type="http://schemas.openxmlformats.org/officeDocument/2006/relationships/slideLayout" Target="../slideLayouts/slideLayout306.xml"/><Relationship Id="rId142" Type="http://schemas.openxmlformats.org/officeDocument/2006/relationships/slideLayout" Target="../slideLayouts/slideLayout440.xml"/><Relationship Id="rId184" Type="http://schemas.openxmlformats.org/officeDocument/2006/relationships/slideLayout" Target="../slideLayouts/slideLayout482.xml"/><Relationship Id="rId251" Type="http://schemas.openxmlformats.org/officeDocument/2006/relationships/slideLayout" Target="../slideLayouts/slideLayout549.xml"/><Relationship Id="rId46" Type="http://schemas.openxmlformats.org/officeDocument/2006/relationships/slideLayout" Target="../slideLayouts/slideLayout344.xml"/><Relationship Id="rId293" Type="http://schemas.openxmlformats.org/officeDocument/2006/relationships/slideLayout" Target="../slideLayouts/slideLayout591.xml"/><Relationship Id="rId307" Type="http://schemas.openxmlformats.org/officeDocument/2006/relationships/slideLayout" Target="../slideLayouts/slideLayout605.xml"/><Relationship Id="rId349" Type="http://schemas.openxmlformats.org/officeDocument/2006/relationships/slideLayout" Target="../slideLayouts/slideLayout647.xml"/><Relationship Id="rId88" Type="http://schemas.openxmlformats.org/officeDocument/2006/relationships/slideLayout" Target="../slideLayouts/slideLayout386.xml"/><Relationship Id="rId111" Type="http://schemas.openxmlformats.org/officeDocument/2006/relationships/slideLayout" Target="../slideLayouts/slideLayout409.xml"/><Relationship Id="rId153" Type="http://schemas.openxmlformats.org/officeDocument/2006/relationships/slideLayout" Target="../slideLayouts/slideLayout451.xml"/><Relationship Id="rId195" Type="http://schemas.openxmlformats.org/officeDocument/2006/relationships/slideLayout" Target="../slideLayouts/slideLayout493.xml"/><Relationship Id="rId209" Type="http://schemas.openxmlformats.org/officeDocument/2006/relationships/slideLayout" Target="../slideLayouts/slideLayout507.xml"/><Relationship Id="rId360" Type="http://schemas.openxmlformats.org/officeDocument/2006/relationships/slideLayout" Target="../slideLayouts/slideLayout658.xml"/><Relationship Id="rId220" Type="http://schemas.openxmlformats.org/officeDocument/2006/relationships/slideLayout" Target="../slideLayouts/slideLayout518.xml"/><Relationship Id="rId15" Type="http://schemas.openxmlformats.org/officeDocument/2006/relationships/slideLayout" Target="../slideLayouts/slideLayout313.xml"/><Relationship Id="rId57" Type="http://schemas.openxmlformats.org/officeDocument/2006/relationships/slideLayout" Target="../slideLayouts/slideLayout355.xml"/><Relationship Id="rId262" Type="http://schemas.openxmlformats.org/officeDocument/2006/relationships/slideLayout" Target="../slideLayouts/slideLayout560.xml"/><Relationship Id="rId318" Type="http://schemas.openxmlformats.org/officeDocument/2006/relationships/slideLayout" Target="../slideLayouts/slideLayout616.xml"/><Relationship Id="rId99" Type="http://schemas.openxmlformats.org/officeDocument/2006/relationships/slideLayout" Target="../slideLayouts/slideLayout397.xml"/><Relationship Id="rId122" Type="http://schemas.openxmlformats.org/officeDocument/2006/relationships/slideLayout" Target="../slideLayouts/slideLayout420.xml"/><Relationship Id="rId164" Type="http://schemas.openxmlformats.org/officeDocument/2006/relationships/slideLayout" Target="../slideLayouts/slideLayout462.xml"/><Relationship Id="rId371" Type="http://schemas.openxmlformats.org/officeDocument/2006/relationships/slideLayout" Target="../slideLayouts/slideLayout669.xml"/><Relationship Id="rId26" Type="http://schemas.openxmlformats.org/officeDocument/2006/relationships/slideLayout" Target="../slideLayouts/slideLayout324.xml"/><Relationship Id="rId231" Type="http://schemas.openxmlformats.org/officeDocument/2006/relationships/slideLayout" Target="../slideLayouts/slideLayout529.xml"/><Relationship Id="rId273" Type="http://schemas.openxmlformats.org/officeDocument/2006/relationships/slideLayout" Target="../slideLayouts/slideLayout571.xml"/><Relationship Id="rId329" Type="http://schemas.openxmlformats.org/officeDocument/2006/relationships/slideLayout" Target="../slideLayouts/slideLayout627.xml"/><Relationship Id="rId68" Type="http://schemas.openxmlformats.org/officeDocument/2006/relationships/slideLayout" Target="../slideLayouts/slideLayout366.xml"/><Relationship Id="rId133" Type="http://schemas.openxmlformats.org/officeDocument/2006/relationships/slideLayout" Target="../slideLayouts/slideLayout431.xml"/><Relationship Id="rId175" Type="http://schemas.openxmlformats.org/officeDocument/2006/relationships/slideLayout" Target="../slideLayouts/slideLayout473.xml"/><Relationship Id="rId340" Type="http://schemas.openxmlformats.org/officeDocument/2006/relationships/slideLayout" Target="../slideLayouts/slideLayout6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94.xml"/><Relationship Id="rId13" Type="http://schemas.openxmlformats.org/officeDocument/2006/relationships/slideLayout" Target="../slideLayouts/slideLayout699.xml"/><Relationship Id="rId3" Type="http://schemas.openxmlformats.org/officeDocument/2006/relationships/slideLayout" Target="../slideLayouts/slideLayout689.xml"/><Relationship Id="rId7" Type="http://schemas.openxmlformats.org/officeDocument/2006/relationships/slideLayout" Target="../slideLayouts/slideLayout693.xml"/><Relationship Id="rId12" Type="http://schemas.openxmlformats.org/officeDocument/2006/relationships/slideLayout" Target="../slideLayouts/slideLayout698.xml"/><Relationship Id="rId17" Type="http://schemas.openxmlformats.org/officeDocument/2006/relationships/theme" Target="../theme/theme4.xml"/><Relationship Id="rId2" Type="http://schemas.openxmlformats.org/officeDocument/2006/relationships/slideLayout" Target="../slideLayouts/slideLayout688.xml"/><Relationship Id="rId16" Type="http://schemas.openxmlformats.org/officeDocument/2006/relationships/slideLayout" Target="../slideLayouts/slideLayout702.xml"/><Relationship Id="rId1" Type="http://schemas.openxmlformats.org/officeDocument/2006/relationships/slideLayout" Target="../slideLayouts/slideLayout687.xml"/><Relationship Id="rId6" Type="http://schemas.openxmlformats.org/officeDocument/2006/relationships/slideLayout" Target="../slideLayouts/slideLayout692.xml"/><Relationship Id="rId11" Type="http://schemas.openxmlformats.org/officeDocument/2006/relationships/slideLayout" Target="../slideLayouts/slideLayout697.xml"/><Relationship Id="rId5" Type="http://schemas.openxmlformats.org/officeDocument/2006/relationships/slideLayout" Target="../slideLayouts/slideLayout691.xml"/><Relationship Id="rId15" Type="http://schemas.openxmlformats.org/officeDocument/2006/relationships/slideLayout" Target="../slideLayouts/slideLayout701.xml"/><Relationship Id="rId10" Type="http://schemas.openxmlformats.org/officeDocument/2006/relationships/slideLayout" Target="../slideLayouts/slideLayout696.xml"/><Relationship Id="rId4" Type="http://schemas.openxmlformats.org/officeDocument/2006/relationships/slideLayout" Target="../slideLayouts/slideLayout690.xml"/><Relationship Id="rId9" Type="http://schemas.openxmlformats.org/officeDocument/2006/relationships/slideLayout" Target="../slideLayouts/slideLayout695.xml"/><Relationship Id="rId14" Type="http://schemas.openxmlformats.org/officeDocument/2006/relationships/slideLayout" Target="../slideLayouts/slideLayout700.xml"/></Relationships>
</file>

<file path=ppt/slideMasters/_rels/slideMaster5.xml.rels><?xml version="1.0" encoding="UTF-8" standalone="yes"?>
<Relationships xmlns="http://schemas.openxmlformats.org/package/2006/relationships"><Relationship Id="rId117" Type="http://schemas.openxmlformats.org/officeDocument/2006/relationships/slideLayout" Target="../slideLayouts/slideLayout819.xml"/><Relationship Id="rId21" Type="http://schemas.openxmlformats.org/officeDocument/2006/relationships/slideLayout" Target="../slideLayouts/slideLayout723.xml"/><Relationship Id="rId324" Type="http://schemas.openxmlformats.org/officeDocument/2006/relationships/slideLayout" Target="../slideLayouts/slideLayout1026.xml"/><Relationship Id="rId531" Type="http://schemas.openxmlformats.org/officeDocument/2006/relationships/slideLayout" Target="../slideLayouts/slideLayout1233.xml"/><Relationship Id="rId629" Type="http://schemas.openxmlformats.org/officeDocument/2006/relationships/slideLayout" Target="../slideLayouts/slideLayout1331.xml"/><Relationship Id="rId170" Type="http://schemas.openxmlformats.org/officeDocument/2006/relationships/slideLayout" Target="../slideLayouts/slideLayout872.xml"/><Relationship Id="rId268" Type="http://schemas.openxmlformats.org/officeDocument/2006/relationships/slideLayout" Target="../slideLayouts/slideLayout970.xml"/><Relationship Id="rId475" Type="http://schemas.openxmlformats.org/officeDocument/2006/relationships/slideLayout" Target="../slideLayouts/slideLayout1177.xml"/><Relationship Id="rId32" Type="http://schemas.openxmlformats.org/officeDocument/2006/relationships/slideLayout" Target="../slideLayouts/slideLayout734.xml"/><Relationship Id="rId128" Type="http://schemas.openxmlformats.org/officeDocument/2006/relationships/slideLayout" Target="../slideLayouts/slideLayout830.xml"/><Relationship Id="rId335" Type="http://schemas.openxmlformats.org/officeDocument/2006/relationships/slideLayout" Target="../slideLayouts/slideLayout1037.xml"/><Relationship Id="rId542" Type="http://schemas.openxmlformats.org/officeDocument/2006/relationships/slideLayout" Target="../slideLayouts/slideLayout1244.xml"/><Relationship Id="rId181" Type="http://schemas.openxmlformats.org/officeDocument/2006/relationships/slideLayout" Target="../slideLayouts/slideLayout883.xml"/><Relationship Id="rId402" Type="http://schemas.openxmlformats.org/officeDocument/2006/relationships/slideLayout" Target="../slideLayouts/slideLayout1104.xml"/><Relationship Id="rId279" Type="http://schemas.openxmlformats.org/officeDocument/2006/relationships/slideLayout" Target="../slideLayouts/slideLayout981.xml"/><Relationship Id="rId486" Type="http://schemas.openxmlformats.org/officeDocument/2006/relationships/slideLayout" Target="../slideLayouts/slideLayout1188.xml"/><Relationship Id="rId43" Type="http://schemas.openxmlformats.org/officeDocument/2006/relationships/slideLayout" Target="../slideLayouts/slideLayout745.xml"/><Relationship Id="rId139" Type="http://schemas.openxmlformats.org/officeDocument/2006/relationships/slideLayout" Target="../slideLayouts/slideLayout841.xml"/><Relationship Id="rId346" Type="http://schemas.openxmlformats.org/officeDocument/2006/relationships/slideLayout" Target="../slideLayouts/slideLayout1048.xml"/><Relationship Id="rId553" Type="http://schemas.openxmlformats.org/officeDocument/2006/relationships/slideLayout" Target="../slideLayouts/slideLayout1255.xml"/><Relationship Id="rId192" Type="http://schemas.openxmlformats.org/officeDocument/2006/relationships/slideLayout" Target="../slideLayouts/slideLayout894.xml"/><Relationship Id="rId206" Type="http://schemas.openxmlformats.org/officeDocument/2006/relationships/slideLayout" Target="../slideLayouts/slideLayout908.xml"/><Relationship Id="rId413" Type="http://schemas.openxmlformats.org/officeDocument/2006/relationships/slideLayout" Target="../slideLayouts/slideLayout1115.xml"/><Relationship Id="rId497" Type="http://schemas.openxmlformats.org/officeDocument/2006/relationships/slideLayout" Target="../slideLayouts/slideLayout1199.xml"/><Relationship Id="rId620" Type="http://schemas.openxmlformats.org/officeDocument/2006/relationships/slideLayout" Target="../slideLayouts/slideLayout1322.xml"/><Relationship Id="rId357" Type="http://schemas.openxmlformats.org/officeDocument/2006/relationships/slideLayout" Target="../slideLayouts/slideLayout1059.xml"/><Relationship Id="rId54" Type="http://schemas.openxmlformats.org/officeDocument/2006/relationships/slideLayout" Target="../slideLayouts/slideLayout756.xml"/><Relationship Id="rId217" Type="http://schemas.openxmlformats.org/officeDocument/2006/relationships/slideLayout" Target="../slideLayouts/slideLayout919.xml"/><Relationship Id="rId564" Type="http://schemas.openxmlformats.org/officeDocument/2006/relationships/slideLayout" Target="../slideLayouts/slideLayout1266.xml"/><Relationship Id="rId424" Type="http://schemas.openxmlformats.org/officeDocument/2006/relationships/slideLayout" Target="../slideLayouts/slideLayout1126.xml"/><Relationship Id="rId631" Type="http://schemas.openxmlformats.org/officeDocument/2006/relationships/slideLayout" Target="../slideLayouts/slideLayout1333.xml"/><Relationship Id="rId270" Type="http://schemas.openxmlformats.org/officeDocument/2006/relationships/slideLayout" Target="../slideLayouts/slideLayout972.xml"/><Relationship Id="rId65" Type="http://schemas.openxmlformats.org/officeDocument/2006/relationships/slideLayout" Target="../slideLayouts/slideLayout767.xml"/><Relationship Id="rId130" Type="http://schemas.openxmlformats.org/officeDocument/2006/relationships/slideLayout" Target="../slideLayouts/slideLayout832.xml"/><Relationship Id="rId368" Type="http://schemas.openxmlformats.org/officeDocument/2006/relationships/slideLayout" Target="../slideLayouts/slideLayout1070.xml"/><Relationship Id="rId575" Type="http://schemas.openxmlformats.org/officeDocument/2006/relationships/slideLayout" Target="../slideLayouts/slideLayout1277.xml"/><Relationship Id="rId228" Type="http://schemas.openxmlformats.org/officeDocument/2006/relationships/slideLayout" Target="../slideLayouts/slideLayout930.xml"/><Relationship Id="rId435" Type="http://schemas.openxmlformats.org/officeDocument/2006/relationships/slideLayout" Target="../slideLayouts/slideLayout1137.xml"/><Relationship Id="rId281" Type="http://schemas.openxmlformats.org/officeDocument/2006/relationships/slideLayout" Target="../slideLayouts/slideLayout983.xml"/><Relationship Id="rId502" Type="http://schemas.openxmlformats.org/officeDocument/2006/relationships/slideLayout" Target="../slideLayouts/slideLayout1204.xml"/><Relationship Id="rId76" Type="http://schemas.openxmlformats.org/officeDocument/2006/relationships/slideLayout" Target="../slideLayouts/slideLayout778.xml"/><Relationship Id="rId141" Type="http://schemas.openxmlformats.org/officeDocument/2006/relationships/slideLayout" Target="../slideLayouts/slideLayout843.xml"/><Relationship Id="rId379" Type="http://schemas.openxmlformats.org/officeDocument/2006/relationships/slideLayout" Target="../slideLayouts/slideLayout1081.xml"/><Relationship Id="rId586" Type="http://schemas.openxmlformats.org/officeDocument/2006/relationships/slideLayout" Target="../slideLayouts/slideLayout1288.xml"/><Relationship Id="rId7" Type="http://schemas.openxmlformats.org/officeDocument/2006/relationships/slideLayout" Target="../slideLayouts/slideLayout709.xml"/><Relationship Id="rId239" Type="http://schemas.openxmlformats.org/officeDocument/2006/relationships/slideLayout" Target="../slideLayouts/slideLayout941.xml"/><Relationship Id="rId446" Type="http://schemas.openxmlformats.org/officeDocument/2006/relationships/slideLayout" Target="../slideLayouts/slideLayout1148.xml"/><Relationship Id="rId292" Type="http://schemas.openxmlformats.org/officeDocument/2006/relationships/slideLayout" Target="../slideLayouts/slideLayout994.xml"/><Relationship Id="rId306" Type="http://schemas.openxmlformats.org/officeDocument/2006/relationships/slideLayout" Target="../slideLayouts/slideLayout1008.xml"/><Relationship Id="rId87" Type="http://schemas.openxmlformats.org/officeDocument/2006/relationships/slideLayout" Target="../slideLayouts/slideLayout789.xml"/><Relationship Id="rId513" Type="http://schemas.openxmlformats.org/officeDocument/2006/relationships/slideLayout" Target="../slideLayouts/slideLayout1215.xml"/><Relationship Id="rId597" Type="http://schemas.openxmlformats.org/officeDocument/2006/relationships/slideLayout" Target="../slideLayouts/slideLayout1299.xml"/><Relationship Id="rId152" Type="http://schemas.openxmlformats.org/officeDocument/2006/relationships/slideLayout" Target="../slideLayouts/slideLayout854.xml"/><Relationship Id="rId457" Type="http://schemas.openxmlformats.org/officeDocument/2006/relationships/slideLayout" Target="../slideLayouts/slideLayout1159.xml"/><Relationship Id="rId14" Type="http://schemas.openxmlformats.org/officeDocument/2006/relationships/slideLayout" Target="../slideLayouts/slideLayout716.xml"/><Relationship Id="rId317" Type="http://schemas.openxmlformats.org/officeDocument/2006/relationships/slideLayout" Target="../slideLayouts/slideLayout1019.xml"/><Relationship Id="rId524" Type="http://schemas.openxmlformats.org/officeDocument/2006/relationships/slideLayout" Target="../slideLayouts/slideLayout1226.xml"/><Relationship Id="rId98" Type="http://schemas.openxmlformats.org/officeDocument/2006/relationships/slideLayout" Target="../slideLayouts/slideLayout800.xml"/><Relationship Id="rId163" Type="http://schemas.openxmlformats.org/officeDocument/2006/relationships/slideLayout" Target="../slideLayouts/slideLayout865.xml"/><Relationship Id="rId370" Type="http://schemas.openxmlformats.org/officeDocument/2006/relationships/slideLayout" Target="../slideLayouts/slideLayout1072.xml"/><Relationship Id="rId230" Type="http://schemas.openxmlformats.org/officeDocument/2006/relationships/slideLayout" Target="../slideLayouts/slideLayout932.xml"/><Relationship Id="rId468" Type="http://schemas.openxmlformats.org/officeDocument/2006/relationships/slideLayout" Target="../slideLayouts/slideLayout1170.xml"/><Relationship Id="rId25" Type="http://schemas.openxmlformats.org/officeDocument/2006/relationships/slideLayout" Target="../slideLayouts/slideLayout727.xml"/><Relationship Id="rId328" Type="http://schemas.openxmlformats.org/officeDocument/2006/relationships/slideLayout" Target="../slideLayouts/slideLayout1030.xml"/><Relationship Id="rId535" Type="http://schemas.openxmlformats.org/officeDocument/2006/relationships/slideLayout" Target="../slideLayouts/slideLayout1237.xml"/><Relationship Id="rId174" Type="http://schemas.openxmlformats.org/officeDocument/2006/relationships/slideLayout" Target="../slideLayouts/slideLayout876.xml"/><Relationship Id="rId381" Type="http://schemas.openxmlformats.org/officeDocument/2006/relationships/slideLayout" Target="../slideLayouts/slideLayout1083.xml"/><Relationship Id="rId602" Type="http://schemas.openxmlformats.org/officeDocument/2006/relationships/slideLayout" Target="../slideLayouts/slideLayout1304.xml"/><Relationship Id="rId241" Type="http://schemas.openxmlformats.org/officeDocument/2006/relationships/slideLayout" Target="../slideLayouts/slideLayout943.xml"/><Relationship Id="rId479" Type="http://schemas.openxmlformats.org/officeDocument/2006/relationships/slideLayout" Target="../slideLayouts/slideLayout1181.xml"/><Relationship Id="rId36" Type="http://schemas.openxmlformats.org/officeDocument/2006/relationships/slideLayout" Target="../slideLayouts/slideLayout738.xml"/><Relationship Id="rId339" Type="http://schemas.openxmlformats.org/officeDocument/2006/relationships/slideLayout" Target="../slideLayouts/slideLayout1041.xml"/><Relationship Id="rId546" Type="http://schemas.openxmlformats.org/officeDocument/2006/relationships/slideLayout" Target="../slideLayouts/slideLayout1248.xml"/><Relationship Id="rId101" Type="http://schemas.openxmlformats.org/officeDocument/2006/relationships/slideLayout" Target="../slideLayouts/slideLayout803.xml"/><Relationship Id="rId185" Type="http://schemas.openxmlformats.org/officeDocument/2006/relationships/slideLayout" Target="../slideLayouts/slideLayout887.xml"/><Relationship Id="rId406" Type="http://schemas.openxmlformats.org/officeDocument/2006/relationships/slideLayout" Target="../slideLayouts/slideLayout1108.xml"/><Relationship Id="rId392" Type="http://schemas.openxmlformats.org/officeDocument/2006/relationships/slideLayout" Target="../slideLayouts/slideLayout1094.xml"/><Relationship Id="rId613" Type="http://schemas.openxmlformats.org/officeDocument/2006/relationships/slideLayout" Target="../slideLayouts/slideLayout1315.xml"/><Relationship Id="rId252" Type="http://schemas.openxmlformats.org/officeDocument/2006/relationships/slideLayout" Target="../slideLayouts/slideLayout954.xml"/><Relationship Id="rId294" Type="http://schemas.openxmlformats.org/officeDocument/2006/relationships/slideLayout" Target="../slideLayouts/slideLayout996.xml"/><Relationship Id="rId308" Type="http://schemas.openxmlformats.org/officeDocument/2006/relationships/slideLayout" Target="../slideLayouts/slideLayout1010.xml"/><Relationship Id="rId515" Type="http://schemas.openxmlformats.org/officeDocument/2006/relationships/slideLayout" Target="../slideLayouts/slideLayout1217.xml"/><Relationship Id="rId47" Type="http://schemas.openxmlformats.org/officeDocument/2006/relationships/slideLayout" Target="../slideLayouts/slideLayout749.xml"/><Relationship Id="rId89" Type="http://schemas.openxmlformats.org/officeDocument/2006/relationships/slideLayout" Target="../slideLayouts/slideLayout791.xml"/><Relationship Id="rId112" Type="http://schemas.openxmlformats.org/officeDocument/2006/relationships/slideLayout" Target="../slideLayouts/slideLayout814.xml"/><Relationship Id="rId154" Type="http://schemas.openxmlformats.org/officeDocument/2006/relationships/slideLayout" Target="../slideLayouts/slideLayout856.xml"/><Relationship Id="rId361" Type="http://schemas.openxmlformats.org/officeDocument/2006/relationships/slideLayout" Target="../slideLayouts/slideLayout1063.xml"/><Relationship Id="rId557" Type="http://schemas.openxmlformats.org/officeDocument/2006/relationships/slideLayout" Target="../slideLayouts/slideLayout1259.xml"/><Relationship Id="rId599" Type="http://schemas.openxmlformats.org/officeDocument/2006/relationships/slideLayout" Target="../slideLayouts/slideLayout1301.xml"/><Relationship Id="rId196" Type="http://schemas.openxmlformats.org/officeDocument/2006/relationships/slideLayout" Target="../slideLayouts/slideLayout898.xml"/><Relationship Id="rId417" Type="http://schemas.openxmlformats.org/officeDocument/2006/relationships/slideLayout" Target="../slideLayouts/slideLayout1119.xml"/><Relationship Id="rId459" Type="http://schemas.openxmlformats.org/officeDocument/2006/relationships/slideLayout" Target="../slideLayouts/slideLayout1161.xml"/><Relationship Id="rId624" Type="http://schemas.openxmlformats.org/officeDocument/2006/relationships/slideLayout" Target="../slideLayouts/slideLayout1326.xml"/><Relationship Id="rId16" Type="http://schemas.openxmlformats.org/officeDocument/2006/relationships/slideLayout" Target="../slideLayouts/slideLayout718.xml"/><Relationship Id="rId221" Type="http://schemas.openxmlformats.org/officeDocument/2006/relationships/slideLayout" Target="../slideLayouts/slideLayout923.xml"/><Relationship Id="rId263" Type="http://schemas.openxmlformats.org/officeDocument/2006/relationships/slideLayout" Target="../slideLayouts/slideLayout965.xml"/><Relationship Id="rId319" Type="http://schemas.openxmlformats.org/officeDocument/2006/relationships/slideLayout" Target="../slideLayouts/slideLayout1021.xml"/><Relationship Id="rId470" Type="http://schemas.openxmlformats.org/officeDocument/2006/relationships/slideLayout" Target="../slideLayouts/slideLayout1172.xml"/><Relationship Id="rId526" Type="http://schemas.openxmlformats.org/officeDocument/2006/relationships/slideLayout" Target="../slideLayouts/slideLayout1228.xml"/><Relationship Id="rId58" Type="http://schemas.openxmlformats.org/officeDocument/2006/relationships/slideLayout" Target="../slideLayouts/slideLayout760.xml"/><Relationship Id="rId123" Type="http://schemas.openxmlformats.org/officeDocument/2006/relationships/slideLayout" Target="../slideLayouts/slideLayout825.xml"/><Relationship Id="rId330" Type="http://schemas.openxmlformats.org/officeDocument/2006/relationships/slideLayout" Target="../slideLayouts/slideLayout1032.xml"/><Relationship Id="rId568" Type="http://schemas.openxmlformats.org/officeDocument/2006/relationships/slideLayout" Target="../slideLayouts/slideLayout1270.xml"/><Relationship Id="rId165" Type="http://schemas.openxmlformats.org/officeDocument/2006/relationships/slideLayout" Target="../slideLayouts/slideLayout867.xml"/><Relationship Id="rId372" Type="http://schemas.openxmlformats.org/officeDocument/2006/relationships/slideLayout" Target="../slideLayouts/slideLayout1074.xml"/><Relationship Id="rId428" Type="http://schemas.openxmlformats.org/officeDocument/2006/relationships/slideLayout" Target="../slideLayouts/slideLayout1130.xml"/><Relationship Id="rId635" Type="http://schemas.openxmlformats.org/officeDocument/2006/relationships/slideLayout" Target="../slideLayouts/slideLayout1337.xml"/><Relationship Id="rId232" Type="http://schemas.openxmlformats.org/officeDocument/2006/relationships/slideLayout" Target="../slideLayouts/slideLayout934.xml"/><Relationship Id="rId274" Type="http://schemas.openxmlformats.org/officeDocument/2006/relationships/slideLayout" Target="../slideLayouts/slideLayout976.xml"/><Relationship Id="rId481" Type="http://schemas.openxmlformats.org/officeDocument/2006/relationships/slideLayout" Target="../slideLayouts/slideLayout1183.xml"/><Relationship Id="rId27" Type="http://schemas.openxmlformats.org/officeDocument/2006/relationships/slideLayout" Target="../slideLayouts/slideLayout729.xml"/><Relationship Id="rId69" Type="http://schemas.openxmlformats.org/officeDocument/2006/relationships/slideLayout" Target="../slideLayouts/slideLayout771.xml"/><Relationship Id="rId134" Type="http://schemas.openxmlformats.org/officeDocument/2006/relationships/slideLayout" Target="../slideLayouts/slideLayout836.xml"/><Relationship Id="rId537" Type="http://schemas.openxmlformats.org/officeDocument/2006/relationships/slideLayout" Target="../slideLayouts/slideLayout1239.xml"/><Relationship Id="rId579" Type="http://schemas.openxmlformats.org/officeDocument/2006/relationships/slideLayout" Target="../slideLayouts/slideLayout1281.xml"/><Relationship Id="rId80" Type="http://schemas.openxmlformats.org/officeDocument/2006/relationships/slideLayout" Target="../slideLayouts/slideLayout782.xml"/><Relationship Id="rId176" Type="http://schemas.openxmlformats.org/officeDocument/2006/relationships/slideLayout" Target="../slideLayouts/slideLayout878.xml"/><Relationship Id="rId341" Type="http://schemas.openxmlformats.org/officeDocument/2006/relationships/slideLayout" Target="../slideLayouts/slideLayout1043.xml"/><Relationship Id="rId383" Type="http://schemas.openxmlformats.org/officeDocument/2006/relationships/slideLayout" Target="../slideLayouts/slideLayout1085.xml"/><Relationship Id="rId439" Type="http://schemas.openxmlformats.org/officeDocument/2006/relationships/slideLayout" Target="../slideLayouts/slideLayout1141.xml"/><Relationship Id="rId590" Type="http://schemas.openxmlformats.org/officeDocument/2006/relationships/slideLayout" Target="../slideLayouts/slideLayout1292.xml"/><Relationship Id="rId604" Type="http://schemas.openxmlformats.org/officeDocument/2006/relationships/slideLayout" Target="../slideLayouts/slideLayout1306.xml"/><Relationship Id="rId201" Type="http://schemas.openxmlformats.org/officeDocument/2006/relationships/slideLayout" Target="../slideLayouts/slideLayout903.xml"/><Relationship Id="rId243" Type="http://schemas.openxmlformats.org/officeDocument/2006/relationships/slideLayout" Target="../slideLayouts/slideLayout945.xml"/><Relationship Id="rId285" Type="http://schemas.openxmlformats.org/officeDocument/2006/relationships/slideLayout" Target="../slideLayouts/slideLayout987.xml"/><Relationship Id="rId450" Type="http://schemas.openxmlformats.org/officeDocument/2006/relationships/slideLayout" Target="../slideLayouts/slideLayout1152.xml"/><Relationship Id="rId506" Type="http://schemas.openxmlformats.org/officeDocument/2006/relationships/slideLayout" Target="../slideLayouts/slideLayout1208.xml"/><Relationship Id="rId38" Type="http://schemas.openxmlformats.org/officeDocument/2006/relationships/slideLayout" Target="../slideLayouts/slideLayout740.xml"/><Relationship Id="rId103" Type="http://schemas.openxmlformats.org/officeDocument/2006/relationships/slideLayout" Target="../slideLayouts/slideLayout805.xml"/><Relationship Id="rId310" Type="http://schemas.openxmlformats.org/officeDocument/2006/relationships/slideLayout" Target="../slideLayouts/slideLayout1012.xml"/><Relationship Id="rId492" Type="http://schemas.openxmlformats.org/officeDocument/2006/relationships/slideLayout" Target="../slideLayouts/slideLayout1194.xml"/><Relationship Id="rId548" Type="http://schemas.openxmlformats.org/officeDocument/2006/relationships/slideLayout" Target="../slideLayouts/slideLayout1250.xml"/><Relationship Id="rId91" Type="http://schemas.openxmlformats.org/officeDocument/2006/relationships/slideLayout" Target="../slideLayouts/slideLayout793.xml"/><Relationship Id="rId145" Type="http://schemas.openxmlformats.org/officeDocument/2006/relationships/slideLayout" Target="../slideLayouts/slideLayout847.xml"/><Relationship Id="rId187" Type="http://schemas.openxmlformats.org/officeDocument/2006/relationships/slideLayout" Target="../slideLayouts/slideLayout889.xml"/><Relationship Id="rId352" Type="http://schemas.openxmlformats.org/officeDocument/2006/relationships/slideLayout" Target="../slideLayouts/slideLayout1054.xml"/><Relationship Id="rId394" Type="http://schemas.openxmlformats.org/officeDocument/2006/relationships/slideLayout" Target="../slideLayouts/slideLayout1096.xml"/><Relationship Id="rId408" Type="http://schemas.openxmlformats.org/officeDocument/2006/relationships/slideLayout" Target="../slideLayouts/slideLayout1110.xml"/><Relationship Id="rId615" Type="http://schemas.openxmlformats.org/officeDocument/2006/relationships/slideLayout" Target="../slideLayouts/slideLayout1317.xml"/><Relationship Id="rId212" Type="http://schemas.openxmlformats.org/officeDocument/2006/relationships/slideLayout" Target="../slideLayouts/slideLayout914.xml"/><Relationship Id="rId254" Type="http://schemas.openxmlformats.org/officeDocument/2006/relationships/slideLayout" Target="../slideLayouts/slideLayout956.xml"/><Relationship Id="rId49" Type="http://schemas.openxmlformats.org/officeDocument/2006/relationships/slideLayout" Target="../slideLayouts/slideLayout751.xml"/><Relationship Id="rId114" Type="http://schemas.openxmlformats.org/officeDocument/2006/relationships/slideLayout" Target="../slideLayouts/slideLayout816.xml"/><Relationship Id="rId296" Type="http://schemas.openxmlformats.org/officeDocument/2006/relationships/slideLayout" Target="../slideLayouts/slideLayout998.xml"/><Relationship Id="rId461" Type="http://schemas.openxmlformats.org/officeDocument/2006/relationships/slideLayout" Target="../slideLayouts/slideLayout1163.xml"/><Relationship Id="rId517" Type="http://schemas.openxmlformats.org/officeDocument/2006/relationships/slideLayout" Target="../slideLayouts/slideLayout1219.xml"/><Relationship Id="rId559" Type="http://schemas.openxmlformats.org/officeDocument/2006/relationships/slideLayout" Target="../slideLayouts/slideLayout1261.xml"/><Relationship Id="rId60" Type="http://schemas.openxmlformats.org/officeDocument/2006/relationships/slideLayout" Target="../slideLayouts/slideLayout762.xml"/><Relationship Id="rId156" Type="http://schemas.openxmlformats.org/officeDocument/2006/relationships/slideLayout" Target="../slideLayouts/slideLayout858.xml"/><Relationship Id="rId198" Type="http://schemas.openxmlformats.org/officeDocument/2006/relationships/slideLayout" Target="../slideLayouts/slideLayout900.xml"/><Relationship Id="rId321" Type="http://schemas.openxmlformats.org/officeDocument/2006/relationships/slideLayout" Target="../slideLayouts/slideLayout1023.xml"/><Relationship Id="rId363" Type="http://schemas.openxmlformats.org/officeDocument/2006/relationships/slideLayout" Target="../slideLayouts/slideLayout1065.xml"/><Relationship Id="rId419" Type="http://schemas.openxmlformats.org/officeDocument/2006/relationships/slideLayout" Target="../slideLayouts/slideLayout1121.xml"/><Relationship Id="rId570" Type="http://schemas.openxmlformats.org/officeDocument/2006/relationships/slideLayout" Target="../slideLayouts/slideLayout1272.xml"/><Relationship Id="rId626" Type="http://schemas.openxmlformats.org/officeDocument/2006/relationships/slideLayout" Target="../slideLayouts/slideLayout1328.xml"/><Relationship Id="rId223" Type="http://schemas.openxmlformats.org/officeDocument/2006/relationships/slideLayout" Target="../slideLayouts/slideLayout925.xml"/><Relationship Id="rId430" Type="http://schemas.openxmlformats.org/officeDocument/2006/relationships/slideLayout" Target="../slideLayouts/slideLayout1132.xml"/><Relationship Id="rId18" Type="http://schemas.openxmlformats.org/officeDocument/2006/relationships/slideLayout" Target="../slideLayouts/slideLayout720.xml"/><Relationship Id="rId265" Type="http://schemas.openxmlformats.org/officeDocument/2006/relationships/slideLayout" Target="../slideLayouts/slideLayout967.xml"/><Relationship Id="rId472" Type="http://schemas.openxmlformats.org/officeDocument/2006/relationships/slideLayout" Target="../slideLayouts/slideLayout1174.xml"/><Relationship Id="rId528" Type="http://schemas.openxmlformats.org/officeDocument/2006/relationships/slideLayout" Target="../slideLayouts/slideLayout1230.xml"/><Relationship Id="rId125" Type="http://schemas.openxmlformats.org/officeDocument/2006/relationships/slideLayout" Target="../slideLayouts/slideLayout827.xml"/><Relationship Id="rId167" Type="http://schemas.openxmlformats.org/officeDocument/2006/relationships/slideLayout" Target="../slideLayouts/slideLayout869.xml"/><Relationship Id="rId332" Type="http://schemas.openxmlformats.org/officeDocument/2006/relationships/slideLayout" Target="../slideLayouts/slideLayout1034.xml"/><Relationship Id="rId374" Type="http://schemas.openxmlformats.org/officeDocument/2006/relationships/slideLayout" Target="../slideLayouts/slideLayout1076.xml"/><Relationship Id="rId581" Type="http://schemas.openxmlformats.org/officeDocument/2006/relationships/slideLayout" Target="../slideLayouts/slideLayout1283.xml"/><Relationship Id="rId71" Type="http://schemas.openxmlformats.org/officeDocument/2006/relationships/slideLayout" Target="../slideLayouts/slideLayout773.xml"/><Relationship Id="rId234" Type="http://schemas.openxmlformats.org/officeDocument/2006/relationships/slideLayout" Target="../slideLayouts/slideLayout936.xml"/><Relationship Id="rId637" Type="http://schemas.openxmlformats.org/officeDocument/2006/relationships/slideLayout" Target="../slideLayouts/slideLayout1339.xml"/><Relationship Id="rId2" Type="http://schemas.openxmlformats.org/officeDocument/2006/relationships/slideLayout" Target="../slideLayouts/slideLayout704.xml"/><Relationship Id="rId29" Type="http://schemas.openxmlformats.org/officeDocument/2006/relationships/slideLayout" Target="../slideLayouts/slideLayout731.xml"/><Relationship Id="rId276" Type="http://schemas.openxmlformats.org/officeDocument/2006/relationships/slideLayout" Target="../slideLayouts/slideLayout978.xml"/><Relationship Id="rId441" Type="http://schemas.openxmlformats.org/officeDocument/2006/relationships/slideLayout" Target="../slideLayouts/slideLayout1143.xml"/><Relationship Id="rId483" Type="http://schemas.openxmlformats.org/officeDocument/2006/relationships/slideLayout" Target="../slideLayouts/slideLayout1185.xml"/><Relationship Id="rId539" Type="http://schemas.openxmlformats.org/officeDocument/2006/relationships/slideLayout" Target="../slideLayouts/slideLayout1241.xml"/><Relationship Id="rId40" Type="http://schemas.openxmlformats.org/officeDocument/2006/relationships/slideLayout" Target="../slideLayouts/slideLayout742.xml"/><Relationship Id="rId136" Type="http://schemas.openxmlformats.org/officeDocument/2006/relationships/slideLayout" Target="../slideLayouts/slideLayout838.xml"/><Relationship Id="rId178" Type="http://schemas.openxmlformats.org/officeDocument/2006/relationships/slideLayout" Target="../slideLayouts/slideLayout880.xml"/><Relationship Id="rId301" Type="http://schemas.openxmlformats.org/officeDocument/2006/relationships/slideLayout" Target="../slideLayouts/slideLayout1003.xml"/><Relationship Id="rId343" Type="http://schemas.openxmlformats.org/officeDocument/2006/relationships/slideLayout" Target="../slideLayouts/slideLayout1045.xml"/><Relationship Id="rId550" Type="http://schemas.openxmlformats.org/officeDocument/2006/relationships/slideLayout" Target="../slideLayouts/slideLayout1252.xml"/><Relationship Id="rId82" Type="http://schemas.openxmlformats.org/officeDocument/2006/relationships/slideLayout" Target="../slideLayouts/slideLayout784.xml"/><Relationship Id="rId203" Type="http://schemas.openxmlformats.org/officeDocument/2006/relationships/slideLayout" Target="../slideLayouts/slideLayout905.xml"/><Relationship Id="rId385" Type="http://schemas.openxmlformats.org/officeDocument/2006/relationships/slideLayout" Target="../slideLayouts/slideLayout1087.xml"/><Relationship Id="rId592" Type="http://schemas.openxmlformats.org/officeDocument/2006/relationships/slideLayout" Target="../slideLayouts/slideLayout1294.xml"/><Relationship Id="rId606" Type="http://schemas.openxmlformats.org/officeDocument/2006/relationships/slideLayout" Target="../slideLayouts/slideLayout1308.xml"/><Relationship Id="rId245" Type="http://schemas.openxmlformats.org/officeDocument/2006/relationships/slideLayout" Target="../slideLayouts/slideLayout947.xml"/><Relationship Id="rId287" Type="http://schemas.openxmlformats.org/officeDocument/2006/relationships/slideLayout" Target="../slideLayouts/slideLayout989.xml"/><Relationship Id="rId410" Type="http://schemas.openxmlformats.org/officeDocument/2006/relationships/slideLayout" Target="../slideLayouts/slideLayout1112.xml"/><Relationship Id="rId452" Type="http://schemas.openxmlformats.org/officeDocument/2006/relationships/slideLayout" Target="../slideLayouts/slideLayout1154.xml"/><Relationship Id="rId494" Type="http://schemas.openxmlformats.org/officeDocument/2006/relationships/slideLayout" Target="../slideLayouts/slideLayout1196.xml"/><Relationship Id="rId508" Type="http://schemas.openxmlformats.org/officeDocument/2006/relationships/slideLayout" Target="../slideLayouts/slideLayout1210.xml"/><Relationship Id="rId105" Type="http://schemas.openxmlformats.org/officeDocument/2006/relationships/slideLayout" Target="../slideLayouts/slideLayout807.xml"/><Relationship Id="rId147" Type="http://schemas.openxmlformats.org/officeDocument/2006/relationships/slideLayout" Target="../slideLayouts/slideLayout849.xml"/><Relationship Id="rId312" Type="http://schemas.openxmlformats.org/officeDocument/2006/relationships/slideLayout" Target="../slideLayouts/slideLayout1014.xml"/><Relationship Id="rId354" Type="http://schemas.openxmlformats.org/officeDocument/2006/relationships/slideLayout" Target="../slideLayouts/slideLayout1056.xml"/><Relationship Id="rId51" Type="http://schemas.openxmlformats.org/officeDocument/2006/relationships/slideLayout" Target="../slideLayouts/slideLayout753.xml"/><Relationship Id="rId93" Type="http://schemas.openxmlformats.org/officeDocument/2006/relationships/slideLayout" Target="../slideLayouts/slideLayout795.xml"/><Relationship Id="rId189" Type="http://schemas.openxmlformats.org/officeDocument/2006/relationships/slideLayout" Target="../slideLayouts/slideLayout891.xml"/><Relationship Id="rId396" Type="http://schemas.openxmlformats.org/officeDocument/2006/relationships/slideLayout" Target="../slideLayouts/slideLayout1098.xml"/><Relationship Id="rId561" Type="http://schemas.openxmlformats.org/officeDocument/2006/relationships/slideLayout" Target="../slideLayouts/slideLayout1263.xml"/><Relationship Id="rId617" Type="http://schemas.openxmlformats.org/officeDocument/2006/relationships/slideLayout" Target="../slideLayouts/slideLayout1319.xml"/><Relationship Id="rId214" Type="http://schemas.openxmlformats.org/officeDocument/2006/relationships/slideLayout" Target="../slideLayouts/slideLayout916.xml"/><Relationship Id="rId256" Type="http://schemas.openxmlformats.org/officeDocument/2006/relationships/slideLayout" Target="../slideLayouts/slideLayout958.xml"/><Relationship Id="rId298" Type="http://schemas.openxmlformats.org/officeDocument/2006/relationships/slideLayout" Target="../slideLayouts/slideLayout1000.xml"/><Relationship Id="rId421" Type="http://schemas.openxmlformats.org/officeDocument/2006/relationships/slideLayout" Target="../slideLayouts/slideLayout1123.xml"/><Relationship Id="rId463" Type="http://schemas.openxmlformats.org/officeDocument/2006/relationships/slideLayout" Target="../slideLayouts/slideLayout1165.xml"/><Relationship Id="rId519" Type="http://schemas.openxmlformats.org/officeDocument/2006/relationships/slideLayout" Target="../slideLayouts/slideLayout1221.xml"/><Relationship Id="rId116" Type="http://schemas.openxmlformats.org/officeDocument/2006/relationships/slideLayout" Target="../slideLayouts/slideLayout818.xml"/><Relationship Id="rId158" Type="http://schemas.openxmlformats.org/officeDocument/2006/relationships/slideLayout" Target="../slideLayouts/slideLayout860.xml"/><Relationship Id="rId323" Type="http://schemas.openxmlformats.org/officeDocument/2006/relationships/slideLayout" Target="../slideLayouts/slideLayout1025.xml"/><Relationship Id="rId530" Type="http://schemas.openxmlformats.org/officeDocument/2006/relationships/slideLayout" Target="../slideLayouts/slideLayout1232.xml"/><Relationship Id="rId20" Type="http://schemas.openxmlformats.org/officeDocument/2006/relationships/slideLayout" Target="../slideLayouts/slideLayout722.xml"/><Relationship Id="rId62" Type="http://schemas.openxmlformats.org/officeDocument/2006/relationships/slideLayout" Target="../slideLayouts/slideLayout764.xml"/><Relationship Id="rId365" Type="http://schemas.openxmlformats.org/officeDocument/2006/relationships/slideLayout" Target="../slideLayouts/slideLayout1067.xml"/><Relationship Id="rId572" Type="http://schemas.openxmlformats.org/officeDocument/2006/relationships/slideLayout" Target="../slideLayouts/slideLayout1274.xml"/><Relationship Id="rId628" Type="http://schemas.openxmlformats.org/officeDocument/2006/relationships/slideLayout" Target="../slideLayouts/slideLayout1330.xml"/><Relationship Id="rId225" Type="http://schemas.openxmlformats.org/officeDocument/2006/relationships/slideLayout" Target="../slideLayouts/slideLayout927.xml"/><Relationship Id="rId267" Type="http://schemas.openxmlformats.org/officeDocument/2006/relationships/slideLayout" Target="../slideLayouts/slideLayout969.xml"/><Relationship Id="rId432" Type="http://schemas.openxmlformats.org/officeDocument/2006/relationships/slideLayout" Target="../slideLayouts/slideLayout1134.xml"/><Relationship Id="rId474" Type="http://schemas.openxmlformats.org/officeDocument/2006/relationships/slideLayout" Target="../slideLayouts/slideLayout1176.xml"/><Relationship Id="rId127" Type="http://schemas.openxmlformats.org/officeDocument/2006/relationships/slideLayout" Target="../slideLayouts/slideLayout829.xml"/><Relationship Id="rId31" Type="http://schemas.openxmlformats.org/officeDocument/2006/relationships/slideLayout" Target="../slideLayouts/slideLayout733.xml"/><Relationship Id="rId73" Type="http://schemas.openxmlformats.org/officeDocument/2006/relationships/slideLayout" Target="../slideLayouts/slideLayout775.xml"/><Relationship Id="rId169" Type="http://schemas.openxmlformats.org/officeDocument/2006/relationships/slideLayout" Target="../slideLayouts/slideLayout871.xml"/><Relationship Id="rId334" Type="http://schemas.openxmlformats.org/officeDocument/2006/relationships/slideLayout" Target="../slideLayouts/slideLayout1036.xml"/><Relationship Id="rId376" Type="http://schemas.openxmlformats.org/officeDocument/2006/relationships/slideLayout" Target="../slideLayouts/slideLayout1078.xml"/><Relationship Id="rId541" Type="http://schemas.openxmlformats.org/officeDocument/2006/relationships/slideLayout" Target="../slideLayouts/slideLayout1243.xml"/><Relationship Id="rId583" Type="http://schemas.openxmlformats.org/officeDocument/2006/relationships/slideLayout" Target="../slideLayouts/slideLayout1285.xml"/><Relationship Id="rId639" Type="http://schemas.openxmlformats.org/officeDocument/2006/relationships/slideLayout" Target="../slideLayouts/slideLayout1341.xml"/><Relationship Id="rId4" Type="http://schemas.openxmlformats.org/officeDocument/2006/relationships/slideLayout" Target="../slideLayouts/slideLayout706.xml"/><Relationship Id="rId180" Type="http://schemas.openxmlformats.org/officeDocument/2006/relationships/slideLayout" Target="../slideLayouts/slideLayout882.xml"/><Relationship Id="rId236" Type="http://schemas.openxmlformats.org/officeDocument/2006/relationships/slideLayout" Target="../slideLayouts/slideLayout938.xml"/><Relationship Id="rId278" Type="http://schemas.openxmlformats.org/officeDocument/2006/relationships/slideLayout" Target="../slideLayouts/slideLayout980.xml"/><Relationship Id="rId401" Type="http://schemas.openxmlformats.org/officeDocument/2006/relationships/slideLayout" Target="../slideLayouts/slideLayout1103.xml"/><Relationship Id="rId443" Type="http://schemas.openxmlformats.org/officeDocument/2006/relationships/slideLayout" Target="../slideLayouts/slideLayout1145.xml"/><Relationship Id="rId303" Type="http://schemas.openxmlformats.org/officeDocument/2006/relationships/slideLayout" Target="../slideLayouts/slideLayout1005.xml"/><Relationship Id="rId485" Type="http://schemas.openxmlformats.org/officeDocument/2006/relationships/slideLayout" Target="../slideLayouts/slideLayout1187.xml"/><Relationship Id="rId42" Type="http://schemas.openxmlformats.org/officeDocument/2006/relationships/slideLayout" Target="../slideLayouts/slideLayout744.xml"/><Relationship Id="rId84" Type="http://schemas.openxmlformats.org/officeDocument/2006/relationships/slideLayout" Target="../slideLayouts/slideLayout786.xml"/><Relationship Id="rId138" Type="http://schemas.openxmlformats.org/officeDocument/2006/relationships/slideLayout" Target="../slideLayouts/slideLayout840.xml"/><Relationship Id="rId345" Type="http://schemas.openxmlformats.org/officeDocument/2006/relationships/slideLayout" Target="../slideLayouts/slideLayout1047.xml"/><Relationship Id="rId387" Type="http://schemas.openxmlformats.org/officeDocument/2006/relationships/slideLayout" Target="../slideLayouts/slideLayout1089.xml"/><Relationship Id="rId510" Type="http://schemas.openxmlformats.org/officeDocument/2006/relationships/slideLayout" Target="../slideLayouts/slideLayout1212.xml"/><Relationship Id="rId552" Type="http://schemas.openxmlformats.org/officeDocument/2006/relationships/slideLayout" Target="../slideLayouts/slideLayout1254.xml"/><Relationship Id="rId594" Type="http://schemas.openxmlformats.org/officeDocument/2006/relationships/slideLayout" Target="../slideLayouts/slideLayout1296.xml"/><Relationship Id="rId608" Type="http://schemas.openxmlformats.org/officeDocument/2006/relationships/slideLayout" Target="../slideLayouts/slideLayout1310.xml"/><Relationship Id="rId191" Type="http://schemas.openxmlformats.org/officeDocument/2006/relationships/slideLayout" Target="../slideLayouts/slideLayout893.xml"/><Relationship Id="rId205" Type="http://schemas.openxmlformats.org/officeDocument/2006/relationships/slideLayout" Target="../slideLayouts/slideLayout907.xml"/><Relationship Id="rId247" Type="http://schemas.openxmlformats.org/officeDocument/2006/relationships/slideLayout" Target="../slideLayouts/slideLayout949.xml"/><Relationship Id="rId412" Type="http://schemas.openxmlformats.org/officeDocument/2006/relationships/slideLayout" Target="../slideLayouts/slideLayout1114.xml"/><Relationship Id="rId107" Type="http://schemas.openxmlformats.org/officeDocument/2006/relationships/slideLayout" Target="../slideLayouts/slideLayout809.xml"/><Relationship Id="rId289" Type="http://schemas.openxmlformats.org/officeDocument/2006/relationships/slideLayout" Target="../slideLayouts/slideLayout991.xml"/><Relationship Id="rId454" Type="http://schemas.openxmlformats.org/officeDocument/2006/relationships/slideLayout" Target="../slideLayouts/slideLayout1156.xml"/><Relationship Id="rId496" Type="http://schemas.openxmlformats.org/officeDocument/2006/relationships/slideLayout" Target="../slideLayouts/slideLayout1198.xml"/><Relationship Id="rId11" Type="http://schemas.openxmlformats.org/officeDocument/2006/relationships/slideLayout" Target="../slideLayouts/slideLayout713.xml"/><Relationship Id="rId53" Type="http://schemas.openxmlformats.org/officeDocument/2006/relationships/slideLayout" Target="../slideLayouts/slideLayout755.xml"/><Relationship Id="rId149" Type="http://schemas.openxmlformats.org/officeDocument/2006/relationships/slideLayout" Target="../slideLayouts/slideLayout851.xml"/><Relationship Id="rId314" Type="http://schemas.openxmlformats.org/officeDocument/2006/relationships/slideLayout" Target="../slideLayouts/slideLayout1016.xml"/><Relationship Id="rId356" Type="http://schemas.openxmlformats.org/officeDocument/2006/relationships/slideLayout" Target="../slideLayouts/slideLayout1058.xml"/><Relationship Id="rId398" Type="http://schemas.openxmlformats.org/officeDocument/2006/relationships/slideLayout" Target="../slideLayouts/slideLayout1100.xml"/><Relationship Id="rId521" Type="http://schemas.openxmlformats.org/officeDocument/2006/relationships/slideLayout" Target="../slideLayouts/slideLayout1223.xml"/><Relationship Id="rId563" Type="http://schemas.openxmlformats.org/officeDocument/2006/relationships/slideLayout" Target="../slideLayouts/slideLayout1265.xml"/><Relationship Id="rId619" Type="http://schemas.openxmlformats.org/officeDocument/2006/relationships/slideLayout" Target="../slideLayouts/slideLayout1321.xml"/><Relationship Id="rId95" Type="http://schemas.openxmlformats.org/officeDocument/2006/relationships/slideLayout" Target="../slideLayouts/slideLayout797.xml"/><Relationship Id="rId160" Type="http://schemas.openxmlformats.org/officeDocument/2006/relationships/slideLayout" Target="../slideLayouts/slideLayout862.xml"/><Relationship Id="rId216" Type="http://schemas.openxmlformats.org/officeDocument/2006/relationships/slideLayout" Target="../slideLayouts/slideLayout918.xml"/><Relationship Id="rId423" Type="http://schemas.openxmlformats.org/officeDocument/2006/relationships/slideLayout" Target="../slideLayouts/slideLayout1125.xml"/><Relationship Id="rId258" Type="http://schemas.openxmlformats.org/officeDocument/2006/relationships/slideLayout" Target="../slideLayouts/slideLayout960.xml"/><Relationship Id="rId465" Type="http://schemas.openxmlformats.org/officeDocument/2006/relationships/slideLayout" Target="../slideLayouts/slideLayout1167.xml"/><Relationship Id="rId630" Type="http://schemas.openxmlformats.org/officeDocument/2006/relationships/slideLayout" Target="../slideLayouts/slideLayout1332.xml"/><Relationship Id="rId22" Type="http://schemas.openxmlformats.org/officeDocument/2006/relationships/slideLayout" Target="../slideLayouts/slideLayout724.xml"/><Relationship Id="rId64" Type="http://schemas.openxmlformats.org/officeDocument/2006/relationships/slideLayout" Target="../slideLayouts/slideLayout766.xml"/><Relationship Id="rId118" Type="http://schemas.openxmlformats.org/officeDocument/2006/relationships/slideLayout" Target="../slideLayouts/slideLayout820.xml"/><Relationship Id="rId325" Type="http://schemas.openxmlformats.org/officeDocument/2006/relationships/slideLayout" Target="../slideLayouts/slideLayout1027.xml"/><Relationship Id="rId367" Type="http://schemas.openxmlformats.org/officeDocument/2006/relationships/slideLayout" Target="../slideLayouts/slideLayout1069.xml"/><Relationship Id="rId532" Type="http://schemas.openxmlformats.org/officeDocument/2006/relationships/slideLayout" Target="../slideLayouts/slideLayout1234.xml"/><Relationship Id="rId574" Type="http://schemas.openxmlformats.org/officeDocument/2006/relationships/slideLayout" Target="../slideLayouts/slideLayout1276.xml"/><Relationship Id="rId171" Type="http://schemas.openxmlformats.org/officeDocument/2006/relationships/slideLayout" Target="../slideLayouts/slideLayout873.xml"/><Relationship Id="rId227" Type="http://schemas.openxmlformats.org/officeDocument/2006/relationships/slideLayout" Target="../slideLayouts/slideLayout929.xml"/><Relationship Id="rId269" Type="http://schemas.openxmlformats.org/officeDocument/2006/relationships/slideLayout" Target="../slideLayouts/slideLayout971.xml"/><Relationship Id="rId434" Type="http://schemas.openxmlformats.org/officeDocument/2006/relationships/slideLayout" Target="../slideLayouts/slideLayout1136.xml"/><Relationship Id="rId476" Type="http://schemas.openxmlformats.org/officeDocument/2006/relationships/slideLayout" Target="../slideLayouts/slideLayout1178.xml"/><Relationship Id="rId33" Type="http://schemas.openxmlformats.org/officeDocument/2006/relationships/slideLayout" Target="../slideLayouts/slideLayout735.xml"/><Relationship Id="rId129" Type="http://schemas.openxmlformats.org/officeDocument/2006/relationships/slideLayout" Target="../slideLayouts/slideLayout831.xml"/><Relationship Id="rId280" Type="http://schemas.openxmlformats.org/officeDocument/2006/relationships/slideLayout" Target="../slideLayouts/slideLayout982.xml"/><Relationship Id="rId336" Type="http://schemas.openxmlformats.org/officeDocument/2006/relationships/slideLayout" Target="../slideLayouts/slideLayout1038.xml"/><Relationship Id="rId501" Type="http://schemas.openxmlformats.org/officeDocument/2006/relationships/slideLayout" Target="../slideLayouts/slideLayout1203.xml"/><Relationship Id="rId543" Type="http://schemas.openxmlformats.org/officeDocument/2006/relationships/slideLayout" Target="../slideLayouts/slideLayout1245.xml"/><Relationship Id="rId75" Type="http://schemas.openxmlformats.org/officeDocument/2006/relationships/slideLayout" Target="../slideLayouts/slideLayout777.xml"/><Relationship Id="rId140" Type="http://schemas.openxmlformats.org/officeDocument/2006/relationships/slideLayout" Target="../slideLayouts/slideLayout842.xml"/><Relationship Id="rId182" Type="http://schemas.openxmlformats.org/officeDocument/2006/relationships/slideLayout" Target="../slideLayouts/slideLayout884.xml"/><Relationship Id="rId378" Type="http://schemas.openxmlformats.org/officeDocument/2006/relationships/slideLayout" Target="../slideLayouts/slideLayout1080.xml"/><Relationship Id="rId403" Type="http://schemas.openxmlformats.org/officeDocument/2006/relationships/slideLayout" Target="../slideLayouts/slideLayout1105.xml"/><Relationship Id="rId585" Type="http://schemas.openxmlformats.org/officeDocument/2006/relationships/slideLayout" Target="../slideLayouts/slideLayout1287.xml"/><Relationship Id="rId6" Type="http://schemas.openxmlformats.org/officeDocument/2006/relationships/slideLayout" Target="../slideLayouts/slideLayout708.xml"/><Relationship Id="rId238" Type="http://schemas.openxmlformats.org/officeDocument/2006/relationships/slideLayout" Target="../slideLayouts/slideLayout940.xml"/><Relationship Id="rId445" Type="http://schemas.openxmlformats.org/officeDocument/2006/relationships/slideLayout" Target="../slideLayouts/slideLayout1147.xml"/><Relationship Id="rId487" Type="http://schemas.openxmlformats.org/officeDocument/2006/relationships/slideLayout" Target="../slideLayouts/slideLayout1189.xml"/><Relationship Id="rId610" Type="http://schemas.openxmlformats.org/officeDocument/2006/relationships/slideLayout" Target="../slideLayouts/slideLayout1312.xml"/><Relationship Id="rId291" Type="http://schemas.openxmlformats.org/officeDocument/2006/relationships/slideLayout" Target="../slideLayouts/slideLayout993.xml"/><Relationship Id="rId305" Type="http://schemas.openxmlformats.org/officeDocument/2006/relationships/slideLayout" Target="../slideLayouts/slideLayout1007.xml"/><Relationship Id="rId347" Type="http://schemas.openxmlformats.org/officeDocument/2006/relationships/slideLayout" Target="../slideLayouts/slideLayout1049.xml"/><Relationship Id="rId512" Type="http://schemas.openxmlformats.org/officeDocument/2006/relationships/slideLayout" Target="../slideLayouts/slideLayout1214.xml"/><Relationship Id="rId44" Type="http://schemas.openxmlformats.org/officeDocument/2006/relationships/slideLayout" Target="../slideLayouts/slideLayout746.xml"/><Relationship Id="rId86" Type="http://schemas.openxmlformats.org/officeDocument/2006/relationships/slideLayout" Target="../slideLayouts/slideLayout788.xml"/><Relationship Id="rId151" Type="http://schemas.openxmlformats.org/officeDocument/2006/relationships/slideLayout" Target="../slideLayouts/slideLayout853.xml"/><Relationship Id="rId389" Type="http://schemas.openxmlformats.org/officeDocument/2006/relationships/slideLayout" Target="../slideLayouts/slideLayout1091.xml"/><Relationship Id="rId554" Type="http://schemas.openxmlformats.org/officeDocument/2006/relationships/slideLayout" Target="../slideLayouts/slideLayout1256.xml"/><Relationship Id="rId596" Type="http://schemas.openxmlformats.org/officeDocument/2006/relationships/slideLayout" Target="../slideLayouts/slideLayout1298.xml"/><Relationship Id="rId193" Type="http://schemas.openxmlformats.org/officeDocument/2006/relationships/slideLayout" Target="../slideLayouts/slideLayout895.xml"/><Relationship Id="rId207" Type="http://schemas.openxmlformats.org/officeDocument/2006/relationships/slideLayout" Target="../slideLayouts/slideLayout909.xml"/><Relationship Id="rId249" Type="http://schemas.openxmlformats.org/officeDocument/2006/relationships/slideLayout" Target="../slideLayouts/slideLayout951.xml"/><Relationship Id="rId414" Type="http://schemas.openxmlformats.org/officeDocument/2006/relationships/slideLayout" Target="../slideLayouts/slideLayout1116.xml"/><Relationship Id="rId456" Type="http://schemas.openxmlformats.org/officeDocument/2006/relationships/slideLayout" Target="../slideLayouts/slideLayout1158.xml"/><Relationship Id="rId498" Type="http://schemas.openxmlformats.org/officeDocument/2006/relationships/slideLayout" Target="../slideLayouts/slideLayout1200.xml"/><Relationship Id="rId621" Type="http://schemas.openxmlformats.org/officeDocument/2006/relationships/slideLayout" Target="../slideLayouts/slideLayout1323.xml"/><Relationship Id="rId13" Type="http://schemas.openxmlformats.org/officeDocument/2006/relationships/slideLayout" Target="../slideLayouts/slideLayout715.xml"/><Relationship Id="rId109" Type="http://schemas.openxmlformats.org/officeDocument/2006/relationships/slideLayout" Target="../slideLayouts/slideLayout811.xml"/><Relationship Id="rId260" Type="http://schemas.openxmlformats.org/officeDocument/2006/relationships/slideLayout" Target="../slideLayouts/slideLayout962.xml"/><Relationship Id="rId316" Type="http://schemas.openxmlformats.org/officeDocument/2006/relationships/slideLayout" Target="../slideLayouts/slideLayout1018.xml"/><Relationship Id="rId523" Type="http://schemas.openxmlformats.org/officeDocument/2006/relationships/slideLayout" Target="../slideLayouts/slideLayout1225.xml"/><Relationship Id="rId55" Type="http://schemas.openxmlformats.org/officeDocument/2006/relationships/slideLayout" Target="../slideLayouts/slideLayout757.xml"/><Relationship Id="rId97" Type="http://schemas.openxmlformats.org/officeDocument/2006/relationships/slideLayout" Target="../slideLayouts/slideLayout799.xml"/><Relationship Id="rId120" Type="http://schemas.openxmlformats.org/officeDocument/2006/relationships/slideLayout" Target="../slideLayouts/slideLayout822.xml"/><Relationship Id="rId358" Type="http://schemas.openxmlformats.org/officeDocument/2006/relationships/slideLayout" Target="../slideLayouts/slideLayout1060.xml"/><Relationship Id="rId565" Type="http://schemas.openxmlformats.org/officeDocument/2006/relationships/slideLayout" Target="../slideLayouts/slideLayout1267.xml"/><Relationship Id="rId162" Type="http://schemas.openxmlformats.org/officeDocument/2006/relationships/slideLayout" Target="../slideLayouts/slideLayout864.xml"/><Relationship Id="rId218" Type="http://schemas.openxmlformats.org/officeDocument/2006/relationships/slideLayout" Target="../slideLayouts/slideLayout920.xml"/><Relationship Id="rId425" Type="http://schemas.openxmlformats.org/officeDocument/2006/relationships/slideLayout" Target="../slideLayouts/slideLayout1127.xml"/><Relationship Id="rId467" Type="http://schemas.openxmlformats.org/officeDocument/2006/relationships/slideLayout" Target="../slideLayouts/slideLayout1169.xml"/><Relationship Id="rId632" Type="http://schemas.openxmlformats.org/officeDocument/2006/relationships/slideLayout" Target="../slideLayouts/slideLayout1334.xml"/><Relationship Id="rId271" Type="http://schemas.openxmlformats.org/officeDocument/2006/relationships/slideLayout" Target="../slideLayouts/slideLayout973.xml"/><Relationship Id="rId24" Type="http://schemas.openxmlformats.org/officeDocument/2006/relationships/slideLayout" Target="../slideLayouts/slideLayout726.xml"/><Relationship Id="rId66" Type="http://schemas.openxmlformats.org/officeDocument/2006/relationships/slideLayout" Target="../slideLayouts/slideLayout768.xml"/><Relationship Id="rId131" Type="http://schemas.openxmlformats.org/officeDocument/2006/relationships/slideLayout" Target="../slideLayouts/slideLayout833.xml"/><Relationship Id="rId327" Type="http://schemas.openxmlformats.org/officeDocument/2006/relationships/slideLayout" Target="../slideLayouts/slideLayout1029.xml"/><Relationship Id="rId369" Type="http://schemas.openxmlformats.org/officeDocument/2006/relationships/slideLayout" Target="../slideLayouts/slideLayout1071.xml"/><Relationship Id="rId534" Type="http://schemas.openxmlformats.org/officeDocument/2006/relationships/slideLayout" Target="../slideLayouts/slideLayout1236.xml"/><Relationship Id="rId576" Type="http://schemas.openxmlformats.org/officeDocument/2006/relationships/slideLayout" Target="../slideLayouts/slideLayout1278.xml"/><Relationship Id="rId173" Type="http://schemas.openxmlformats.org/officeDocument/2006/relationships/slideLayout" Target="../slideLayouts/slideLayout875.xml"/><Relationship Id="rId229" Type="http://schemas.openxmlformats.org/officeDocument/2006/relationships/slideLayout" Target="../slideLayouts/slideLayout931.xml"/><Relationship Id="rId380" Type="http://schemas.openxmlformats.org/officeDocument/2006/relationships/slideLayout" Target="../slideLayouts/slideLayout1082.xml"/><Relationship Id="rId436" Type="http://schemas.openxmlformats.org/officeDocument/2006/relationships/slideLayout" Target="../slideLayouts/slideLayout1138.xml"/><Relationship Id="rId601" Type="http://schemas.openxmlformats.org/officeDocument/2006/relationships/slideLayout" Target="../slideLayouts/slideLayout1303.xml"/><Relationship Id="rId240" Type="http://schemas.openxmlformats.org/officeDocument/2006/relationships/slideLayout" Target="../slideLayouts/slideLayout942.xml"/><Relationship Id="rId478" Type="http://schemas.openxmlformats.org/officeDocument/2006/relationships/slideLayout" Target="../slideLayouts/slideLayout1180.xml"/><Relationship Id="rId35" Type="http://schemas.openxmlformats.org/officeDocument/2006/relationships/slideLayout" Target="../slideLayouts/slideLayout737.xml"/><Relationship Id="rId77" Type="http://schemas.openxmlformats.org/officeDocument/2006/relationships/slideLayout" Target="../slideLayouts/slideLayout779.xml"/><Relationship Id="rId100" Type="http://schemas.openxmlformats.org/officeDocument/2006/relationships/slideLayout" Target="../slideLayouts/slideLayout802.xml"/><Relationship Id="rId282" Type="http://schemas.openxmlformats.org/officeDocument/2006/relationships/slideLayout" Target="../slideLayouts/slideLayout984.xml"/><Relationship Id="rId338" Type="http://schemas.openxmlformats.org/officeDocument/2006/relationships/slideLayout" Target="../slideLayouts/slideLayout1040.xml"/><Relationship Id="rId503" Type="http://schemas.openxmlformats.org/officeDocument/2006/relationships/slideLayout" Target="../slideLayouts/slideLayout1205.xml"/><Relationship Id="rId545" Type="http://schemas.openxmlformats.org/officeDocument/2006/relationships/slideLayout" Target="../slideLayouts/slideLayout1247.xml"/><Relationship Id="rId587" Type="http://schemas.openxmlformats.org/officeDocument/2006/relationships/slideLayout" Target="../slideLayouts/slideLayout1289.xml"/><Relationship Id="rId8" Type="http://schemas.openxmlformats.org/officeDocument/2006/relationships/slideLayout" Target="../slideLayouts/slideLayout710.xml"/><Relationship Id="rId142" Type="http://schemas.openxmlformats.org/officeDocument/2006/relationships/slideLayout" Target="../slideLayouts/slideLayout844.xml"/><Relationship Id="rId184" Type="http://schemas.openxmlformats.org/officeDocument/2006/relationships/slideLayout" Target="../slideLayouts/slideLayout886.xml"/><Relationship Id="rId391" Type="http://schemas.openxmlformats.org/officeDocument/2006/relationships/slideLayout" Target="../slideLayouts/slideLayout1093.xml"/><Relationship Id="rId405" Type="http://schemas.openxmlformats.org/officeDocument/2006/relationships/slideLayout" Target="../slideLayouts/slideLayout1107.xml"/><Relationship Id="rId447" Type="http://schemas.openxmlformats.org/officeDocument/2006/relationships/slideLayout" Target="../slideLayouts/slideLayout1149.xml"/><Relationship Id="rId612" Type="http://schemas.openxmlformats.org/officeDocument/2006/relationships/slideLayout" Target="../slideLayouts/slideLayout1314.xml"/><Relationship Id="rId251" Type="http://schemas.openxmlformats.org/officeDocument/2006/relationships/slideLayout" Target="../slideLayouts/slideLayout953.xml"/><Relationship Id="rId489" Type="http://schemas.openxmlformats.org/officeDocument/2006/relationships/slideLayout" Target="../slideLayouts/slideLayout1191.xml"/><Relationship Id="rId46" Type="http://schemas.openxmlformats.org/officeDocument/2006/relationships/slideLayout" Target="../slideLayouts/slideLayout748.xml"/><Relationship Id="rId293" Type="http://schemas.openxmlformats.org/officeDocument/2006/relationships/slideLayout" Target="../slideLayouts/slideLayout995.xml"/><Relationship Id="rId307" Type="http://schemas.openxmlformats.org/officeDocument/2006/relationships/slideLayout" Target="../slideLayouts/slideLayout1009.xml"/><Relationship Id="rId349" Type="http://schemas.openxmlformats.org/officeDocument/2006/relationships/slideLayout" Target="../slideLayouts/slideLayout1051.xml"/><Relationship Id="rId514" Type="http://schemas.openxmlformats.org/officeDocument/2006/relationships/slideLayout" Target="../slideLayouts/slideLayout1216.xml"/><Relationship Id="rId556" Type="http://schemas.openxmlformats.org/officeDocument/2006/relationships/slideLayout" Target="../slideLayouts/slideLayout1258.xml"/><Relationship Id="rId88" Type="http://schemas.openxmlformats.org/officeDocument/2006/relationships/slideLayout" Target="../slideLayouts/slideLayout790.xml"/><Relationship Id="rId111" Type="http://schemas.openxmlformats.org/officeDocument/2006/relationships/slideLayout" Target="../slideLayouts/slideLayout813.xml"/><Relationship Id="rId153" Type="http://schemas.openxmlformats.org/officeDocument/2006/relationships/slideLayout" Target="../slideLayouts/slideLayout855.xml"/><Relationship Id="rId195" Type="http://schemas.openxmlformats.org/officeDocument/2006/relationships/slideLayout" Target="../slideLayouts/slideLayout897.xml"/><Relationship Id="rId209" Type="http://schemas.openxmlformats.org/officeDocument/2006/relationships/slideLayout" Target="../slideLayouts/slideLayout911.xml"/><Relationship Id="rId360" Type="http://schemas.openxmlformats.org/officeDocument/2006/relationships/slideLayout" Target="../slideLayouts/slideLayout1062.xml"/><Relationship Id="rId416" Type="http://schemas.openxmlformats.org/officeDocument/2006/relationships/slideLayout" Target="../slideLayouts/slideLayout1118.xml"/><Relationship Id="rId598" Type="http://schemas.openxmlformats.org/officeDocument/2006/relationships/slideLayout" Target="../slideLayouts/slideLayout1300.xml"/><Relationship Id="rId220" Type="http://schemas.openxmlformats.org/officeDocument/2006/relationships/slideLayout" Target="../slideLayouts/slideLayout922.xml"/><Relationship Id="rId458" Type="http://schemas.openxmlformats.org/officeDocument/2006/relationships/slideLayout" Target="../slideLayouts/slideLayout1160.xml"/><Relationship Id="rId623" Type="http://schemas.openxmlformats.org/officeDocument/2006/relationships/slideLayout" Target="../slideLayouts/slideLayout1325.xml"/><Relationship Id="rId15" Type="http://schemas.openxmlformats.org/officeDocument/2006/relationships/slideLayout" Target="../slideLayouts/slideLayout717.xml"/><Relationship Id="rId57" Type="http://schemas.openxmlformats.org/officeDocument/2006/relationships/slideLayout" Target="../slideLayouts/slideLayout759.xml"/><Relationship Id="rId262" Type="http://schemas.openxmlformats.org/officeDocument/2006/relationships/slideLayout" Target="../slideLayouts/slideLayout964.xml"/><Relationship Id="rId318" Type="http://schemas.openxmlformats.org/officeDocument/2006/relationships/slideLayout" Target="../slideLayouts/slideLayout1020.xml"/><Relationship Id="rId525" Type="http://schemas.openxmlformats.org/officeDocument/2006/relationships/slideLayout" Target="../slideLayouts/slideLayout1227.xml"/><Relationship Id="rId567" Type="http://schemas.openxmlformats.org/officeDocument/2006/relationships/slideLayout" Target="../slideLayouts/slideLayout1269.xml"/><Relationship Id="rId99" Type="http://schemas.openxmlformats.org/officeDocument/2006/relationships/slideLayout" Target="../slideLayouts/slideLayout801.xml"/><Relationship Id="rId122" Type="http://schemas.openxmlformats.org/officeDocument/2006/relationships/slideLayout" Target="../slideLayouts/slideLayout824.xml"/><Relationship Id="rId164" Type="http://schemas.openxmlformats.org/officeDocument/2006/relationships/slideLayout" Target="../slideLayouts/slideLayout866.xml"/><Relationship Id="rId371" Type="http://schemas.openxmlformats.org/officeDocument/2006/relationships/slideLayout" Target="../slideLayouts/slideLayout1073.xml"/><Relationship Id="rId427" Type="http://schemas.openxmlformats.org/officeDocument/2006/relationships/slideLayout" Target="../slideLayouts/slideLayout1129.xml"/><Relationship Id="rId469" Type="http://schemas.openxmlformats.org/officeDocument/2006/relationships/slideLayout" Target="../slideLayouts/slideLayout1171.xml"/><Relationship Id="rId634" Type="http://schemas.openxmlformats.org/officeDocument/2006/relationships/slideLayout" Target="../slideLayouts/slideLayout1336.xml"/><Relationship Id="rId26" Type="http://schemas.openxmlformats.org/officeDocument/2006/relationships/slideLayout" Target="../slideLayouts/slideLayout728.xml"/><Relationship Id="rId231" Type="http://schemas.openxmlformats.org/officeDocument/2006/relationships/slideLayout" Target="../slideLayouts/slideLayout933.xml"/><Relationship Id="rId273" Type="http://schemas.openxmlformats.org/officeDocument/2006/relationships/slideLayout" Target="../slideLayouts/slideLayout975.xml"/><Relationship Id="rId329" Type="http://schemas.openxmlformats.org/officeDocument/2006/relationships/slideLayout" Target="../slideLayouts/slideLayout1031.xml"/><Relationship Id="rId480" Type="http://schemas.openxmlformats.org/officeDocument/2006/relationships/slideLayout" Target="../slideLayouts/slideLayout1182.xml"/><Relationship Id="rId536" Type="http://schemas.openxmlformats.org/officeDocument/2006/relationships/slideLayout" Target="../slideLayouts/slideLayout1238.xml"/><Relationship Id="rId68" Type="http://schemas.openxmlformats.org/officeDocument/2006/relationships/slideLayout" Target="../slideLayouts/slideLayout770.xml"/><Relationship Id="rId133" Type="http://schemas.openxmlformats.org/officeDocument/2006/relationships/slideLayout" Target="../slideLayouts/slideLayout835.xml"/><Relationship Id="rId175" Type="http://schemas.openxmlformats.org/officeDocument/2006/relationships/slideLayout" Target="../slideLayouts/slideLayout877.xml"/><Relationship Id="rId340" Type="http://schemas.openxmlformats.org/officeDocument/2006/relationships/slideLayout" Target="../slideLayouts/slideLayout1042.xml"/><Relationship Id="rId578" Type="http://schemas.openxmlformats.org/officeDocument/2006/relationships/slideLayout" Target="../slideLayouts/slideLayout1280.xml"/><Relationship Id="rId200" Type="http://schemas.openxmlformats.org/officeDocument/2006/relationships/slideLayout" Target="../slideLayouts/slideLayout902.xml"/><Relationship Id="rId382" Type="http://schemas.openxmlformats.org/officeDocument/2006/relationships/slideLayout" Target="../slideLayouts/slideLayout1084.xml"/><Relationship Id="rId438" Type="http://schemas.openxmlformats.org/officeDocument/2006/relationships/slideLayout" Target="../slideLayouts/slideLayout1140.xml"/><Relationship Id="rId603" Type="http://schemas.openxmlformats.org/officeDocument/2006/relationships/slideLayout" Target="../slideLayouts/slideLayout1305.xml"/><Relationship Id="rId242" Type="http://schemas.openxmlformats.org/officeDocument/2006/relationships/slideLayout" Target="../slideLayouts/slideLayout944.xml"/><Relationship Id="rId284" Type="http://schemas.openxmlformats.org/officeDocument/2006/relationships/slideLayout" Target="../slideLayouts/slideLayout986.xml"/><Relationship Id="rId491" Type="http://schemas.openxmlformats.org/officeDocument/2006/relationships/slideLayout" Target="../slideLayouts/slideLayout1193.xml"/><Relationship Id="rId505" Type="http://schemas.openxmlformats.org/officeDocument/2006/relationships/slideLayout" Target="../slideLayouts/slideLayout1207.xml"/><Relationship Id="rId37" Type="http://schemas.openxmlformats.org/officeDocument/2006/relationships/slideLayout" Target="../slideLayouts/slideLayout739.xml"/><Relationship Id="rId79" Type="http://schemas.openxmlformats.org/officeDocument/2006/relationships/slideLayout" Target="../slideLayouts/slideLayout781.xml"/><Relationship Id="rId102" Type="http://schemas.openxmlformats.org/officeDocument/2006/relationships/slideLayout" Target="../slideLayouts/slideLayout804.xml"/><Relationship Id="rId144" Type="http://schemas.openxmlformats.org/officeDocument/2006/relationships/slideLayout" Target="../slideLayouts/slideLayout846.xml"/><Relationship Id="rId547" Type="http://schemas.openxmlformats.org/officeDocument/2006/relationships/slideLayout" Target="../slideLayouts/slideLayout1249.xml"/><Relationship Id="rId589" Type="http://schemas.openxmlformats.org/officeDocument/2006/relationships/slideLayout" Target="../slideLayouts/slideLayout1291.xml"/><Relationship Id="rId90" Type="http://schemas.openxmlformats.org/officeDocument/2006/relationships/slideLayout" Target="../slideLayouts/slideLayout792.xml"/><Relationship Id="rId186" Type="http://schemas.openxmlformats.org/officeDocument/2006/relationships/slideLayout" Target="../slideLayouts/slideLayout888.xml"/><Relationship Id="rId351" Type="http://schemas.openxmlformats.org/officeDocument/2006/relationships/slideLayout" Target="../slideLayouts/slideLayout1053.xml"/><Relationship Id="rId393" Type="http://schemas.openxmlformats.org/officeDocument/2006/relationships/slideLayout" Target="../slideLayouts/slideLayout1095.xml"/><Relationship Id="rId407" Type="http://schemas.openxmlformats.org/officeDocument/2006/relationships/slideLayout" Target="../slideLayouts/slideLayout1109.xml"/><Relationship Id="rId449" Type="http://schemas.openxmlformats.org/officeDocument/2006/relationships/slideLayout" Target="../slideLayouts/slideLayout1151.xml"/><Relationship Id="rId614" Type="http://schemas.openxmlformats.org/officeDocument/2006/relationships/slideLayout" Target="../slideLayouts/slideLayout1316.xml"/><Relationship Id="rId211" Type="http://schemas.openxmlformats.org/officeDocument/2006/relationships/slideLayout" Target="../slideLayouts/slideLayout913.xml"/><Relationship Id="rId253" Type="http://schemas.openxmlformats.org/officeDocument/2006/relationships/slideLayout" Target="../slideLayouts/slideLayout955.xml"/><Relationship Id="rId295" Type="http://schemas.openxmlformats.org/officeDocument/2006/relationships/slideLayout" Target="../slideLayouts/slideLayout997.xml"/><Relationship Id="rId309" Type="http://schemas.openxmlformats.org/officeDocument/2006/relationships/slideLayout" Target="../slideLayouts/slideLayout1011.xml"/><Relationship Id="rId460" Type="http://schemas.openxmlformats.org/officeDocument/2006/relationships/slideLayout" Target="../slideLayouts/slideLayout1162.xml"/><Relationship Id="rId516" Type="http://schemas.openxmlformats.org/officeDocument/2006/relationships/slideLayout" Target="../slideLayouts/slideLayout1218.xml"/><Relationship Id="rId48" Type="http://schemas.openxmlformats.org/officeDocument/2006/relationships/slideLayout" Target="../slideLayouts/slideLayout750.xml"/><Relationship Id="rId113" Type="http://schemas.openxmlformats.org/officeDocument/2006/relationships/slideLayout" Target="../slideLayouts/slideLayout815.xml"/><Relationship Id="rId320" Type="http://schemas.openxmlformats.org/officeDocument/2006/relationships/slideLayout" Target="../slideLayouts/slideLayout1022.xml"/><Relationship Id="rId558" Type="http://schemas.openxmlformats.org/officeDocument/2006/relationships/slideLayout" Target="../slideLayouts/slideLayout1260.xml"/><Relationship Id="rId155" Type="http://schemas.openxmlformats.org/officeDocument/2006/relationships/slideLayout" Target="../slideLayouts/slideLayout857.xml"/><Relationship Id="rId197" Type="http://schemas.openxmlformats.org/officeDocument/2006/relationships/slideLayout" Target="../slideLayouts/slideLayout899.xml"/><Relationship Id="rId362" Type="http://schemas.openxmlformats.org/officeDocument/2006/relationships/slideLayout" Target="../slideLayouts/slideLayout1064.xml"/><Relationship Id="rId418" Type="http://schemas.openxmlformats.org/officeDocument/2006/relationships/slideLayout" Target="../slideLayouts/slideLayout1120.xml"/><Relationship Id="rId625" Type="http://schemas.openxmlformats.org/officeDocument/2006/relationships/slideLayout" Target="../slideLayouts/slideLayout1327.xml"/><Relationship Id="rId222" Type="http://schemas.openxmlformats.org/officeDocument/2006/relationships/slideLayout" Target="../slideLayouts/slideLayout924.xml"/><Relationship Id="rId264" Type="http://schemas.openxmlformats.org/officeDocument/2006/relationships/slideLayout" Target="../slideLayouts/slideLayout966.xml"/><Relationship Id="rId471" Type="http://schemas.openxmlformats.org/officeDocument/2006/relationships/slideLayout" Target="../slideLayouts/slideLayout1173.xml"/><Relationship Id="rId17" Type="http://schemas.openxmlformats.org/officeDocument/2006/relationships/slideLayout" Target="../slideLayouts/slideLayout719.xml"/><Relationship Id="rId59" Type="http://schemas.openxmlformats.org/officeDocument/2006/relationships/slideLayout" Target="../slideLayouts/slideLayout761.xml"/><Relationship Id="rId124" Type="http://schemas.openxmlformats.org/officeDocument/2006/relationships/slideLayout" Target="../slideLayouts/slideLayout826.xml"/><Relationship Id="rId527" Type="http://schemas.openxmlformats.org/officeDocument/2006/relationships/slideLayout" Target="../slideLayouts/slideLayout1229.xml"/><Relationship Id="rId569" Type="http://schemas.openxmlformats.org/officeDocument/2006/relationships/slideLayout" Target="../slideLayouts/slideLayout1271.xml"/><Relationship Id="rId70" Type="http://schemas.openxmlformats.org/officeDocument/2006/relationships/slideLayout" Target="../slideLayouts/slideLayout772.xml"/><Relationship Id="rId166" Type="http://schemas.openxmlformats.org/officeDocument/2006/relationships/slideLayout" Target="../slideLayouts/slideLayout868.xml"/><Relationship Id="rId331" Type="http://schemas.openxmlformats.org/officeDocument/2006/relationships/slideLayout" Target="../slideLayouts/slideLayout1033.xml"/><Relationship Id="rId373" Type="http://schemas.openxmlformats.org/officeDocument/2006/relationships/slideLayout" Target="../slideLayouts/slideLayout1075.xml"/><Relationship Id="rId429" Type="http://schemas.openxmlformats.org/officeDocument/2006/relationships/slideLayout" Target="../slideLayouts/slideLayout1131.xml"/><Relationship Id="rId580" Type="http://schemas.openxmlformats.org/officeDocument/2006/relationships/slideLayout" Target="../slideLayouts/slideLayout1282.xml"/><Relationship Id="rId636" Type="http://schemas.openxmlformats.org/officeDocument/2006/relationships/slideLayout" Target="../slideLayouts/slideLayout1338.xml"/><Relationship Id="rId1" Type="http://schemas.openxmlformats.org/officeDocument/2006/relationships/slideLayout" Target="../slideLayouts/slideLayout703.xml"/><Relationship Id="rId233" Type="http://schemas.openxmlformats.org/officeDocument/2006/relationships/slideLayout" Target="../slideLayouts/slideLayout935.xml"/><Relationship Id="rId440" Type="http://schemas.openxmlformats.org/officeDocument/2006/relationships/slideLayout" Target="../slideLayouts/slideLayout1142.xml"/><Relationship Id="rId28" Type="http://schemas.openxmlformats.org/officeDocument/2006/relationships/slideLayout" Target="../slideLayouts/slideLayout730.xml"/><Relationship Id="rId275" Type="http://schemas.openxmlformats.org/officeDocument/2006/relationships/slideLayout" Target="../slideLayouts/slideLayout977.xml"/><Relationship Id="rId300" Type="http://schemas.openxmlformats.org/officeDocument/2006/relationships/slideLayout" Target="../slideLayouts/slideLayout1002.xml"/><Relationship Id="rId482" Type="http://schemas.openxmlformats.org/officeDocument/2006/relationships/slideLayout" Target="../slideLayouts/slideLayout1184.xml"/><Relationship Id="rId538" Type="http://schemas.openxmlformats.org/officeDocument/2006/relationships/slideLayout" Target="../slideLayouts/slideLayout1240.xml"/><Relationship Id="rId81" Type="http://schemas.openxmlformats.org/officeDocument/2006/relationships/slideLayout" Target="../slideLayouts/slideLayout783.xml"/><Relationship Id="rId135" Type="http://schemas.openxmlformats.org/officeDocument/2006/relationships/slideLayout" Target="../slideLayouts/slideLayout837.xml"/><Relationship Id="rId177" Type="http://schemas.openxmlformats.org/officeDocument/2006/relationships/slideLayout" Target="../slideLayouts/slideLayout879.xml"/><Relationship Id="rId342" Type="http://schemas.openxmlformats.org/officeDocument/2006/relationships/slideLayout" Target="../slideLayouts/slideLayout1044.xml"/><Relationship Id="rId384" Type="http://schemas.openxmlformats.org/officeDocument/2006/relationships/slideLayout" Target="../slideLayouts/slideLayout1086.xml"/><Relationship Id="rId591" Type="http://schemas.openxmlformats.org/officeDocument/2006/relationships/slideLayout" Target="../slideLayouts/slideLayout1293.xml"/><Relationship Id="rId605" Type="http://schemas.openxmlformats.org/officeDocument/2006/relationships/slideLayout" Target="../slideLayouts/slideLayout1307.xml"/><Relationship Id="rId202" Type="http://schemas.openxmlformats.org/officeDocument/2006/relationships/slideLayout" Target="../slideLayouts/slideLayout904.xml"/><Relationship Id="rId244" Type="http://schemas.openxmlformats.org/officeDocument/2006/relationships/slideLayout" Target="../slideLayouts/slideLayout946.xml"/><Relationship Id="rId39" Type="http://schemas.openxmlformats.org/officeDocument/2006/relationships/slideLayout" Target="../slideLayouts/slideLayout741.xml"/><Relationship Id="rId286" Type="http://schemas.openxmlformats.org/officeDocument/2006/relationships/slideLayout" Target="../slideLayouts/slideLayout988.xml"/><Relationship Id="rId451" Type="http://schemas.openxmlformats.org/officeDocument/2006/relationships/slideLayout" Target="../slideLayouts/slideLayout1153.xml"/><Relationship Id="rId493" Type="http://schemas.openxmlformats.org/officeDocument/2006/relationships/slideLayout" Target="../slideLayouts/slideLayout1195.xml"/><Relationship Id="rId507" Type="http://schemas.openxmlformats.org/officeDocument/2006/relationships/slideLayout" Target="../slideLayouts/slideLayout1209.xml"/><Relationship Id="rId549" Type="http://schemas.openxmlformats.org/officeDocument/2006/relationships/slideLayout" Target="../slideLayouts/slideLayout1251.xml"/><Relationship Id="rId50" Type="http://schemas.openxmlformats.org/officeDocument/2006/relationships/slideLayout" Target="../slideLayouts/slideLayout752.xml"/><Relationship Id="rId104" Type="http://schemas.openxmlformats.org/officeDocument/2006/relationships/slideLayout" Target="../slideLayouts/slideLayout806.xml"/><Relationship Id="rId146" Type="http://schemas.openxmlformats.org/officeDocument/2006/relationships/slideLayout" Target="../slideLayouts/slideLayout848.xml"/><Relationship Id="rId188" Type="http://schemas.openxmlformats.org/officeDocument/2006/relationships/slideLayout" Target="../slideLayouts/slideLayout890.xml"/><Relationship Id="rId311" Type="http://schemas.openxmlformats.org/officeDocument/2006/relationships/slideLayout" Target="../slideLayouts/slideLayout1013.xml"/><Relationship Id="rId353" Type="http://schemas.openxmlformats.org/officeDocument/2006/relationships/slideLayout" Target="../slideLayouts/slideLayout1055.xml"/><Relationship Id="rId395" Type="http://schemas.openxmlformats.org/officeDocument/2006/relationships/slideLayout" Target="../slideLayouts/slideLayout1097.xml"/><Relationship Id="rId409" Type="http://schemas.openxmlformats.org/officeDocument/2006/relationships/slideLayout" Target="../slideLayouts/slideLayout1111.xml"/><Relationship Id="rId560" Type="http://schemas.openxmlformats.org/officeDocument/2006/relationships/slideLayout" Target="../slideLayouts/slideLayout1262.xml"/><Relationship Id="rId92" Type="http://schemas.openxmlformats.org/officeDocument/2006/relationships/slideLayout" Target="../slideLayouts/slideLayout794.xml"/><Relationship Id="rId213" Type="http://schemas.openxmlformats.org/officeDocument/2006/relationships/slideLayout" Target="../slideLayouts/slideLayout915.xml"/><Relationship Id="rId420" Type="http://schemas.openxmlformats.org/officeDocument/2006/relationships/slideLayout" Target="../slideLayouts/slideLayout1122.xml"/><Relationship Id="rId616" Type="http://schemas.openxmlformats.org/officeDocument/2006/relationships/slideLayout" Target="../slideLayouts/slideLayout1318.xml"/><Relationship Id="rId255" Type="http://schemas.openxmlformats.org/officeDocument/2006/relationships/slideLayout" Target="../slideLayouts/slideLayout957.xml"/><Relationship Id="rId297" Type="http://schemas.openxmlformats.org/officeDocument/2006/relationships/slideLayout" Target="../slideLayouts/slideLayout999.xml"/><Relationship Id="rId462" Type="http://schemas.openxmlformats.org/officeDocument/2006/relationships/slideLayout" Target="../slideLayouts/slideLayout1164.xml"/><Relationship Id="rId518" Type="http://schemas.openxmlformats.org/officeDocument/2006/relationships/slideLayout" Target="../slideLayouts/slideLayout1220.xml"/><Relationship Id="rId115" Type="http://schemas.openxmlformats.org/officeDocument/2006/relationships/slideLayout" Target="../slideLayouts/slideLayout817.xml"/><Relationship Id="rId157" Type="http://schemas.openxmlformats.org/officeDocument/2006/relationships/slideLayout" Target="../slideLayouts/slideLayout859.xml"/><Relationship Id="rId322" Type="http://schemas.openxmlformats.org/officeDocument/2006/relationships/slideLayout" Target="../slideLayouts/slideLayout1024.xml"/><Relationship Id="rId364" Type="http://schemas.openxmlformats.org/officeDocument/2006/relationships/slideLayout" Target="../slideLayouts/slideLayout1066.xml"/><Relationship Id="rId61" Type="http://schemas.openxmlformats.org/officeDocument/2006/relationships/slideLayout" Target="../slideLayouts/slideLayout763.xml"/><Relationship Id="rId199" Type="http://schemas.openxmlformats.org/officeDocument/2006/relationships/slideLayout" Target="../slideLayouts/slideLayout901.xml"/><Relationship Id="rId571" Type="http://schemas.openxmlformats.org/officeDocument/2006/relationships/slideLayout" Target="../slideLayouts/slideLayout1273.xml"/><Relationship Id="rId627" Type="http://schemas.openxmlformats.org/officeDocument/2006/relationships/slideLayout" Target="../slideLayouts/slideLayout1329.xml"/><Relationship Id="rId19" Type="http://schemas.openxmlformats.org/officeDocument/2006/relationships/slideLayout" Target="../slideLayouts/slideLayout721.xml"/><Relationship Id="rId224" Type="http://schemas.openxmlformats.org/officeDocument/2006/relationships/slideLayout" Target="../slideLayouts/slideLayout926.xml"/><Relationship Id="rId266" Type="http://schemas.openxmlformats.org/officeDocument/2006/relationships/slideLayout" Target="../slideLayouts/slideLayout968.xml"/><Relationship Id="rId431" Type="http://schemas.openxmlformats.org/officeDocument/2006/relationships/slideLayout" Target="../slideLayouts/slideLayout1133.xml"/><Relationship Id="rId473" Type="http://schemas.openxmlformats.org/officeDocument/2006/relationships/slideLayout" Target="../slideLayouts/slideLayout1175.xml"/><Relationship Id="rId529" Type="http://schemas.openxmlformats.org/officeDocument/2006/relationships/slideLayout" Target="../slideLayouts/slideLayout1231.xml"/><Relationship Id="rId30" Type="http://schemas.openxmlformats.org/officeDocument/2006/relationships/slideLayout" Target="../slideLayouts/slideLayout732.xml"/><Relationship Id="rId126" Type="http://schemas.openxmlformats.org/officeDocument/2006/relationships/slideLayout" Target="../slideLayouts/slideLayout828.xml"/><Relationship Id="rId168" Type="http://schemas.openxmlformats.org/officeDocument/2006/relationships/slideLayout" Target="../slideLayouts/slideLayout870.xml"/><Relationship Id="rId333" Type="http://schemas.openxmlformats.org/officeDocument/2006/relationships/slideLayout" Target="../slideLayouts/slideLayout1035.xml"/><Relationship Id="rId540" Type="http://schemas.openxmlformats.org/officeDocument/2006/relationships/slideLayout" Target="../slideLayouts/slideLayout1242.xml"/><Relationship Id="rId72" Type="http://schemas.openxmlformats.org/officeDocument/2006/relationships/slideLayout" Target="../slideLayouts/slideLayout774.xml"/><Relationship Id="rId375" Type="http://schemas.openxmlformats.org/officeDocument/2006/relationships/slideLayout" Target="../slideLayouts/slideLayout1077.xml"/><Relationship Id="rId582" Type="http://schemas.openxmlformats.org/officeDocument/2006/relationships/slideLayout" Target="../slideLayouts/slideLayout1284.xml"/><Relationship Id="rId638" Type="http://schemas.openxmlformats.org/officeDocument/2006/relationships/slideLayout" Target="../slideLayouts/slideLayout1340.xml"/><Relationship Id="rId3" Type="http://schemas.openxmlformats.org/officeDocument/2006/relationships/slideLayout" Target="../slideLayouts/slideLayout705.xml"/><Relationship Id="rId235" Type="http://schemas.openxmlformats.org/officeDocument/2006/relationships/slideLayout" Target="../slideLayouts/slideLayout937.xml"/><Relationship Id="rId277" Type="http://schemas.openxmlformats.org/officeDocument/2006/relationships/slideLayout" Target="../slideLayouts/slideLayout979.xml"/><Relationship Id="rId400" Type="http://schemas.openxmlformats.org/officeDocument/2006/relationships/slideLayout" Target="../slideLayouts/slideLayout1102.xml"/><Relationship Id="rId442" Type="http://schemas.openxmlformats.org/officeDocument/2006/relationships/slideLayout" Target="../slideLayouts/slideLayout1144.xml"/><Relationship Id="rId484" Type="http://schemas.openxmlformats.org/officeDocument/2006/relationships/slideLayout" Target="../slideLayouts/slideLayout1186.xml"/><Relationship Id="rId137" Type="http://schemas.openxmlformats.org/officeDocument/2006/relationships/slideLayout" Target="../slideLayouts/slideLayout839.xml"/><Relationship Id="rId302" Type="http://schemas.openxmlformats.org/officeDocument/2006/relationships/slideLayout" Target="../slideLayouts/slideLayout1004.xml"/><Relationship Id="rId344" Type="http://schemas.openxmlformats.org/officeDocument/2006/relationships/slideLayout" Target="../slideLayouts/slideLayout1046.xml"/><Relationship Id="rId41" Type="http://schemas.openxmlformats.org/officeDocument/2006/relationships/slideLayout" Target="../slideLayouts/slideLayout743.xml"/><Relationship Id="rId83" Type="http://schemas.openxmlformats.org/officeDocument/2006/relationships/slideLayout" Target="../slideLayouts/slideLayout785.xml"/><Relationship Id="rId179" Type="http://schemas.openxmlformats.org/officeDocument/2006/relationships/slideLayout" Target="../slideLayouts/slideLayout881.xml"/><Relationship Id="rId386" Type="http://schemas.openxmlformats.org/officeDocument/2006/relationships/slideLayout" Target="../slideLayouts/slideLayout1088.xml"/><Relationship Id="rId551" Type="http://schemas.openxmlformats.org/officeDocument/2006/relationships/slideLayout" Target="../slideLayouts/slideLayout1253.xml"/><Relationship Id="rId593" Type="http://schemas.openxmlformats.org/officeDocument/2006/relationships/slideLayout" Target="../slideLayouts/slideLayout1295.xml"/><Relationship Id="rId607" Type="http://schemas.openxmlformats.org/officeDocument/2006/relationships/slideLayout" Target="../slideLayouts/slideLayout1309.xml"/><Relationship Id="rId190" Type="http://schemas.openxmlformats.org/officeDocument/2006/relationships/slideLayout" Target="../slideLayouts/slideLayout892.xml"/><Relationship Id="rId204" Type="http://schemas.openxmlformats.org/officeDocument/2006/relationships/slideLayout" Target="../slideLayouts/slideLayout906.xml"/><Relationship Id="rId246" Type="http://schemas.openxmlformats.org/officeDocument/2006/relationships/slideLayout" Target="../slideLayouts/slideLayout948.xml"/><Relationship Id="rId288" Type="http://schemas.openxmlformats.org/officeDocument/2006/relationships/slideLayout" Target="../slideLayouts/slideLayout990.xml"/><Relationship Id="rId411" Type="http://schemas.openxmlformats.org/officeDocument/2006/relationships/slideLayout" Target="../slideLayouts/slideLayout1113.xml"/><Relationship Id="rId453" Type="http://schemas.openxmlformats.org/officeDocument/2006/relationships/slideLayout" Target="../slideLayouts/slideLayout1155.xml"/><Relationship Id="rId509" Type="http://schemas.openxmlformats.org/officeDocument/2006/relationships/slideLayout" Target="../slideLayouts/slideLayout1211.xml"/><Relationship Id="rId106" Type="http://schemas.openxmlformats.org/officeDocument/2006/relationships/slideLayout" Target="../slideLayouts/slideLayout808.xml"/><Relationship Id="rId313" Type="http://schemas.openxmlformats.org/officeDocument/2006/relationships/slideLayout" Target="../slideLayouts/slideLayout1015.xml"/><Relationship Id="rId495" Type="http://schemas.openxmlformats.org/officeDocument/2006/relationships/slideLayout" Target="../slideLayouts/slideLayout1197.xml"/><Relationship Id="rId10" Type="http://schemas.openxmlformats.org/officeDocument/2006/relationships/slideLayout" Target="../slideLayouts/slideLayout712.xml"/><Relationship Id="rId52" Type="http://schemas.openxmlformats.org/officeDocument/2006/relationships/slideLayout" Target="../slideLayouts/slideLayout754.xml"/><Relationship Id="rId94" Type="http://schemas.openxmlformats.org/officeDocument/2006/relationships/slideLayout" Target="../slideLayouts/slideLayout796.xml"/><Relationship Id="rId148" Type="http://schemas.openxmlformats.org/officeDocument/2006/relationships/slideLayout" Target="../slideLayouts/slideLayout850.xml"/><Relationship Id="rId355" Type="http://schemas.openxmlformats.org/officeDocument/2006/relationships/slideLayout" Target="../slideLayouts/slideLayout1057.xml"/><Relationship Id="rId397" Type="http://schemas.openxmlformats.org/officeDocument/2006/relationships/slideLayout" Target="../slideLayouts/slideLayout1099.xml"/><Relationship Id="rId520" Type="http://schemas.openxmlformats.org/officeDocument/2006/relationships/slideLayout" Target="../slideLayouts/slideLayout1222.xml"/><Relationship Id="rId562" Type="http://schemas.openxmlformats.org/officeDocument/2006/relationships/slideLayout" Target="../slideLayouts/slideLayout1264.xml"/><Relationship Id="rId618" Type="http://schemas.openxmlformats.org/officeDocument/2006/relationships/slideLayout" Target="../slideLayouts/slideLayout1320.xml"/><Relationship Id="rId215" Type="http://schemas.openxmlformats.org/officeDocument/2006/relationships/slideLayout" Target="../slideLayouts/slideLayout917.xml"/><Relationship Id="rId257" Type="http://schemas.openxmlformats.org/officeDocument/2006/relationships/slideLayout" Target="../slideLayouts/slideLayout959.xml"/><Relationship Id="rId422" Type="http://schemas.openxmlformats.org/officeDocument/2006/relationships/slideLayout" Target="../slideLayouts/slideLayout1124.xml"/><Relationship Id="rId464" Type="http://schemas.openxmlformats.org/officeDocument/2006/relationships/slideLayout" Target="../slideLayouts/slideLayout1166.xml"/><Relationship Id="rId299" Type="http://schemas.openxmlformats.org/officeDocument/2006/relationships/slideLayout" Target="../slideLayouts/slideLayout1001.xml"/><Relationship Id="rId63" Type="http://schemas.openxmlformats.org/officeDocument/2006/relationships/slideLayout" Target="../slideLayouts/slideLayout765.xml"/><Relationship Id="rId159" Type="http://schemas.openxmlformats.org/officeDocument/2006/relationships/slideLayout" Target="../slideLayouts/slideLayout861.xml"/><Relationship Id="rId366" Type="http://schemas.openxmlformats.org/officeDocument/2006/relationships/slideLayout" Target="../slideLayouts/slideLayout1068.xml"/><Relationship Id="rId573" Type="http://schemas.openxmlformats.org/officeDocument/2006/relationships/slideLayout" Target="../slideLayouts/slideLayout1275.xml"/><Relationship Id="rId226" Type="http://schemas.openxmlformats.org/officeDocument/2006/relationships/slideLayout" Target="../slideLayouts/slideLayout928.xml"/><Relationship Id="rId433" Type="http://schemas.openxmlformats.org/officeDocument/2006/relationships/slideLayout" Target="../slideLayouts/slideLayout1135.xml"/><Relationship Id="rId640" Type="http://schemas.openxmlformats.org/officeDocument/2006/relationships/theme" Target="../theme/theme5.xml"/><Relationship Id="rId74" Type="http://schemas.openxmlformats.org/officeDocument/2006/relationships/slideLayout" Target="../slideLayouts/slideLayout776.xml"/><Relationship Id="rId377" Type="http://schemas.openxmlformats.org/officeDocument/2006/relationships/slideLayout" Target="../slideLayouts/slideLayout1079.xml"/><Relationship Id="rId500" Type="http://schemas.openxmlformats.org/officeDocument/2006/relationships/slideLayout" Target="../slideLayouts/slideLayout1202.xml"/><Relationship Id="rId584" Type="http://schemas.openxmlformats.org/officeDocument/2006/relationships/slideLayout" Target="../slideLayouts/slideLayout1286.xml"/><Relationship Id="rId5" Type="http://schemas.openxmlformats.org/officeDocument/2006/relationships/slideLayout" Target="../slideLayouts/slideLayout707.xml"/><Relationship Id="rId237" Type="http://schemas.openxmlformats.org/officeDocument/2006/relationships/slideLayout" Target="../slideLayouts/slideLayout939.xml"/><Relationship Id="rId444" Type="http://schemas.openxmlformats.org/officeDocument/2006/relationships/slideLayout" Target="../slideLayouts/slideLayout1146.xml"/><Relationship Id="rId290" Type="http://schemas.openxmlformats.org/officeDocument/2006/relationships/slideLayout" Target="../slideLayouts/slideLayout992.xml"/><Relationship Id="rId304" Type="http://schemas.openxmlformats.org/officeDocument/2006/relationships/slideLayout" Target="../slideLayouts/slideLayout1006.xml"/><Relationship Id="rId388" Type="http://schemas.openxmlformats.org/officeDocument/2006/relationships/slideLayout" Target="../slideLayouts/slideLayout1090.xml"/><Relationship Id="rId511" Type="http://schemas.openxmlformats.org/officeDocument/2006/relationships/slideLayout" Target="../slideLayouts/slideLayout1213.xml"/><Relationship Id="rId609" Type="http://schemas.openxmlformats.org/officeDocument/2006/relationships/slideLayout" Target="../slideLayouts/slideLayout1311.xml"/><Relationship Id="rId85" Type="http://schemas.openxmlformats.org/officeDocument/2006/relationships/slideLayout" Target="../slideLayouts/slideLayout787.xml"/><Relationship Id="rId150" Type="http://schemas.openxmlformats.org/officeDocument/2006/relationships/slideLayout" Target="../slideLayouts/slideLayout852.xml"/><Relationship Id="rId595" Type="http://schemas.openxmlformats.org/officeDocument/2006/relationships/slideLayout" Target="../slideLayouts/slideLayout1297.xml"/><Relationship Id="rId248" Type="http://schemas.openxmlformats.org/officeDocument/2006/relationships/slideLayout" Target="../slideLayouts/slideLayout950.xml"/><Relationship Id="rId455" Type="http://schemas.openxmlformats.org/officeDocument/2006/relationships/slideLayout" Target="../slideLayouts/slideLayout1157.xml"/><Relationship Id="rId12" Type="http://schemas.openxmlformats.org/officeDocument/2006/relationships/slideLayout" Target="../slideLayouts/slideLayout714.xml"/><Relationship Id="rId108" Type="http://schemas.openxmlformats.org/officeDocument/2006/relationships/slideLayout" Target="../slideLayouts/slideLayout810.xml"/><Relationship Id="rId315" Type="http://schemas.openxmlformats.org/officeDocument/2006/relationships/slideLayout" Target="../slideLayouts/slideLayout1017.xml"/><Relationship Id="rId522" Type="http://schemas.openxmlformats.org/officeDocument/2006/relationships/slideLayout" Target="../slideLayouts/slideLayout1224.xml"/><Relationship Id="rId96" Type="http://schemas.openxmlformats.org/officeDocument/2006/relationships/slideLayout" Target="../slideLayouts/slideLayout798.xml"/><Relationship Id="rId161" Type="http://schemas.openxmlformats.org/officeDocument/2006/relationships/slideLayout" Target="../slideLayouts/slideLayout863.xml"/><Relationship Id="rId399" Type="http://schemas.openxmlformats.org/officeDocument/2006/relationships/slideLayout" Target="../slideLayouts/slideLayout1101.xml"/><Relationship Id="rId259" Type="http://schemas.openxmlformats.org/officeDocument/2006/relationships/slideLayout" Target="../slideLayouts/slideLayout961.xml"/><Relationship Id="rId466" Type="http://schemas.openxmlformats.org/officeDocument/2006/relationships/slideLayout" Target="../slideLayouts/slideLayout1168.xml"/><Relationship Id="rId23" Type="http://schemas.openxmlformats.org/officeDocument/2006/relationships/slideLayout" Target="../slideLayouts/slideLayout725.xml"/><Relationship Id="rId119" Type="http://schemas.openxmlformats.org/officeDocument/2006/relationships/slideLayout" Target="../slideLayouts/slideLayout821.xml"/><Relationship Id="rId326" Type="http://schemas.openxmlformats.org/officeDocument/2006/relationships/slideLayout" Target="../slideLayouts/slideLayout1028.xml"/><Relationship Id="rId533" Type="http://schemas.openxmlformats.org/officeDocument/2006/relationships/slideLayout" Target="../slideLayouts/slideLayout1235.xml"/><Relationship Id="rId172" Type="http://schemas.openxmlformats.org/officeDocument/2006/relationships/slideLayout" Target="../slideLayouts/slideLayout874.xml"/><Relationship Id="rId477" Type="http://schemas.openxmlformats.org/officeDocument/2006/relationships/slideLayout" Target="../slideLayouts/slideLayout1179.xml"/><Relationship Id="rId600" Type="http://schemas.openxmlformats.org/officeDocument/2006/relationships/slideLayout" Target="../slideLayouts/slideLayout1302.xml"/><Relationship Id="rId337" Type="http://schemas.openxmlformats.org/officeDocument/2006/relationships/slideLayout" Target="../slideLayouts/slideLayout1039.xml"/><Relationship Id="rId34" Type="http://schemas.openxmlformats.org/officeDocument/2006/relationships/slideLayout" Target="../slideLayouts/slideLayout736.xml"/><Relationship Id="rId544" Type="http://schemas.openxmlformats.org/officeDocument/2006/relationships/slideLayout" Target="../slideLayouts/slideLayout1246.xml"/><Relationship Id="rId183" Type="http://schemas.openxmlformats.org/officeDocument/2006/relationships/slideLayout" Target="../slideLayouts/slideLayout885.xml"/><Relationship Id="rId390" Type="http://schemas.openxmlformats.org/officeDocument/2006/relationships/slideLayout" Target="../slideLayouts/slideLayout1092.xml"/><Relationship Id="rId404" Type="http://schemas.openxmlformats.org/officeDocument/2006/relationships/slideLayout" Target="../slideLayouts/slideLayout1106.xml"/><Relationship Id="rId611" Type="http://schemas.openxmlformats.org/officeDocument/2006/relationships/slideLayout" Target="../slideLayouts/slideLayout1313.xml"/><Relationship Id="rId250" Type="http://schemas.openxmlformats.org/officeDocument/2006/relationships/slideLayout" Target="../slideLayouts/slideLayout952.xml"/><Relationship Id="rId488" Type="http://schemas.openxmlformats.org/officeDocument/2006/relationships/slideLayout" Target="../slideLayouts/slideLayout1190.xml"/><Relationship Id="rId45" Type="http://schemas.openxmlformats.org/officeDocument/2006/relationships/slideLayout" Target="../slideLayouts/slideLayout747.xml"/><Relationship Id="rId110" Type="http://schemas.openxmlformats.org/officeDocument/2006/relationships/slideLayout" Target="../slideLayouts/slideLayout812.xml"/><Relationship Id="rId348" Type="http://schemas.openxmlformats.org/officeDocument/2006/relationships/slideLayout" Target="../slideLayouts/slideLayout1050.xml"/><Relationship Id="rId555" Type="http://schemas.openxmlformats.org/officeDocument/2006/relationships/slideLayout" Target="../slideLayouts/slideLayout1257.xml"/><Relationship Id="rId194" Type="http://schemas.openxmlformats.org/officeDocument/2006/relationships/slideLayout" Target="../slideLayouts/slideLayout896.xml"/><Relationship Id="rId208" Type="http://schemas.openxmlformats.org/officeDocument/2006/relationships/slideLayout" Target="../slideLayouts/slideLayout910.xml"/><Relationship Id="rId415" Type="http://schemas.openxmlformats.org/officeDocument/2006/relationships/slideLayout" Target="../slideLayouts/slideLayout1117.xml"/><Relationship Id="rId622" Type="http://schemas.openxmlformats.org/officeDocument/2006/relationships/slideLayout" Target="../slideLayouts/slideLayout1324.xml"/><Relationship Id="rId261" Type="http://schemas.openxmlformats.org/officeDocument/2006/relationships/slideLayout" Target="../slideLayouts/slideLayout963.xml"/><Relationship Id="rId499" Type="http://schemas.openxmlformats.org/officeDocument/2006/relationships/slideLayout" Target="../slideLayouts/slideLayout1201.xml"/><Relationship Id="rId56" Type="http://schemas.openxmlformats.org/officeDocument/2006/relationships/slideLayout" Target="../slideLayouts/slideLayout758.xml"/><Relationship Id="rId359" Type="http://schemas.openxmlformats.org/officeDocument/2006/relationships/slideLayout" Target="../slideLayouts/slideLayout1061.xml"/><Relationship Id="rId566" Type="http://schemas.openxmlformats.org/officeDocument/2006/relationships/slideLayout" Target="../slideLayouts/slideLayout1268.xml"/><Relationship Id="rId121" Type="http://schemas.openxmlformats.org/officeDocument/2006/relationships/slideLayout" Target="../slideLayouts/slideLayout823.xml"/><Relationship Id="rId219" Type="http://schemas.openxmlformats.org/officeDocument/2006/relationships/slideLayout" Target="../slideLayouts/slideLayout921.xml"/><Relationship Id="rId426" Type="http://schemas.openxmlformats.org/officeDocument/2006/relationships/slideLayout" Target="../slideLayouts/slideLayout1128.xml"/><Relationship Id="rId633" Type="http://schemas.openxmlformats.org/officeDocument/2006/relationships/slideLayout" Target="../slideLayouts/slideLayout1335.xml"/><Relationship Id="rId67" Type="http://schemas.openxmlformats.org/officeDocument/2006/relationships/slideLayout" Target="../slideLayouts/slideLayout769.xml"/><Relationship Id="rId272" Type="http://schemas.openxmlformats.org/officeDocument/2006/relationships/slideLayout" Target="../slideLayouts/slideLayout974.xml"/><Relationship Id="rId577" Type="http://schemas.openxmlformats.org/officeDocument/2006/relationships/slideLayout" Target="../slideLayouts/slideLayout1279.xml"/><Relationship Id="rId132" Type="http://schemas.openxmlformats.org/officeDocument/2006/relationships/slideLayout" Target="../slideLayouts/slideLayout834.xml"/><Relationship Id="rId437" Type="http://schemas.openxmlformats.org/officeDocument/2006/relationships/slideLayout" Target="../slideLayouts/slideLayout1139.xml"/><Relationship Id="rId283" Type="http://schemas.openxmlformats.org/officeDocument/2006/relationships/slideLayout" Target="../slideLayouts/slideLayout985.xml"/><Relationship Id="rId490" Type="http://schemas.openxmlformats.org/officeDocument/2006/relationships/slideLayout" Target="../slideLayouts/slideLayout1192.xml"/><Relationship Id="rId504" Type="http://schemas.openxmlformats.org/officeDocument/2006/relationships/slideLayout" Target="../slideLayouts/slideLayout1206.xml"/><Relationship Id="rId78" Type="http://schemas.openxmlformats.org/officeDocument/2006/relationships/slideLayout" Target="../slideLayouts/slideLayout780.xml"/><Relationship Id="rId143" Type="http://schemas.openxmlformats.org/officeDocument/2006/relationships/slideLayout" Target="../slideLayouts/slideLayout845.xml"/><Relationship Id="rId350" Type="http://schemas.openxmlformats.org/officeDocument/2006/relationships/slideLayout" Target="../slideLayouts/slideLayout1052.xml"/><Relationship Id="rId588" Type="http://schemas.openxmlformats.org/officeDocument/2006/relationships/slideLayout" Target="../slideLayouts/slideLayout1290.xml"/><Relationship Id="rId9" Type="http://schemas.openxmlformats.org/officeDocument/2006/relationships/slideLayout" Target="../slideLayouts/slideLayout711.xml"/><Relationship Id="rId210" Type="http://schemas.openxmlformats.org/officeDocument/2006/relationships/slideLayout" Target="../slideLayouts/slideLayout912.xml"/><Relationship Id="rId448" Type="http://schemas.openxmlformats.org/officeDocument/2006/relationships/slideLayout" Target="../slideLayouts/slideLayout1150.xml"/></Relationships>
</file>

<file path=ppt/slideMasters/_rels/slideMaster6.xml.rels><?xml version="1.0" encoding="UTF-8" standalone="yes"?>
<Relationships xmlns="http://schemas.openxmlformats.org/package/2006/relationships"><Relationship Id="rId117" Type="http://schemas.openxmlformats.org/officeDocument/2006/relationships/slideLayout" Target="../slideLayouts/slideLayout1458.xml"/><Relationship Id="rId21" Type="http://schemas.openxmlformats.org/officeDocument/2006/relationships/slideLayout" Target="../slideLayouts/slideLayout1362.xml"/><Relationship Id="rId42" Type="http://schemas.openxmlformats.org/officeDocument/2006/relationships/slideLayout" Target="../slideLayouts/slideLayout1383.xml"/><Relationship Id="rId47" Type="http://schemas.openxmlformats.org/officeDocument/2006/relationships/slideLayout" Target="../slideLayouts/slideLayout1388.xml"/><Relationship Id="rId63" Type="http://schemas.openxmlformats.org/officeDocument/2006/relationships/slideLayout" Target="../slideLayouts/slideLayout1404.xml"/><Relationship Id="rId68" Type="http://schemas.openxmlformats.org/officeDocument/2006/relationships/slideLayout" Target="../slideLayouts/slideLayout1409.xml"/><Relationship Id="rId84" Type="http://schemas.openxmlformats.org/officeDocument/2006/relationships/slideLayout" Target="../slideLayouts/slideLayout1425.xml"/><Relationship Id="rId89" Type="http://schemas.openxmlformats.org/officeDocument/2006/relationships/slideLayout" Target="../slideLayouts/slideLayout1430.xml"/><Relationship Id="rId112" Type="http://schemas.openxmlformats.org/officeDocument/2006/relationships/slideLayout" Target="../slideLayouts/slideLayout1453.xml"/><Relationship Id="rId16" Type="http://schemas.openxmlformats.org/officeDocument/2006/relationships/slideLayout" Target="../slideLayouts/slideLayout1357.xml"/><Relationship Id="rId107" Type="http://schemas.openxmlformats.org/officeDocument/2006/relationships/slideLayout" Target="../slideLayouts/slideLayout1448.xml"/><Relationship Id="rId11" Type="http://schemas.openxmlformats.org/officeDocument/2006/relationships/slideLayout" Target="../slideLayouts/slideLayout1352.xml"/><Relationship Id="rId32" Type="http://schemas.openxmlformats.org/officeDocument/2006/relationships/slideLayout" Target="../slideLayouts/slideLayout1373.xml"/><Relationship Id="rId37" Type="http://schemas.openxmlformats.org/officeDocument/2006/relationships/slideLayout" Target="../slideLayouts/slideLayout1378.xml"/><Relationship Id="rId53" Type="http://schemas.openxmlformats.org/officeDocument/2006/relationships/slideLayout" Target="../slideLayouts/slideLayout1394.xml"/><Relationship Id="rId58" Type="http://schemas.openxmlformats.org/officeDocument/2006/relationships/slideLayout" Target="../slideLayouts/slideLayout1399.xml"/><Relationship Id="rId74" Type="http://schemas.openxmlformats.org/officeDocument/2006/relationships/slideLayout" Target="../slideLayouts/slideLayout1415.xml"/><Relationship Id="rId79" Type="http://schemas.openxmlformats.org/officeDocument/2006/relationships/slideLayout" Target="../slideLayouts/slideLayout1420.xml"/><Relationship Id="rId102" Type="http://schemas.openxmlformats.org/officeDocument/2006/relationships/slideLayout" Target="../slideLayouts/slideLayout1443.xml"/><Relationship Id="rId123" Type="http://schemas.openxmlformats.org/officeDocument/2006/relationships/slideLayout" Target="../slideLayouts/slideLayout1464.xml"/><Relationship Id="rId128" Type="http://schemas.openxmlformats.org/officeDocument/2006/relationships/slideLayout" Target="../slideLayouts/slideLayout1469.xml"/><Relationship Id="rId5" Type="http://schemas.openxmlformats.org/officeDocument/2006/relationships/slideLayout" Target="../slideLayouts/slideLayout1346.xml"/><Relationship Id="rId90" Type="http://schemas.openxmlformats.org/officeDocument/2006/relationships/slideLayout" Target="../slideLayouts/slideLayout1431.xml"/><Relationship Id="rId95" Type="http://schemas.openxmlformats.org/officeDocument/2006/relationships/slideLayout" Target="../slideLayouts/slideLayout1436.xml"/><Relationship Id="rId22" Type="http://schemas.openxmlformats.org/officeDocument/2006/relationships/slideLayout" Target="../slideLayouts/slideLayout1363.xml"/><Relationship Id="rId27" Type="http://schemas.openxmlformats.org/officeDocument/2006/relationships/slideLayout" Target="../slideLayouts/slideLayout1368.xml"/><Relationship Id="rId43" Type="http://schemas.openxmlformats.org/officeDocument/2006/relationships/slideLayout" Target="../slideLayouts/slideLayout1384.xml"/><Relationship Id="rId48" Type="http://schemas.openxmlformats.org/officeDocument/2006/relationships/slideLayout" Target="../slideLayouts/slideLayout1389.xml"/><Relationship Id="rId64" Type="http://schemas.openxmlformats.org/officeDocument/2006/relationships/slideLayout" Target="../slideLayouts/slideLayout1405.xml"/><Relationship Id="rId69" Type="http://schemas.openxmlformats.org/officeDocument/2006/relationships/slideLayout" Target="../slideLayouts/slideLayout1410.xml"/><Relationship Id="rId113" Type="http://schemas.openxmlformats.org/officeDocument/2006/relationships/slideLayout" Target="../slideLayouts/slideLayout1454.xml"/><Relationship Id="rId118" Type="http://schemas.openxmlformats.org/officeDocument/2006/relationships/slideLayout" Target="../slideLayouts/slideLayout1459.xml"/><Relationship Id="rId80" Type="http://schemas.openxmlformats.org/officeDocument/2006/relationships/slideLayout" Target="../slideLayouts/slideLayout1421.xml"/><Relationship Id="rId85" Type="http://schemas.openxmlformats.org/officeDocument/2006/relationships/slideLayout" Target="../slideLayouts/slideLayout1426.xml"/><Relationship Id="rId12" Type="http://schemas.openxmlformats.org/officeDocument/2006/relationships/slideLayout" Target="../slideLayouts/slideLayout1353.xml"/><Relationship Id="rId17" Type="http://schemas.openxmlformats.org/officeDocument/2006/relationships/slideLayout" Target="../slideLayouts/slideLayout1358.xml"/><Relationship Id="rId33" Type="http://schemas.openxmlformats.org/officeDocument/2006/relationships/slideLayout" Target="../slideLayouts/slideLayout1374.xml"/><Relationship Id="rId38" Type="http://schemas.openxmlformats.org/officeDocument/2006/relationships/slideLayout" Target="../slideLayouts/slideLayout1379.xml"/><Relationship Id="rId59" Type="http://schemas.openxmlformats.org/officeDocument/2006/relationships/slideLayout" Target="../slideLayouts/slideLayout1400.xml"/><Relationship Id="rId103" Type="http://schemas.openxmlformats.org/officeDocument/2006/relationships/slideLayout" Target="../slideLayouts/slideLayout1444.xml"/><Relationship Id="rId108" Type="http://schemas.openxmlformats.org/officeDocument/2006/relationships/slideLayout" Target="../slideLayouts/slideLayout1449.xml"/><Relationship Id="rId124" Type="http://schemas.openxmlformats.org/officeDocument/2006/relationships/slideLayout" Target="../slideLayouts/slideLayout1465.xml"/><Relationship Id="rId129" Type="http://schemas.openxmlformats.org/officeDocument/2006/relationships/theme" Target="../theme/theme6.xml"/><Relationship Id="rId54" Type="http://schemas.openxmlformats.org/officeDocument/2006/relationships/slideLayout" Target="../slideLayouts/slideLayout1395.xml"/><Relationship Id="rId70" Type="http://schemas.openxmlformats.org/officeDocument/2006/relationships/slideLayout" Target="../slideLayouts/slideLayout1411.xml"/><Relationship Id="rId75" Type="http://schemas.openxmlformats.org/officeDocument/2006/relationships/slideLayout" Target="../slideLayouts/slideLayout1416.xml"/><Relationship Id="rId91" Type="http://schemas.openxmlformats.org/officeDocument/2006/relationships/slideLayout" Target="../slideLayouts/slideLayout1432.xml"/><Relationship Id="rId96" Type="http://schemas.openxmlformats.org/officeDocument/2006/relationships/slideLayout" Target="../slideLayouts/slideLayout1437.xml"/><Relationship Id="rId1" Type="http://schemas.openxmlformats.org/officeDocument/2006/relationships/slideLayout" Target="../slideLayouts/slideLayout1342.xml"/><Relationship Id="rId6" Type="http://schemas.openxmlformats.org/officeDocument/2006/relationships/slideLayout" Target="../slideLayouts/slideLayout1347.xml"/><Relationship Id="rId23" Type="http://schemas.openxmlformats.org/officeDocument/2006/relationships/slideLayout" Target="../slideLayouts/slideLayout1364.xml"/><Relationship Id="rId28" Type="http://schemas.openxmlformats.org/officeDocument/2006/relationships/slideLayout" Target="../slideLayouts/slideLayout1369.xml"/><Relationship Id="rId49" Type="http://schemas.openxmlformats.org/officeDocument/2006/relationships/slideLayout" Target="../slideLayouts/slideLayout1390.xml"/><Relationship Id="rId114" Type="http://schemas.openxmlformats.org/officeDocument/2006/relationships/slideLayout" Target="../slideLayouts/slideLayout1455.xml"/><Relationship Id="rId119" Type="http://schemas.openxmlformats.org/officeDocument/2006/relationships/slideLayout" Target="../slideLayouts/slideLayout1460.xml"/><Relationship Id="rId44" Type="http://schemas.openxmlformats.org/officeDocument/2006/relationships/slideLayout" Target="../slideLayouts/slideLayout1385.xml"/><Relationship Id="rId60" Type="http://schemas.openxmlformats.org/officeDocument/2006/relationships/slideLayout" Target="../slideLayouts/slideLayout1401.xml"/><Relationship Id="rId65" Type="http://schemas.openxmlformats.org/officeDocument/2006/relationships/slideLayout" Target="../slideLayouts/slideLayout1406.xml"/><Relationship Id="rId81" Type="http://schemas.openxmlformats.org/officeDocument/2006/relationships/slideLayout" Target="../slideLayouts/slideLayout1422.xml"/><Relationship Id="rId86" Type="http://schemas.openxmlformats.org/officeDocument/2006/relationships/slideLayout" Target="../slideLayouts/slideLayout1427.xml"/><Relationship Id="rId13" Type="http://schemas.openxmlformats.org/officeDocument/2006/relationships/slideLayout" Target="../slideLayouts/slideLayout1354.xml"/><Relationship Id="rId18" Type="http://schemas.openxmlformats.org/officeDocument/2006/relationships/slideLayout" Target="../slideLayouts/slideLayout1359.xml"/><Relationship Id="rId39" Type="http://schemas.openxmlformats.org/officeDocument/2006/relationships/slideLayout" Target="../slideLayouts/slideLayout1380.xml"/><Relationship Id="rId109" Type="http://schemas.openxmlformats.org/officeDocument/2006/relationships/slideLayout" Target="../slideLayouts/slideLayout1450.xml"/><Relationship Id="rId34" Type="http://schemas.openxmlformats.org/officeDocument/2006/relationships/slideLayout" Target="../slideLayouts/slideLayout1375.xml"/><Relationship Id="rId50" Type="http://schemas.openxmlformats.org/officeDocument/2006/relationships/slideLayout" Target="../slideLayouts/slideLayout1391.xml"/><Relationship Id="rId55" Type="http://schemas.openxmlformats.org/officeDocument/2006/relationships/slideLayout" Target="../slideLayouts/slideLayout1396.xml"/><Relationship Id="rId76" Type="http://schemas.openxmlformats.org/officeDocument/2006/relationships/slideLayout" Target="../slideLayouts/slideLayout1417.xml"/><Relationship Id="rId97" Type="http://schemas.openxmlformats.org/officeDocument/2006/relationships/slideLayout" Target="../slideLayouts/slideLayout1438.xml"/><Relationship Id="rId104" Type="http://schemas.openxmlformats.org/officeDocument/2006/relationships/slideLayout" Target="../slideLayouts/slideLayout1445.xml"/><Relationship Id="rId120" Type="http://schemas.openxmlformats.org/officeDocument/2006/relationships/slideLayout" Target="../slideLayouts/slideLayout1461.xml"/><Relationship Id="rId125" Type="http://schemas.openxmlformats.org/officeDocument/2006/relationships/slideLayout" Target="../slideLayouts/slideLayout1466.xml"/><Relationship Id="rId7" Type="http://schemas.openxmlformats.org/officeDocument/2006/relationships/slideLayout" Target="../slideLayouts/slideLayout1348.xml"/><Relationship Id="rId71" Type="http://schemas.openxmlformats.org/officeDocument/2006/relationships/slideLayout" Target="../slideLayouts/slideLayout1412.xml"/><Relationship Id="rId92" Type="http://schemas.openxmlformats.org/officeDocument/2006/relationships/slideLayout" Target="../slideLayouts/slideLayout1433.xml"/><Relationship Id="rId2" Type="http://schemas.openxmlformats.org/officeDocument/2006/relationships/slideLayout" Target="../slideLayouts/slideLayout1343.xml"/><Relationship Id="rId29" Type="http://schemas.openxmlformats.org/officeDocument/2006/relationships/slideLayout" Target="../slideLayouts/slideLayout1370.xml"/><Relationship Id="rId24" Type="http://schemas.openxmlformats.org/officeDocument/2006/relationships/slideLayout" Target="../slideLayouts/slideLayout1365.xml"/><Relationship Id="rId40" Type="http://schemas.openxmlformats.org/officeDocument/2006/relationships/slideLayout" Target="../slideLayouts/slideLayout1381.xml"/><Relationship Id="rId45" Type="http://schemas.openxmlformats.org/officeDocument/2006/relationships/slideLayout" Target="../slideLayouts/slideLayout1386.xml"/><Relationship Id="rId66" Type="http://schemas.openxmlformats.org/officeDocument/2006/relationships/slideLayout" Target="../slideLayouts/slideLayout1407.xml"/><Relationship Id="rId87" Type="http://schemas.openxmlformats.org/officeDocument/2006/relationships/slideLayout" Target="../slideLayouts/slideLayout1428.xml"/><Relationship Id="rId110" Type="http://schemas.openxmlformats.org/officeDocument/2006/relationships/slideLayout" Target="../slideLayouts/slideLayout1451.xml"/><Relationship Id="rId115" Type="http://schemas.openxmlformats.org/officeDocument/2006/relationships/slideLayout" Target="../slideLayouts/slideLayout1456.xml"/><Relationship Id="rId61" Type="http://schemas.openxmlformats.org/officeDocument/2006/relationships/slideLayout" Target="../slideLayouts/slideLayout1402.xml"/><Relationship Id="rId82" Type="http://schemas.openxmlformats.org/officeDocument/2006/relationships/slideLayout" Target="../slideLayouts/slideLayout1423.xml"/><Relationship Id="rId19" Type="http://schemas.openxmlformats.org/officeDocument/2006/relationships/slideLayout" Target="../slideLayouts/slideLayout1360.xml"/><Relationship Id="rId14" Type="http://schemas.openxmlformats.org/officeDocument/2006/relationships/slideLayout" Target="../slideLayouts/slideLayout1355.xml"/><Relationship Id="rId30" Type="http://schemas.openxmlformats.org/officeDocument/2006/relationships/slideLayout" Target="../slideLayouts/slideLayout1371.xml"/><Relationship Id="rId35" Type="http://schemas.openxmlformats.org/officeDocument/2006/relationships/slideLayout" Target="../slideLayouts/slideLayout1376.xml"/><Relationship Id="rId56" Type="http://schemas.openxmlformats.org/officeDocument/2006/relationships/slideLayout" Target="../slideLayouts/slideLayout1397.xml"/><Relationship Id="rId77" Type="http://schemas.openxmlformats.org/officeDocument/2006/relationships/slideLayout" Target="../slideLayouts/slideLayout1418.xml"/><Relationship Id="rId100" Type="http://schemas.openxmlformats.org/officeDocument/2006/relationships/slideLayout" Target="../slideLayouts/slideLayout1441.xml"/><Relationship Id="rId105" Type="http://schemas.openxmlformats.org/officeDocument/2006/relationships/slideLayout" Target="../slideLayouts/slideLayout1446.xml"/><Relationship Id="rId126" Type="http://schemas.openxmlformats.org/officeDocument/2006/relationships/slideLayout" Target="../slideLayouts/slideLayout1467.xml"/><Relationship Id="rId8" Type="http://schemas.openxmlformats.org/officeDocument/2006/relationships/slideLayout" Target="../slideLayouts/slideLayout1349.xml"/><Relationship Id="rId51" Type="http://schemas.openxmlformats.org/officeDocument/2006/relationships/slideLayout" Target="../slideLayouts/slideLayout1392.xml"/><Relationship Id="rId72" Type="http://schemas.openxmlformats.org/officeDocument/2006/relationships/slideLayout" Target="../slideLayouts/slideLayout1413.xml"/><Relationship Id="rId93" Type="http://schemas.openxmlformats.org/officeDocument/2006/relationships/slideLayout" Target="../slideLayouts/slideLayout1434.xml"/><Relationship Id="rId98" Type="http://schemas.openxmlformats.org/officeDocument/2006/relationships/slideLayout" Target="../slideLayouts/slideLayout1439.xml"/><Relationship Id="rId121" Type="http://schemas.openxmlformats.org/officeDocument/2006/relationships/slideLayout" Target="../slideLayouts/slideLayout1462.xml"/><Relationship Id="rId3" Type="http://schemas.openxmlformats.org/officeDocument/2006/relationships/slideLayout" Target="../slideLayouts/slideLayout1344.xml"/><Relationship Id="rId25" Type="http://schemas.openxmlformats.org/officeDocument/2006/relationships/slideLayout" Target="../slideLayouts/slideLayout1366.xml"/><Relationship Id="rId46" Type="http://schemas.openxmlformats.org/officeDocument/2006/relationships/slideLayout" Target="../slideLayouts/slideLayout1387.xml"/><Relationship Id="rId67" Type="http://schemas.openxmlformats.org/officeDocument/2006/relationships/slideLayout" Target="../slideLayouts/slideLayout1408.xml"/><Relationship Id="rId116" Type="http://schemas.openxmlformats.org/officeDocument/2006/relationships/slideLayout" Target="../slideLayouts/slideLayout1457.xml"/><Relationship Id="rId20" Type="http://schemas.openxmlformats.org/officeDocument/2006/relationships/slideLayout" Target="../slideLayouts/slideLayout1361.xml"/><Relationship Id="rId41" Type="http://schemas.openxmlformats.org/officeDocument/2006/relationships/slideLayout" Target="../slideLayouts/slideLayout1382.xml"/><Relationship Id="rId62" Type="http://schemas.openxmlformats.org/officeDocument/2006/relationships/slideLayout" Target="../slideLayouts/slideLayout1403.xml"/><Relationship Id="rId83" Type="http://schemas.openxmlformats.org/officeDocument/2006/relationships/slideLayout" Target="../slideLayouts/slideLayout1424.xml"/><Relationship Id="rId88" Type="http://schemas.openxmlformats.org/officeDocument/2006/relationships/slideLayout" Target="../slideLayouts/slideLayout1429.xml"/><Relationship Id="rId111" Type="http://schemas.openxmlformats.org/officeDocument/2006/relationships/slideLayout" Target="../slideLayouts/slideLayout1452.xml"/><Relationship Id="rId15" Type="http://schemas.openxmlformats.org/officeDocument/2006/relationships/slideLayout" Target="../slideLayouts/slideLayout1356.xml"/><Relationship Id="rId36" Type="http://schemas.openxmlformats.org/officeDocument/2006/relationships/slideLayout" Target="../slideLayouts/slideLayout1377.xml"/><Relationship Id="rId57" Type="http://schemas.openxmlformats.org/officeDocument/2006/relationships/slideLayout" Target="../slideLayouts/slideLayout1398.xml"/><Relationship Id="rId106" Type="http://schemas.openxmlformats.org/officeDocument/2006/relationships/slideLayout" Target="../slideLayouts/slideLayout1447.xml"/><Relationship Id="rId127" Type="http://schemas.openxmlformats.org/officeDocument/2006/relationships/slideLayout" Target="../slideLayouts/slideLayout1468.xml"/><Relationship Id="rId10" Type="http://schemas.openxmlformats.org/officeDocument/2006/relationships/slideLayout" Target="../slideLayouts/slideLayout1351.xml"/><Relationship Id="rId31" Type="http://schemas.openxmlformats.org/officeDocument/2006/relationships/slideLayout" Target="../slideLayouts/slideLayout1372.xml"/><Relationship Id="rId52" Type="http://schemas.openxmlformats.org/officeDocument/2006/relationships/slideLayout" Target="../slideLayouts/slideLayout1393.xml"/><Relationship Id="rId73" Type="http://schemas.openxmlformats.org/officeDocument/2006/relationships/slideLayout" Target="../slideLayouts/slideLayout1414.xml"/><Relationship Id="rId78" Type="http://schemas.openxmlformats.org/officeDocument/2006/relationships/slideLayout" Target="../slideLayouts/slideLayout1419.xml"/><Relationship Id="rId94" Type="http://schemas.openxmlformats.org/officeDocument/2006/relationships/slideLayout" Target="../slideLayouts/slideLayout1435.xml"/><Relationship Id="rId99" Type="http://schemas.openxmlformats.org/officeDocument/2006/relationships/slideLayout" Target="../slideLayouts/slideLayout1440.xml"/><Relationship Id="rId101" Type="http://schemas.openxmlformats.org/officeDocument/2006/relationships/slideLayout" Target="../slideLayouts/slideLayout1442.xml"/><Relationship Id="rId122" Type="http://schemas.openxmlformats.org/officeDocument/2006/relationships/slideLayout" Target="../slideLayouts/slideLayout1463.xml"/><Relationship Id="rId4" Type="http://schemas.openxmlformats.org/officeDocument/2006/relationships/slideLayout" Target="../slideLayouts/slideLayout1345.xml"/><Relationship Id="rId9" Type="http://schemas.openxmlformats.org/officeDocument/2006/relationships/slideLayout" Target="../slideLayouts/slideLayout1350.xml"/><Relationship Id="rId26" Type="http://schemas.openxmlformats.org/officeDocument/2006/relationships/slideLayout" Target="../slideLayouts/slideLayout1367.xml"/></Relationships>
</file>

<file path=ppt/slideMasters/_rels/slideMaster7.xml.rels><?xml version="1.0" encoding="UTF-8" standalone="yes"?>
<Relationships xmlns="http://schemas.openxmlformats.org/package/2006/relationships"><Relationship Id="rId117" Type="http://schemas.openxmlformats.org/officeDocument/2006/relationships/slideLayout" Target="../slideLayouts/slideLayout1586.xml"/><Relationship Id="rId299" Type="http://schemas.openxmlformats.org/officeDocument/2006/relationships/slideLayout" Target="../slideLayouts/slideLayout1768.xml"/><Relationship Id="rId21" Type="http://schemas.openxmlformats.org/officeDocument/2006/relationships/slideLayout" Target="../slideLayouts/slideLayout1490.xml"/><Relationship Id="rId63" Type="http://schemas.openxmlformats.org/officeDocument/2006/relationships/slideLayout" Target="../slideLayouts/slideLayout1532.xml"/><Relationship Id="rId159" Type="http://schemas.openxmlformats.org/officeDocument/2006/relationships/slideLayout" Target="../slideLayouts/slideLayout1628.xml"/><Relationship Id="rId324" Type="http://schemas.openxmlformats.org/officeDocument/2006/relationships/slideLayout" Target="../slideLayouts/slideLayout1793.xml"/><Relationship Id="rId366" Type="http://schemas.openxmlformats.org/officeDocument/2006/relationships/slideLayout" Target="../slideLayouts/slideLayout1835.xml"/><Relationship Id="rId170" Type="http://schemas.openxmlformats.org/officeDocument/2006/relationships/slideLayout" Target="../slideLayouts/slideLayout1639.xml"/><Relationship Id="rId226" Type="http://schemas.openxmlformats.org/officeDocument/2006/relationships/slideLayout" Target="../slideLayouts/slideLayout1695.xml"/><Relationship Id="rId433" Type="http://schemas.openxmlformats.org/officeDocument/2006/relationships/slideLayout" Target="../slideLayouts/slideLayout1902.xml"/><Relationship Id="rId268" Type="http://schemas.openxmlformats.org/officeDocument/2006/relationships/slideLayout" Target="../slideLayouts/slideLayout1737.xml"/><Relationship Id="rId32" Type="http://schemas.openxmlformats.org/officeDocument/2006/relationships/slideLayout" Target="../slideLayouts/slideLayout1501.xml"/><Relationship Id="rId74" Type="http://schemas.openxmlformats.org/officeDocument/2006/relationships/slideLayout" Target="../slideLayouts/slideLayout1543.xml"/><Relationship Id="rId128" Type="http://schemas.openxmlformats.org/officeDocument/2006/relationships/slideLayout" Target="../slideLayouts/slideLayout1597.xml"/><Relationship Id="rId335" Type="http://schemas.openxmlformats.org/officeDocument/2006/relationships/slideLayout" Target="../slideLayouts/slideLayout1804.xml"/><Relationship Id="rId377" Type="http://schemas.openxmlformats.org/officeDocument/2006/relationships/slideLayout" Target="../slideLayouts/slideLayout1846.xml"/><Relationship Id="rId5" Type="http://schemas.openxmlformats.org/officeDocument/2006/relationships/slideLayout" Target="../slideLayouts/slideLayout1474.xml"/><Relationship Id="rId181" Type="http://schemas.openxmlformats.org/officeDocument/2006/relationships/slideLayout" Target="../slideLayouts/slideLayout1650.xml"/><Relationship Id="rId237" Type="http://schemas.openxmlformats.org/officeDocument/2006/relationships/slideLayout" Target="../slideLayouts/slideLayout1706.xml"/><Relationship Id="rId402" Type="http://schemas.openxmlformats.org/officeDocument/2006/relationships/slideLayout" Target="../slideLayouts/slideLayout1871.xml"/><Relationship Id="rId279" Type="http://schemas.openxmlformats.org/officeDocument/2006/relationships/slideLayout" Target="../slideLayouts/slideLayout1748.xml"/><Relationship Id="rId444" Type="http://schemas.openxmlformats.org/officeDocument/2006/relationships/slideLayout" Target="../slideLayouts/slideLayout1913.xml"/><Relationship Id="rId43" Type="http://schemas.openxmlformats.org/officeDocument/2006/relationships/slideLayout" Target="../slideLayouts/slideLayout1512.xml"/><Relationship Id="rId139" Type="http://schemas.openxmlformats.org/officeDocument/2006/relationships/slideLayout" Target="../slideLayouts/slideLayout1608.xml"/><Relationship Id="rId290" Type="http://schemas.openxmlformats.org/officeDocument/2006/relationships/slideLayout" Target="../slideLayouts/slideLayout1759.xml"/><Relationship Id="rId304" Type="http://schemas.openxmlformats.org/officeDocument/2006/relationships/slideLayout" Target="../slideLayouts/slideLayout1773.xml"/><Relationship Id="rId346" Type="http://schemas.openxmlformats.org/officeDocument/2006/relationships/slideLayout" Target="../slideLayouts/slideLayout1815.xml"/><Relationship Id="rId388" Type="http://schemas.openxmlformats.org/officeDocument/2006/relationships/slideLayout" Target="../slideLayouts/slideLayout1857.xml"/><Relationship Id="rId85" Type="http://schemas.openxmlformats.org/officeDocument/2006/relationships/slideLayout" Target="../slideLayouts/slideLayout1554.xml"/><Relationship Id="rId150" Type="http://schemas.openxmlformats.org/officeDocument/2006/relationships/slideLayout" Target="../slideLayouts/slideLayout1619.xml"/><Relationship Id="rId192" Type="http://schemas.openxmlformats.org/officeDocument/2006/relationships/slideLayout" Target="../slideLayouts/slideLayout1661.xml"/><Relationship Id="rId206" Type="http://schemas.openxmlformats.org/officeDocument/2006/relationships/slideLayout" Target="../slideLayouts/slideLayout1675.xml"/><Relationship Id="rId413" Type="http://schemas.openxmlformats.org/officeDocument/2006/relationships/slideLayout" Target="../slideLayouts/slideLayout1882.xml"/><Relationship Id="rId248" Type="http://schemas.openxmlformats.org/officeDocument/2006/relationships/slideLayout" Target="../slideLayouts/slideLayout1717.xml"/><Relationship Id="rId455" Type="http://schemas.openxmlformats.org/officeDocument/2006/relationships/slideLayout" Target="../slideLayouts/slideLayout1924.xml"/><Relationship Id="rId12" Type="http://schemas.openxmlformats.org/officeDocument/2006/relationships/slideLayout" Target="../slideLayouts/slideLayout1481.xml"/><Relationship Id="rId108" Type="http://schemas.openxmlformats.org/officeDocument/2006/relationships/slideLayout" Target="../slideLayouts/slideLayout1577.xml"/><Relationship Id="rId315" Type="http://schemas.openxmlformats.org/officeDocument/2006/relationships/slideLayout" Target="../slideLayouts/slideLayout1784.xml"/><Relationship Id="rId357" Type="http://schemas.openxmlformats.org/officeDocument/2006/relationships/slideLayout" Target="../slideLayouts/slideLayout1826.xml"/><Relationship Id="rId54" Type="http://schemas.openxmlformats.org/officeDocument/2006/relationships/slideLayout" Target="../slideLayouts/slideLayout1523.xml"/><Relationship Id="rId96" Type="http://schemas.openxmlformats.org/officeDocument/2006/relationships/slideLayout" Target="../slideLayouts/slideLayout1565.xml"/><Relationship Id="rId161" Type="http://schemas.openxmlformats.org/officeDocument/2006/relationships/slideLayout" Target="../slideLayouts/slideLayout1630.xml"/><Relationship Id="rId217" Type="http://schemas.openxmlformats.org/officeDocument/2006/relationships/slideLayout" Target="../slideLayouts/slideLayout1686.xml"/><Relationship Id="rId399" Type="http://schemas.openxmlformats.org/officeDocument/2006/relationships/slideLayout" Target="../slideLayouts/slideLayout1868.xml"/><Relationship Id="rId259" Type="http://schemas.openxmlformats.org/officeDocument/2006/relationships/slideLayout" Target="../slideLayouts/slideLayout1728.xml"/><Relationship Id="rId424" Type="http://schemas.openxmlformats.org/officeDocument/2006/relationships/slideLayout" Target="../slideLayouts/slideLayout1893.xml"/><Relationship Id="rId23" Type="http://schemas.openxmlformats.org/officeDocument/2006/relationships/slideLayout" Target="../slideLayouts/slideLayout1492.xml"/><Relationship Id="rId119" Type="http://schemas.openxmlformats.org/officeDocument/2006/relationships/slideLayout" Target="../slideLayouts/slideLayout1588.xml"/><Relationship Id="rId270" Type="http://schemas.openxmlformats.org/officeDocument/2006/relationships/slideLayout" Target="../slideLayouts/slideLayout1739.xml"/><Relationship Id="rId326" Type="http://schemas.openxmlformats.org/officeDocument/2006/relationships/slideLayout" Target="../slideLayouts/slideLayout1795.xml"/><Relationship Id="rId65" Type="http://schemas.openxmlformats.org/officeDocument/2006/relationships/slideLayout" Target="../slideLayouts/slideLayout1534.xml"/><Relationship Id="rId130" Type="http://schemas.openxmlformats.org/officeDocument/2006/relationships/slideLayout" Target="../slideLayouts/slideLayout1599.xml"/><Relationship Id="rId368" Type="http://schemas.openxmlformats.org/officeDocument/2006/relationships/slideLayout" Target="../slideLayouts/slideLayout1837.xml"/><Relationship Id="rId172" Type="http://schemas.openxmlformats.org/officeDocument/2006/relationships/slideLayout" Target="../slideLayouts/slideLayout1641.xml"/><Relationship Id="rId228" Type="http://schemas.openxmlformats.org/officeDocument/2006/relationships/slideLayout" Target="../slideLayouts/slideLayout1697.xml"/><Relationship Id="rId435" Type="http://schemas.openxmlformats.org/officeDocument/2006/relationships/slideLayout" Target="../slideLayouts/slideLayout1904.xml"/><Relationship Id="rId281" Type="http://schemas.openxmlformats.org/officeDocument/2006/relationships/slideLayout" Target="../slideLayouts/slideLayout1750.xml"/><Relationship Id="rId337" Type="http://schemas.openxmlformats.org/officeDocument/2006/relationships/slideLayout" Target="../slideLayouts/slideLayout1806.xml"/><Relationship Id="rId34" Type="http://schemas.openxmlformats.org/officeDocument/2006/relationships/slideLayout" Target="../slideLayouts/slideLayout1503.xml"/><Relationship Id="rId76" Type="http://schemas.openxmlformats.org/officeDocument/2006/relationships/slideLayout" Target="../slideLayouts/slideLayout1545.xml"/><Relationship Id="rId141" Type="http://schemas.openxmlformats.org/officeDocument/2006/relationships/slideLayout" Target="../slideLayouts/slideLayout1610.xml"/><Relationship Id="rId379" Type="http://schemas.openxmlformats.org/officeDocument/2006/relationships/slideLayout" Target="../slideLayouts/slideLayout1848.xml"/><Relationship Id="rId7" Type="http://schemas.openxmlformats.org/officeDocument/2006/relationships/slideLayout" Target="../slideLayouts/slideLayout1476.xml"/><Relationship Id="rId183" Type="http://schemas.openxmlformats.org/officeDocument/2006/relationships/slideLayout" Target="../slideLayouts/slideLayout1652.xml"/><Relationship Id="rId239" Type="http://schemas.openxmlformats.org/officeDocument/2006/relationships/slideLayout" Target="../slideLayouts/slideLayout1708.xml"/><Relationship Id="rId390" Type="http://schemas.openxmlformats.org/officeDocument/2006/relationships/slideLayout" Target="../slideLayouts/slideLayout1859.xml"/><Relationship Id="rId404" Type="http://schemas.openxmlformats.org/officeDocument/2006/relationships/slideLayout" Target="../slideLayouts/slideLayout1873.xml"/><Relationship Id="rId446" Type="http://schemas.openxmlformats.org/officeDocument/2006/relationships/slideLayout" Target="../slideLayouts/slideLayout1915.xml"/><Relationship Id="rId250" Type="http://schemas.openxmlformats.org/officeDocument/2006/relationships/slideLayout" Target="../slideLayouts/slideLayout1719.xml"/><Relationship Id="rId292" Type="http://schemas.openxmlformats.org/officeDocument/2006/relationships/slideLayout" Target="../slideLayouts/slideLayout1761.xml"/><Relationship Id="rId306" Type="http://schemas.openxmlformats.org/officeDocument/2006/relationships/slideLayout" Target="../slideLayouts/slideLayout1775.xml"/><Relationship Id="rId45" Type="http://schemas.openxmlformats.org/officeDocument/2006/relationships/slideLayout" Target="../slideLayouts/slideLayout1514.xml"/><Relationship Id="rId87" Type="http://schemas.openxmlformats.org/officeDocument/2006/relationships/slideLayout" Target="../slideLayouts/slideLayout1556.xml"/><Relationship Id="rId110" Type="http://schemas.openxmlformats.org/officeDocument/2006/relationships/slideLayout" Target="../slideLayouts/slideLayout1579.xml"/><Relationship Id="rId348" Type="http://schemas.openxmlformats.org/officeDocument/2006/relationships/slideLayout" Target="../slideLayouts/slideLayout1817.xml"/><Relationship Id="rId152" Type="http://schemas.openxmlformats.org/officeDocument/2006/relationships/slideLayout" Target="../slideLayouts/slideLayout1621.xml"/><Relationship Id="rId194" Type="http://schemas.openxmlformats.org/officeDocument/2006/relationships/slideLayout" Target="../slideLayouts/slideLayout1663.xml"/><Relationship Id="rId208" Type="http://schemas.openxmlformats.org/officeDocument/2006/relationships/slideLayout" Target="../slideLayouts/slideLayout1677.xml"/><Relationship Id="rId415" Type="http://schemas.openxmlformats.org/officeDocument/2006/relationships/slideLayout" Target="../slideLayouts/slideLayout1884.xml"/><Relationship Id="rId457" Type="http://schemas.openxmlformats.org/officeDocument/2006/relationships/slideLayout" Target="../slideLayouts/slideLayout1926.xml"/><Relationship Id="rId261" Type="http://schemas.openxmlformats.org/officeDocument/2006/relationships/slideLayout" Target="../slideLayouts/slideLayout1730.xml"/><Relationship Id="rId14" Type="http://schemas.openxmlformats.org/officeDocument/2006/relationships/slideLayout" Target="../slideLayouts/slideLayout1483.xml"/><Relationship Id="rId56" Type="http://schemas.openxmlformats.org/officeDocument/2006/relationships/slideLayout" Target="../slideLayouts/slideLayout1525.xml"/><Relationship Id="rId317" Type="http://schemas.openxmlformats.org/officeDocument/2006/relationships/slideLayout" Target="../slideLayouts/slideLayout1786.xml"/><Relationship Id="rId359" Type="http://schemas.openxmlformats.org/officeDocument/2006/relationships/slideLayout" Target="../slideLayouts/slideLayout1828.xml"/><Relationship Id="rId98" Type="http://schemas.openxmlformats.org/officeDocument/2006/relationships/slideLayout" Target="../slideLayouts/slideLayout1567.xml"/><Relationship Id="rId121" Type="http://schemas.openxmlformats.org/officeDocument/2006/relationships/slideLayout" Target="../slideLayouts/slideLayout1590.xml"/><Relationship Id="rId163" Type="http://schemas.openxmlformats.org/officeDocument/2006/relationships/slideLayout" Target="../slideLayouts/slideLayout1632.xml"/><Relationship Id="rId219" Type="http://schemas.openxmlformats.org/officeDocument/2006/relationships/slideLayout" Target="../slideLayouts/slideLayout1688.xml"/><Relationship Id="rId370" Type="http://schemas.openxmlformats.org/officeDocument/2006/relationships/slideLayout" Target="../slideLayouts/slideLayout1839.xml"/><Relationship Id="rId426" Type="http://schemas.openxmlformats.org/officeDocument/2006/relationships/slideLayout" Target="../slideLayouts/slideLayout1895.xml"/><Relationship Id="rId230" Type="http://schemas.openxmlformats.org/officeDocument/2006/relationships/slideLayout" Target="../slideLayouts/slideLayout1699.xml"/><Relationship Id="rId25" Type="http://schemas.openxmlformats.org/officeDocument/2006/relationships/slideLayout" Target="../slideLayouts/slideLayout1494.xml"/><Relationship Id="rId67" Type="http://schemas.openxmlformats.org/officeDocument/2006/relationships/slideLayout" Target="../slideLayouts/slideLayout1536.xml"/><Relationship Id="rId272" Type="http://schemas.openxmlformats.org/officeDocument/2006/relationships/slideLayout" Target="../slideLayouts/slideLayout1741.xml"/><Relationship Id="rId328" Type="http://schemas.openxmlformats.org/officeDocument/2006/relationships/slideLayout" Target="../slideLayouts/slideLayout1797.xml"/><Relationship Id="rId132" Type="http://schemas.openxmlformats.org/officeDocument/2006/relationships/slideLayout" Target="../slideLayouts/slideLayout1601.xml"/><Relationship Id="rId174" Type="http://schemas.openxmlformats.org/officeDocument/2006/relationships/slideLayout" Target="../slideLayouts/slideLayout1643.xml"/><Relationship Id="rId381" Type="http://schemas.openxmlformats.org/officeDocument/2006/relationships/slideLayout" Target="../slideLayouts/slideLayout1850.xml"/><Relationship Id="rId241" Type="http://schemas.openxmlformats.org/officeDocument/2006/relationships/slideLayout" Target="../slideLayouts/slideLayout1710.xml"/><Relationship Id="rId437" Type="http://schemas.openxmlformats.org/officeDocument/2006/relationships/slideLayout" Target="../slideLayouts/slideLayout1906.xml"/><Relationship Id="rId36" Type="http://schemas.openxmlformats.org/officeDocument/2006/relationships/slideLayout" Target="../slideLayouts/slideLayout1505.xml"/><Relationship Id="rId283" Type="http://schemas.openxmlformats.org/officeDocument/2006/relationships/slideLayout" Target="../slideLayouts/slideLayout1752.xml"/><Relationship Id="rId339" Type="http://schemas.openxmlformats.org/officeDocument/2006/relationships/slideLayout" Target="../slideLayouts/slideLayout1808.xml"/><Relationship Id="rId78" Type="http://schemas.openxmlformats.org/officeDocument/2006/relationships/slideLayout" Target="../slideLayouts/slideLayout1547.xml"/><Relationship Id="rId101" Type="http://schemas.openxmlformats.org/officeDocument/2006/relationships/slideLayout" Target="../slideLayouts/slideLayout1570.xml"/><Relationship Id="rId143" Type="http://schemas.openxmlformats.org/officeDocument/2006/relationships/slideLayout" Target="../slideLayouts/slideLayout1612.xml"/><Relationship Id="rId185" Type="http://schemas.openxmlformats.org/officeDocument/2006/relationships/slideLayout" Target="../slideLayouts/slideLayout1654.xml"/><Relationship Id="rId350" Type="http://schemas.openxmlformats.org/officeDocument/2006/relationships/slideLayout" Target="../slideLayouts/slideLayout1819.xml"/><Relationship Id="rId406" Type="http://schemas.openxmlformats.org/officeDocument/2006/relationships/slideLayout" Target="../slideLayouts/slideLayout1875.xml"/><Relationship Id="rId9" Type="http://schemas.openxmlformats.org/officeDocument/2006/relationships/slideLayout" Target="../slideLayouts/slideLayout1478.xml"/><Relationship Id="rId210" Type="http://schemas.openxmlformats.org/officeDocument/2006/relationships/slideLayout" Target="../slideLayouts/slideLayout1679.xml"/><Relationship Id="rId392" Type="http://schemas.openxmlformats.org/officeDocument/2006/relationships/slideLayout" Target="../slideLayouts/slideLayout1861.xml"/><Relationship Id="rId448" Type="http://schemas.openxmlformats.org/officeDocument/2006/relationships/slideLayout" Target="../slideLayouts/slideLayout1917.xml"/><Relationship Id="rId252" Type="http://schemas.openxmlformats.org/officeDocument/2006/relationships/slideLayout" Target="../slideLayouts/slideLayout1721.xml"/><Relationship Id="rId294" Type="http://schemas.openxmlformats.org/officeDocument/2006/relationships/slideLayout" Target="../slideLayouts/slideLayout1763.xml"/><Relationship Id="rId308" Type="http://schemas.openxmlformats.org/officeDocument/2006/relationships/slideLayout" Target="../slideLayouts/slideLayout1777.xml"/><Relationship Id="rId47" Type="http://schemas.openxmlformats.org/officeDocument/2006/relationships/slideLayout" Target="../slideLayouts/slideLayout1516.xml"/><Relationship Id="rId89" Type="http://schemas.openxmlformats.org/officeDocument/2006/relationships/slideLayout" Target="../slideLayouts/slideLayout1558.xml"/><Relationship Id="rId112" Type="http://schemas.openxmlformats.org/officeDocument/2006/relationships/slideLayout" Target="../slideLayouts/slideLayout1581.xml"/><Relationship Id="rId154" Type="http://schemas.openxmlformats.org/officeDocument/2006/relationships/slideLayout" Target="../slideLayouts/slideLayout1623.xml"/><Relationship Id="rId361" Type="http://schemas.openxmlformats.org/officeDocument/2006/relationships/slideLayout" Target="../slideLayouts/slideLayout1830.xml"/><Relationship Id="rId196" Type="http://schemas.openxmlformats.org/officeDocument/2006/relationships/slideLayout" Target="../slideLayouts/slideLayout1665.xml"/><Relationship Id="rId417" Type="http://schemas.openxmlformats.org/officeDocument/2006/relationships/slideLayout" Target="../slideLayouts/slideLayout1886.xml"/><Relationship Id="rId459" Type="http://schemas.openxmlformats.org/officeDocument/2006/relationships/slideLayout" Target="../slideLayouts/slideLayout1928.xml"/><Relationship Id="rId16" Type="http://schemas.openxmlformats.org/officeDocument/2006/relationships/slideLayout" Target="../slideLayouts/slideLayout1485.xml"/><Relationship Id="rId221" Type="http://schemas.openxmlformats.org/officeDocument/2006/relationships/slideLayout" Target="../slideLayouts/slideLayout1690.xml"/><Relationship Id="rId263" Type="http://schemas.openxmlformats.org/officeDocument/2006/relationships/slideLayout" Target="../slideLayouts/slideLayout1732.xml"/><Relationship Id="rId319" Type="http://schemas.openxmlformats.org/officeDocument/2006/relationships/slideLayout" Target="../slideLayouts/slideLayout1788.xml"/><Relationship Id="rId58" Type="http://schemas.openxmlformats.org/officeDocument/2006/relationships/slideLayout" Target="../slideLayouts/slideLayout1527.xml"/><Relationship Id="rId123" Type="http://schemas.openxmlformats.org/officeDocument/2006/relationships/slideLayout" Target="../slideLayouts/slideLayout1592.xml"/><Relationship Id="rId330" Type="http://schemas.openxmlformats.org/officeDocument/2006/relationships/slideLayout" Target="../slideLayouts/slideLayout1799.xml"/><Relationship Id="rId165" Type="http://schemas.openxmlformats.org/officeDocument/2006/relationships/slideLayout" Target="../slideLayouts/slideLayout1634.xml"/><Relationship Id="rId372" Type="http://schemas.openxmlformats.org/officeDocument/2006/relationships/slideLayout" Target="../slideLayouts/slideLayout1841.xml"/><Relationship Id="rId428" Type="http://schemas.openxmlformats.org/officeDocument/2006/relationships/slideLayout" Target="../slideLayouts/slideLayout1897.xml"/><Relationship Id="rId232" Type="http://schemas.openxmlformats.org/officeDocument/2006/relationships/slideLayout" Target="../slideLayouts/slideLayout1701.xml"/><Relationship Id="rId274" Type="http://schemas.openxmlformats.org/officeDocument/2006/relationships/slideLayout" Target="../slideLayouts/slideLayout1743.xml"/><Relationship Id="rId27" Type="http://schemas.openxmlformats.org/officeDocument/2006/relationships/slideLayout" Target="../slideLayouts/slideLayout1496.xml"/><Relationship Id="rId69" Type="http://schemas.openxmlformats.org/officeDocument/2006/relationships/slideLayout" Target="../slideLayouts/slideLayout1538.xml"/><Relationship Id="rId134" Type="http://schemas.openxmlformats.org/officeDocument/2006/relationships/slideLayout" Target="../slideLayouts/slideLayout1603.xml"/><Relationship Id="rId80" Type="http://schemas.openxmlformats.org/officeDocument/2006/relationships/slideLayout" Target="../slideLayouts/slideLayout1549.xml"/><Relationship Id="rId176" Type="http://schemas.openxmlformats.org/officeDocument/2006/relationships/slideLayout" Target="../slideLayouts/slideLayout1645.xml"/><Relationship Id="rId341" Type="http://schemas.openxmlformats.org/officeDocument/2006/relationships/slideLayout" Target="../slideLayouts/slideLayout1810.xml"/><Relationship Id="rId383" Type="http://schemas.openxmlformats.org/officeDocument/2006/relationships/slideLayout" Target="../slideLayouts/slideLayout1852.xml"/><Relationship Id="rId439" Type="http://schemas.openxmlformats.org/officeDocument/2006/relationships/slideLayout" Target="../slideLayouts/slideLayout1908.xml"/><Relationship Id="rId201" Type="http://schemas.openxmlformats.org/officeDocument/2006/relationships/slideLayout" Target="../slideLayouts/slideLayout1670.xml"/><Relationship Id="rId243" Type="http://schemas.openxmlformats.org/officeDocument/2006/relationships/slideLayout" Target="../slideLayouts/slideLayout1712.xml"/><Relationship Id="rId285" Type="http://schemas.openxmlformats.org/officeDocument/2006/relationships/slideLayout" Target="../slideLayouts/slideLayout1754.xml"/><Relationship Id="rId450" Type="http://schemas.openxmlformats.org/officeDocument/2006/relationships/slideLayout" Target="../slideLayouts/slideLayout1919.xml"/><Relationship Id="rId38" Type="http://schemas.openxmlformats.org/officeDocument/2006/relationships/slideLayout" Target="../slideLayouts/slideLayout1507.xml"/><Relationship Id="rId103" Type="http://schemas.openxmlformats.org/officeDocument/2006/relationships/slideLayout" Target="../slideLayouts/slideLayout1572.xml"/><Relationship Id="rId310" Type="http://schemas.openxmlformats.org/officeDocument/2006/relationships/slideLayout" Target="../slideLayouts/slideLayout1779.xml"/><Relationship Id="rId91" Type="http://schemas.openxmlformats.org/officeDocument/2006/relationships/slideLayout" Target="../slideLayouts/slideLayout1560.xml"/><Relationship Id="rId145" Type="http://schemas.openxmlformats.org/officeDocument/2006/relationships/slideLayout" Target="../slideLayouts/slideLayout1614.xml"/><Relationship Id="rId187" Type="http://schemas.openxmlformats.org/officeDocument/2006/relationships/slideLayout" Target="../slideLayouts/slideLayout1656.xml"/><Relationship Id="rId352" Type="http://schemas.openxmlformats.org/officeDocument/2006/relationships/slideLayout" Target="../slideLayouts/slideLayout1821.xml"/><Relationship Id="rId394" Type="http://schemas.openxmlformats.org/officeDocument/2006/relationships/slideLayout" Target="../slideLayouts/slideLayout1863.xml"/><Relationship Id="rId408" Type="http://schemas.openxmlformats.org/officeDocument/2006/relationships/slideLayout" Target="../slideLayouts/slideLayout1877.xml"/><Relationship Id="rId212" Type="http://schemas.openxmlformats.org/officeDocument/2006/relationships/slideLayout" Target="../slideLayouts/slideLayout1681.xml"/><Relationship Id="rId254" Type="http://schemas.openxmlformats.org/officeDocument/2006/relationships/slideLayout" Target="../slideLayouts/slideLayout1723.xml"/><Relationship Id="rId49" Type="http://schemas.openxmlformats.org/officeDocument/2006/relationships/slideLayout" Target="../slideLayouts/slideLayout1518.xml"/><Relationship Id="rId114" Type="http://schemas.openxmlformats.org/officeDocument/2006/relationships/slideLayout" Target="../slideLayouts/slideLayout1583.xml"/><Relationship Id="rId296" Type="http://schemas.openxmlformats.org/officeDocument/2006/relationships/slideLayout" Target="../slideLayouts/slideLayout1765.xml"/><Relationship Id="rId461" Type="http://schemas.openxmlformats.org/officeDocument/2006/relationships/slideLayout" Target="../slideLayouts/slideLayout1930.xml"/><Relationship Id="rId60" Type="http://schemas.openxmlformats.org/officeDocument/2006/relationships/slideLayout" Target="../slideLayouts/slideLayout1529.xml"/><Relationship Id="rId156" Type="http://schemas.openxmlformats.org/officeDocument/2006/relationships/slideLayout" Target="../slideLayouts/slideLayout1625.xml"/><Relationship Id="rId198" Type="http://schemas.openxmlformats.org/officeDocument/2006/relationships/slideLayout" Target="../slideLayouts/slideLayout1667.xml"/><Relationship Id="rId321" Type="http://schemas.openxmlformats.org/officeDocument/2006/relationships/slideLayout" Target="../slideLayouts/slideLayout1790.xml"/><Relationship Id="rId363" Type="http://schemas.openxmlformats.org/officeDocument/2006/relationships/slideLayout" Target="../slideLayouts/slideLayout1832.xml"/><Relationship Id="rId419" Type="http://schemas.openxmlformats.org/officeDocument/2006/relationships/slideLayout" Target="../slideLayouts/slideLayout1888.xml"/><Relationship Id="rId223" Type="http://schemas.openxmlformats.org/officeDocument/2006/relationships/slideLayout" Target="../slideLayouts/slideLayout1692.xml"/><Relationship Id="rId430" Type="http://schemas.openxmlformats.org/officeDocument/2006/relationships/slideLayout" Target="../slideLayouts/slideLayout1899.xml"/><Relationship Id="rId18" Type="http://schemas.openxmlformats.org/officeDocument/2006/relationships/slideLayout" Target="../slideLayouts/slideLayout1487.xml"/><Relationship Id="rId265" Type="http://schemas.openxmlformats.org/officeDocument/2006/relationships/slideLayout" Target="../slideLayouts/slideLayout1734.xml"/><Relationship Id="rId125" Type="http://schemas.openxmlformats.org/officeDocument/2006/relationships/slideLayout" Target="../slideLayouts/slideLayout1594.xml"/><Relationship Id="rId167" Type="http://schemas.openxmlformats.org/officeDocument/2006/relationships/slideLayout" Target="../slideLayouts/slideLayout1636.xml"/><Relationship Id="rId332" Type="http://schemas.openxmlformats.org/officeDocument/2006/relationships/slideLayout" Target="../slideLayouts/slideLayout1801.xml"/><Relationship Id="rId374" Type="http://schemas.openxmlformats.org/officeDocument/2006/relationships/slideLayout" Target="../slideLayouts/slideLayout1843.xml"/><Relationship Id="rId71" Type="http://schemas.openxmlformats.org/officeDocument/2006/relationships/slideLayout" Target="../slideLayouts/slideLayout1540.xml"/><Relationship Id="rId234" Type="http://schemas.openxmlformats.org/officeDocument/2006/relationships/slideLayout" Target="../slideLayouts/slideLayout1703.xml"/><Relationship Id="rId2" Type="http://schemas.openxmlformats.org/officeDocument/2006/relationships/slideLayout" Target="../slideLayouts/slideLayout1471.xml"/><Relationship Id="rId29" Type="http://schemas.openxmlformats.org/officeDocument/2006/relationships/slideLayout" Target="../slideLayouts/slideLayout1498.xml"/><Relationship Id="rId276" Type="http://schemas.openxmlformats.org/officeDocument/2006/relationships/slideLayout" Target="../slideLayouts/slideLayout1745.xml"/><Relationship Id="rId441" Type="http://schemas.openxmlformats.org/officeDocument/2006/relationships/slideLayout" Target="../slideLayouts/slideLayout1910.xml"/><Relationship Id="rId40" Type="http://schemas.openxmlformats.org/officeDocument/2006/relationships/slideLayout" Target="../slideLayouts/slideLayout1509.xml"/><Relationship Id="rId136" Type="http://schemas.openxmlformats.org/officeDocument/2006/relationships/slideLayout" Target="../slideLayouts/slideLayout1605.xml"/><Relationship Id="rId178" Type="http://schemas.openxmlformats.org/officeDocument/2006/relationships/slideLayout" Target="../slideLayouts/slideLayout1647.xml"/><Relationship Id="rId301" Type="http://schemas.openxmlformats.org/officeDocument/2006/relationships/slideLayout" Target="../slideLayouts/slideLayout1770.xml"/><Relationship Id="rId343" Type="http://schemas.openxmlformats.org/officeDocument/2006/relationships/slideLayout" Target="../slideLayouts/slideLayout1812.xml"/><Relationship Id="rId61" Type="http://schemas.openxmlformats.org/officeDocument/2006/relationships/slideLayout" Target="../slideLayouts/slideLayout1530.xml"/><Relationship Id="rId82" Type="http://schemas.openxmlformats.org/officeDocument/2006/relationships/slideLayout" Target="../slideLayouts/slideLayout1551.xml"/><Relationship Id="rId199" Type="http://schemas.openxmlformats.org/officeDocument/2006/relationships/slideLayout" Target="../slideLayouts/slideLayout1668.xml"/><Relationship Id="rId203" Type="http://schemas.openxmlformats.org/officeDocument/2006/relationships/slideLayout" Target="../slideLayouts/slideLayout1672.xml"/><Relationship Id="rId385" Type="http://schemas.openxmlformats.org/officeDocument/2006/relationships/slideLayout" Target="../slideLayouts/slideLayout1854.xml"/><Relationship Id="rId19" Type="http://schemas.openxmlformats.org/officeDocument/2006/relationships/slideLayout" Target="../slideLayouts/slideLayout1488.xml"/><Relationship Id="rId224" Type="http://schemas.openxmlformats.org/officeDocument/2006/relationships/slideLayout" Target="../slideLayouts/slideLayout1693.xml"/><Relationship Id="rId245" Type="http://schemas.openxmlformats.org/officeDocument/2006/relationships/slideLayout" Target="../slideLayouts/slideLayout1714.xml"/><Relationship Id="rId266" Type="http://schemas.openxmlformats.org/officeDocument/2006/relationships/slideLayout" Target="../slideLayouts/slideLayout1735.xml"/><Relationship Id="rId287" Type="http://schemas.openxmlformats.org/officeDocument/2006/relationships/slideLayout" Target="../slideLayouts/slideLayout1756.xml"/><Relationship Id="rId410" Type="http://schemas.openxmlformats.org/officeDocument/2006/relationships/slideLayout" Target="../slideLayouts/slideLayout1879.xml"/><Relationship Id="rId431" Type="http://schemas.openxmlformats.org/officeDocument/2006/relationships/slideLayout" Target="../slideLayouts/slideLayout1900.xml"/><Relationship Id="rId452" Type="http://schemas.openxmlformats.org/officeDocument/2006/relationships/slideLayout" Target="../slideLayouts/slideLayout1921.xml"/><Relationship Id="rId30" Type="http://schemas.openxmlformats.org/officeDocument/2006/relationships/slideLayout" Target="../slideLayouts/slideLayout1499.xml"/><Relationship Id="rId105" Type="http://schemas.openxmlformats.org/officeDocument/2006/relationships/slideLayout" Target="../slideLayouts/slideLayout1574.xml"/><Relationship Id="rId126" Type="http://schemas.openxmlformats.org/officeDocument/2006/relationships/slideLayout" Target="../slideLayouts/slideLayout1595.xml"/><Relationship Id="rId147" Type="http://schemas.openxmlformats.org/officeDocument/2006/relationships/slideLayout" Target="../slideLayouts/slideLayout1616.xml"/><Relationship Id="rId168" Type="http://schemas.openxmlformats.org/officeDocument/2006/relationships/slideLayout" Target="../slideLayouts/slideLayout1637.xml"/><Relationship Id="rId312" Type="http://schemas.openxmlformats.org/officeDocument/2006/relationships/slideLayout" Target="../slideLayouts/slideLayout1781.xml"/><Relationship Id="rId333" Type="http://schemas.openxmlformats.org/officeDocument/2006/relationships/slideLayout" Target="../slideLayouts/slideLayout1802.xml"/><Relationship Id="rId354" Type="http://schemas.openxmlformats.org/officeDocument/2006/relationships/slideLayout" Target="../slideLayouts/slideLayout1823.xml"/><Relationship Id="rId51" Type="http://schemas.openxmlformats.org/officeDocument/2006/relationships/slideLayout" Target="../slideLayouts/slideLayout1520.xml"/><Relationship Id="rId72" Type="http://schemas.openxmlformats.org/officeDocument/2006/relationships/slideLayout" Target="../slideLayouts/slideLayout1541.xml"/><Relationship Id="rId93" Type="http://schemas.openxmlformats.org/officeDocument/2006/relationships/slideLayout" Target="../slideLayouts/slideLayout1562.xml"/><Relationship Id="rId189" Type="http://schemas.openxmlformats.org/officeDocument/2006/relationships/slideLayout" Target="../slideLayouts/slideLayout1658.xml"/><Relationship Id="rId375" Type="http://schemas.openxmlformats.org/officeDocument/2006/relationships/slideLayout" Target="../slideLayouts/slideLayout1844.xml"/><Relationship Id="rId396" Type="http://schemas.openxmlformats.org/officeDocument/2006/relationships/slideLayout" Target="../slideLayouts/slideLayout1865.xml"/><Relationship Id="rId3" Type="http://schemas.openxmlformats.org/officeDocument/2006/relationships/slideLayout" Target="../slideLayouts/slideLayout1472.xml"/><Relationship Id="rId214" Type="http://schemas.openxmlformats.org/officeDocument/2006/relationships/slideLayout" Target="../slideLayouts/slideLayout1683.xml"/><Relationship Id="rId235" Type="http://schemas.openxmlformats.org/officeDocument/2006/relationships/slideLayout" Target="../slideLayouts/slideLayout1704.xml"/><Relationship Id="rId256" Type="http://schemas.openxmlformats.org/officeDocument/2006/relationships/slideLayout" Target="../slideLayouts/slideLayout1725.xml"/><Relationship Id="rId277" Type="http://schemas.openxmlformats.org/officeDocument/2006/relationships/slideLayout" Target="../slideLayouts/slideLayout1746.xml"/><Relationship Id="rId298" Type="http://schemas.openxmlformats.org/officeDocument/2006/relationships/slideLayout" Target="../slideLayouts/slideLayout1767.xml"/><Relationship Id="rId400" Type="http://schemas.openxmlformats.org/officeDocument/2006/relationships/slideLayout" Target="../slideLayouts/slideLayout1869.xml"/><Relationship Id="rId421" Type="http://schemas.openxmlformats.org/officeDocument/2006/relationships/slideLayout" Target="../slideLayouts/slideLayout1890.xml"/><Relationship Id="rId442" Type="http://schemas.openxmlformats.org/officeDocument/2006/relationships/slideLayout" Target="../slideLayouts/slideLayout1911.xml"/><Relationship Id="rId463" Type="http://schemas.openxmlformats.org/officeDocument/2006/relationships/slideLayout" Target="../slideLayouts/slideLayout1932.xml"/><Relationship Id="rId116" Type="http://schemas.openxmlformats.org/officeDocument/2006/relationships/slideLayout" Target="../slideLayouts/slideLayout1585.xml"/><Relationship Id="rId137" Type="http://schemas.openxmlformats.org/officeDocument/2006/relationships/slideLayout" Target="../slideLayouts/slideLayout1606.xml"/><Relationship Id="rId158" Type="http://schemas.openxmlformats.org/officeDocument/2006/relationships/slideLayout" Target="../slideLayouts/slideLayout1627.xml"/><Relationship Id="rId302" Type="http://schemas.openxmlformats.org/officeDocument/2006/relationships/slideLayout" Target="../slideLayouts/slideLayout1771.xml"/><Relationship Id="rId323" Type="http://schemas.openxmlformats.org/officeDocument/2006/relationships/slideLayout" Target="../slideLayouts/slideLayout1792.xml"/><Relationship Id="rId344" Type="http://schemas.openxmlformats.org/officeDocument/2006/relationships/slideLayout" Target="../slideLayouts/slideLayout1813.xml"/><Relationship Id="rId20" Type="http://schemas.openxmlformats.org/officeDocument/2006/relationships/slideLayout" Target="../slideLayouts/slideLayout1489.xml"/><Relationship Id="rId41" Type="http://schemas.openxmlformats.org/officeDocument/2006/relationships/slideLayout" Target="../slideLayouts/slideLayout1510.xml"/><Relationship Id="rId62" Type="http://schemas.openxmlformats.org/officeDocument/2006/relationships/slideLayout" Target="../slideLayouts/slideLayout1531.xml"/><Relationship Id="rId83" Type="http://schemas.openxmlformats.org/officeDocument/2006/relationships/slideLayout" Target="../slideLayouts/slideLayout1552.xml"/><Relationship Id="rId179" Type="http://schemas.openxmlformats.org/officeDocument/2006/relationships/slideLayout" Target="../slideLayouts/slideLayout1648.xml"/><Relationship Id="rId365" Type="http://schemas.openxmlformats.org/officeDocument/2006/relationships/slideLayout" Target="../slideLayouts/slideLayout1834.xml"/><Relationship Id="rId386" Type="http://schemas.openxmlformats.org/officeDocument/2006/relationships/slideLayout" Target="../slideLayouts/slideLayout1855.xml"/><Relationship Id="rId190" Type="http://schemas.openxmlformats.org/officeDocument/2006/relationships/slideLayout" Target="../slideLayouts/slideLayout1659.xml"/><Relationship Id="rId204" Type="http://schemas.openxmlformats.org/officeDocument/2006/relationships/slideLayout" Target="../slideLayouts/slideLayout1673.xml"/><Relationship Id="rId225" Type="http://schemas.openxmlformats.org/officeDocument/2006/relationships/slideLayout" Target="../slideLayouts/slideLayout1694.xml"/><Relationship Id="rId246" Type="http://schemas.openxmlformats.org/officeDocument/2006/relationships/slideLayout" Target="../slideLayouts/slideLayout1715.xml"/><Relationship Id="rId267" Type="http://schemas.openxmlformats.org/officeDocument/2006/relationships/slideLayout" Target="../slideLayouts/slideLayout1736.xml"/><Relationship Id="rId288" Type="http://schemas.openxmlformats.org/officeDocument/2006/relationships/slideLayout" Target="../slideLayouts/slideLayout1757.xml"/><Relationship Id="rId411" Type="http://schemas.openxmlformats.org/officeDocument/2006/relationships/slideLayout" Target="../slideLayouts/slideLayout1880.xml"/><Relationship Id="rId432" Type="http://schemas.openxmlformats.org/officeDocument/2006/relationships/slideLayout" Target="../slideLayouts/slideLayout1901.xml"/><Relationship Id="rId453" Type="http://schemas.openxmlformats.org/officeDocument/2006/relationships/slideLayout" Target="../slideLayouts/slideLayout1922.xml"/><Relationship Id="rId106" Type="http://schemas.openxmlformats.org/officeDocument/2006/relationships/slideLayout" Target="../slideLayouts/slideLayout1575.xml"/><Relationship Id="rId127" Type="http://schemas.openxmlformats.org/officeDocument/2006/relationships/slideLayout" Target="../slideLayouts/slideLayout1596.xml"/><Relationship Id="rId313" Type="http://schemas.openxmlformats.org/officeDocument/2006/relationships/slideLayout" Target="../slideLayouts/slideLayout1782.xml"/><Relationship Id="rId10" Type="http://schemas.openxmlformats.org/officeDocument/2006/relationships/slideLayout" Target="../slideLayouts/slideLayout1479.xml"/><Relationship Id="rId31" Type="http://schemas.openxmlformats.org/officeDocument/2006/relationships/slideLayout" Target="../slideLayouts/slideLayout1500.xml"/><Relationship Id="rId52" Type="http://schemas.openxmlformats.org/officeDocument/2006/relationships/slideLayout" Target="../slideLayouts/slideLayout1521.xml"/><Relationship Id="rId73" Type="http://schemas.openxmlformats.org/officeDocument/2006/relationships/slideLayout" Target="../slideLayouts/slideLayout1542.xml"/><Relationship Id="rId94" Type="http://schemas.openxmlformats.org/officeDocument/2006/relationships/slideLayout" Target="../slideLayouts/slideLayout1563.xml"/><Relationship Id="rId148" Type="http://schemas.openxmlformats.org/officeDocument/2006/relationships/slideLayout" Target="../slideLayouts/slideLayout1617.xml"/><Relationship Id="rId169" Type="http://schemas.openxmlformats.org/officeDocument/2006/relationships/slideLayout" Target="../slideLayouts/slideLayout1638.xml"/><Relationship Id="rId334" Type="http://schemas.openxmlformats.org/officeDocument/2006/relationships/slideLayout" Target="../slideLayouts/slideLayout1803.xml"/><Relationship Id="rId355" Type="http://schemas.openxmlformats.org/officeDocument/2006/relationships/slideLayout" Target="../slideLayouts/slideLayout1824.xml"/><Relationship Id="rId376" Type="http://schemas.openxmlformats.org/officeDocument/2006/relationships/slideLayout" Target="../slideLayouts/slideLayout1845.xml"/><Relationship Id="rId397" Type="http://schemas.openxmlformats.org/officeDocument/2006/relationships/slideLayout" Target="../slideLayouts/slideLayout1866.xml"/><Relationship Id="rId4" Type="http://schemas.openxmlformats.org/officeDocument/2006/relationships/slideLayout" Target="../slideLayouts/slideLayout1473.xml"/><Relationship Id="rId180" Type="http://schemas.openxmlformats.org/officeDocument/2006/relationships/slideLayout" Target="../slideLayouts/slideLayout1649.xml"/><Relationship Id="rId215" Type="http://schemas.openxmlformats.org/officeDocument/2006/relationships/slideLayout" Target="../slideLayouts/slideLayout1684.xml"/><Relationship Id="rId236" Type="http://schemas.openxmlformats.org/officeDocument/2006/relationships/slideLayout" Target="../slideLayouts/slideLayout1705.xml"/><Relationship Id="rId257" Type="http://schemas.openxmlformats.org/officeDocument/2006/relationships/slideLayout" Target="../slideLayouts/slideLayout1726.xml"/><Relationship Id="rId278" Type="http://schemas.openxmlformats.org/officeDocument/2006/relationships/slideLayout" Target="../slideLayouts/slideLayout1747.xml"/><Relationship Id="rId401" Type="http://schemas.openxmlformats.org/officeDocument/2006/relationships/slideLayout" Target="../slideLayouts/slideLayout1870.xml"/><Relationship Id="rId422" Type="http://schemas.openxmlformats.org/officeDocument/2006/relationships/slideLayout" Target="../slideLayouts/slideLayout1891.xml"/><Relationship Id="rId443" Type="http://schemas.openxmlformats.org/officeDocument/2006/relationships/slideLayout" Target="../slideLayouts/slideLayout1912.xml"/><Relationship Id="rId464" Type="http://schemas.openxmlformats.org/officeDocument/2006/relationships/slideLayout" Target="../slideLayouts/slideLayout1933.xml"/><Relationship Id="rId303" Type="http://schemas.openxmlformats.org/officeDocument/2006/relationships/slideLayout" Target="../slideLayouts/slideLayout1772.xml"/><Relationship Id="rId42" Type="http://schemas.openxmlformats.org/officeDocument/2006/relationships/slideLayout" Target="../slideLayouts/slideLayout1511.xml"/><Relationship Id="rId84" Type="http://schemas.openxmlformats.org/officeDocument/2006/relationships/slideLayout" Target="../slideLayouts/slideLayout1553.xml"/><Relationship Id="rId138" Type="http://schemas.openxmlformats.org/officeDocument/2006/relationships/slideLayout" Target="../slideLayouts/slideLayout1607.xml"/><Relationship Id="rId345" Type="http://schemas.openxmlformats.org/officeDocument/2006/relationships/slideLayout" Target="../slideLayouts/slideLayout1814.xml"/><Relationship Id="rId387" Type="http://schemas.openxmlformats.org/officeDocument/2006/relationships/slideLayout" Target="../slideLayouts/slideLayout1856.xml"/><Relationship Id="rId191" Type="http://schemas.openxmlformats.org/officeDocument/2006/relationships/slideLayout" Target="../slideLayouts/slideLayout1660.xml"/><Relationship Id="rId205" Type="http://schemas.openxmlformats.org/officeDocument/2006/relationships/slideLayout" Target="../slideLayouts/slideLayout1674.xml"/><Relationship Id="rId247" Type="http://schemas.openxmlformats.org/officeDocument/2006/relationships/slideLayout" Target="../slideLayouts/slideLayout1716.xml"/><Relationship Id="rId412" Type="http://schemas.openxmlformats.org/officeDocument/2006/relationships/slideLayout" Target="../slideLayouts/slideLayout1881.xml"/><Relationship Id="rId107" Type="http://schemas.openxmlformats.org/officeDocument/2006/relationships/slideLayout" Target="../slideLayouts/slideLayout1576.xml"/><Relationship Id="rId289" Type="http://schemas.openxmlformats.org/officeDocument/2006/relationships/slideLayout" Target="../slideLayouts/slideLayout1758.xml"/><Relationship Id="rId454" Type="http://schemas.openxmlformats.org/officeDocument/2006/relationships/slideLayout" Target="../slideLayouts/slideLayout1923.xml"/><Relationship Id="rId11" Type="http://schemas.openxmlformats.org/officeDocument/2006/relationships/slideLayout" Target="../slideLayouts/slideLayout1480.xml"/><Relationship Id="rId53" Type="http://schemas.openxmlformats.org/officeDocument/2006/relationships/slideLayout" Target="../slideLayouts/slideLayout1522.xml"/><Relationship Id="rId149" Type="http://schemas.openxmlformats.org/officeDocument/2006/relationships/slideLayout" Target="../slideLayouts/slideLayout1618.xml"/><Relationship Id="rId314" Type="http://schemas.openxmlformats.org/officeDocument/2006/relationships/slideLayout" Target="../slideLayouts/slideLayout1783.xml"/><Relationship Id="rId356" Type="http://schemas.openxmlformats.org/officeDocument/2006/relationships/slideLayout" Target="../slideLayouts/slideLayout1825.xml"/><Relationship Id="rId398" Type="http://schemas.openxmlformats.org/officeDocument/2006/relationships/slideLayout" Target="../slideLayouts/slideLayout1867.xml"/><Relationship Id="rId95" Type="http://schemas.openxmlformats.org/officeDocument/2006/relationships/slideLayout" Target="../slideLayouts/slideLayout1564.xml"/><Relationship Id="rId160" Type="http://schemas.openxmlformats.org/officeDocument/2006/relationships/slideLayout" Target="../slideLayouts/slideLayout1629.xml"/><Relationship Id="rId216" Type="http://schemas.openxmlformats.org/officeDocument/2006/relationships/slideLayout" Target="../slideLayouts/slideLayout1685.xml"/><Relationship Id="rId423" Type="http://schemas.openxmlformats.org/officeDocument/2006/relationships/slideLayout" Target="../slideLayouts/slideLayout1892.xml"/><Relationship Id="rId258" Type="http://schemas.openxmlformats.org/officeDocument/2006/relationships/slideLayout" Target="../slideLayouts/slideLayout1727.xml"/><Relationship Id="rId465" Type="http://schemas.openxmlformats.org/officeDocument/2006/relationships/theme" Target="../theme/theme7.xml"/><Relationship Id="rId22" Type="http://schemas.openxmlformats.org/officeDocument/2006/relationships/slideLayout" Target="../slideLayouts/slideLayout1491.xml"/><Relationship Id="rId64" Type="http://schemas.openxmlformats.org/officeDocument/2006/relationships/slideLayout" Target="../slideLayouts/slideLayout1533.xml"/><Relationship Id="rId118" Type="http://schemas.openxmlformats.org/officeDocument/2006/relationships/slideLayout" Target="../slideLayouts/slideLayout1587.xml"/><Relationship Id="rId325" Type="http://schemas.openxmlformats.org/officeDocument/2006/relationships/slideLayout" Target="../slideLayouts/slideLayout1794.xml"/><Relationship Id="rId367" Type="http://schemas.openxmlformats.org/officeDocument/2006/relationships/slideLayout" Target="../slideLayouts/slideLayout1836.xml"/><Relationship Id="rId171" Type="http://schemas.openxmlformats.org/officeDocument/2006/relationships/slideLayout" Target="../slideLayouts/slideLayout1640.xml"/><Relationship Id="rId227" Type="http://schemas.openxmlformats.org/officeDocument/2006/relationships/slideLayout" Target="../slideLayouts/slideLayout1696.xml"/><Relationship Id="rId269" Type="http://schemas.openxmlformats.org/officeDocument/2006/relationships/slideLayout" Target="../slideLayouts/slideLayout1738.xml"/><Relationship Id="rId434" Type="http://schemas.openxmlformats.org/officeDocument/2006/relationships/slideLayout" Target="../slideLayouts/slideLayout1903.xml"/><Relationship Id="rId33" Type="http://schemas.openxmlformats.org/officeDocument/2006/relationships/slideLayout" Target="../slideLayouts/slideLayout1502.xml"/><Relationship Id="rId129" Type="http://schemas.openxmlformats.org/officeDocument/2006/relationships/slideLayout" Target="../slideLayouts/slideLayout1598.xml"/><Relationship Id="rId280" Type="http://schemas.openxmlformats.org/officeDocument/2006/relationships/slideLayout" Target="../slideLayouts/slideLayout1749.xml"/><Relationship Id="rId336" Type="http://schemas.openxmlformats.org/officeDocument/2006/relationships/slideLayout" Target="../slideLayouts/slideLayout1805.xml"/><Relationship Id="rId75" Type="http://schemas.openxmlformats.org/officeDocument/2006/relationships/slideLayout" Target="../slideLayouts/slideLayout1544.xml"/><Relationship Id="rId140" Type="http://schemas.openxmlformats.org/officeDocument/2006/relationships/slideLayout" Target="../slideLayouts/slideLayout1609.xml"/><Relationship Id="rId182" Type="http://schemas.openxmlformats.org/officeDocument/2006/relationships/slideLayout" Target="../slideLayouts/slideLayout1651.xml"/><Relationship Id="rId378" Type="http://schemas.openxmlformats.org/officeDocument/2006/relationships/slideLayout" Target="../slideLayouts/slideLayout1847.xml"/><Relationship Id="rId403" Type="http://schemas.openxmlformats.org/officeDocument/2006/relationships/slideLayout" Target="../slideLayouts/slideLayout1872.xml"/><Relationship Id="rId6" Type="http://schemas.openxmlformats.org/officeDocument/2006/relationships/slideLayout" Target="../slideLayouts/slideLayout1475.xml"/><Relationship Id="rId238" Type="http://schemas.openxmlformats.org/officeDocument/2006/relationships/slideLayout" Target="../slideLayouts/slideLayout1707.xml"/><Relationship Id="rId445" Type="http://schemas.openxmlformats.org/officeDocument/2006/relationships/slideLayout" Target="../slideLayouts/slideLayout1914.xml"/><Relationship Id="rId291" Type="http://schemas.openxmlformats.org/officeDocument/2006/relationships/slideLayout" Target="../slideLayouts/slideLayout1760.xml"/><Relationship Id="rId305" Type="http://schemas.openxmlformats.org/officeDocument/2006/relationships/slideLayout" Target="../slideLayouts/slideLayout1774.xml"/><Relationship Id="rId347" Type="http://schemas.openxmlformats.org/officeDocument/2006/relationships/slideLayout" Target="../slideLayouts/slideLayout1816.xml"/><Relationship Id="rId44" Type="http://schemas.openxmlformats.org/officeDocument/2006/relationships/slideLayout" Target="../slideLayouts/slideLayout1513.xml"/><Relationship Id="rId86" Type="http://schemas.openxmlformats.org/officeDocument/2006/relationships/slideLayout" Target="../slideLayouts/slideLayout1555.xml"/><Relationship Id="rId151" Type="http://schemas.openxmlformats.org/officeDocument/2006/relationships/slideLayout" Target="../slideLayouts/slideLayout1620.xml"/><Relationship Id="rId389" Type="http://schemas.openxmlformats.org/officeDocument/2006/relationships/slideLayout" Target="../slideLayouts/slideLayout1858.xml"/><Relationship Id="rId193" Type="http://schemas.openxmlformats.org/officeDocument/2006/relationships/slideLayout" Target="../slideLayouts/slideLayout1662.xml"/><Relationship Id="rId207" Type="http://schemas.openxmlformats.org/officeDocument/2006/relationships/slideLayout" Target="../slideLayouts/slideLayout1676.xml"/><Relationship Id="rId249" Type="http://schemas.openxmlformats.org/officeDocument/2006/relationships/slideLayout" Target="../slideLayouts/slideLayout1718.xml"/><Relationship Id="rId414" Type="http://schemas.openxmlformats.org/officeDocument/2006/relationships/slideLayout" Target="../slideLayouts/slideLayout1883.xml"/><Relationship Id="rId456" Type="http://schemas.openxmlformats.org/officeDocument/2006/relationships/slideLayout" Target="../slideLayouts/slideLayout1925.xml"/><Relationship Id="rId13" Type="http://schemas.openxmlformats.org/officeDocument/2006/relationships/slideLayout" Target="../slideLayouts/slideLayout1482.xml"/><Relationship Id="rId109" Type="http://schemas.openxmlformats.org/officeDocument/2006/relationships/slideLayout" Target="../slideLayouts/slideLayout1578.xml"/><Relationship Id="rId260" Type="http://schemas.openxmlformats.org/officeDocument/2006/relationships/slideLayout" Target="../slideLayouts/slideLayout1729.xml"/><Relationship Id="rId316" Type="http://schemas.openxmlformats.org/officeDocument/2006/relationships/slideLayout" Target="../slideLayouts/slideLayout1785.xml"/><Relationship Id="rId55" Type="http://schemas.openxmlformats.org/officeDocument/2006/relationships/slideLayout" Target="../slideLayouts/slideLayout1524.xml"/><Relationship Id="rId97" Type="http://schemas.openxmlformats.org/officeDocument/2006/relationships/slideLayout" Target="../slideLayouts/slideLayout1566.xml"/><Relationship Id="rId120" Type="http://schemas.openxmlformats.org/officeDocument/2006/relationships/slideLayout" Target="../slideLayouts/slideLayout1589.xml"/><Relationship Id="rId358" Type="http://schemas.openxmlformats.org/officeDocument/2006/relationships/slideLayout" Target="../slideLayouts/slideLayout1827.xml"/><Relationship Id="rId162" Type="http://schemas.openxmlformats.org/officeDocument/2006/relationships/slideLayout" Target="../slideLayouts/slideLayout1631.xml"/><Relationship Id="rId218" Type="http://schemas.openxmlformats.org/officeDocument/2006/relationships/slideLayout" Target="../slideLayouts/slideLayout1687.xml"/><Relationship Id="rId425" Type="http://schemas.openxmlformats.org/officeDocument/2006/relationships/slideLayout" Target="../slideLayouts/slideLayout1894.xml"/><Relationship Id="rId271" Type="http://schemas.openxmlformats.org/officeDocument/2006/relationships/slideLayout" Target="../slideLayouts/slideLayout1740.xml"/><Relationship Id="rId24" Type="http://schemas.openxmlformats.org/officeDocument/2006/relationships/slideLayout" Target="../slideLayouts/slideLayout1493.xml"/><Relationship Id="rId66" Type="http://schemas.openxmlformats.org/officeDocument/2006/relationships/slideLayout" Target="../slideLayouts/slideLayout1535.xml"/><Relationship Id="rId131" Type="http://schemas.openxmlformats.org/officeDocument/2006/relationships/slideLayout" Target="../slideLayouts/slideLayout1600.xml"/><Relationship Id="rId327" Type="http://schemas.openxmlformats.org/officeDocument/2006/relationships/slideLayout" Target="../slideLayouts/slideLayout1796.xml"/><Relationship Id="rId369" Type="http://schemas.openxmlformats.org/officeDocument/2006/relationships/slideLayout" Target="../slideLayouts/slideLayout1838.xml"/><Relationship Id="rId173" Type="http://schemas.openxmlformats.org/officeDocument/2006/relationships/slideLayout" Target="../slideLayouts/slideLayout1642.xml"/><Relationship Id="rId229" Type="http://schemas.openxmlformats.org/officeDocument/2006/relationships/slideLayout" Target="../slideLayouts/slideLayout1698.xml"/><Relationship Id="rId380" Type="http://schemas.openxmlformats.org/officeDocument/2006/relationships/slideLayout" Target="../slideLayouts/slideLayout1849.xml"/><Relationship Id="rId436" Type="http://schemas.openxmlformats.org/officeDocument/2006/relationships/slideLayout" Target="../slideLayouts/slideLayout1905.xml"/><Relationship Id="rId240" Type="http://schemas.openxmlformats.org/officeDocument/2006/relationships/slideLayout" Target="../slideLayouts/slideLayout1709.xml"/><Relationship Id="rId35" Type="http://schemas.openxmlformats.org/officeDocument/2006/relationships/slideLayout" Target="../slideLayouts/slideLayout1504.xml"/><Relationship Id="rId77" Type="http://schemas.openxmlformats.org/officeDocument/2006/relationships/slideLayout" Target="../slideLayouts/slideLayout1546.xml"/><Relationship Id="rId100" Type="http://schemas.openxmlformats.org/officeDocument/2006/relationships/slideLayout" Target="../slideLayouts/slideLayout1569.xml"/><Relationship Id="rId282" Type="http://schemas.openxmlformats.org/officeDocument/2006/relationships/slideLayout" Target="../slideLayouts/slideLayout1751.xml"/><Relationship Id="rId338" Type="http://schemas.openxmlformats.org/officeDocument/2006/relationships/slideLayout" Target="../slideLayouts/slideLayout1807.xml"/><Relationship Id="rId8" Type="http://schemas.openxmlformats.org/officeDocument/2006/relationships/slideLayout" Target="../slideLayouts/slideLayout1477.xml"/><Relationship Id="rId142" Type="http://schemas.openxmlformats.org/officeDocument/2006/relationships/slideLayout" Target="../slideLayouts/slideLayout1611.xml"/><Relationship Id="rId184" Type="http://schemas.openxmlformats.org/officeDocument/2006/relationships/slideLayout" Target="../slideLayouts/slideLayout1653.xml"/><Relationship Id="rId391" Type="http://schemas.openxmlformats.org/officeDocument/2006/relationships/slideLayout" Target="../slideLayouts/slideLayout1860.xml"/><Relationship Id="rId405" Type="http://schemas.openxmlformats.org/officeDocument/2006/relationships/slideLayout" Target="../slideLayouts/slideLayout1874.xml"/><Relationship Id="rId447" Type="http://schemas.openxmlformats.org/officeDocument/2006/relationships/slideLayout" Target="../slideLayouts/slideLayout1916.xml"/><Relationship Id="rId251" Type="http://schemas.openxmlformats.org/officeDocument/2006/relationships/slideLayout" Target="../slideLayouts/slideLayout1720.xml"/><Relationship Id="rId46" Type="http://schemas.openxmlformats.org/officeDocument/2006/relationships/slideLayout" Target="../slideLayouts/slideLayout1515.xml"/><Relationship Id="rId293" Type="http://schemas.openxmlformats.org/officeDocument/2006/relationships/slideLayout" Target="../slideLayouts/slideLayout1762.xml"/><Relationship Id="rId307" Type="http://schemas.openxmlformats.org/officeDocument/2006/relationships/slideLayout" Target="../slideLayouts/slideLayout1776.xml"/><Relationship Id="rId349" Type="http://schemas.openxmlformats.org/officeDocument/2006/relationships/slideLayout" Target="../slideLayouts/slideLayout1818.xml"/><Relationship Id="rId88" Type="http://schemas.openxmlformats.org/officeDocument/2006/relationships/slideLayout" Target="../slideLayouts/slideLayout1557.xml"/><Relationship Id="rId111" Type="http://schemas.openxmlformats.org/officeDocument/2006/relationships/slideLayout" Target="../slideLayouts/slideLayout1580.xml"/><Relationship Id="rId153" Type="http://schemas.openxmlformats.org/officeDocument/2006/relationships/slideLayout" Target="../slideLayouts/slideLayout1622.xml"/><Relationship Id="rId195" Type="http://schemas.openxmlformats.org/officeDocument/2006/relationships/slideLayout" Target="../slideLayouts/slideLayout1664.xml"/><Relationship Id="rId209" Type="http://schemas.openxmlformats.org/officeDocument/2006/relationships/slideLayout" Target="../slideLayouts/slideLayout1678.xml"/><Relationship Id="rId360" Type="http://schemas.openxmlformats.org/officeDocument/2006/relationships/slideLayout" Target="../slideLayouts/slideLayout1829.xml"/><Relationship Id="rId416" Type="http://schemas.openxmlformats.org/officeDocument/2006/relationships/slideLayout" Target="../slideLayouts/slideLayout1885.xml"/><Relationship Id="rId220" Type="http://schemas.openxmlformats.org/officeDocument/2006/relationships/slideLayout" Target="../slideLayouts/slideLayout1689.xml"/><Relationship Id="rId458" Type="http://schemas.openxmlformats.org/officeDocument/2006/relationships/slideLayout" Target="../slideLayouts/slideLayout1927.xml"/><Relationship Id="rId15" Type="http://schemas.openxmlformats.org/officeDocument/2006/relationships/slideLayout" Target="../slideLayouts/slideLayout1484.xml"/><Relationship Id="rId57" Type="http://schemas.openxmlformats.org/officeDocument/2006/relationships/slideLayout" Target="../slideLayouts/slideLayout1526.xml"/><Relationship Id="rId262" Type="http://schemas.openxmlformats.org/officeDocument/2006/relationships/slideLayout" Target="../slideLayouts/slideLayout1731.xml"/><Relationship Id="rId318" Type="http://schemas.openxmlformats.org/officeDocument/2006/relationships/slideLayout" Target="../slideLayouts/slideLayout1787.xml"/><Relationship Id="rId99" Type="http://schemas.openxmlformats.org/officeDocument/2006/relationships/slideLayout" Target="../slideLayouts/slideLayout1568.xml"/><Relationship Id="rId122" Type="http://schemas.openxmlformats.org/officeDocument/2006/relationships/slideLayout" Target="../slideLayouts/slideLayout1591.xml"/><Relationship Id="rId164" Type="http://schemas.openxmlformats.org/officeDocument/2006/relationships/slideLayout" Target="../slideLayouts/slideLayout1633.xml"/><Relationship Id="rId371" Type="http://schemas.openxmlformats.org/officeDocument/2006/relationships/slideLayout" Target="../slideLayouts/slideLayout1840.xml"/><Relationship Id="rId427" Type="http://schemas.openxmlformats.org/officeDocument/2006/relationships/slideLayout" Target="../slideLayouts/slideLayout1896.xml"/><Relationship Id="rId26" Type="http://schemas.openxmlformats.org/officeDocument/2006/relationships/slideLayout" Target="../slideLayouts/slideLayout1495.xml"/><Relationship Id="rId231" Type="http://schemas.openxmlformats.org/officeDocument/2006/relationships/slideLayout" Target="../slideLayouts/slideLayout1700.xml"/><Relationship Id="rId273" Type="http://schemas.openxmlformats.org/officeDocument/2006/relationships/slideLayout" Target="../slideLayouts/slideLayout1742.xml"/><Relationship Id="rId329" Type="http://schemas.openxmlformats.org/officeDocument/2006/relationships/slideLayout" Target="../slideLayouts/slideLayout1798.xml"/><Relationship Id="rId68" Type="http://schemas.openxmlformats.org/officeDocument/2006/relationships/slideLayout" Target="../slideLayouts/slideLayout1537.xml"/><Relationship Id="rId133" Type="http://schemas.openxmlformats.org/officeDocument/2006/relationships/slideLayout" Target="../slideLayouts/slideLayout1602.xml"/><Relationship Id="rId175" Type="http://schemas.openxmlformats.org/officeDocument/2006/relationships/slideLayout" Target="../slideLayouts/slideLayout1644.xml"/><Relationship Id="rId340" Type="http://schemas.openxmlformats.org/officeDocument/2006/relationships/slideLayout" Target="../slideLayouts/slideLayout1809.xml"/><Relationship Id="rId200" Type="http://schemas.openxmlformats.org/officeDocument/2006/relationships/slideLayout" Target="../slideLayouts/slideLayout1669.xml"/><Relationship Id="rId382" Type="http://schemas.openxmlformats.org/officeDocument/2006/relationships/slideLayout" Target="../slideLayouts/slideLayout1851.xml"/><Relationship Id="rId438" Type="http://schemas.openxmlformats.org/officeDocument/2006/relationships/slideLayout" Target="../slideLayouts/slideLayout1907.xml"/><Relationship Id="rId242" Type="http://schemas.openxmlformats.org/officeDocument/2006/relationships/slideLayout" Target="../slideLayouts/slideLayout1711.xml"/><Relationship Id="rId284" Type="http://schemas.openxmlformats.org/officeDocument/2006/relationships/slideLayout" Target="../slideLayouts/slideLayout1753.xml"/><Relationship Id="rId37" Type="http://schemas.openxmlformats.org/officeDocument/2006/relationships/slideLayout" Target="../slideLayouts/slideLayout1506.xml"/><Relationship Id="rId79" Type="http://schemas.openxmlformats.org/officeDocument/2006/relationships/slideLayout" Target="../slideLayouts/slideLayout1548.xml"/><Relationship Id="rId102" Type="http://schemas.openxmlformats.org/officeDocument/2006/relationships/slideLayout" Target="../slideLayouts/slideLayout1571.xml"/><Relationship Id="rId144" Type="http://schemas.openxmlformats.org/officeDocument/2006/relationships/slideLayout" Target="../slideLayouts/slideLayout1613.xml"/><Relationship Id="rId90" Type="http://schemas.openxmlformats.org/officeDocument/2006/relationships/slideLayout" Target="../slideLayouts/slideLayout1559.xml"/><Relationship Id="rId186" Type="http://schemas.openxmlformats.org/officeDocument/2006/relationships/slideLayout" Target="../slideLayouts/slideLayout1655.xml"/><Relationship Id="rId351" Type="http://schemas.openxmlformats.org/officeDocument/2006/relationships/slideLayout" Target="../slideLayouts/slideLayout1820.xml"/><Relationship Id="rId393" Type="http://schemas.openxmlformats.org/officeDocument/2006/relationships/slideLayout" Target="../slideLayouts/slideLayout1862.xml"/><Relationship Id="rId407" Type="http://schemas.openxmlformats.org/officeDocument/2006/relationships/slideLayout" Target="../slideLayouts/slideLayout1876.xml"/><Relationship Id="rId449" Type="http://schemas.openxmlformats.org/officeDocument/2006/relationships/slideLayout" Target="../slideLayouts/slideLayout1918.xml"/><Relationship Id="rId211" Type="http://schemas.openxmlformats.org/officeDocument/2006/relationships/slideLayout" Target="../slideLayouts/slideLayout1680.xml"/><Relationship Id="rId253" Type="http://schemas.openxmlformats.org/officeDocument/2006/relationships/slideLayout" Target="../slideLayouts/slideLayout1722.xml"/><Relationship Id="rId295" Type="http://schemas.openxmlformats.org/officeDocument/2006/relationships/slideLayout" Target="../slideLayouts/slideLayout1764.xml"/><Relationship Id="rId309" Type="http://schemas.openxmlformats.org/officeDocument/2006/relationships/slideLayout" Target="../slideLayouts/slideLayout1778.xml"/><Relationship Id="rId460" Type="http://schemas.openxmlformats.org/officeDocument/2006/relationships/slideLayout" Target="../slideLayouts/slideLayout1929.xml"/><Relationship Id="rId48" Type="http://schemas.openxmlformats.org/officeDocument/2006/relationships/slideLayout" Target="../slideLayouts/slideLayout1517.xml"/><Relationship Id="rId113" Type="http://schemas.openxmlformats.org/officeDocument/2006/relationships/slideLayout" Target="../slideLayouts/slideLayout1582.xml"/><Relationship Id="rId320" Type="http://schemas.openxmlformats.org/officeDocument/2006/relationships/slideLayout" Target="../slideLayouts/slideLayout1789.xml"/><Relationship Id="rId155" Type="http://schemas.openxmlformats.org/officeDocument/2006/relationships/slideLayout" Target="../slideLayouts/slideLayout1624.xml"/><Relationship Id="rId197" Type="http://schemas.openxmlformats.org/officeDocument/2006/relationships/slideLayout" Target="../slideLayouts/slideLayout1666.xml"/><Relationship Id="rId362" Type="http://schemas.openxmlformats.org/officeDocument/2006/relationships/slideLayout" Target="../slideLayouts/slideLayout1831.xml"/><Relationship Id="rId418" Type="http://schemas.openxmlformats.org/officeDocument/2006/relationships/slideLayout" Target="../slideLayouts/slideLayout1887.xml"/><Relationship Id="rId222" Type="http://schemas.openxmlformats.org/officeDocument/2006/relationships/slideLayout" Target="../slideLayouts/slideLayout1691.xml"/><Relationship Id="rId264" Type="http://schemas.openxmlformats.org/officeDocument/2006/relationships/slideLayout" Target="../slideLayouts/slideLayout1733.xml"/><Relationship Id="rId17" Type="http://schemas.openxmlformats.org/officeDocument/2006/relationships/slideLayout" Target="../slideLayouts/slideLayout1486.xml"/><Relationship Id="rId59" Type="http://schemas.openxmlformats.org/officeDocument/2006/relationships/slideLayout" Target="../slideLayouts/slideLayout1528.xml"/><Relationship Id="rId124" Type="http://schemas.openxmlformats.org/officeDocument/2006/relationships/slideLayout" Target="../slideLayouts/slideLayout1593.xml"/><Relationship Id="rId70" Type="http://schemas.openxmlformats.org/officeDocument/2006/relationships/slideLayout" Target="../slideLayouts/slideLayout1539.xml"/><Relationship Id="rId166" Type="http://schemas.openxmlformats.org/officeDocument/2006/relationships/slideLayout" Target="../slideLayouts/slideLayout1635.xml"/><Relationship Id="rId331" Type="http://schemas.openxmlformats.org/officeDocument/2006/relationships/slideLayout" Target="../slideLayouts/slideLayout1800.xml"/><Relationship Id="rId373" Type="http://schemas.openxmlformats.org/officeDocument/2006/relationships/slideLayout" Target="../slideLayouts/slideLayout1842.xml"/><Relationship Id="rId429" Type="http://schemas.openxmlformats.org/officeDocument/2006/relationships/slideLayout" Target="../slideLayouts/slideLayout1898.xml"/><Relationship Id="rId1" Type="http://schemas.openxmlformats.org/officeDocument/2006/relationships/slideLayout" Target="../slideLayouts/slideLayout1470.xml"/><Relationship Id="rId233" Type="http://schemas.openxmlformats.org/officeDocument/2006/relationships/slideLayout" Target="../slideLayouts/slideLayout1702.xml"/><Relationship Id="rId440" Type="http://schemas.openxmlformats.org/officeDocument/2006/relationships/slideLayout" Target="../slideLayouts/slideLayout1909.xml"/><Relationship Id="rId28" Type="http://schemas.openxmlformats.org/officeDocument/2006/relationships/slideLayout" Target="../slideLayouts/slideLayout1497.xml"/><Relationship Id="rId275" Type="http://schemas.openxmlformats.org/officeDocument/2006/relationships/slideLayout" Target="../slideLayouts/slideLayout1744.xml"/><Relationship Id="rId300" Type="http://schemas.openxmlformats.org/officeDocument/2006/relationships/slideLayout" Target="../slideLayouts/slideLayout1769.xml"/><Relationship Id="rId81" Type="http://schemas.openxmlformats.org/officeDocument/2006/relationships/slideLayout" Target="../slideLayouts/slideLayout1550.xml"/><Relationship Id="rId135" Type="http://schemas.openxmlformats.org/officeDocument/2006/relationships/slideLayout" Target="../slideLayouts/slideLayout1604.xml"/><Relationship Id="rId177" Type="http://schemas.openxmlformats.org/officeDocument/2006/relationships/slideLayout" Target="../slideLayouts/slideLayout1646.xml"/><Relationship Id="rId342" Type="http://schemas.openxmlformats.org/officeDocument/2006/relationships/slideLayout" Target="../slideLayouts/slideLayout1811.xml"/><Relationship Id="rId384" Type="http://schemas.openxmlformats.org/officeDocument/2006/relationships/slideLayout" Target="../slideLayouts/slideLayout1853.xml"/><Relationship Id="rId202" Type="http://schemas.openxmlformats.org/officeDocument/2006/relationships/slideLayout" Target="../slideLayouts/slideLayout1671.xml"/><Relationship Id="rId244" Type="http://schemas.openxmlformats.org/officeDocument/2006/relationships/slideLayout" Target="../slideLayouts/slideLayout1713.xml"/><Relationship Id="rId39" Type="http://schemas.openxmlformats.org/officeDocument/2006/relationships/slideLayout" Target="../slideLayouts/slideLayout1508.xml"/><Relationship Id="rId286" Type="http://schemas.openxmlformats.org/officeDocument/2006/relationships/slideLayout" Target="../slideLayouts/slideLayout1755.xml"/><Relationship Id="rId451" Type="http://schemas.openxmlformats.org/officeDocument/2006/relationships/slideLayout" Target="../slideLayouts/slideLayout1920.xml"/><Relationship Id="rId50" Type="http://schemas.openxmlformats.org/officeDocument/2006/relationships/slideLayout" Target="../slideLayouts/slideLayout1519.xml"/><Relationship Id="rId104" Type="http://schemas.openxmlformats.org/officeDocument/2006/relationships/slideLayout" Target="../slideLayouts/slideLayout1573.xml"/><Relationship Id="rId146" Type="http://schemas.openxmlformats.org/officeDocument/2006/relationships/slideLayout" Target="../slideLayouts/slideLayout1615.xml"/><Relationship Id="rId188" Type="http://schemas.openxmlformats.org/officeDocument/2006/relationships/slideLayout" Target="../slideLayouts/slideLayout1657.xml"/><Relationship Id="rId311" Type="http://schemas.openxmlformats.org/officeDocument/2006/relationships/slideLayout" Target="../slideLayouts/slideLayout1780.xml"/><Relationship Id="rId353" Type="http://schemas.openxmlformats.org/officeDocument/2006/relationships/slideLayout" Target="../slideLayouts/slideLayout1822.xml"/><Relationship Id="rId395" Type="http://schemas.openxmlformats.org/officeDocument/2006/relationships/slideLayout" Target="../slideLayouts/slideLayout1864.xml"/><Relationship Id="rId409" Type="http://schemas.openxmlformats.org/officeDocument/2006/relationships/slideLayout" Target="../slideLayouts/slideLayout1878.xml"/><Relationship Id="rId92" Type="http://schemas.openxmlformats.org/officeDocument/2006/relationships/slideLayout" Target="../slideLayouts/slideLayout1561.xml"/><Relationship Id="rId213" Type="http://schemas.openxmlformats.org/officeDocument/2006/relationships/slideLayout" Target="../slideLayouts/slideLayout1682.xml"/><Relationship Id="rId420" Type="http://schemas.openxmlformats.org/officeDocument/2006/relationships/slideLayout" Target="../slideLayouts/slideLayout1889.xml"/><Relationship Id="rId255" Type="http://schemas.openxmlformats.org/officeDocument/2006/relationships/slideLayout" Target="../slideLayouts/slideLayout1724.xml"/><Relationship Id="rId297" Type="http://schemas.openxmlformats.org/officeDocument/2006/relationships/slideLayout" Target="../slideLayouts/slideLayout1766.xml"/><Relationship Id="rId462" Type="http://schemas.openxmlformats.org/officeDocument/2006/relationships/slideLayout" Target="../slideLayouts/slideLayout1931.xml"/><Relationship Id="rId115" Type="http://schemas.openxmlformats.org/officeDocument/2006/relationships/slideLayout" Target="../slideLayouts/slideLayout1584.xml"/><Relationship Id="rId157" Type="http://schemas.openxmlformats.org/officeDocument/2006/relationships/slideLayout" Target="../slideLayouts/slideLayout1626.xml"/><Relationship Id="rId322" Type="http://schemas.openxmlformats.org/officeDocument/2006/relationships/slideLayout" Target="../slideLayouts/slideLayout1791.xml"/><Relationship Id="rId364" Type="http://schemas.openxmlformats.org/officeDocument/2006/relationships/slideLayout" Target="../slideLayouts/slideLayout183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41.xml"/><Relationship Id="rId3" Type="http://schemas.openxmlformats.org/officeDocument/2006/relationships/slideLayout" Target="../slideLayouts/slideLayout1936.xml"/><Relationship Id="rId7" Type="http://schemas.openxmlformats.org/officeDocument/2006/relationships/slideLayout" Target="../slideLayouts/slideLayout1940.xml"/><Relationship Id="rId12" Type="http://schemas.openxmlformats.org/officeDocument/2006/relationships/theme" Target="../theme/theme8.xml"/><Relationship Id="rId2" Type="http://schemas.openxmlformats.org/officeDocument/2006/relationships/slideLayout" Target="../slideLayouts/slideLayout1935.xml"/><Relationship Id="rId1" Type="http://schemas.openxmlformats.org/officeDocument/2006/relationships/slideLayout" Target="../slideLayouts/slideLayout1934.xml"/><Relationship Id="rId6" Type="http://schemas.openxmlformats.org/officeDocument/2006/relationships/slideLayout" Target="../slideLayouts/slideLayout1939.xml"/><Relationship Id="rId11" Type="http://schemas.openxmlformats.org/officeDocument/2006/relationships/slideLayout" Target="../slideLayouts/slideLayout1944.xml"/><Relationship Id="rId5" Type="http://schemas.openxmlformats.org/officeDocument/2006/relationships/slideLayout" Target="../slideLayouts/slideLayout1938.xml"/><Relationship Id="rId10" Type="http://schemas.openxmlformats.org/officeDocument/2006/relationships/slideLayout" Target="../slideLayouts/slideLayout1943.xml"/><Relationship Id="rId4" Type="http://schemas.openxmlformats.org/officeDocument/2006/relationships/slideLayout" Target="../slideLayouts/slideLayout1937.xml"/><Relationship Id="rId9" Type="http://schemas.openxmlformats.org/officeDocument/2006/relationships/slideLayout" Target="../slideLayouts/slideLayout194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52.xml"/><Relationship Id="rId3" Type="http://schemas.openxmlformats.org/officeDocument/2006/relationships/slideLayout" Target="../slideLayouts/slideLayout1947.xml"/><Relationship Id="rId7" Type="http://schemas.openxmlformats.org/officeDocument/2006/relationships/slideLayout" Target="../slideLayouts/slideLayout1951.xml"/><Relationship Id="rId2" Type="http://schemas.openxmlformats.org/officeDocument/2006/relationships/slideLayout" Target="../slideLayouts/slideLayout1946.xml"/><Relationship Id="rId1" Type="http://schemas.openxmlformats.org/officeDocument/2006/relationships/slideLayout" Target="../slideLayouts/slideLayout1945.xml"/><Relationship Id="rId6" Type="http://schemas.openxmlformats.org/officeDocument/2006/relationships/slideLayout" Target="../slideLayouts/slideLayout1950.xml"/><Relationship Id="rId11" Type="http://schemas.openxmlformats.org/officeDocument/2006/relationships/theme" Target="../theme/theme9.xml"/><Relationship Id="rId5" Type="http://schemas.openxmlformats.org/officeDocument/2006/relationships/slideLayout" Target="../slideLayouts/slideLayout1949.xml"/><Relationship Id="rId10" Type="http://schemas.openxmlformats.org/officeDocument/2006/relationships/slideLayout" Target="../slideLayouts/slideLayout1954.xml"/><Relationship Id="rId4" Type="http://schemas.openxmlformats.org/officeDocument/2006/relationships/slideLayout" Target="../slideLayouts/slideLayout1948.xml"/><Relationship Id="rId9" Type="http://schemas.openxmlformats.org/officeDocument/2006/relationships/slideLayout" Target="../slideLayouts/slideLayout195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US" smtClean="0"/>
              <a:t>5/20/20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93646" r:id="rId1"/>
    <p:sldLayoutId id="2147493647" r:id="rId2"/>
    <p:sldLayoutId id="2147493648" r:id="rId3"/>
    <p:sldLayoutId id="2147493649" r:id="rId4"/>
    <p:sldLayoutId id="2147493650" r:id="rId5"/>
    <p:sldLayoutId id="2147493651" r:id="rId6"/>
    <p:sldLayoutId id="2147493652" r:id="rId7"/>
    <p:sldLayoutId id="2147493653" r:id="rId8"/>
    <p:sldLayoutId id="2147493654" r:id="rId9"/>
    <p:sldLayoutId id="2147485281" r:id="rId10"/>
    <p:sldLayoutId id="2147485282" r:id="rId11"/>
    <p:sldLayoutId id="214748617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8424"/>
        <p:cNvGrpSpPr/>
        <p:nvPr/>
      </p:nvGrpSpPr>
      <p:grpSpPr>
        <a:xfrm>
          <a:off x="0" y="0"/>
          <a:ext cx="0" cy="0"/>
          <a:chOff x="0" y="0"/>
          <a:chExt cx="0" cy="0"/>
        </a:xfrm>
      </p:grpSpPr>
      <p:sp>
        <p:nvSpPr>
          <p:cNvPr id="18425" name="Google Shape;18425;p109"/>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8426" name="Google Shape;18426;p109"/>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8427" name="Google Shape;18427;p10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rtl="0">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rtl="0">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rtl="0">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rtl="0">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rtl="0">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rtl="0">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rtl="0">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rtl="0">
              <a:spcBef>
                <a:spcPts val="0"/>
              </a:spcBef>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18428" name="Google Shape;18428;p10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Clr>
                <a:srgbClr val="919497"/>
              </a:buClr>
              <a:buSzPts val="1400"/>
              <a:buFont typeface="Calibri"/>
              <a:buNone/>
              <a:defRPr sz="1200" b="0" i="0" u="none" strike="noStrike" cap="none">
                <a:solidFill>
                  <a:srgbClr val="919497"/>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Tree>
  </p:cSld>
  <p:clrMap bg1="lt1" tx1="dk1" bg2="dk2" tx2="lt2" accent1="accent1" accent2="accent2" accent3="accent3" accent4="accent4" accent5="accent5" accent6="accent6" hlink="hlink" folHlink="folHlink"/>
  <p:sldLayoutIdLst>
    <p:sldLayoutId id="2147485579" r:id="rId1"/>
    <p:sldLayoutId id="2147485580" r:id="rId2"/>
    <p:sldLayoutId id="2147485581" r:id="rId3"/>
    <p:sldLayoutId id="2147485582" r:id="rId4"/>
    <p:sldLayoutId id="2147485583" r:id="rId5"/>
    <p:sldLayoutId id="2147485584" r:id="rId6"/>
    <p:sldLayoutId id="2147485585" r:id="rId7"/>
    <p:sldLayoutId id="2147485586" r:id="rId8"/>
    <p:sldLayoutId id="2147485587" r:id="rId9"/>
    <p:sldLayoutId id="2147485588" r:id="rId10"/>
    <p:sldLayoutId id="2147485589" r:id="rId11"/>
    <p:sldLayoutId id="2147485590" r:id="rId12"/>
    <p:sldLayoutId id="2147485591" r:id="rId13"/>
    <p:sldLayoutId id="2147485592" r:id="rId14"/>
    <p:sldLayoutId id="2147485593" r:id="rId15"/>
    <p:sldLayoutId id="2147485594" r:id="rId16"/>
    <p:sldLayoutId id="2147485595" r:id="rId17"/>
    <p:sldLayoutId id="2147485596" r:id="rId18"/>
    <p:sldLayoutId id="2147485597" r:id="rId19"/>
    <p:sldLayoutId id="2147485598" r:id="rId20"/>
    <p:sldLayoutId id="2147485599" r:id="rId21"/>
    <p:sldLayoutId id="2147485600" r:id="rId22"/>
    <p:sldLayoutId id="2147485601" r:id="rId23"/>
    <p:sldLayoutId id="2147485602" r:id="rId24"/>
    <p:sldLayoutId id="2147485603" r:id="rId25"/>
    <p:sldLayoutId id="2147485604" r:id="rId26"/>
    <p:sldLayoutId id="2147485605" r:id="rId27"/>
    <p:sldLayoutId id="2147485606" r:id="rId28"/>
    <p:sldLayoutId id="2147485607" r:id="rId29"/>
    <p:sldLayoutId id="2147485608" r:id="rId30"/>
    <p:sldLayoutId id="2147485609" r:id="rId31"/>
    <p:sldLayoutId id="2147485610" r:id="rId32"/>
    <p:sldLayoutId id="2147485611" r:id="rId33"/>
    <p:sldLayoutId id="2147485612" r:id="rId34"/>
    <p:sldLayoutId id="2147485613" r:id="rId35"/>
    <p:sldLayoutId id="2147485614" r:id="rId36"/>
    <p:sldLayoutId id="2147485615" r:id="rId37"/>
    <p:sldLayoutId id="2147485616" r:id="rId38"/>
    <p:sldLayoutId id="2147485617" r:id="rId39"/>
    <p:sldLayoutId id="2147485618" r:id="rId40"/>
    <p:sldLayoutId id="2147485619" r:id="rId41"/>
    <p:sldLayoutId id="2147485620" r:id="rId42"/>
    <p:sldLayoutId id="2147485621" r:id="rId43"/>
    <p:sldLayoutId id="2147485622" r:id="rId44"/>
    <p:sldLayoutId id="2147485623" r:id="rId45"/>
    <p:sldLayoutId id="2147485624" r:id="rId46"/>
    <p:sldLayoutId id="2147485625" r:id="rId47"/>
    <p:sldLayoutId id="2147485626" r:id="rId48"/>
    <p:sldLayoutId id="2147485627" r:id="rId49"/>
    <p:sldLayoutId id="2147485628" r:id="rId50"/>
    <p:sldLayoutId id="2147485629" r:id="rId51"/>
    <p:sldLayoutId id="2147485630" r:id="rId52"/>
    <p:sldLayoutId id="2147485631" r:id="rId53"/>
    <p:sldLayoutId id="2147485632" r:id="rId54"/>
    <p:sldLayoutId id="2147485633" r:id="rId55"/>
    <p:sldLayoutId id="2147485634" r:id="rId56"/>
    <p:sldLayoutId id="2147485635" r:id="rId57"/>
    <p:sldLayoutId id="2147485636" r:id="rId58"/>
    <p:sldLayoutId id="2147485637" r:id="rId59"/>
    <p:sldLayoutId id="2147485638" r:id="rId60"/>
    <p:sldLayoutId id="2147485639" r:id="rId61"/>
    <p:sldLayoutId id="2147485640" r:id="rId62"/>
    <p:sldLayoutId id="2147485641" r:id="rId63"/>
    <p:sldLayoutId id="2147485642" r:id="rId64"/>
    <p:sldLayoutId id="2147485643" r:id="rId65"/>
    <p:sldLayoutId id="2147485644" r:id="rId66"/>
    <p:sldLayoutId id="2147485645" r:id="rId67"/>
    <p:sldLayoutId id="2147485646" r:id="rId68"/>
    <p:sldLayoutId id="2147485647" r:id="rId69"/>
    <p:sldLayoutId id="2147485648" r:id="rId70"/>
    <p:sldLayoutId id="2147485649" r:id="rId71"/>
    <p:sldLayoutId id="2147485650" r:id="rId72"/>
    <p:sldLayoutId id="2147485651" r:id="rId73"/>
    <p:sldLayoutId id="2147485652" r:id="rId74"/>
    <p:sldLayoutId id="2147485653" r:id="rId75"/>
    <p:sldLayoutId id="2147485654" r:id="rId76"/>
    <p:sldLayoutId id="2147485655" r:id="rId77"/>
    <p:sldLayoutId id="2147485656" r:id="rId78"/>
    <p:sldLayoutId id="2147485657" r:id="rId79"/>
    <p:sldLayoutId id="2147485658" r:id="rId80"/>
    <p:sldLayoutId id="2147485659" r:id="rId81"/>
    <p:sldLayoutId id="2147485660" r:id="rId82"/>
    <p:sldLayoutId id="2147485661" r:id="rId83"/>
    <p:sldLayoutId id="2147485662" r:id="rId84"/>
    <p:sldLayoutId id="2147485663" r:id="rId85"/>
    <p:sldLayoutId id="2147485664" r:id="rId86"/>
    <p:sldLayoutId id="2147485665" r:id="rId87"/>
    <p:sldLayoutId id="2147485666" r:id="rId88"/>
    <p:sldLayoutId id="2147485667" r:id="rId89"/>
    <p:sldLayoutId id="2147485668" r:id="rId90"/>
    <p:sldLayoutId id="2147485669" r:id="rId91"/>
    <p:sldLayoutId id="2147485670" r:id="rId92"/>
    <p:sldLayoutId id="2147485671" r:id="rId93"/>
    <p:sldLayoutId id="2147485672" r:id="rId94"/>
    <p:sldLayoutId id="2147485673" r:id="rId95"/>
    <p:sldLayoutId id="2147485674" r:id="rId96"/>
    <p:sldLayoutId id="2147485675" r:id="rId97"/>
    <p:sldLayoutId id="2147485676" r:id="rId98"/>
    <p:sldLayoutId id="2147485677" r:id="rId99"/>
    <p:sldLayoutId id="2147485678" r:id="rId100"/>
    <p:sldLayoutId id="2147485679" r:id="rId101"/>
    <p:sldLayoutId id="2147485680" r:id="rId102"/>
    <p:sldLayoutId id="2147485681" r:id="rId103"/>
    <p:sldLayoutId id="2147485682" r:id="rId104"/>
    <p:sldLayoutId id="2147485683" r:id="rId105"/>
    <p:sldLayoutId id="2147485684" r:id="rId106"/>
    <p:sldLayoutId id="2147485685" r:id="rId107"/>
    <p:sldLayoutId id="2147485686" r:id="rId108"/>
    <p:sldLayoutId id="2147485687" r:id="rId109"/>
    <p:sldLayoutId id="2147485688" r:id="rId110"/>
    <p:sldLayoutId id="2147485689" r:id="rId111"/>
    <p:sldLayoutId id="2147485690" r:id="rId112"/>
    <p:sldLayoutId id="2147485691" r:id="rId113"/>
    <p:sldLayoutId id="2147485692" r:id="rId114"/>
    <p:sldLayoutId id="2147485693" r:id="rId115"/>
    <p:sldLayoutId id="2147485694" r:id="rId116"/>
    <p:sldLayoutId id="2147485695" r:id="rId117"/>
    <p:sldLayoutId id="2147485696" r:id="rId118"/>
    <p:sldLayoutId id="2147485697" r:id="rId119"/>
    <p:sldLayoutId id="2147485698" r:id="rId120"/>
    <p:sldLayoutId id="2147485699" r:id="rId121"/>
    <p:sldLayoutId id="2147485700" r:id="rId122"/>
    <p:sldLayoutId id="2147485701" r:id="rId123"/>
    <p:sldLayoutId id="2147485702" r:id="rId124"/>
    <p:sldLayoutId id="2147485703" r:id="rId125"/>
    <p:sldLayoutId id="2147485704" r:id="rId126"/>
    <p:sldLayoutId id="2147485705" r:id="rId127"/>
    <p:sldLayoutId id="2147485706" r:id="rId128"/>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4A33956-6056-97E4-70D8-E3EF7609DCC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1C1B1E7-09BE-6F51-E8E0-39D8E7D7DF7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5158ADF-FCA8-B425-2DA3-74AA6EF7B98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F15A4539-35EC-40BF-AED3-EA2BC215CF19}" type="datetimeFigureOut">
              <a:rPr lang="en-US" smtClean="0"/>
              <a:t>5/20/2026</a:t>
            </a:fld>
            <a:endParaRPr lang="en-US"/>
          </a:p>
        </p:txBody>
      </p:sp>
      <p:sp>
        <p:nvSpPr>
          <p:cNvPr id="5" name="Footer Placeholder 4">
            <a:extLst>
              <a:ext uri="{FF2B5EF4-FFF2-40B4-BE49-F238E27FC236}">
                <a16:creationId xmlns:a16="http://schemas.microsoft.com/office/drawing/2014/main" id="{9E67D9E9-93A9-1C78-E304-F46121D2995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9F49512D-68BE-168B-A460-BAF59831EA7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EBAEB4A-7557-44D8-B879-4EE614481276}" type="slidenum">
              <a:rPr lang="en-US" smtClean="0"/>
              <a:t>‹#›</a:t>
            </a:fld>
            <a:endParaRPr lang="en-US"/>
          </a:p>
        </p:txBody>
      </p:sp>
    </p:spTree>
    <p:extLst>
      <p:ext uri="{BB962C8B-B14F-4D97-AF65-F5344CB8AC3E}">
        <p14:creationId xmlns:p14="http://schemas.microsoft.com/office/powerpoint/2010/main" val="138440896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037"/>
        <p:cNvGrpSpPr/>
        <p:nvPr/>
      </p:nvGrpSpPr>
      <p:grpSpPr>
        <a:xfrm>
          <a:off x="0" y="0"/>
          <a:ext cx="0" cy="0"/>
          <a:chOff x="0" y="0"/>
          <a:chExt cx="0" cy="0"/>
        </a:xfrm>
      </p:grpSpPr>
      <p:sp>
        <p:nvSpPr>
          <p:cNvPr id="9038" name="Google Shape;9038;p2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9039" name="Google Shape;9039;p28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040" name="Google Shape;9040;p2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9041" name="Google Shape;9041;p2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Tree>
  </p:cSld>
  <p:clrMap bg1="lt1" tx1="dk1" bg2="dk2" tx2="lt2" accent1="accent1" accent2="accent2" accent3="accent3" accent4="accent4" accent5="accent5" accent6="accent6" hlink="hlink" folHlink="folHlink"/>
  <p:sldLayoutIdLst>
    <p:sldLayoutId id="2147484584" r:id="rId1"/>
    <p:sldLayoutId id="2147484585" r:id="rId2"/>
    <p:sldLayoutId id="2147484586" r:id="rId3"/>
    <p:sldLayoutId id="2147484587" r:id="rId4"/>
    <p:sldLayoutId id="2147484588" r:id="rId5"/>
    <p:sldLayoutId id="2147484589" r:id="rId6"/>
    <p:sldLayoutId id="2147484590" r:id="rId7"/>
    <p:sldLayoutId id="2147484591" r:id="rId8"/>
    <p:sldLayoutId id="2147484592" r:id="rId9"/>
    <p:sldLayoutId id="2147484593" r:id="rId10"/>
    <p:sldLayoutId id="2147484594" r:id="rId11"/>
    <p:sldLayoutId id="2147484595" r:id="rId12"/>
    <p:sldLayoutId id="2147486161" r:id="rId13"/>
    <p:sldLayoutId id="2147484597" r:id="rId14"/>
    <p:sldLayoutId id="2147486163" r:id="rId15"/>
    <p:sldLayoutId id="2147484599" r:id="rId16"/>
    <p:sldLayoutId id="2147484600" r:id="rId17"/>
    <p:sldLayoutId id="2147486167" r:id="rId18"/>
    <p:sldLayoutId id="2147486168" r:id="rId19"/>
    <p:sldLayoutId id="2147484603" r:id="rId20"/>
    <p:sldLayoutId id="2147486169" r:id="rId21"/>
    <p:sldLayoutId id="2147484605" r:id="rId22"/>
    <p:sldLayoutId id="2147484606" r:id="rId23"/>
    <p:sldLayoutId id="2147484607" r:id="rId24"/>
    <p:sldLayoutId id="2147484608" r:id="rId25"/>
    <p:sldLayoutId id="2147484609" r:id="rId26"/>
    <p:sldLayoutId id="2147484610" r:id="rId27"/>
    <p:sldLayoutId id="2147484611" r:id="rId28"/>
    <p:sldLayoutId id="2147484612" r:id="rId29"/>
    <p:sldLayoutId id="2147484613" r:id="rId30"/>
    <p:sldLayoutId id="2147484614" r:id="rId31"/>
    <p:sldLayoutId id="2147484615" r:id="rId32"/>
    <p:sldLayoutId id="2147484616" r:id="rId33"/>
    <p:sldLayoutId id="2147484617" r:id="rId34"/>
    <p:sldLayoutId id="2147484618" r:id="rId35"/>
    <p:sldLayoutId id="2147484619" r:id="rId36"/>
    <p:sldLayoutId id="2147484620" r:id="rId37"/>
    <p:sldLayoutId id="2147484621" r:id="rId38"/>
    <p:sldLayoutId id="2147484622" r:id="rId39"/>
    <p:sldLayoutId id="2147484623" r:id="rId40"/>
    <p:sldLayoutId id="2147484624" r:id="rId41"/>
    <p:sldLayoutId id="2147484625" r:id="rId42"/>
    <p:sldLayoutId id="2147486164" r:id="rId43"/>
    <p:sldLayoutId id="2147486171" r:id="rId44"/>
    <p:sldLayoutId id="2147484628" r:id="rId45"/>
    <p:sldLayoutId id="2147484629" r:id="rId46"/>
    <p:sldLayoutId id="2147484630" r:id="rId47"/>
    <p:sldLayoutId id="2147484631" r:id="rId48"/>
    <p:sldLayoutId id="2147484632" r:id="rId49"/>
    <p:sldLayoutId id="2147484633" r:id="rId50"/>
    <p:sldLayoutId id="2147484634" r:id="rId51"/>
    <p:sldLayoutId id="2147486173" r:id="rId52"/>
    <p:sldLayoutId id="2147484636" r:id="rId53"/>
    <p:sldLayoutId id="2147484637" r:id="rId54"/>
    <p:sldLayoutId id="2147484638" r:id="rId55"/>
    <p:sldLayoutId id="2147484639" r:id="rId56"/>
    <p:sldLayoutId id="2147484640" r:id="rId57"/>
    <p:sldLayoutId id="2147484641" r:id="rId58"/>
    <p:sldLayoutId id="2147484642" r:id="rId59"/>
    <p:sldLayoutId id="2147484643" r:id="rId60"/>
    <p:sldLayoutId id="2147484644" r:id="rId61"/>
    <p:sldLayoutId id="2147484645" r:id="rId62"/>
    <p:sldLayoutId id="2147484646" r:id="rId63"/>
    <p:sldLayoutId id="2147484647" r:id="rId64"/>
    <p:sldLayoutId id="2147484648" r:id="rId65"/>
    <p:sldLayoutId id="2147484649" r:id="rId66"/>
    <p:sldLayoutId id="2147484650" r:id="rId67"/>
    <p:sldLayoutId id="2147484651" r:id="rId68"/>
    <p:sldLayoutId id="2147493602" r:id="rId69"/>
    <p:sldLayoutId id="2147484653" r:id="rId70"/>
    <p:sldLayoutId id="2147484654" r:id="rId71"/>
    <p:sldLayoutId id="2147484655" r:id="rId72"/>
    <p:sldLayoutId id="2147484656" r:id="rId73"/>
    <p:sldLayoutId id="2147484657" r:id="rId74"/>
    <p:sldLayoutId id="2147484658" r:id="rId75"/>
    <p:sldLayoutId id="2147484659" r:id="rId76"/>
    <p:sldLayoutId id="2147484660" r:id="rId77"/>
    <p:sldLayoutId id="2147484661" r:id="rId78"/>
    <p:sldLayoutId id="2147484662" r:id="rId79"/>
    <p:sldLayoutId id="2147484663" r:id="rId80"/>
    <p:sldLayoutId id="2147484664" r:id="rId81"/>
    <p:sldLayoutId id="2147484665" r:id="rId82"/>
    <p:sldLayoutId id="2147484666" r:id="rId83"/>
    <p:sldLayoutId id="2147484667" r:id="rId84"/>
    <p:sldLayoutId id="2147484668" r:id="rId85"/>
    <p:sldLayoutId id="2147484669" r:id="rId86"/>
    <p:sldLayoutId id="2147484670" r:id="rId87"/>
    <p:sldLayoutId id="2147484671" r:id="rId88"/>
    <p:sldLayoutId id="2147484672" r:id="rId89"/>
    <p:sldLayoutId id="2147484673" r:id="rId90"/>
    <p:sldLayoutId id="2147484674" r:id="rId91"/>
    <p:sldLayoutId id="2147484675" r:id="rId92"/>
    <p:sldLayoutId id="2147484676" r:id="rId93"/>
    <p:sldLayoutId id="2147484677" r:id="rId94"/>
    <p:sldLayoutId id="2147484678" r:id="rId95"/>
    <p:sldLayoutId id="2147484679" r:id="rId96"/>
    <p:sldLayoutId id="2147484680" r:id="rId97"/>
    <p:sldLayoutId id="2147484681" r:id="rId98"/>
    <p:sldLayoutId id="2147484682" r:id="rId99"/>
    <p:sldLayoutId id="2147484683" r:id="rId100"/>
    <p:sldLayoutId id="2147484684" r:id="rId101"/>
    <p:sldLayoutId id="2147484685" r:id="rId102"/>
    <p:sldLayoutId id="2147484686" r:id="rId103"/>
    <p:sldLayoutId id="2147484687" r:id="rId104"/>
    <p:sldLayoutId id="2147484688" r:id="rId105"/>
    <p:sldLayoutId id="2147484689" r:id="rId106"/>
    <p:sldLayoutId id="2147484690" r:id="rId107"/>
    <p:sldLayoutId id="2147484691" r:id="rId108"/>
    <p:sldLayoutId id="2147484692" r:id="rId109"/>
    <p:sldLayoutId id="2147484693" r:id="rId110"/>
    <p:sldLayoutId id="2147484694" r:id="rId111"/>
    <p:sldLayoutId id="2147484695" r:id="rId112"/>
    <p:sldLayoutId id="2147484696" r:id="rId113"/>
    <p:sldLayoutId id="2147484697" r:id="rId114"/>
    <p:sldLayoutId id="2147484698" r:id="rId115"/>
    <p:sldLayoutId id="2147484699" r:id="rId116"/>
    <p:sldLayoutId id="2147484700" r:id="rId117"/>
    <p:sldLayoutId id="2147484701" r:id="rId118"/>
    <p:sldLayoutId id="2147484702" r:id="rId119"/>
    <p:sldLayoutId id="2147484703" r:id="rId120"/>
    <p:sldLayoutId id="2147484704" r:id="rId121"/>
    <p:sldLayoutId id="2147484705" r:id="rId122"/>
    <p:sldLayoutId id="2147484706" r:id="rId123"/>
    <p:sldLayoutId id="2147484707" r:id="rId124"/>
    <p:sldLayoutId id="2147484708" r:id="rId125"/>
    <p:sldLayoutId id="2147484709" r:id="rId126"/>
    <p:sldLayoutId id="2147484710" r:id="rId127"/>
    <p:sldLayoutId id="2147484711" r:id="rId128"/>
    <p:sldLayoutId id="2147484712" r:id="rId129"/>
    <p:sldLayoutId id="2147484713" r:id="rId130"/>
    <p:sldLayoutId id="2147484714" r:id="rId131"/>
    <p:sldLayoutId id="2147484715" r:id="rId132"/>
    <p:sldLayoutId id="2147484716" r:id="rId133"/>
    <p:sldLayoutId id="2147484717" r:id="rId134"/>
    <p:sldLayoutId id="2147484718" r:id="rId135"/>
    <p:sldLayoutId id="2147484719" r:id="rId136"/>
    <p:sldLayoutId id="2147484720" r:id="rId137"/>
    <p:sldLayoutId id="2147484721" r:id="rId138"/>
    <p:sldLayoutId id="2147484722" r:id="rId139"/>
    <p:sldLayoutId id="2147484723" r:id="rId140"/>
    <p:sldLayoutId id="2147484724" r:id="rId141"/>
    <p:sldLayoutId id="2147484725" r:id="rId142"/>
    <p:sldLayoutId id="2147484726" r:id="rId143"/>
    <p:sldLayoutId id="2147484727" r:id="rId144"/>
    <p:sldLayoutId id="2147484728" r:id="rId145"/>
    <p:sldLayoutId id="2147484729" r:id="rId146"/>
    <p:sldLayoutId id="2147484730" r:id="rId147"/>
    <p:sldLayoutId id="2147484731" r:id="rId148"/>
    <p:sldLayoutId id="2147484732" r:id="rId149"/>
    <p:sldLayoutId id="2147484733" r:id="rId150"/>
    <p:sldLayoutId id="2147484734" r:id="rId151"/>
    <p:sldLayoutId id="2147484735" r:id="rId152"/>
    <p:sldLayoutId id="2147484736" r:id="rId153"/>
    <p:sldLayoutId id="2147484737" r:id="rId154"/>
    <p:sldLayoutId id="2147484738" r:id="rId155"/>
    <p:sldLayoutId id="2147484739" r:id="rId156"/>
    <p:sldLayoutId id="2147484740" r:id="rId157"/>
    <p:sldLayoutId id="2147484741" r:id="rId158"/>
    <p:sldLayoutId id="2147484742" r:id="rId159"/>
    <p:sldLayoutId id="2147484743" r:id="rId160"/>
    <p:sldLayoutId id="2147484744" r:id="rId161"/>
    <p:sldLayoutId id="2147484745" r:id="rId162"/>
    <p:sldLayoutId id="2147484746" r:id="rId163"/>
    <p:sldLayoutId id="2147484747" r:id="rId164"/>
    <p:sldLayoutId id="2147484748" r:id="rId165"/>
    <p:sldLayoutId id="2147484749" r:id="rId166"/>
    <p:sldLayoutId id="2147484750" r:id="rId167"/>
    <p:sldLayoutId id="2147484751" r:id="rId168"/>
    <p:sldLayoutId id="2147484752" r:id="rId169"/>
    <p:sldLayoutId id="2147484753" r:id="rId170"/>
    <p:sldLayoutId id="2147484754" r:id="rId171"/>
    <p:sldLayoutId id="2147484755" r:id="rId172"/>
    <p:sldLayoutId id="2147484756" r:id="rId173"/>
    <p:sldLayoutId id="2147484757" r:id="rId174"/>
    <p:sldLayoutId id="2147484758" r:id="rId175"/>
    <p:sldLayoutId id="2147484759" r:id="rId176"/>
    <p:sldLayoutId id="2147484760" r:id="rId177"/>
    <p:sldLayoutId id="2147484761" r:id="rId178"/>
    <p:sldLayoutId id="2147484762" r:id="rId179"/>
    <p:sldLayoutId id="2147484763" r:id="rId180"/>
    <p:sldLayoutId id="2147484764" r:id="rId181"/>
    <p:sldLayoutId id="2147484765" r:id="rId182"/>
    <p:sldLayoutId id="2147484766" r:id="rId183"/>
    <p:sldLayoutId id="2147484767" r:id="rId184"/>
    <p:sldLayoutId id="2147484768" r:id="rId185"/>
    <p:sldLayoutId id="2147484769" r:id="rId186"/>
    <p:sldLayoutId id="2147484770" r:id="rId187"/>
    <p:sldLayoutId id="2147484771" r:id="rId188"/>
    <p:sldLayoutId id="2147484772" r:id="rId189"/>
    <p:sldLayoutId id="2147484773" r:id="rId190"/>
    <p:sldLayoutId id="2147484774" r:id="rId191"/>
    <p:sldLayoutId id="2147484775" r:id="rId192"/>
    <p:sldLayoutId id="2147484776" r:id="rId193"/>
    <p:sldLayoutId id="2147484777" r:id="rId194"/>
    <p:sldLayoutId id="2147484778" r:id="rId195"/>
    <p:sldLayoutId id="2147484779" r:id="rId196"/>
    <p:sldLayoutId id="2147484780" r:id="rId197"/>
    <p:sldLayoutId id="2147484781" r:id="rId198"/>
    <p:sldLayoutId id="2147484782" r:id="rId199"/>
    <p:sldLayoutId id="2147484783" r:id="rId200"/>
    <p:sldLayoutId id="2147484784" r:id="rId201"/>
    <p:sldLayoutId id="2147484785" r:id="rId202"/>
    <p:sldLayoutId id="2147484786" r:id="rId203"/>
    <p:sldLayoutId id="2147484787" r:id="rId204"/>
    <p:sldLayoutId id="2147484788" r:id="rId205"/>
    <p:sldLayoutId id="2147484789" r:id="rId206"/>
    <p:sldLayoutId id="2147484790" r:id="rId207"/>
    <p:sldLayoutId id="2147484791" r:id="rId208"/>
    <p:sldLayoutId id="2147484792" r:id="rId209"/>
    <p:sldLayoutId id="2147484793" r:id="rId210"/>
    <p:sldLayoutId id="2147484794" r:id="rId211"/>
    <p:sldLayoutId id="2147484795" r:id="rId212"/>
    <p:sldLayoutId id="2147484796" r:id="rId213"/>
    <p:sldLayoutId id="2147484797" r:id="rId214"/>
    <p:sldLayoutId id="2147484798" r:id="rId215"/>
    <p:sldLayoutId id="2147484799" r:id="rId216"/>
    <p:sldLayoutId id="2147484800" r:id="rId217"/>
    <p:sldLayoutId id="2147484801" r:id="rId218"/>
    <p:sldLayoutId id="2147484802" r:id="rId219"/>
    <p:sldLayoutId id="2147484803" r:id="rId220"/>
    <p:sldLayoutId id="2147484804" r:id="rId221"/>
    <p:sldLayoutId id="2147484805" r:id="rId222"/>
    <p:sldLayoutId id="2147484806" r:id="rId223"/>
    <p:sldLayoutId id="2147484807" r:id="rId224"/>
    <p:sldLayoutId id="2147484808" r:id="rId225"/>
    <p:sldLayoutId id="2147484809" r:id="rId226"/>
    <p:sldLayoutId id="2147484810" r:id="rId227"/>
    <p:sldLayoutId id="2147484811" r:id="rId228"/>
    <p:sldLayoutId id="2147484812" r:id="rId229"/>
    <p:sldLayoutId id="2147484813" r:id="rId230"/>
    <p:sldLayoutId id="2147484814" r:id="rId231"/>
    <p:sldLayoutId id="2147493604" r:id="rId232"/>
    <p:sldLayoutId id="2147493605" r:id="rId233"/>
    <p:sldLayoutId id="2147484817" r:id="rId234"/>
    <p:sldLayoutId id="2147484818" r:id="rId235"/>
    <p:sldLayoutId id="2147484819" r:id="rId236"/>
    <p:sldLayoutId id="2147484820" r:id="rId237"/>
    <p:sldLayoutId id="2147484821" r:id="rId238"/>
    <p:sldLayoutId id="2147484822" r:id="rId239"/>
    <p:sldLayoutId id="2147484823" r:id="rId240"/>
    <p:sldLayoutId id="2147484824" r:id="rId241"/>
    <p:sldLayoutId id="2147484825" r:id="rId242"/>
    <p:sldLayoutId id="2147484826" r:id="rId243"/>
    <p:sldLayoutId id="2147484827" r:id="rId244"/>
    <p:sldLayoutId id="2147484828" r:id="rId245"/>
    <p:sldLayoutId id="2147486180" r:id="rId246"/>
    <p:sldLayoutId id="2147486181" r:id="rId247"/>
    <p:sldLayoutId id="2147486182" r:id="rId248"/>
    <p:sldLayoutId id="2147486184" r:id="rId249"/>
    <p:sldLayoutId id="2147484833" r:id="rId250"/>
    <p:sldLayoutId id="2147484834" r:id="rId251"/>
    <p:sldLayoutId id="2147486162" r:id="rId252"/>
    <p:sldLayoutId id="2147486165" r:id="rId253"/>
    <p:sldLayoutId id="2147486166" r:id="rId254"/>
    <p:sldLayoutId id="2147486201" r:id="rId255"/>
    <p:sldLayoutId id="2147486170" r:id="rId256"/>
    <p:sldLayoutId id="2147486174" r:id="rId257"/>
    <p:sldLayoutId id="2147484841" r:id="rId258"/>
    <p:sldLayoutId id="2147484842" r:id="rId259"/>
    <p:sldLayoutId id="2147486183" r:id="rId260"/>
    <p:sldLayoutId id="2147484844" r:id="rId261"/>
    <p:sldLayoutId id="2147484845" r:id="rId262"/>
    <p:sldLayoutId id="2147484846" r:id="rId263"/>
    <p:sldLayoutId id="2147486186" r:id="rId264"/>
    <p:sldLayoutId id="2147484848" r:id="rId265"/>
    <p:sldLayoutId id="2147484849" r:id="rId266"/>
    <p:sldLayoutId id="2147484850" r:id="rId267"/>
    <p:sldLayoutId id="2147484851" r:id="rId268"/>
    <p:sldLayoutId id="2147484852" r:id="rId269"/>
    <p:sldLayoutId id="2147484853" r:id="rId270"/>
    <p:sldLayoutId id="2147486199" r:id="rId271"/>
    <p:sldLayoutId id="2147486200" r:id="rId272"/>
    <p:sldLayoutId id="2147486193" r:id="rId273"/>
    <p:sldLayoutId id="2147486195" r:id="rId274"/>
    <p:sldLayoutId id="2147484858" r:id="rId275"/>
    <p:sldLayoutId id="2147484859" r:id="rId276"/>
    <p:sldLayoutId id="2147484860" r:id="rId277"/>
    <p:sldLayoutId id="2147484861" r:id="rId278"/>
    <p:sldLayoutId id="2147484862" r:id="rId279"/>
    <p:sldLayoutId id="2147484863" r:id="rId280"/>
    <p:sldLayoutId id="2147484864" r:id="rId281"/>
    <p:sldLayoutId id="2147484865" r:id="rId282"/>
    <p:sldLayoutId id="2147484866" r:id="rId283"/>
    <p:sldLayoutId id="2147484867" r:id="rId284"/>
    <p:sldLayoutId id="2147484868" r:id="rId285"/>
    <p:sldLayoutId id="2147484869" r:id="rId286"/>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187C90F-CAC2-F168-3AEB-EB7AA1F3DB47}"/>
              </a:ext>
            </a:extLst>
          </p:cNvPr>
          <p:cNvSpPr txBox="1">
            <a:spLocks noGrp="1"/>
          </p:cNvSpPr>
          <p:nvPr>
            <p:ph type="title"/>
          </p:nvPr>
        </p:nvSpPr>
        <p:spPr>
          <a:xfrm>
            <a:off x="609603" y="365130"/>
            <a:ext cx="10972800" cy="1325559"/>
          </a:xfrm>
          <a:prstGeom prst="rect">
            <a:avLst/>
          </a:prstGeom>
          <a:noFill/>
          <a:ln>
            <a:noFill/>
          </a:ln>
        </p:spPr>
        <p:txBody>
          <a:bodyPr vert="horz" wrap="square" lIns="91440" tIns="45720" rIns="91440" bIns="45720" anchor="ctr" anchorCtr="0" compatLnSpc="1">
            <a:noAutofit/>
          </a:bodyPr>
          <a:lstStyle/>
          <a:p>
            <a:pPr lvl="0"/>
            <a:r>
              <a:rPr lang="en-US"/>
              <a:t>Click to edit Master title style</a:t>
            </a:r>
          </a:p>
        </p:txBody>
      </p:sp>
      <p:sp>
        <p:nvSpPr>
          <p:cNvPr id="3" name="Text Placeholder 2">
            <a:extLst>
              <a:ext uri="{FF2B5EF4-FFF2-40B4-BE49-F238E27FC236}">
                <a16:creationId xmlns:a16="http://schemas.microsoft.com/office/drawing/2014/main" id="{D7012E94-5BCD-0F03-66D8-285BC9B4A15D}"/>
              </a:ext>
            </a:extLst>
          </p:cNvPr>
          <p:cNvSpPr txBox="1">
            <a:spLocks noGrp="1"/>
          </p:cNvSpPr>
          <p:nvPr>
            <p:ph type="body" idx="1"/>
          </p:nvPr>
        </p:nvSpPr>
        <p:spPr>
          <a:xfrm>
            <a:off x="609603" y="1825627"/>
            <a:ext cx="10972800" cy="4351336"/>
          </a:xfrm>
          <a:prstGeom prst="rect">
            <a:avLst/>
          </a:prstGeom>
          <a:noFill/>
          <a:ln>
            <a:noFill/>
          </a:ln>
        </p:spPr>
        <p:txBody>
          <a:bodyPr vert="horz" wrap="square" lIns="91440" tIns="45720" rIns="91440" bIns="45720" anchor="t" anchorCtr="0" compatLnSpc="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7">
            <a:extLst>
              <a:ext uri="{FF2B5EF4-FFF2-40B4-BE49-F238E27FC236}">
                <a16:creationId xmlns:a16="http://schemas.microsoft.com/office/drawing/2014/main" id="{49911402-507A-04CA-A792-96D21EAADA8D}"/>
              </a:ext>
            </a:extLst>
          </p:cNvPr>
          <p:cNvSpPr txBox="1">
            <a:spLocks noGrp="1"/>
          </p:cNvSpPr>
          <p:nvPr>
            <p:ph type="sldNum" sz="quarter" idx="4"/>
          </p:nvPr>
        </p:nvSpPr>
        <p:spPr>
          <a:xfrm>
            <a:off x="8839203" y="6356352"/>
            <a:ext cx="2743200" cy="365129"/>
          </a:xfrm>
          <a:prstGeom prst="rect">
            <a:avLst/>
          </a:prstGeom>
          <a:noFill/>
          <a:ln>
            <a:noFill/>
          </a:ln>
        </p:spPr>
        <p:txBody>
          <a:bodyPr vert="horz" wrap="square" lIns="91440" tIns="45720" rIns="91440" bIns="45720" anchor="ctr" anchorCtr="0" compatLnSpc="1">
            <a:noAutofit/>
          </a:bodyPr>
          <a:lstStyle>
            <a:lvl1pPr marL="0" marR="0" lvl="0" indent="0" algn="r" defTabSz="914446" rtl="0" fontAlgn="auto" hangingPunct="1">
              <a:lnSpc>
                <a:spcPct val="100000"/>
              </a:lnSpc>
              <a:spcBef>
                <a:spcPts val="0"/>
              </a:spcBef>
              <a:spcAft>
                <a:spcPts val="0"/>
              </a:spcAft>
              <a:buNone/>
              <a:tabLst/>
              <a:defRPr lang="en-US" sz="1200" b="0" i="0" u="none" strike="noStrike" kern="1200" cap="none" spc="0" baseline="0">
                <a:solidFill>
                  <a:srgbClr val="939699"/>
                </a:solidFill>
                <a:uFillTx/>
                <a:latin typeface="Calibri"/>
              </a:defRPr>
            </a:lvl1pPr>
          </a:lstStyle>
          <a:p>
            <a:pPr lvl="0"/>
            <a:fld id="{E31A6302-2714-493F-BF2B-DFE7C04558F7}" type="slidenum">
              <a:t>‹#›</a:t>
            </a:fld>
            <a:endParaRPr lang="en-US"/>
          </a:p>
        </p:txBody>
      </p:sp>
      <p:sp>
        <p:nvSpPr>
          <p:cNvPr id="5" name="Footer Placeholder 8">
            <a:extLst>
              <a:ext uri="{FF2B5EF4-FFF2-40B4-BE49-F238E27FC236}">
                <a16:creationId xmlns:a16="http://schemas.microsoft.com/office/drawing/2014/main" id="{69EBF1BC-DA92-1DE5-02D6-D35305EDC5E4}"/>
              </a:ext>
            </a:extLst>
          </p:cNvPr>
          <p:cNvSpPr txBox="1">
            <a:spLocks noGrp="1"/>
          </p:cNvSpPr>
          <p:nvPr>
            <p:ph type="ftr" sz="quarter" idx="3"/>
          </p:nvPr>
        </p:nvSpPr>
        <p:spPr>
          <a:xfrm>
            <a:off x="609603" y="6356352"/>
            <a:ext cx="4114800" cy="365129"/>
          </a:xfrm>
          <a:prstGeom prst="rect">
            <a:avLst/>
          </a:prstGeom>
          <a:noFill/>
          <a:ln>
            <a:noFill/>
          </a:ln>
        </p:spPr>
        <p:txBody>
          <a:bodyPr vert="horz" wrap="square" lIns="91440" tIns="45720" rIns="91440" bIns="45720" anchor="ctr" anchorCtr="0" compatLnSpc="1">
            <a:noAutofit/>
          </a:bodyPr>
          <a:lstStyle>
            <a:lvl1pPr marL="0" marR="0" lvl="0" indent="0" algn="l" defTabSz="914446" rtl="0" fontAlgn="auto" hangingPunct="1">
              <a:lnSpc>
                <a:spcPct val="100000"/>
              </a:lnSpc>
              <a:spcBef>
                <a:spcPts val="0"/>
              </a:spcBef>
              <a:spcAft>
                <a:spcPts val="0"/>
              </a:spcAft>
              <a:buNone/>
              <a:tabLst/>
              <a:defRPr lang="en-US" sz="1200" b="0" i="0" u="none" strike="noStrike" kern="1200" cap="none" spc="0" baseline="0">
                <a:solidFill>
                  <a:srgbClr val="939699"/>
                </a:solidFill>
                <a:uFillTx/>
                <a:latin typeface="Calibri"/>
              </a:defRPr>
            </a:lvl1pPr>
          </a:lstStyle>
          <a:p>
            <a:pPr lvl="0"/>
            <a:r>
              <a:rPr lang="en-US"/>
              <a:t>Illinois Perinatal Quality Collaborative</a:t>
            </a:r>
          </a:p>
        </p:txBody>
      </p:sp>
    </p:spTree>
    <p:extLst>
      <p:ext uri="{BB962C8B-B14F-4D97-AF65-F5344CB8AC3E}">
        <p14:creationId xmlns:p14="http://schemas.microsoft.com/office/powerpoint/2010/main" val="2956851613"/>
      </p:ext>
    </p:extLst>
  </p:cSld>
  <p:clrMap bg1="lt1" tx1="dk1" bg2="lt2" tx2="dk2" accent1="accent1" accent2="accent2" accent3="accent3" accent4="accent4" accent5="accent5" accent6="accent6" hlink="hlink" folHlink="folHlink"/>
  <p:sldLayoutIdLst>
    <p:sldLayoutId id="2147485296" r:id="rId1"/>
    <p:sldLayoutId id="2147485297" r:id="rId2"/>
    <p:sldLayoutId id="2147485298" r:id="rId3"/>
    <p:sldLayoutId id="2147485299" r:id="rId4"/>
    <p:sldLayoutId id="2147485300" r:id="rId5"/>
    <p:sldLayoutId id="2147485301" r:id="rId6"/>
    <p:sldLayoutId id="2147485302" r:id="rId7"/>
    <p:sldLayoutId id="2147485303" r:id="rId8"/>
    <p:sldLayoutId id="2147485304" r:id="rId9"/>
    <p:sldLayoutId id="2147485305" r:id="rId10"/>
    <p:sldLayoutId id="2147485306" r:id="rId11"/>
    <p:sldLayoutId id="2147485307" r:id="rId12"/>
    <p:sldLayoutId id="2147485308" r:id="rId13"/>
    <p:sldLayoutId id="2147485309" r:id="rId14"/>
    <p:sldLayoutId id="2147485310" r:id="rId15"/>
    <p:sldLayoutId id="2147485311" r:id="rId16"/>
    <p:sldLayoutId id="2147485312" r:id="rId17"/>
    <p:sldLayoutId id="2147485313" r:id="rId18"/>
    <p:sldLayoutId id="2147485314" r:id="rId19"/>
    <p:sldLayoutId id="2147485315" r:id="rId20"/>
    <p:sldLayoutId id="2147485316" r:id="rId21"/>
    <p:sldLayoutId id="2147485317" r:id="rId22"/>
    <p:sldLayoutId id="2147485318" r:id="rId23"/>
    <p:sldLayoutId id="2147485319" r:id="rId24"/>
    <p:sldLayoutId id="2147493549" r:id="rId25"/>
    <p:sldLayoutId id="2147485321" r:id="rId26"/>
    <p:sldLayoutId id="2147493551" r:id="rId27"/>
    <p:sldLayoutId id="2147485323" r:id="rId28"/>
    <p:sldLayoutId id="2147485324" r:id="rId29"/>
    <p:sldLayoutId id="2147485325" r:id="rId30"/>
    <p:sldLayoutId id="2147485326" r:id="rId31"/>
    <p:sldLayoutId id="2147493552" r:id="rId32"/>
    <p:sldLayoutId id="2147493553" r:id="rId33"/>
    <p:sldLayoutId id="2147493554" r:id="rId34"/>
    <p:sldLayoutId id="2147485330" r:id="rId35"/>
    <p:sldLayoutId id="2147485331" r:id="rId36"/>
    <p:sldLayoutId id="2147485332" r:id="rId37"/>
    <p:sldLayoutId id="2147485333" r:id="rId38"/>
    <p:sldLayoutId id="2147493555" r:id="rId39"/>
    <p:sldLayoutId id="2147493556" r:id="rId40"/>
    <p:sldLayoutId id="2147493557" r:id="rId41"/>
    <p:sldLayoutId id="2147485337" r:id="rId42"/>
    <p:sldLayoutId id="2147485338" r:id="rId43"/>
    <p:sldLayoutId id="2147485339" r:id="rId44"/>
    <p:sldLayoutId id="2147485340" r:id="rId45"/>
    <p:sldLayoutId id="2147485341" r:id="rId46"/>
    <p:sldLayoutId id="2147493558" r:id="rId47"/>
    <p:sldLayoutId id="2147485343" r:id="rId48"/>
    <p:sldLayoutId id="2147485344" r:id="rId49"/>
    <p:sldLayoutId id="2147485345" r:id="rId50"/>
    <p:sldLayoutId id="2147493559" r:id="rId51"/>
    <p:sldLayoutId id="2147493560" r:id="rId52"/>
    <p:sldLayoutId id="2147485348" r:id="rId53"/>
    <p:sldLayoutId id="2147485349" r:id="rId54"/>
    <p:sldLayoutId id="2147485350" r:id="rId55"/>
    <p:sldLayoutId id="2147485351" r:id="rId56"/>
    <p:sldLayoutId id="2147493561" r:id="rId57"/>
    <p:sldLayoutId id="2147485353" r:id="rId58"/>
    <p:sldLayoutId id="2147485354" r:id="rId59"/>
    <p:sldLayoutId id="2147485355" r:id="rId60"/>
    <p:sldLayoutId id="2147485356" r:id="rId61"/>
    <p:sldLayoutId id="2147493562" r:id="rId62"/>
    <p:sldLayoutId id="2147485358" r:id="rId63"/>
    <p:sldLayoutId id="2147485359" r:id="rId64"/>
    <p:sldLayoutId id="2147493563" r:id="rId65"/>
    <p:sldLayoutId id="2147485361" r:id="rId66"/>
    <p:sldLayoutId id="2147485362" r:id="rId67"/>
    <p:sldLayoutId id="2147485363" r:id="rId68"/>
    <p:sldLayoutId id="2147493564" r:id="rId69"/>
    <p:sldLayoutId id="2147493565" r:id="rId70"/>
    <p:sldLayoutId id="2147493566" r:id="rId71"/>
    <p:sldLayoutId id="2147493590" r:id="rId72"/>
    <p:sldLayoutId id="2147493591" r:id="rId73"/>
    <p:sldLayoutId id="2147493592" r:id="rId74"/>
    <p:sldLayoutId id="2147485370" r:id="rId75"/>
    <p:sldLayoutId id="2147485371" r:id="rId76"/>
    <p:sldLayoutId id="2147485372" r:id="rId77"/>
    <p:sldLayoutId id="2147485373" r:id="rId78"/>
    <p:sldLayoutId id="2147485374" r:id="rId79"/>
    <p:sldLayoutId id="2147493567" r:id="rId80"/>
    <p:sldLayoutId id="2147485376" r:id="rId81"/>
    <p:sldLayoutId id="2147485377" r:id="rId82"/>
    <p:sldLayoutId id="2147485378" r:id="rId83"/>
    <p:sldLayoutId id="2147493568" r:id="rId84"/>
    <p:sldLayoutId id="2147493569" r:id="rId85"/>
    <p:sldLayoutId id="2147485381" r:id="rId86"/>
    <p:sldLayoutId id="2147485382" r:id="rId87"/>
    <p:sldLayoutId id="2147485383" r:id="rId88"/>
    <p:sldLayoutId id="2147493570" r:id="rId89"/>
    <p:sldLayoutId id="2147485385" r:id="rId90"/>
    <p:sldLayoutId id="2147485386" r:id="rId91"/>
    <p:sldLayoutId id="2147485387" r:id="rId92"/>
    <p:sldLayoutId id="2147485388" r:id="rId93"/>
    <p:sldLayoutId id="2147485389" r:id="rId94"/>
    <p:sldLayoutId id="2147485390" r:id="rId95"/>
    <p:sldLayoutId id="2147485391" r:id="rId96"/>
    <p:sldLayoutId id="2147485392" r:id="rId97"/>
    <p:sldLayoutId id="2147485393" r:id="rId98"/>
    <p:sldLayoutId id="2147493571" r:id="rId99"/>
    <p:sldLayoutId id="2147485395" r:id="rId100"/>
    <p:sldLayoutId id="2147485396" r:id="rId101"/>
    <p:sldLayoutId id="2147485397" r:id="rId102"/>
    <p:sldLayoutId id="2147485398" r:id="rId103"/>
    <p:sldLayoutId id="2147485399" r:id="rId104"/>
    <p:sldLayoutId id="2147493593" r:id="rId105"/>
    <p:sldLayoutId id="2147493594" r:id="rId106"/>
    <p:sldLayoutId id="2147493595" r:id="rId107"/>
    <p:sldLayoutId id="2147493596" r:id="rId108"/>
    <p:sldLayoutId id="2147493572" r:id="rId109"/>
    <p:sldLayoutId id="2147485405" r:id="rId110"/>
    <p:sldLayoutId id="2147485406" r:id="rId111"/>
    <p:sldLayoutId id="2147485407" r:id="rId112"/>
    <p:sldLayoutId id="2147485408" r:id="rId113"/>
    <p:sldLayoutId id="2147485409" r:id="rId114"/>
    <p:sldLayoutId id="2147493550" r:id="rId115"/>
    <p:sldLayoutId id="2147485411" r:id="rId116"/>
    <p:sldLayoutId id="2147485412" r:id="rId117"/>
    <p:sldLayoutId id="2147485413" r:id="rId118"/>
    <p:sldLayoutId id="2147493573" r:id="rId119"/>
    <p:sldLayoutId id="2147485415" r:id="rId120"/>
    <p:sldLayoutId id="2147485416" r:id="rId121"/>
    <p:sldLayoutId id="2147485417" r:id="rId122"/>
    <p:sldLayoutId id="2147493574" r:id="rId123"/>
    <p:sldLayoutId id="2147493575" r:id="rId124"/>
    <p:sldLayoutId id="2147485420" r:id="rId125"/>
    <p:sldLayoutId id="2147485421" r:id="rId126"/>
    <p:sldLayoutId id="2147485422" r:id="rId127"/>
    <p:sldLayoutId id="2147485423" r:id="rId128"/>
    <p:sldLayoutId id="2147485424" r:id="rId129"/>
    <p:sldLayoutId id="2147493614" r:id="rId130"/>
    <p:sldLayoutId id="2147485426" r:id="rId131"/>
    <p:sldLayoutId id="2147485427" r:id="rId132"/>
    <p:sldLayoutId id="2147485428" r:id="rId133"/>
    <p:sldLayoutId id="2147485429" r:id="rId134"/>
    <p:sldLayoutId id="2147485430" r:id="rId135"/>
    <p:sldLayoutId id="2147493576" r:id="rId136"/>
    <p:sldLayoutId id="2147485432" r:id="rId137"/>
    <p:sldLayoutId id="2147493577" r:id="rId138"/>
    <p:sldLayoutId id="2147493578" r:id="rId139"/>
    <p:sldLayoutId id="2147485435" r:id="rId140"/>
    <p:sldLayoutId id="2147485436" r:id="rId141"/>
    <p:sldLayoutId id="2147485437" r:id="rId142"/>
    <p:sldLayoutId id="2147485438" r:id="rId143"/>
    <p:sldLayoutId id="2147485439" r:id="rId144"/>
    <p:sldLayoutId id="2147493579" r:id="rId145"/>
    <p:sldLayoutId id="2147485441" r:id="rId146"/>
    <p:sldLayoutId id="2147485442" r:id="rId147"/>
    <p:sldLayoutId id="2147485443" r:id="rId148"/>
    <p:sldLayoutId id="2147485444" r:id="rId149"/>
    <p:sldLayoutId id="2147485445" r:id="rId150"/>
    <p:sldLayoutId id="2147485446" r:id="rId151"/>
    <p:sldLayoutId id="2147485447" r:id="rId152"/>
    <p:sldLayoutId id="2147493580" r:id="rId153"/>
    <p:sldLayoutId id="2147493581" r:id="rId154"/>
    <p:sldLayoutId id="2147485450" r:id="rId155"/>
    <p:sldLayoutId id="2147485451" r:id="rId156"/>
    <p:sldLayoutId id="2147485452" r:id="rId157"/>
    <p:sldLayoutId id="2147485453" r:id="rId158"/>
    <p:sldLayoutId id="2147493582" r:id="rId159"/>
    <p:sldLayoutId id="2147485455" r:id="rId160"/>
    <p:sldLayoutId id="2147485456" r:id="rId161"/>
    <p:sldLayoutId id="2147485457" r:id="rId162"/>
    <p:sldLayoutId id="2147493583" r:id="rId163"/>
    <p:sldLayoutId id="2147493584" r:id="rId164"/>
    <p:sldLayoutId id="2147485460" r:id="rId165"/>
    <p:sldLayoutId id="2147485461" r:id="rId166"/>
    <p:sldLayoutId id="2147485462" r:id="rId167"/>
    <p:sldLayoutId id="2147485463" r:id="rId168"/>
    <p:sldLayoutId id="2147493585" r:id="rId169"/>
    <p:sldLayoutId id="2147485465" r:id="rId170"/>
    <p:sldLayoutId id="2147485466" r:id="rId171"/>
    <p:sldLayoutId id="2147485467" r:id="rId172"/>
    <p:sldLayoutId id="2147485468" r:id="rId173"/>
    <p:sldLayoutId id="2147493586" r:id="rId174"/>
    <p:sldLayoutId id="2147485470" r:id="rId175"/>
    <p:sldLayoutId id="2147485471" r:id="rId176"/>
    <p:sldLayoutId id="2147493587" r:id="rId177"/>
    <p:sldLayoutId id="2147493588" r:id="rId178"/>
    <p:sldLayoutId id="2147493589" r:id="rId179"/>
    <p:sldLayoutId id="2147485475" r:id="rId180"/>
    <p:sldLayoutId id="2147493597" r:id="rId181"/>
    <p:sldLayoutId id="2147493598" r:id="rId182"/>
    <p:sldLayoutId id="2147493599" r:id="rId183"/>
    <p:sldLayoutId id="2147485479" r:id="rId184"/>
    <p:sldLayoutId id="2147485480" r:id="rId185"/>
    <p:sldLayoutId id="2147485481" r:id="rId186"/>
    <p:sldLayoutId id="2147493600" r:id="rId187"/>
    <p:sldLayoutId id="2147483848" r:id="rId188"/>
    <p:sldLayoutId id="2147483849" r:id="rId189"/>
    <p:sldLayoutId id="2147483850" r:id="rId190"/>
    <p:sldLayoutId id="2147483851" r:id="rId191"/>
    <p:sldLayoutId id="2147483852" r:id="rId192"/>
    <p:sldLayoutId id="2147483853" r:id="rId193"/>
    <p:sldLayoutId id="2147483854" r:id="rId194"/>
    <p:sldLayoutId id="2147483855" r:id="rId195"/>
    <p:sldLayoutId id="2147483856" r:id="rId196"/>
    <p:sldLayoutId id="2147483857" r:id="rId197"/>
    <p:sldLayoutId id="2147483858" r:id="rId198"/>
    <p:sldLayoutId id="2147483859" r:id="rId199"/>
    <p:sldLayoutId id="2147483860" r:id="rId200"/>
    <p:sldLayoutId id="2147483861" r:id="rId201"/>
    <p:sldLayoutId id="2147483862" r:id="rId202"/>
    <p:sldLayoutId id="2147483863" r:id="rId203"/>
    <p:sldLayoutId id="2147483864" r:id="rId204"/>
    <p:sldLayoutId id="2147483865" r:id="rId205"/>
    <p:sldLayoutId id="2147483866" r:id="rId206"/>
    <p:sldLayoutId id="2147483867" r:id="rId207"/>
    <p:sldLayoutId id="2147483868" r:id="rId208"/>
    <p:sldLayoutId id="2147483869" r:id="rId209"/>
    <p:sldLayoutId id="2147483870" r:id="rId210"/>
    <p:sldLayoutId id="2147483871" r:id="rId211"/>
    <p:sldLayoutId id="2147483872" r:id="rId212"/>
    <p:sldLayoutId id="2147483873" r:id="rId213"/>
    <p:sldLayoutId id="2147483874" r:id="rId214"/>
    <p:sldLayoutId id="2147483875" r:id="rId215"/>
    <p:sldLayoutId id="2147483876" r:id="rId216"/>
    <p:sldLayoutId id="2147483877" r:id="rId217"/>
    <p:sldLayoutId id="2147483878" r:id="rId218"/>
    <p:sldLayoutId id="2147483879" r:id="rId219"/>
    <p:sldLayoutId id="2147483880" r:id="rId220"/>
    <p:sldLayoutId id="2147483881" r:id="rId221"/>
    <p:sldLayoutId id="2147483882" r:id="rId222"/>
    <p:sldLayoutId id="2147483883" r:id="rId223"/>
    <p:sldLayoutId id="2147483884" r:id="rId224"/>
    <p:sldLayoutId id="2147483885" r:id="rId225"/>
    <p:sldLayoutId id="2147483886" r:id="rId226"/>
    <p:sldLayoutId id="2147483887" r:id="rId227"/>
    <p:sldLayoutId id="2147483888" r:id="rId228"/>
    <p:sldLayoutId id="2147483889" r:id="rId229"/>
    <p:sldLayoutId id="2147483890" r:id="rId230"/>
    <p:sldLayoutId id="2147483891" r:id="rId231"/>
    <p:sldLayoutId id="2147483892" r:id="rId232"/>
    <p:sldLayoutId id="2147483893" r:id="rId233"/>
    <p:sldLayoutId id="2147483894" r:id="rId234"/>
    <p:sldLayoutId id="2147483895" r:id="rId235"/>
    <p:sldLayoutId id="2147483896" r:id="rId236"/>
    <p:sldLayoutId id="2147483897" r:id="rId237"/>
    <p:sldLayoutId id="2147483898" r:id="rId238"/>
    <p:sldLayoutId id="2147483899" r:id="rId239"/>
    <p:sldLayoutId id="2147483900" r:id="rId240"/>
    <p:sldLayoutId id="2147483901" r:id="rId241"/>
    <p:sldLayoutId id="2147483902" r:id="rId242"/>
    <p:sldLayoutId id="2147483903" r:id="rId243"/>
    <p:sldLayoutId id="2147483904" r:id="rId244"/>
    <p:sldLayoutId id="2147483905" r:id="rId245"/>
    <p:sldLayoutId id="2147483906" r:id="rId246"/>
    <p:sldLayoutId id="2147483907" r:id="rId247"/>
    <p:sldLayoutId id="2147483908" r:id="rId248"/>
    <p:sldLayoutId id="2147483909" r:id="rId249"/>
    <p:sldLayoutId id="2147483910" r:id="rId250"/>
    <p:sldLayoutId id="2147483911" r:id="rId251"/>
    <p:sldLayoutId id="2147483912" r:id="rId252"/>
    <p:sldLayoutId id="2147483913" r:id="rId253"/>
    <p:sldLayoutId id="2147483914" r:id="rId254"/>
    <p:sldLayoutId id="2147483915" r:id="rId255"/>
    <p:sldLayoutId id="2147483916" r:id="rId256"/>
    <p:sldLayoutId id="2147483917" r:id="rId257"/>
    <p:sldLayoutId id="2147483918" r:id="rId258"/>
    <p:sldLayoutId id="2147483919" r:id="rId259"/>
    <p:sldLayoutId id="2147483920" r:id="rId260"/>
    <p:sldLayoutId id="2147483921" r:id="rId261"/>
    <p:sldLayoutId id="2147483922" r:id="rId262"/>
    <p:sldLayoutId id="2147483923" r:id="rId263"/>
    <p:sldLayoutId id="2147483924" r:id="rId264"/>
    <p:sldLayoutId id="2147483925" r:id="rId265"/>
    <p:sldLayoutId id="2147483926" r:id="rId266"/>
    <p:sldLayoutId id="2147483927" r:id="rId267"/>
    <p:sldLayoutId id="2147483928" r:id="rId268"/>
    <p:sldLayoutId id="2147483929" r:id="rId269"/>
    <p:sldLayoutId id="2147483930" r:id="rId270"/>
    <p:sldLayoutId id="2147483931" r:id="rId271"/>
    <p:sldLayoutId id="2147483932" r:id="rId272"/>
    <p:sldLayoutId id="2147483933" r:id="rId273"/>
    <p:sldLayoutId id="2147483934" r:id="rId274"/>
    <p:sldLayoutId id="2147483935" r:id="rId275"/>
    <p:sldLayoutId id="2147493601" r:id="rId276"/>
    <p:sldLayoutId id="2147483937" r:id="rId277"/>
    <p:sldLayoutId id="2147483938" r:id="rId278"/>
    <p:sldLayoutId id="2147483939" r:id="rId279"/>
    <p:sldLayoutId id="2147493606" r:id="rId280"/>
    <p:sldLayoutId id="2147483941" r:id="rId281"/>
    <p:sldLayoutId id="2147483942" r:id="rId282"/>
    <p:sldLayoutId id="2147483943" r:id="rId283"/>
    <p:sldLayoutId id="2147483944" r:id="rId284"/>
    <p:sldLayoutId id="2147493607" r:id="rId285"/>
    <p:sldLayoutId id="2147483946" r:id="rId286"/>
    <p:sldLayoutId id="2147483947" r:id="rId287"/>
    <p:sldLayoutId id="2147483948" r:id="rId288"/>
    <p:sldLayoutId id="2147493608" r:id="rId289"/>
    <p:sldLayoutId id="2147483950" r:id="rId290"/>
    <p:sldLayoutId id="2147483951" r:id="rId291"/>
    <p:sldLayoutId id="2147483952" r:id="rId292"/>
    <p:sldLayoutId id="2147483953" r:id="rId293"/>
    <p:sldLayoutId id="2147483954" r:id="rId294"/>
    <p:sldLayoutId id="2147483955" r:id="rId295"/>
    <p:sldLayoutId id="2147483956" r:id="rId296"/>
    <p:sldLayoutId id="2147483957" r:id="rId297"/>
    <p:sldLayoutId id="2147483958" r:id="rId298"/>
    <p:sldLayoutId id="2147483959" r:id="rId299"/>
    <p:sldLayoutId id="2147483960" r:id="rId300"/>
    <p:sldLayoutId id="2147483961" r:id="rId301"/>
    <p:sldLayoutId id="2147483962" r:id="rId302"/>
    <p:sldLayoutId id="2147483963" r:id="rId303"/>
    <p:sldLayoutId id="2147483964" r:id="rId304"/>
    <p:sldLayoutId id="2147483965" r:id="rId305"/>
    <p:sldLayoutId id="2147483966" r:id="rId306"/>
    <p:sldLayoutId id="2147493609" r:id="rId307"/>
    <p:sldLayoutId id="2147493610" r:id="rId308"/>
    <p:sldLayoutId id="2147493611" r:id="rId309"/>
    <p:sldLayoutId id="2147483970" r:id="rId310"/>
    <p:sldLayoutId id="2147483971" r:id="rId311"/>
    <p:sldLayoutId id="2147483972" r:id="rId312"/>
    <p:sldLayoutId id="2147493612" r:id="rId313"/>
    <p:sldLayoutId id="2147483974" r:id="rId314"/>
    <p:sldLayoutId id="2147483975" r:id="rId315"/>
    <p:sldLayoutId id="2147493613" r:id="rId316"/>
    <p:sldLayoutId id="2147483977" r:id="rId317"/>
    <p:sldLayoutId id="2147483978" r:id="rId318"/>
    <p:sldLayoutId id="2147483979" r:id="rId319"/>
    <p:sldLayoutId id="2147483980" r:id="rId320"/>
    <p:sldLayoutId id="2147483981" r:id="rId321"/>
    <p:sldLayoutId id="2147483982" r:id="rId322"/>
    <p:sldLayoutId id="2147483983" r:id="rId323"/>
    <p:sldLayoutId id="2147483984" r:id="rId324"/>
    <p:sldLayoutId id="2147483985" r:id="rId325"/>
    <p:sldLayoutId id="2147483986" r:id="rId326"/>
    <p:sldLayoutId id="2147483987" r:id="rId327"/>
    <p:sldLayoutId id="2147483988" r:id="rId328"/>
    <p:sldLayoutId id="2147493615" r:id="rId329"/>
    <p:sldLayoutId id="2147493616" r:id="rId330"/>
    <p:sldLayoutId id="2147483991" r:id="rId331"/>
    <p:sldLayoutId id="2147483992" r:id="rId332"/>
    <p:sldLayoutId id="2147483993" r:id="rId333"/>
    <p:sldLayoutId id="2147483994" r:id="rId334"/>
    <p:sldLayoutId id="2147483995" r:id="rId335"/>
    <p:sldLayoutId id="2147483996" r:id="rId336"/>
    <p:sldLayoutId id="2147483997" r:id="rId337"/>
    <p:sldLayoutId id="2147483998" r:id="rId338"/>
    <p:sldLayoutId id="2147483999" r:id="rId339"/>
    <p:sldLayoutId id="2147484000" r:id="rId340"/>
    <p:sldLayoutId id="2147484001" r:id="rId341"/>
    <p:sldLayoutId id="2147484002" r:id="rId342"/>
    <p:sldLayoutId id="2147484003" r:id="rId343"/>
    <p:sldLayoutId id="2147484004" r:id="rId344"/>
    <p:sldLayoutId id="2147484005" r:id="rId345"/>
    <p:sldLayoutId id="2147484006" r:id="rId346"/>
    <p:sldLayoutId id="2147484007" r:id="rId347"/>
    <p:sldLayoutId id="2147484008" r:id="rId348"/>
    <p:sldLayoutId id="2147484009" r:id="rId349"/>
    <p:sldLayoutId id="2147484010" r:id="rId350"/>
    <p:sldLayoutId id="2147484011" r:id="rId351"/>
    <p:sldLayoutId id="2147484012" r:id="rId352"/>
    <p:sldLayoutId id="2147484013" r:id="rId353"/>
    <p:sldLayoutId id="2147484014" r:id="rId354"/>
    <p:sldLayoutId id="2147484015" r:id="rId355"/>
    <p:sldLayoutId id="2147484016" r:id="rId356"/>
    <p:sldLayoutId id="2147484017" r:id="rId357"/>
    <p:sldLayoutId id="2147484018" r:id="rId358"/>
    <p:sldLayoutId id="2147484019" r:id="rId359"/>
    <p:sldLayoutId id="2147484020" r:id="rId360"/>
    <p:sldLayoutId id="2147484021" r:id="rId361"/>
    <p:sldLayoutId id="2147484022" r:id="rId362"/>
    <p:sldLayoutId id="2147484023" r:id="rId363"/>
    <p:sldLayoutId id="2147484024" r:id="rId364"/>
    <p:sldLayoutId id="2147484025" r:id="rId365"/>
    <p:sldLayoutId id="2147484026" r:id="rId366"/>
    <p:sldLayoutId id="2147484027" r:id="rId367"/>
    <p:sldLayoutId id="2147484028" r:id="rId368"/>
    <p:sldLayoutId id="2147484029" r:id="rId369"/>
    <p:sldLayoutId id="2147484030" r:id="rId370"/>
    <p:sldLayoutId id="2147484031" r:id="rId371"/>
    <p:sldLayoutId id="2147484032" r:id="rId372"/>
    <p:sldLayoutId id="2147484033" r:id="rId373"/>
    <p:sldLayoutId id="2147484034" r:id="rId374"/>
    <p:sldLayoutId id="2147484035" r:id="rId375"/>
    <p:sldLayoutId id="2147484036" r:id="rId376"/>
    <p:sldLayoutId id="2147484037" r:id="rId377"/>
    <p:sldLayoutId id="2147484038" r:id="rId378"/>
    <p:sldLayoutId id="2147484039" r:id="rId379"/>
    <p:sldLayoutId id="2147484040" r:id="rId380"/>
    <p:sldLayoutId id="2147484041" r:id="rId381"/>
    <p:sldLayoutId id="2147484042" r:id="rId382"/>
    <p:sldLayoutId id="2147484043" r:id="rId383"/>
    <p:sldLayoutId id="2147484044" r:id="rId384"/>
    <p:sldLayoutId id="2147484045" r:id="rId385"/>
    <p:sldLayoutId id="2147484046" r:id="rId386"/>
    <p:sldLayoutId id="2147484047" r:id="rId387"/>
    <p:sldLayoutId id="2147484048" r:id="rId388"/>
  </p:sldLayoutIdLst>
  <p:txStyles>
    <p:titleStyle>
      <a:lvl1pPr marL="0" marR="0" lvl="0" indent="0" algn="l" defTabSz="1371600" rtl="0" fontAlgn="auto" hangingPunct="1">
        <a:lnSpc>
          <a:spcPct val="100000"/>
        </a:lnSpc>
        <a:spcBef>
          <a:spcPts val="0"/>
        </a:spcBef>
        <a:spcAft>
          <a:spcPts val="0"/>
        </a:spcAft>
        <a:buNone/>
        <a:tabLst/>
        <a:defRPr lang="en-US" sz="5400" b="1" i="0" u="none" strike="noStrike" kern="1200" cap="none" spc="0" baseline="0">
          <a:solidFill>
            <a:srgbClr val="1C498B"/>
          </a:solidFill>
          <a:uFillTx/>
          <a:latin typeface="Calibri"/>
          <a:ea typeface="Lato Medium" pitchFamily="34"/>
          <a:cs typeface="Lato Medium" pitchFamily="34"/>
        </a:defRPr>
      </a:lvl1pPr>
    </p:titleStyle>
    <p:bodyStyle>
      <a:lvl1pPr marL="342900" marR="0" lvl="0" indent="-342900" algn="l" defTabSz="1371600" rtl="0" fontAlgn="auto" hangingPunct="1">
        <a:lnSpc>
          <a:spcPct val="100000"/>
        </a:lnSpc>
        <a:spcBef>
          <a:spcPts val="1500"/>
        </a:spcBef>
        <a:spcAft>
          <a:spcPts val="1500"/>
        </a:spcAft>
        <a:buClr>
          <a:srgbClr val="F5668F"/>
        </a:buClr>
        <a:buSzPct val="100000"/>
        <a:buFont typeface="Arial" pitchFamily="34"/>
        <a:buChar char="•"/>
        <a:tabLst/>
        <a:defRPr lang="en-US" sz="3600" b="0" i="0" u="none" strike="noStrike" kern="1200" cap="none" spc="0" baseline="0">
          <a:solidFill>
            <a:srgbClr val="444C55"/>
          </a:solidFill>
          <a:uFillTx/>
          <a:latin typeface="Calibri"/>
          <a:ea typeface="Lato" pitchFamily="34"/>
          <a:cs typeface="Lato" pitchFamily="34"/>
        </a:defRPr>
      </a:lvl1pPr>
      <a:lvl2pPr marL="1028700" marR="0" lvl="1" indent="-342900" algn="l" defTabSz="1371600" rtl="0" fontAlgn="auto" hangingPunct="1">
        <a:lnSpc>
          <a:spcPct val="100000"/>
        </a:lnSpc>
        <a:spcBef>
          <a:spcPts val="750"/>
        </a:spcBef>
        <a:spcAft>
          <a:spcPts val="1500"/>
        </a:spcAft>
        <a:buClr>
          <a:srgbClr val="1C498B"/>
        </a:buClr>
        <a:buSzPct val="100000"/>
        <a:buFont typeface="Arial" pitchFamily="34"/>
        <a:buChar char="•"/>
        <a:tabLst/>
        <a:defRPr lang="en-US" sz="3000" b="0" i="0" u="none" strike="noStrike" kern="1200" cap="none" spc="0" baseline="0">
          <a:solidFill>
            <a:srgbClr val="444C55"/>
          </a:solidFill>
          <a:uFillTx/>
          <a:latin typeface="Calibri"/>
          <a:ea typeface="Lato" pitchFamily="34"/>
          <a:cs typeface="Lato" pitchFamily="34"/>
        </a:defRPr>
      </a:lvl2pPr>
      <a:lvl3pPr marL="1714500" marR="0" lvl="2" indent="-342900" algn="l" defTabSz="1371600" rtl="0" fontAlgn="auto" hangingPunct="1">
        <a:lnSpc>
          <a:spcPct val="100000"/>
        </a:lnSpc>
        <a:spcBef>
          <a:spcPts val="750"/>
        </a:spcBef>
        <a:spcAft>
          <a:spcPts val="1500"/>
        </a:spcAft>
        <a:buClr>
          <a:srgbClr val="F5668F"/>
        </a:buClr>
        <a:buSzPct val="100000"/>
        <a:buFont typeface="Arial" pitchFamily="34"/>
        <a:buChar char="•"/>
        <a:tabLst/>
        <a:defRPr lang="en-US" sz="2700" b="0" i="0" u="none" strike="noStrike" kern="1200" cap="none" spc="0" baseline="0">
          <a:solidFill>
            <a:srgbClr val="444C55"/>
          </a:solidFill>
          <a:uFillTx/>
          <a:latin typeface="Calibri"/>
          <a:ea typeface="Lato" pitchFamily="34"/>
          <a:cs typeface="Lato" pitchFamily="34"/>
        </a:defRPr>
      </a:lvl3pPr>
      <a:lvl4pPr marL="2400300" marR="0" lvl="3" indent="-342900" algn="l" defTabSz="1371600" rtl="0" fontAlgn="auto" hangingPunct="1">
        <a:lnSpc>
          <a:spcPct val="100000"/>
        </a:lnSpc>
        <a:spcBef>
          <a:spcPts val="750"/>
        </a:spcBef>
        <a:spcAft>
          <a:spcPts val="1500"/>
        </a:spcAft>
        <a:buClr>
          <a:srgbClr val="F5668F"/>
        </a:buClr>
        <a:buSzPct val="100000"/>
        <a:buFont typeface="Arial" pitchFamily="34"/>
        <a:buChar char="•"/>
        <a:tabLst/>
        <a:defRPr lang="en-US" sz="2400" b="0" i="0" u="none" strike="noStrike" kern="1200" cap="none" spc="0" baseline="0">
          <a:solidFill>
            <a:srgbClr val="444C55"/>
          </a:solidFill>
          <a:uFillTx/>
          <a:latin typeface="Calibri"/>
          <a:ea typeface="Lato" pitchFamily="34"/>
          <a:cs typeface="Lato" pitchFamily="34"/>
        </a:defRPr>
      </a:lvl4pPr>
      <a:lvl5pPr marL="3086100" marR="0" lvl="4" indent="-342900" algn="l" defTabSz="1371600" rtl="0" fontAlgn="auto" hangingPunct="1">
        <a:lnSpc>
          <a:spcPct val="100000"/>
        </a:lnSpc>
        <a:spcBef>
          <a:spcPts val="750"/>
        </a:spcBef>
        <a:spcAft>
          <a:spcPts val="1500"/>
        </a:spcAft>
        <a:buClr>
          <a:srgbClr val="F5668F"/>
        </a:buClr>
        <a:buSzPct val="100000"/>
        <a:buFont typeface="Arial" pitchFamily="34"/>
        <a:buChar char="•"/>
        <a:tabLst/>
        <a:defRPr lang="en-US" sz="2400" b="0" i="0" u="none" strike="noStrike" kern="1200" cap="none" spc="0" baseline="0">
          <a:solidFill>
            <a:srgbClr val="444C55"/>
          </a:solidFill>
          <a:uFillTx/>
          <a:latin typeface="Calibri"/>
          <a:ea typeface="Lato" pitchFamily="34"/>
          <a:cs typeface="Lato" pitchFamily="34"/>
        </a:defRPr>
      </a:lvl5pPr>
      <a:lvl6pPr marL="37719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5/20/2026</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5767" r:id="rId1"/>
    <p:sldLayoutId id="2147493745" r:id="rId2"/>
    <p:sldLayoutId id="2147493746" r:id="rId3"/>
    <p:sldLayoutId id="2147485770" r:id="rId4"/>
    <p:sldLayoutId id="2147493747" r:id="rId5"/>
    <p:sldLayoutId id="2147493748" r:id="rId6"/>
    <p:sldLayoutId id="2147485772" r:id="rId7"/>
    <p:sldLayoutId id="2147493749" r:id="rId8"/>
    <p:sldLayoutId id="2147493750" r:id="rId9"/>
    <p:sldLayoutId id="2147493751" r:id="rId10"/>
    <p:sldLayoutId id="2147485778" r:id="rId11"/>
    <p:sldLayoutId id="2147485779" r:id="rId12"/>
    <p:sldLayoutId id="2147493752" r:id="rId13"/>
    <p:sldLayoutId id="2147493753" r:id="rId14"/>
    <p:sldLayoutId id="2147493754" r:id="rId15"/>
    <p:sldLayoutId id="2147493755" r:id="rId16"/>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3572795213"/>
      </p:ext>
    </p:extLst>
  </p:cSld>
  <p:clrMap bg1="lt1" tx1="dk1" bg2="lt2" tx2="dk2" accent1="accent1" accent2="accent2" accent3="accent3" accent4="accent4" accent5="accent5" accent6="accent6" hlink="hlink" folHlink="folHlink"/>
  <p:sldLayoutIdLst>
    <p:sldLayoutId id="2147486711" r:id="rId1"/>
    <p:sldLayoutId id="2147486712" r:id="rId2"/>
    <p:sldLayoutId id="2147486714" r:id="rId3"/>
    <p:sldLayoutId id="2147485320" r:id="rId4"/>
    <p:sldLayoutId id="2147493655" r:id="rId5"/>
    <p:sldLayoutId id="2147489507" r:id="rId6"/>
    <p:sldLayoutId id="2147485410" r:id="rId7"/>
    <p:sldLayoutId id="2147493656" r:id="rId8"/>
    <p:sldLayoutId id="2147485322" r:id="rId9"/>
    <p:sldLayoutId id="2147493657" r:id="rId10"/>
    <p:sldLayoutId id="2147493658" r:id="rId11"/>
    <p:sldLayoutId id="2147487028" r:id="rId12"/>
    <p:sldLayoutId id="2147493659" r:id="rId13"/>
    <p:sldLayoutId id="2147493660" r:id="rId14"/>
    <p:sldLayoutId id="2147493661" r:id="rId15"/>
    <p:sldLayoutId id="2147485327" r:id="rId16"/>
    <p:sldLayoutId id="2147485328" r:id="rId17"/>
    <p:sldLayoutId id="2147485329" r:id="rId18"/>
    <p:sldLayoutId id="2147493662" r:id="rId19"/>
    <p:sldLayoutId id="2147485570" r:id="rId20"/>
    <p:sldLayoutId id="2147485571" r:id="rId21"/>
    <p:sldLayoutId id="2147485572" r:id="rId22"/>
    <p:sldLayoutId id="2147493663" r:id="rId23"/>
    <p:sldLayoutId id="2147493664" r:id="rId24"/>
    <p:sldLayoutId id="2147493665" r:id="rId25"/>
    <p:sldLayoutId id="2147493666" r:id="rId26"/>
    <p:sldLayoutId id="2147493667" r:id="rId27"/>
    <p:sldLayoutId id="2147493668" r:id="rId28"/>
    <p:sldLayoutId id="2147489401" r:id="rId29"/>
    <p:sldLayoutId id="2147489402" r:id="rId30"/>
    <p:sldLayoutId id="2147485334" r:id="rId31"/>
    <p:sldLayoutId id="2147485335" r:id="rId32"/>
    <p:sldLayoutId id="2147485336" r:id="rId33"/>
    <p:sldLayoutId id="2147493669" r:id="rId34"/>
    <p:sldLayoutId id="2147489346" r:id="rId35"/>
    <p:sldLayoutId id="2147489347" r:id="rId36"/>
    <p:sldLayoutId id="2147488484" r:id="rId37"/>
    <p:sldLayoutId id="2147493670" r:id="rId38"/>
    <p:sldLayoutId id="2147493671" r:id="rId39"/>
    <p:sldLayoutId id="2147493672" r:id="rId40"/>
    <p:sldLayoutId id="2147493673" r:id="rId41"/>
    <p:sldLayoutId id="2147493674" r:id="rId42"/>
    <p:sldLayoutId id="2147493675" r:id="rId43"/>
    <p:sldLayoutId id="2147493676" r:id="rId44"/>
    <p:sldLayoutId id="2147485342" r:id="rId45"/>
    <p:sldLayoutId id="2147493677" r:id="rId46"/>
    <p:sldLayoutId id="2147493678" r:id="rId47"/>
    <p:sldLayoutId id="2147493679" r:id="rId48"/>
    <p:sldLayoutId id="2147493680" r:id="rId49"/>
    <p:sldLayoutId id="2147485346" r:id="rId50"/>
    <p:sldLayoutId id="2147485347" r:id="rId51"/>
    <p:sldLayoutId id="2147493681" r:id="rId52"/>
    <p:sldLayoutId id="2147493682" r:id="rId53"/>
    <p:sldLayoutId id="2147493683" r:id="rId54"/>
    <p:sldLayoutId id="2147493684" r:id="rId55"/>
    <p:sldLayoutId id="2147493685" r:id="rId56"/>
    <p:sldLayoutId id="2147493686" r:id="rId57"/>
    <p:sldLayoutId id="2147485352" r:id="rId58"/>
    <p:sldLayoutId id="2147493687" r:id="rId59"/>
    <p:sldLayoutId id="2147493688" r:id="rId60"/>
    <p:sldLayoutId id="2147489363" r:id="rId61"/>
    <p:sldLayoutId id="2147493690" r:id="rId62"/>
    <p:sldLayoutId id="2147493691" r:id="rId63"/>
    <p:sldLayoutId id="2147485357" r:id="rId64"/>
    <p:sldLayoutId id="2147493692" r:id="rId65"/>
    <p:sldLayoutId id="2147493693" r:id="rId66"/>
    <p:sldLayoutId id="2147485215" r:id="rId67"/>
    <p:sldLayoutId id="2147493694" r:id="rId68"/>
    <p:sldLayoutId id="2147485360" r:id="rId69"/>
    <p:sldLayoutId id="2147493695" r:id="rId70"/>
    <p:sldLayoutId id="2147493696" r:id="rId71"/>
    <p:sldLayoutId id="2147486553" r:id="rId72"/>
    <p:sldLayoutId id="2147493698" r:id="rId73"/>
    <p:sldLayoutId id="2147489366" r:id="rId74"/>
    <p:sldLayoutId id="2147489367" r:id="rId75"/>
    <p:sldLayoutId id="2147489368" r:id="rId76"/>
    <p:sldLayoutId id="2147485364" r:id="rId77"/>
    <p:sldLayoutId id="2147485365" r:id="rId78"/>
    <p:sldLayoutId id="2147485366" r:id="rId79"/>
    <p:sldLayoutId id="2147493701" r:id="rId80"/>
    <p:sldLayoutId id="2147493702" r:id="rId81"/>
    <p:sldLayoutId id="2147490241" r:id="rId82"/>
    <p:sldLayoutId id="2147489483" r:id="rId83"/>
    <p:sldLayoutId id="2147493704" r:id="rId84"/>
    <p:sldLayoutId id="2147493705" r:id="rId85"/>
    <p:sldLayoutId id="2147493706" r:id="rId86"/>
    <p:sldLayoutId id="2147493707" r:id="rId87"/>
    <p:sldLayoutId id="2147493708" r:id="rId88"/>
    <p:sldLayoutId id="2147493709" r:id="rId89"/>
    <p:sldLayoutId id="2147485375" r:id="rId90"/>
    <p:sldLayoutId id="2147493710" r:id="rId91"/>
    <p:sldLayoutId id="2147493711" r:id="rId92"/>
    <p:sldLayoutId id="2147490243" r:id="rId93"/>
    <p:sldLayoutId id="2147493713" r:id="rId94"/>
    <p:sldLayoutId id="2147488431" r:id="rId95"/>
    <p:sldLayoutId id="2147485379" r:id="rId96"/>
    <p:sldLayoutId id="2147485380" r:id="rId97"/>
    <p:sldLayoutId id="2147493714" r:id="rId98"/>
    <p:sldLayoutId id="2147493715" r:id="rId99"/>
    <p:sldLayoutId id="2147493716" r:id="rId100"/>
    <p:sldLayoutId id="2147493717" r:id="rId101"/>
    <p:sldLayoutId id="2147493718" r:id="rId102"/>
    <p:sldLayoutId id="2147485384" r:id="rId103"/>
    <p:sldLayoutId id="2147493719" r:id="rId104"/>
    <p:sldLayoutId id="2147484205" r:id="rId105"/>
    <p:sldLayoutId id="2147484206" r:id="rId106"/>
    <p:sldLayoutId id="2147493722" r:id="rId107"/>
    <p:sldLayoutId id="2147493723" r:id="rId108"/>
    <p:sldLayoutId id="2147493724" r:id="rId109"/>
    <p:sldLayoutId id="2147493725" r:id="rId110"/>
    <p:sldLayoutId id="2147493726" r:id="rId111"/>
    <p:sldLayoutId id="2147493727" r:id="rId112"/>
    <p:sldLayoutId id="2147493728" r:id="rId113"/>
    <p:sldLayoutId id="2147487034" r:id="rId114"/>
    <p:sldLayoutId id="2147485394" r:id="rId115"/>
    <p:sldLayoutId id="2147493729" r:id="rId116"/>
    <p:sldLayoutId id="2147493731" r:id="rId117"/>
    <p:sldLayoutId id="2147487030" r:id="rId118"/>
    <p:sldLayoutId id="2147493733" r:id="rId119"/>
    <p:sldLayoutId id="2147489382" r:id="rId120"/>
    <p:sldLayoutId id="2147489383" r:id="rId121"/>
    <p:sldLayoutId id="2147489384" r:id="rId122"/>
    <p:sldLayoutId id="2147493734" r:id="rId123"/>
    <p:sldLayoutId id="2147493736" r:id="rId124"/>
    <p:sldLayoutId id="2147493737" r:id="rId125"/>
    <p:sldLayoutId id="2147493738" r:id="rId126"/>
    <p:sldLayoutId id="2147485404" r:id="rId127"/>
    <p:sldLayoutId id="2147493739" r:id="rId128"/>
    <p:sldLayoutId id="2147493740" r:id="rId129"/>
    <p:sldLayoutId id="2147489373" r:id="rId130"/>
    <p:sldLayoutId id="2147493742" r:id="rId131"/>
    <p:sldLayoutId id="2147493743" r:id="rId132"/>
    <p:sldLayoutId id="2147485710" r:id="rId133"/>
    <p:sldLayoutId id="2147485711" r:id="rId134"/>
    <p:sldLayoutId id="2147485414" r:id="rId135"/>
    <p:sldLayoutId id="2147485712" r:id="rId136"/>
    <p:sldLayoutId id="2147485713" r:id="rId137"/>
    <p:sldLayoutId id="2147489389" r:id="rId138"/>
    <p:sldLayoutId id="2147485715" r:id="rId139"/>
    <p:sldLayoutId id="2147489391" r:id="rId140"/>
    <p:sldLayoutId id="2147489392" r:id="rId141"/>
    <p:sldLayoutId id="2147485418" r:id="rId142"/>
    <p:sldLayoutId id="2147485419" r:id="rId143"/>
    <p:sldLayoutId id="2147485718" r:id="rId144"/>
    <p:sldLayoutId id="2147489394" r:id="rId145"/>
    <p:sldLayoutId id="2147485720" r:id="rId146"/>
    <p:sldLayoutId id="2147485721" r:id="rId147"/>
    <p:sldLayoutId id="2147485722" r:id="rId148"/>
    <p:sldLayoutId id="2147489399" r:id="rId149"/>
    <p:sldLayoutId id="2147489521" r:id="rId150"/>
    <p:sldLayoutId id="2147485723" r:id="rId151"/>
    <p:sldLayoutId id="2147485724" r:id="rId152"/>
    <p:sldLayoutId id="2147485726" r:id="rId153"/>
    <p:sldLayoutId id="2147485727" r:id="rId154"/>
    <p:sldLayoutId id="2147485728" r:id="rId155"/>
    <p:sldLayoutId id="2147485431" r:id="rId156"/>
    <p:sldLayoutId id="2147485729" r:id="rId157"/>
    <p:sldLayoutId id="2147485730" r:id="rId158"/>
    <p:sldLayoutId id="2147485433" r:id="rId159"/>
    <p:sldLayoutId id="2147485434" r:id="rId160"/>
    <p:sldLayoutId id="2147485733" r:id="rId161"/>
    <p:sldLayoutId id="2147485734" r:id="rId162"/>
    <p:sldLayoutId id="2147485735" r:id="rId163"/>
    <p:sldLayoutId id="2147485736" r:id="rId164"/>
    <p:sldLayoutId id="2147485737" r:id="rId165"/>
    <p:sldLayoutId id="2147485440" r:id="rId166"/>
    <p:sldLayoutId id="2147485738" r:id="rId167"/>
    <p:sldLayoutId id="2147489409" r:id="rId168"/>
    <p:sldLayoutId id="2147485739" r:id="rId169"/>
    <p:sldLayoutId id="2147489526" r:id="rId170"/>
    <p:sldLayoutId id="2147485741" r:id="rId171"/>
    <p:sldLayoutId id="2147485742" r:id="rId172"/>
    <p:sldLayoutId id="2147485743" r:id="rId173"/>
    <p:sldLayoutId id="2147485744" r:id="rId174"/>
    <p:sldLayoutId id="2147485745" r:id="rId175"/>
    <p:sldLayoutId id="2147484231" r:id="rId176"/>
    <p:sldLayoutId id="2147484268" r:id="rId177"/>
    <p:sldLayoutId id="2147484235" r:id="rId178"/>
    <p:sldLayoutId id="2147485448" r:id="rId179"/>
    <p:sldLayoutId id="2147485449" r:id="rId180"/>
    <p:sldLayoutId id="2147485749" r:id="rId181"/>
    <p:sldLayoutId id="2147485750" r:id="rId182"/>
    <p:sldLayoutId id="2147485751" r:id="rId183"/>
    <p:sldLayoutId id="2147485454" r:id="rId184"/>
    <p:sldLayoutId id="2147485752" r:id="rId185"/>
    <p:sldLayoutId id="2147485753" r:id="rId186"/>
    <p:sldLayoutId id="2147483721" r:id="rId187"/>
    <p:sldLayoutId id="2147485755" r:id="rId188"/>
    <p:sldLayoutId id="2147489416" r:id="rId189"/>
    <p:sldLayoutId id="2147489417" r:id="rId190"/>
    <p:sldLayoutId id="2147485239" r:id="rId191"/>
    <p:sldLayoutId id="2147485458" r:id="rId192"/>
    <p:sldLayoutId id="2147485459" r:id="rId193"/>
    <p:sldLayoutId id="2147485759" r:id="rId194"/>
    <p:sldLayoutId id="2147485760" r:id="rId195"/>
    <p:sldLayoutId id="2147485761" r:id="rId196"/>
    <p:sldLayoutId id="2147485464" r:id="rId197"/>
    <p:sldLayoutId id="2147485762" r:id="rId198"/>
    <p:sldLayoutId id="2147485763" r:id="rId199"/>
    <p:sldLayoutId id="2147489423" r:id="rId200"/>
    <p:sldLayoutId id="2147485765" r:id="rId201"/>
    <p:sldLayoutId id="2147485766" r:id="rId202"/>
    <p:sldLayoutId id="2147485469" r:id="rId203"/>
    <p:sldLayoutId id="2147493824" r:id="rId204"/>
    <p:sldLayoutId id="2147485768" r:id="rId205"/>
    <p:sldLayoutId id="2147493618" r:id="rId206"/>
    <p:sldLayoutId id="2147485472" r:id="rId207"/>
    <p:sldLayoutId id="2147485473" r:id="rId208"/>
    <p:sldLayoutId id="2147485474" r:id="rId209"/>
    <p:sldLayoutId id="2147493619" r:id="rId210"/>
    <p:sldLayoutId id="2147489162" r:id="rId211"/>
    <p:sldLayoutId id="2147493621" r:id="rId212"/>
    <p:sldLayoutId id="2147483679" r:id="rId213"/>
    <p:sldLayoutId id="2147489364" r:id="rId214"/>
    <p:sldLayoutId id="2147488290" r:id="rId215"/>
    <p:sldLayoutId id="2147485367" r:id="rId216"/>
    <p:sldLayoutId id="2147485368" r:id="rId217"/>
    <p:sldLayoutId id="2147485369" r:id="rId218"/>
    <p:sldLayoutId id="2147485400" r:id="rId219"/>
    <p:sldLayoutId id="2147485401" r:id="rId220"/>
    <p:sldLayoutId id="2147485402" r:id="rId221"/>
    <p:sldLayoutId id="2147485403" r:id="rId222"/>
    <p:sldLayoutId id="2147489165" r:id="rId223"/>
    <p:sldLayoutId id="2147487191" r:id="rId224"/>
    <p:sldLayoutId id="2147489365" r:id="rId225"/>
    <p:sldLayoutId id="2147493622" r:id="rId226"/>
    <p:sldLayoutId id="2147485476" r:id="rId227"/>
    <p:sldLayoutId id="2147485477" r:id="rId228"/>
    <p:sldLayoutId id="2147485478" r:id="rId229"/>
    <p:sldLayoutId id="2147493623" r:id="rId230"/>
    <p:sldLayoutId id="2147493624" r:id="rId231"/>
    <p:sldLayoutId id="2147493625" r:id="rId232"/>
    <p:sldLayoutId id="2147493626" r:id="rId233"/>
    <p:sldLayoutId id="2147485482" r:id="rId234"/>
    <p:sldLayoutId id="2147485483" r:id="rId235"/>
    <p:sldLayoutId id="2147485484" r:id="rId236"/>
    <p:sldLayoutId id="2147485486" r:id="rId237"/>
    <p:sldLayoutId id="2147485487" r:id="rId238"/>
    <p:sldLayoutId id="2147485488" r:id="rId239"/>
    <p:sldLayoutId id="2147485489" r:id="rId240"/>
    <p:sldLayoutId id="2147485490" r:id="rId241"/>
    <p:sldLayoutId id="2147485491" r:id="rId242"/>
    <p:sldLayoutId id="2147493636" r:id="rId243"/>
    <p:sldLayoutId id="2147493637" r:id="rId244"/>
    <p:sldLayoutId id="2147493638" r:id="rId245"/>
    <p:sldLayoutId id="2147493639" r:id="rId246"/>
    <p:sldLayoutId id="2147485493" r:id="rId247"/>
    <p:sldLayoutId id="2147485494" r:id="rId248"/>
    <p:sldLayoutId id="2147485495" r:id="rId249"/>
    <p:sldLayoutId id="2147485496" r:id="rId250"/>
    <p:sldLayoutId id="2147485497" r:id="rId251"/>
    <p:sldLayoutId id="2147485498" r:id="rId252"/>
    <p:sldLayoutId id="2147485499" r:id="rId253"/>
    <p:sldLayoutId id="2147485500" r:id="rId254"/>
    <p:sldLayoutId id="2147493640" r:id="rId255"/>
    <p:sldLayoutId id="2147493641" r:id="rId256"/>
    <p:sldLayoutId id="2147493642" r:id="rId257"/>
    <p:sldLayoutId id="2147493643" r:id="rId258"/>
    <p:sldLayoutId id="2147493644" r:id="rId259"/>
    <p:sldLayoutId id="2147485796" r:id="rId260"/>
    <p:sldLayoutId id="2147485797" r:id="rId261"/>
    <p:sldLayoutId id="2147485798" r:id="rId262"/>
    <p:sldLayoutId id="2147485799" r:id="rId263"/>
    <p:sldLayoutId id="2147484596" r:id="rId264"/>
    <p:sldLayoutId id="2147484835" r:id="rId265"/>
    <p:sldLayoutId id="2147484598" r:id="rId266"/>
    <p:sldLayoutId id="2147484626" r:id="rId267"/>
    <p:sldLayoutId id="2147485890" r:id="rId268"/>
    <p:sldLayoutId id="2147484836" r:id="rId269"/>
    <p:sldLayoutId id="2147484837" r:id="rId270"/>
    <p:sldLayoutId id="2147484601" r:id="rId271"/>
    <p:sldLayoutId id="2147484602" r:id="rId272"/>
    <p:sldLayoutId id="2147485893" r:id="rId273"/>
    <p:sldLayoutId id="2147485894" r:id="rId274"/>
    <p:sldLayoutId id="2147485895" r:id="rId275"/>
    <p:sldLayoutId id="2147485896" r:id="rId276"/>
    <p:sldLayoutId id="2147485897" r:id="rId277"/>
    <p:sldLayoutId id="2147485898" r:id="rId278"/>
    <p:sldLayoutId id="2147485899" r:id="rId279"/>
    <p:sldLayoutId id="2147485900" r:id="rId280"/>
    <p:sldLayoutId id="2147485901" r:id="rId281"/>
    <p:sldLayoutId id="2147485902" r:id="rId282"/>
    <p:sldLayoutId id="2147485903" r:id="rId283"/>
    <p:sldLayoutId id="2147485904" r:id="rId284"/>
    <p:sldLayoutId id="2147485905" r:id="rId285"/>
    <p:sldLayoutId id="2147485906" r:id="rId286"/>
    <p:sldLayoutId id="2147485907" r:id="rId287"/>
    <p:sldLayoutId id="2147485908" r:id="rId288"/>
    <p:sldLayoutId id="2147485909" r:id="rId289"/>
    <p:sldLayoutId id="2147485910" r:id="rId290"/>
    <p:sldLayoutId id="2147485911" r:id="rId291"/>
    <p:sldLayoutId id="2147485912" r:id="rId292"/>
    <p:sldLayoutId id="2147485913" r:id="rId293"/>
    <p:sldLayoutId id="2147485914" r:id="rId294"/>
    <p:sldLayoutId id="2147485915" r:id="rId295"/>
    <p:sldLayoutId id="2147485916" r:id="rId296"/>
    <p:sldLayoutId id="2147485917" r:id="rId297"/>
    <p:sldLayoutId id="2147485918" r:id="rId298"/>
    <p:sldLayoutId id="2147485919" r:id="rId299"/>
    <p:sldLayoutId id="2147485920" r:id="rId300"/>
    <p:sldLayoutId id="2147485921" r:id="rId301"/>
    <p:sldLayoutId id="2147485922" r:id="rId302"/>
    <p:sldLayoutId id="2147484604" r:id="rId303"/>
    <p:sldLayoutId id="2147484839" r:id="rId304"/>
    <p:sldLayoutId id="2147493538" r:id="rId305"/>
    <p:sldLayoutId id="2147484627" r:id="rId306"/>
    <p:sldLayoutId id="2147493539" r:id="rId307"/>
    <p:sldLayoutId id="2147484838" r:id="rId308"/>
    <p:sldLayoutId id="2147485073" r:id="rId309"/>
    <p:sldLayoutId id="2147493540" r:id="rId310"/>
    <p:sldLayoutId id="2147493541" r:id="rId311"/>
    <p:sldLayoutId id="2147493542" r:id="rId312"/>
    <p:sldLayoutId id="2147493543" r:id="rId313"/>
    <p:sldLayoutId id="2147485870" r:id="rId314"/>
    <p:sldLayoutId id="2147484635" r:id="rId315"/>
    <p:sldLayoutId id="2147485872" r:id="rId316"/>
    <p:sldLayoutId id="2147485873" r:id="rId317"/>
    <p:sldLayoutId id="2147484840" r:id="rId318"/>
    <p:sldLayoutId id="2147493527" r:id="rId319"/>
    <p:sldLayoutId id="2147493528" r:id="rId320"/>
    <p:sldLayoutId id="2147493529" r:id="rId321"/>
    <p:sldLayoutId id="2147485878" r:id="rId322"/>
    <p:sldLayoutId id="2147485879" r:id="rId323"/>
    <p:sldLayoutId id="2147493532" r:id="rId324"/>
    <p:sldLayoutId id="2147493530" r:id="rId325"/>
    <p:sldLayoutId id="2147493544" r:id="rId326"/>
    <p:sldLayoutId id="2147493537" r:id="rId327"/>
    <p:sldLayoutId id="2147493536" r:id="rId328"/>
    <p:sldLayoutId id="2147484829" r:id="rId329"/>
    <p:sldLayoutId id="2147484830" r:id="rId330"/>
    <p:sldLayoutId id="2147484831" r:id="rId331"/>
    <p:sldLayoutId id="2147485806" r:id="rId332"/>
    <p:sldLayoutId id="2147485810" r:id="rId333"/>
    <p:sldLayoutId id="2147485811" r:id="rId334"/>
    <p:sldLayoutId id="2147485812" r:id="rId335"/>
    <p:sldLayoutId id="2147485577" r:id="rId336"/>
    <p:sldLayoutId id="2147485813" r:id="rId337"/>
    <p:sldLayoutId id="2147490267" r:id="rId338"/>
    <p:sldLayoutId id="2147490268" r:id="rId339"/>
    <p:sldLayoutId id="2147487008" r:id="rId340"/>
    <p:sldLayoutId id="2147487009" r:id="rId341"/>
    <p:sldLayoutId id="2147487010" r:id="rId342"/>
    <p:sldLayoutId id="2147488238" r:id="rId343"/>
    <p:sldLayoutId id="2147487011" r:id="rId344"/>
    <p:sldLayoutId id="2147487012" r:id="rId345"/>
    <p:sldLayoutId id="2147487013" r:id="rId346"/>
    <p:sldLayoutId id="2147489336" r:id="rId347"/>
    <p:sldLayoutId id="2147489337" r:id="rId348"/>
    <p:sldLayoutId id="2147485814" r:id="rId349"/>
    <p:sldLayoutId id="2147487195" r:id="rId350"/>
    <p:sldLayoutId id="2147485816" r:id="rId351"/>
    <p:sldLayoutId id="2147486300" r:id="rId352"/>
    <p:sldLayoutId id="2147485817" r:id="rId353"/>
    <p:sldLayoutId id="2147490210" r:id="rId354"/>
    <p:sldLayoutId id="2147483936" r:id="rId355"/>
    <p:sldLayoutId id="2147485818" r:id="rId356"/>
    <p:sldLayoutId id="2147486364" r:id="rId357"/>
    <p:sldLayoutId id="2147486366" r:id="rId358"/>
    <p:sldLayoutId id="2147484652" r:id="rId359"/>
    <p:sldLayoutId id="2147485845" r:id="rId360"/>
    <p:sldLayoutId id="2147484815" r:id="rId361"/>
    <p:sldLayoutId id="2147484816" r:id="rId362"/>
    <p:sldLayoutId id="2147485820" r:id="rId363"/>
    <p:sldLayoutId id="2147485821" r:id="rId364"/>
    <p:sldLayoutId id="2147485822" r:id="rId365"/>
    <p:sldLayoutId id="2147485823" r:id="rId366"/>
    <p:sldLayoutId id="2147485824" r:id="rId367"/>
    <p:sldLayoutId id="2147484843" r:id="rId368"/>
    <p:sldLayoutId id="2147486158" r:id="rId369"/>
    <p:sldLayoutId id="2147484832" r:id="rId370"/>
    <p:sldLayoutId id="2147486157" r:id="rId371"/>
    <p:sldLayoutId id="2147486156" r:id="rId372"/>
    <p:sldLayoutId id="2147485072" r:id="rId373"/>
    <p:sldLayoutId id="2147485926" r:id="rId374"/>
    <p:sldLayoutId id="2147485927" r:id="rId375"/>
    <p:sldLayoutId id="2147485928" r:id="rId376"/>
    <p:sldLayoutId id="2147485929" r:id="rId377"/>
    <p:sldLayoutId id="2147485930" r:id="rId378"/>
    <p:sldLayoutId id="2147485931" r:id="rId379"/>
    <p:sldLayoutId id="2147485932" r:id="rId380"/>
    <p:sldLayoutId id="2147485933" r:id="rId381"/>
    <p:sldLayoutId id="2147485934" r:id="rId382"/>
    <p:sldLayoutId id="2147485935" r:id="rId383"/>
    <p:sldLayoutId id="2147485936" r:id="rId384"/>
    <p:sldLayoutId id="2147485937" r:id="rId385"/>
    <p:sldLayoutId id="2147485938" r:id="rId386"/>
    <p:sldLayoutId id="2147485939" r:id="rId387"/>
    <p:sldLayoutId id="2147485940" r:id="rId388"/>
    <p:sldLayoutId id="2147485941" r:id="rId389"/>
    <p:sldLayoutId id="2147485942" r:id="rId390"/>
    <p:sldLayoutId id="2147485943" r:id="rId391"/>
    <p:sldLayoutId id="2147485198" r:id="rId392"/>
    <p:sldLayoutId id="2147486159" r:id="rId393"/>
    <p:sldLayoutId id="2147484847" r:id="rId394"/>
    <p:sldLayoutId id="2147493533" r:id="rId395"/>
    <p:sldLayoutId id="2147493534" r:id="rId396"/>
    <p:sldLayoutId id="2147485045" r:id="rId397"/>
    <p:sldLayoutId id="2147485046" r:id="rId398"/>
    <p:sldLayoutId id="2147485949" r:id="rId399"/>
    <p:sldLayoutId id="2147493531" r:id="rId400"/>
    <p:sldLayoutId id="2147485951" r:id="rId401"/>
    <p:sldLayoutId id="2147485952" r:id="rId402"/>
    <p:sldLayoutId id="2147485953" r:id="rId403"/>
    <p:sldLayoutId id="2147485954" r:id="rId404"/>
    <p:sldLayoutId id="2147485955" r:id="rId405"/>
    <p:sldLayoutId id="2147485956" r:id="rId406"/>
    <p:sldLayoutId id="2147485957" r:id="rId407"/>
    <p:sldLayoutId id="2147485958" r:id="rId408"/>
    <p:sldLayoutId id="2147485959" r:id="rId409"/>
    <p:sldLayoutId id="2147485960" r:id="rId410"/>
    <p:sldLayoutId id="2147485961" r:id="rId411"/>
    <p:sldLayoutId id="2147485059" r:id="rId412"/>
    <p:sldLayoutId id="2147485963" r:id="rId413"/>
    <p:sldLayoutId id="2147485964" r:id="rId414"/>
    <p:sldLayoutId id="2147485965" r:id="rId415"/>
    <p:sldLayoutId id="2147485966" r:id="rId416"/>
    <p:sldLayoutId id="2147485967" r:id="rId417"/>
    <p:sldLayoutId id="2147485968" r:id="rId418"/>
    <p:sldLayoutId id="2147485969" r:id="rId419"/>
    <p:sldLayoutId id="2147485970" r:id="rId420"/>
    <p:sldLayoutId id="2147485971" r:id="rId421"/>
    <p:sldLayoutId id="2147485972" r:id="rId422"/>
    <p:sldLayoutId id="2147485973" r:id="rId423"/>
    <p:sldLayoutId id="2147485974" r:id="rId424"/>
    <p:sldLayoutId id="2147485975" r:id="rId425"/>
    <p:sldLayoutId id="2147485976" r:id="rId426"/>
    <p:sldLayoutId id="2147485977" r:id="rId427"/>
    <p:sldLayoutId id="2147485978" r:id="rId428"/>
    <p:sldLayoutId id="2147485979" r:id="rId429"/>
    <p:sldLayoutId id="2147485980" r:id="rId430"/>
    <p:sldLayoutId id="2147485981" r:id="rId431"/>
    <p:sldLayoutId id="2147485982" r:id="rId432"/>
    <p:sldLayoutId id="2147485983" r:id="rId433"/>
    <p:sldLayoutId id="2147485984" r:id="rId434"/>
    <p:sldLayoutId id="2147485985" r:id="rId435"/>
    <p:sldLayoutId id="2147485986" r:id="rId436"/>
    <p:sldLayoutId id="2147485987" r:id="rId437"/>
    <p:sldLayoutId id="2147485988" r:id="rId438"/>
    <p:sldLayoutId id="2147485989" r:id="rId439"/>
    <p:sldLayoutId id="2147485990" r:id="rId440"/>
    <p:sldLayoutId id="2147485991" r:id="rId441"/>
    <p:sldLayoutId id="2147485992" r:id="rId442"/>
    <p:sldLayoutId id="2147485993" r:id="rId443"/>
    <p:sldLayoutId id="2147485994" r:id="rId444"/>
    <p:sldLayoutId id="2147485995" r:id="rId445"/>
    <p:sldLayoutId id="2147485996" r:id="rId446"/>
    <p:sldLayoutId id="2147485997" r:id="rId447"/>
    <p:sldLayoutId id="2147485199" r:id="rId448"/>
    <p:sldLayoutId id="2147485200" r:id="rId449"/>
    <p:sldLayoutId id="2147485201" r:id="rId450"/>
    <p:sldLayoutId id="2147484856" r:id="rId451"/>
    <p:sldLayoutId id="2147493545" r:id="rId452"/>
    <p:sldLayoutId id="2147493535" r:id="rId453"/>
    <p:sldLayoutId id="2147493546" r:id="rId454"/>
    <p:sldLayoutId id="2147493547" r:id="rId455"/>
    <p:sldLayoutId id="2147486003" r:id="rId456"/>
    <p:sldLayoutId id="2147493548" r:id="rId457"/>
    <p:sldLayoutId id="2147486005" r:id="rId458"/>
    <p:sldLayoutId id="2147486006" r:id="rId459"/>
    <p:sldLayoutId id="2147486007" r:id="rId460"/>
    <p:sldLayoutId id="2147486008" r:id="rId461"/>
    <p:sldLayoutId id="2147486009" r:id="rId462"/>
    <p:sldLayoutId id="2147486011" r:id="rId463"/>
    <p:sldLayoutId id="2147489339" r:id="rId464"/>
    <p:sldLayoutId id="2147489340" r:id="rId465"/>
    <p:sldLayoutId id="2147490270" r:id="rId466"/>
    <p:sldLayoutId id="2147483940" r:id="rId467"/>
    <p:sldLayoutId id="2147485006" r:id="rId468"/>
    <p:sldLayoutId id="2147483945" r:id="rId469"/>
    <p:sldLayoutId id="2147483949" r:id="rId470"/>
    <p:sldLayoutId id="2147483967" r:id="rId471"/>
    <p:sldLayoutId id="2147483968" r:id="rId472"/>
    <p:sldLayoutId id="2147483969" r:id="rId473"/>
    <p:sldLayoutId id="2147486012" r:id="rId474"/>
    <p:sldLayoutId id="2147486015" r:id="rId475"/>
    <p:sldLayoutId id="2147486016" r:id="rId476"/>
    <p:sldLayoutId id="2147490275" r:id="rId477"/>
    <p:sldLayoutId id="2147490276" r:id="rId478"/>
    <p:sldLayoutId id="2147490279" r:id="rId479"/>
    <p:sldLayoutId id="2147490280" r:id="rId480"/>
    <p:sldLayoutId id="2147490281" r:id="rId481"/>
    <p:sldLayoutId id="2147483973" r:id="rId482"/>
    <p:sldLayoutId id="2147483976" r:id="rId483"/>
    <p:sldLayoutId id="2147490283" r:id="rId484"/>
    <p:sldLayoutId id="2147490284" r:id="rId485"/>
    <p:sldLayoutId id="2147490285" r:id="rId486"/>
    <p:sldLayoutId id="2147490286" r:id="rId487"/>
    <p:sldLayoutId id="2147490287" r:id="rId488"/>
    <p:sldLayoutId id="2147486017" r:id="rId489"/>
    <p:sldLayoutId id="2147486018" r:id="rId490"/>
    <p:sldLayoutId id="2147485002" r:id="rId491"/>
    <p:sldLayoutId id="2147486833" r:id="rId492"/>
    <p:sldLayoutId id="2147486834" r:id="rId493"/>
    <p:sldLayoutId id="2147486835" r:id="rId494"/>
    <p:sldLayoutId id="2147486836" r:id="rId495"/>
    <p:sldLayoutId id="2147486837" r:id="rId496"/>
    <p:sldLayoutId id="2147486838" r:id="rId497"/>
    <p:sldLayoutId id="2147486839" r:id="rId498"/>
    <p:sldLayoutId id="2147489461" r:id="rId499"/>
    <p:sldLayoutId id="2147488079" r:id="rId500"/>
    <p:sldLayoutId id="2147486024" r:id="rId501"/>
    <p:sldLayoutId id="2147486025" r:id="rId502"/>
    <p:sldLayoutId id="2147485425" r:id="rId503"/>
    <p:sldLayoutId id="2147487155" r:id="rId504"/>
    <p:sldLayoutId id="2147486360" r:id="rId505"/>
    <p:sldLayoutId id="2147490179" r:id="rId506"/>
    <p:sldLayoutId id="2147486026" r:id="rId507"/>
    <p:sldLayoutId id="2147486027" r:id="rId508"/>
    <p:sldLayoutId id="2147486028" r:id="rId509"/>
    <p:sldLayoutId id="2147486029" r:id="rId510"/>
    <p:sldLayoutId id="2147486032" r:id="rId511"/>
    <p:sldLayoutId id="2147486033" r:id="rId512"/>
    <p:sldLayoutId id="2147489449" r:id="rId513"/>
    <p:sldLayoutId id="2147489450" r:id="rId514"/>
    <p:sldLayoutId id="2147483989" r:id="rId515"/>
    <p:sldLayoutId id="2147483990" r:id="rId516"/>
    <p:sldLayoutId id="2147486036" r:id="rId517"/>
    <p:sldLayoutId id="2147486037" r:id="rId518"/>
    <p:sldLayoutId id="2147486038" r:id="rId519"/>
    <p:sldLayoutId id="2147486039" r:id="rId520"/>
    <p:sldLayoutId id="2147486040" r:id="rId521"/>
    <p:sldLayoutId id="2147485714" r:id="rId522"/>
    <p:sldLayoutId id="2147486041" r:id="rId523"/>
    <p:sldLayoutId id="2147485769" r:id="rId524"/>
    <p:sldLayoutId id="2147493825" r:id="rId525"/>
    <p:sldLayoutId id="2147485771" r:id="rId526"/>
    <p:sldLayoutId id="2147493826" r:id="rId527"/>
    <p:sldLayoutId id="2147485773" r:id="rId528"/>
    <p:sldLayoutId id="2147485774" r:id="rId529"/>
    <p:sldLayoutId id="2147485775" r:id="rId530"/>
    <p:sldLayoutId id="2147485776" r:id="rId531"/>
    <p:sldLayoutId id="2147485777" r:id="rId532"/>
    <p:sldLayoutId id="2147493827" r:id="rId533"/>
    <p:sldLayoutId id="2147493828" r:id="rId534"/>
    <p:sldLayoutId id="2147485780" r:id="rId535"/>
    <p:sldLayoutId id="2147485781" r:id="rId536"/>
    <p:sldLayoutId id="2147485782" r:id="rId537"/>
    <p:sldLayoutId id="2147485783" r:id="rId538"/>
    <p:sldLayoutId id="2147485784" r:id="rId539"/>
    <p:sldLayoutId id="2147485785" r:id="rId540"/>
    <p:sldLayoutId id="2147485786" r:id="rId541"/>
    <p:sldLayoutId id="2147485787" r:id="rId542"/>
    <p:sldLayoutId id="2147485788" r:id="rId543"/>
    <p:sldLayoutId id="2147485789" r:id="rId544"/>
    <p:sldLayoutId id="2147485790" r:id="rId545"/>
    <p:sldLayoutId id="2147485791" r:id="rId546"/>
    <p:sldLayoutId id="2147485792" r:id="rId547"/>
    <p:sldLayoutId id="2147485793" r:id="rId548"/>
    <p:sldLayoutId id="2147485794" r:id="rId549"/>
    <p:sldLayoutId id="2147485795" r:id="rId550"/>
    <p:sldLayoutId id="2147485555" r:id="rId551"/>
    <p:sldLayoutId id="2147486042" r:id="rId552"/>
    <p:sldLayoutId id="2147486043" r:id="rId553"/>
    <p:sldLayoutId id="2147486044" r:id="rId554"/>
    <p:sldLayoutId id="2147486045" r:id="rId555"/>
    <p:sldLayoutId id="2147486046" r:id="rId556"/>
    <p:sldLayoutId id="2147486049" r:id="rId557"/>
    <p:sldLayoutId id="2147486050" r:id="rId558"/>
    <p:sldLayoutId id="2147486054" r:id="rId559"/>
    <p:sldLayoutId id="2147486058" r:id="rId560"/>
    <p:sldLayoutId id="2147485050" r:id="rId561"/>
    <p:sldLayoutId id="2147485051" r:id="rId562"/>
    <p:sldLayoutId id="2147485052" r:id="rId563"/>
    <p:sldLayoutId id="2147484857" r:id="rId564"/>
    <p:sldLayoutId id="2147485053" r:id="rId565"/>
    <p:sldLayoutId id="2147485054" r:id="rId566"/>
    <p:sldLayoutId id="2147485055" r:id="rId567"/>
    <p:sldLayoutId id="2147485056" r:id="rId568"/>
    <p:sldLayoutId id="2147485840" r:id="rId569"/>
    <p:sldLayoutId id="2147485058" r:id="rId570"/>
    <p:sldLayoutId id="2147485842" r:id="rId571"/>
    <p:sldLayoutId id="2147485843" r:id="rId572"/>
    <p:sldLayoutId id="2147485844" r:id="rId573"/>
    <p:sldLayoutId id="2147493603" r:id="rId574"/>
    <p:sldLayoutId id="2147485846" r:id="rId575"/>
    <p:sldLayoutId id="2147485847" r:id="rId576"/>
    <p:sldLayoutId id="2147485848" r:id="rId577"/>
    <p:sldLayoutId id="2147485849" r:id="rId578"/>
    <p:sldLayoutId id="2147485850" r:id="rId579"/>
    <p:sldLayoutId id="2147485851" r:id="rId580"/>
    <p:sldLayoutId id="2147486154" r:id="rId581"/>
    <p:sldLayoutId id="2147486155" r:id="rId582"/>
    <p:sldLayoutId id="2147486061" r:id="rId583"/>
    <p:sldLayoutId id="2147486062" r:id="rId584"/>
    <p:sldLayoutId id="2147486063" r:id="rId585"/>
    <p:sldLayoutId id="2147486064" r:id="rId586"/>
    <p:sldLayoutId id="2147486065" r:id="rId587"/>
    <p:sldLayoutId id="2147486066" r:id="rId588"/>
    <p:sldLayoutId id="2147486067" r:id="rId589"/>
    <p:sldLayoutId id="2147486068" r:id="rId590"/>
    <p:sldLayoutId id="2147486069" r:id="rId591"/>
    <p:sldLayoutId id="2147486070" r:id="rId592"/>
    <p:sldLayoutId id="2147486071" r:id="rId593"/>
    <p:sldLayoutId id="2147486072" r:id="rId594"/>
    <p:sldLayoutId id="2147486073" r:id="rId595"/>
    <p:sldLayoutId id="2147486074" r:id="rId596"/>
    <p:sldLayoutId id="2147486075" r:id="rId597"/>
    <p:sldLayoutId id="2147486076" r:id="rId598"/>
    <p:sldLayoutId id="2147486077" r:id="rId599"/>
    <p:sldLayoutId id="2147486078" r:id="rId600"/>
    <p:sldLayoutId id="2147486079" r:id="rId601"/>
    <p:sldLayoutId id="2147486080" r:id="rId602"/>
    <p:sldLayoutId id="2147486081" r:id="rId603"/>
    <p:sldLayoutId id="2147486082" r:id="rId604"/>
    <p:sldLayoutId id="2147486083" r:id="rId605"/>
    <p:sldLayoutId id="2147486084" r:id="rId606"/>
    <p:sldLayoutId id="2147486085" r:id="rId607"/>
    <p:sldLayoutId id="2147486086" r:id="rId608"/>
    <p:sldLayoutId id="2147486087" r:id="rId609"/>
    <p:sldLayoutId id="2147486088" r:id="rId610"/>
    <p:sldLayoutId id="2147486089" r:id="rId611"/>
    <p:sldLayoutId id="2147486090" r:id="rId612"/>
    <p:sldLayoutId id="2147486091" r:id="rId613"/>
    <p:sldLayoutId id="2147486092" r:id="rId614"/>
    <p:sldLayoutId id="2147486093" r:id="rId615"/>
    <p:sldLayoutId id="2147486094" r:id="rId616"/>
    <p:sldLayoutId id="2147486095" r:id="rId617"/>
    <p:sldLayoutId id="2147486096" r:id="rId618"/>
    <p:sldLayoutId id="2147486097" r:id="rId619"/>
    <p:sldLayoutId id="2147486098" r:id="rId620"/>
    <p:sldLayoutId id="2147486099" r:id="rId621"/>
    <p:sldLayoutId id="2147486100" r:id="rId622"/>
    <p:sldLayoutId id="2147486101" r:id="rId623"/>
    <p:sldLayoutId id="2147486102" r:id="rId624"/>
    <p:sldLayoutId id="2147486103" r:id="rId625"/>
    <p:sldLayoutId id="2147486104" r:id="rId626"/>
    <p:sldLayoutId id="2147486105" r:id="rId627"/>
    <p:sldLayoutId id="2147485179" r:id="rId628"/>
    <p:sldLayoutId id="2147485202" r:id="rId629"/>
    <p:sldLayoutId id="2147484222" r:id="rId630"/>
    <p:sldLayoutId id="2147484854" r:id="rId631"/>
    <p:sldLayoutId id="2147485854" r:id="rId632"/>
    <p:sldLayoutId id="2147485855" r:id="rId633"/>
    <p:sldLayoutId id="2147485856" r:id="rId634"/>
    <p:sldLayoutId id="2147485857" r:id="rId635"/>
    <p:sldLayoutId id="2147485858" r:id="rId636"/>
    <p:sldLayoutId id="2147485859" r:id="rId637"/>
    <p:sldLayoutId id="2147485860" r:id="rId638"/>
    <p:sldLayoutId id="2147484855" r:id="rId639"/>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919497"/>
                </a:solidFill>
                <a:latin typeface="Calibri"/>
                <a:ea typeface="Calibri"/>
                <a:cs typeface="Calibri"/>
                <a:sym typeface="Calibri"/>
              </a:defRPr>
            </a:lvl1pPr>
            <a:lvl2pPr marL="0" marR="0" lvl="1" indent="0" algn="r" rtl="0">
              <a:spcBef>
                <a:spcPts val="0"/>
              </a:spcBef>
              <a:buNone/>
              <a:defRPr sz="1200" b="0" i="0" u="none" strike="noStrike" cap="none">
                <a:solidFill>
                  <a:srgbClr val="919497"/>
                </a:solidFill>
                <a:latin typeface="Calibri"/>
                <a:ea typeface="Calibri"/>
                <a:cs typeface="Calibri"/>
                <a:sym typeface="Calibri"/>
              </a:defRPr>
            </a:lvl2pPr>
            <a:lvl3pPr marL="0" marR="0" lvl="2" indent="0" algn="r" rtl="0">
              <a:spcBef>
                <a:spcPts val="0"/>
              </a:spcBef>
              <a:buNone/>
              <a:defRPr sz="1200" b="0" i="0" u="none" strike="noStrike" cap="none">
                <a:solidFill>
                  <a:srgbClr val="919497"/>
                </a:solidFill>
                <a:latin typeface="Calibri"/>
                <a:ea typeface="Calibri"/>
                <a:cs typeface="Calibri"/>
                <a:sym typeface="Calibri"/>
              </a:defRPr>
            </a:lvl3pPr>
            <a:lvl4pPr marL="0" marR="0" lvl="3" indent="0" algn="r" rtl="0">
              <a:spcBef>
                <a:spcPts val="0"/>
              </a:spcBef>
              <a:buNone/>
              <a:defRPr sz="1200" b="0" i="0" u="none" strike="noStrike" cap="none">
                <a:solidFill>
                  <a:srgbClr val="919497"/>
                </a:solidFill>
                <a:latin typeface="Calibri"/>
                <a:ea typeface="Calibri"/>
                <a:cs typeface="Calibri"/>
                <a:sym typeface="Calibri"/>
              </a:defRPr>
            </a:lvl4pPr>
            <a:lvl5pPr marL="0" marR="0" lvl="4" indent="0" algn="r" rtl="0">
              <a:spcBef>
                <a:spcPts val="0"/>
              </a:spcBef>
              <a:buNone/>
              <a:defRPr sz="1200" b="0" i="0" u="none" strike="noStrike" cap="none">
                <a:solidFill>
                  <a:srgbClr val="919497"/>
                </a:solidFill>
                <a:latin typeface="Calibri"/>
                <a:ea typeface="Calibri"/>
                <a:cs typeface="Calibri"/>
                <a:sym typeface="Calibri"/>
              </a:defRPr>
            </a:lvl5pPr>
            <a:lvl6pPr marL="0" marR="0" lvl="5" indent="0" algn="r" rtl="0">
              <a:spcBef>
                <a:spcPts val="0"/>
              </a:spcBef>
              <a:buNone/>
              <a:defRPr sz="1200" b="0" i="0" u="none" strike="noStrike" cap="none">
                <a:solidFill>
                  <a:srgbClr val="919497"/>
                </a:solidFill>
                <a:latin typeface="Calibri"/>
                <a:ea typeface="Calibri"/>
                <a:cs typeface="Calibri"/>
                <a:sym typeface="Calibri"/>
              </a:defRPr>
            </a:lvl6pPr>
            <a:lvl7pPr marL="0" marR="0" lvl="6" indent="0" algn="r" rtl="0">
              <a:spcBef>
                <a:spcPts val="0"/>
              </a:spcBef>
              <a:buNone/>
              <a:defRPr sz="1200" b="0" i="0" u="none" strike="noStrike" cap="none">
                <a:solidFill>
                  <a:srgbClr val="919497"/>
                </a:solidFill>
                <a:latin typeface="Calibri"/>
                <a:ea typeface="Calibri"/>
                <a:cs typeface="Calibri"/>
                <a:sym typeface="Calibri"/>
              </a:defRPr>
            </a:lvl7pPr>
            <a:lvl8pPr marL="0" marR="0" lvl="7" indent="0" algn="r" rtl="0">
              <a:spcBef>
                <a:spcPts val="0"/>
              </a:spcBef>
              <a:buNone/>
              <a:defRPr sz="1200" b="0" i="0" u="none" strike="noStrike" cap="none">
                <a:solidFill>
                  <a:srgbClr val="919497"/>
                </a:solidFill>
                <a:latin typeface="Calibri"/>
                <a:ea typeface="Calibri"/>
                <a:cs typeface="Calibri"/>
                <a:sym typeface="Calibri"/>
              </a:defRPr>
            </a:lvl8pPr>
            <a:lvl9pPr marL="0" marR="0" lvl="8" indent="0" algn="r" rtl="0">
              <a:spcBef>
                <a:spcPts val="0"/>
              </a:spcBef>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3" name="Google Shape;13;p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3541513208"/>
      </p:ext>
    </p:extLst>
  </p:cSld>
  <p:clrMap bg1="lt1" tx1="dk1" bg2="dk2" tx2="lt2" accent1="accent1" accent2="accent2" accent3="accent3" accent4="accent4" accent5="accent5" accent6="accent6" hlink="hlink" folHlink="folHlink"/>
  <p:sldLayoutIdLst>
    <p:sldLayoutId id="2147490003" r:id="rId1"/>
    <p:sldLayoutId id="2147490004" r:id="rId2"/>
    <p:sldLayoutId id="2147490005" r:id="rId3"/>
    <p:sldLayoutId id="2147490006" r:id="rId4"/>
    <p:sldLayoutId id="2147490007" r:id="rId5"/>
    <p:sldLayoutId id="2147490008" r:id="rId6"/>
    <p:sldLayoutId id="2147490009" r:id="rId7"/>
    <p:sldLayoutId id="2147490010" r:id="rId8"/>
    <p:sldLayoutId id="2147490011" r:id="rId9"/>
    <p:sldLayoutId id="2147490012" r:id="rId10"/>
    <p:sldLayoutId id="2147490013" r:id="rId11"/>
    <p:sldLayoutId id="2147490014" r:id="rId12"/>
    <p:sldLayoutId id="2147490015" r:id="rId13"/>
    <p:sldLayoutId id="2147490016" r:id="rId14"/>
    <p:sldLayoutId id="2147490017" r:id="rId15"/>
    <p:sldLayoutId id="2147490018" r:id="rId16"/>
    <p:sldLayoutId id="2147490019" r:id="rId17"/>
    <p:sldLayoutId id="2147490020" r:id="rId18"/>
    <p:sldLayoutId id="2147490021" r:id="rId19"/>
    <p:sldLayoutId id="2147490022" r:id="rId20"/>
    <p:sldLayoutId id="2147490023" r:id="rId21"/>
    <p:sldLayoutId id="2147490024" r:id="rId22"/>
    <p:sldLayoutId id="2147490025" r:id="rId23"/>
    <p:sldLayoutId id="2147490026" r:id="rId24"/>
    <p:sldLayoutId id="2147490027" r:id="rId25"/>
    <p:sldLayoutId id="2147490028" r:id="rId26"/>
    <p:sldLayoutId id="2147490029" r:id="rId27"/>
    <p:sldLayoutId id="2147490030" r:id="rId28"/>
    <p:sldLayoutId id="2147490031" r:id="rId29"/>
    <p:sldLayoutId id="2147490032" r:id="rId30"/>
    <p:sldLayoutId id="2147490033" r:id="rId31"/>
    <p:sldLayoutId id="2147490034" r:id="rId32"/>
    <p:sldLayoutId id="2147490035" r:id="rId33"/>
    <p:sldLayoutId id="2147490036" r:id="rId34"/>
    <p:sldLayoutId id="2147490037" r:id="rId35"/>
    <p:sldLayoutId id="2147490038" r:id="rId36"/>
    <p:sldLayoutId id="2147490039" r:id="rId37"/>
    <p:sldLayoutId id="2147490040" r:id="rId38"/>
    <p:sldLayoutId id="2147490041" r:id="rId39"/>
    <p:sldLayoutId id="2147490042" r:id="rId40"/>
    <p:sldLayoutId id="2147490043" r:id="rId41"/>
    <p:sldLayoutId id="2147490044" r:id="rId42"/>
    <p:sldLayoutId id="2147490045" r:id="rId43"/>
    <p:sldLayoutId id="2147490046" r:id="rId44"/>
    <p:sldLayoutId id="2147490047" r:id="rId45"/>
    <p:sldLayoutId id="2147490048" r:id="rId46"/>
    <p:sldLayoutId id="2147490049" r:id="rId47"/>
    <p:sldLayoutId id="2147490050" r:id="rId48"/>
    <p:sldLayoutId id="2147490051" r:id="rId49"/>
    <p:sldLayoutId id="2147490052" r:id="rId50"/>
    <p:sldLayoutId id="2147490053" r:id="rId51"/>
    <p:sldLayoutId id="2147490054" r:id="rId52"/>
    <p:sldLayoutId id="2147490055" r:id="rId53"/>
    <p:sldLayoutId id="2147490056" r:id="rId54"/>
    <p:sldLayoutId id="2147490057" r:id="rId55"/>
    <p:sldLayoutId id="2147490058" r:id="rId56"/>
    <p:sldLayoutId id="2147490059" r:id="rId57"/>
    <p:sldLayoutId id="2147490060" r:id="rId58"/>
    <p:sldLayoutId id="2147490061" r:id="rId59"/>
    <p:sldLayoutId id="2147490062" r:id="rId60"/>
    <p:sldLayoutId id="2147490063" r:id="rId61"/>
    <p:sldLayoutId id="2147490064" r:id="rId62"/>
    <p:sldLayoutId id="2147490065" r:id="rId63"/>
    <p:sldLayoutId id="2147490066" r:id="rId64"/>
    <p:sldLayoutId id="2147490067" r:id="rId65"/>
    <p:sldLayoutId id="2147490068" r:id="rId66"/>
    <p:sldLayoutId id="2147490069" r:id="rId67"/>
    <p:sldLayoutId id="2147490070" r:id="rId68"/>
    <p:sldLayoutId id="2147490071" r:id="rId69"/>
    <p:sldLayoutId id="2147490072" r:id="rId70"/>
    <p:sldLayoutId id="2147490073" r:id="rId71"/>
    <p:sldLayoutId id="2147490074" r:id="rId72"/>
    <p:sldLayoutId id="2147490075" r:id="rId73"/>
    <p:sldLayoutId id="2147490076" r:id="rId74"/>
    <p:sldLayoutId id="2147490077" r:id="rId75"/>
    <p:sldLayoutId id="2147490078" r:id="rId76"/>
    <p:sldLayoutId id="2147490079" r:id="rId77"/>
    <p:sldLayoutId id="2147490080" r:id="rId78"/>
    <p:sldLayoutId id="2147490081" r:id="rId79"/>
    <p:sldLayoutId id="2147490082" r:id="rId80"/>
    <p:sldLayoutId id="2147490083" r:id="rId81"/>
    <p:sldLayoutId id="2147490084" r:id="rId82"/>
    <p:sldLayoutId id="2147490085" r:id="rId83"/>
    <p:sldLayoutId id="2147490086" r:id="rId84"/>
    <p:sldLayoutId id="2147490087" r:id="rId85"/>
    <p:sldLayoutId id="2147490088" r:id="rId86"/>
    <p:sldLayoutId id="2147490089" r:id="rId87"/>
    <p:sldLayoutId id="2147490090" r:id="rId88"/>
    <p:sldLayoutId id="2147490091" r:id="rId89"/>
    <p:sldLayoutId id="2147490092" r:id="rId90"/>
    <p:sldLayoutId id="2147490093" r:id="rId91"/>
    <p:sldLayoutId id="2147490094" r:id="rId92"/>
    <p:sldLayoutId id="2147490095" r:id="rId93"/>
    <p:sldLayoutId id="2147490096" r:id="rId94"/>
    <p:sldLayoutId id="2147490097" r:id="rId95"/>
    <p:sldLayoutId id="2147490098" r:id="rId96"/>
    <p:sldLayoutId id="2147490099" r:id="rId97"/>
    <p:sldLayoutId id="2147490100" r:id="rId98"/>
    <p:sldLayoutId id="2147490101" r:id="rId99"/>
    <p:sldLayoutId id="2147490102" r:id="rId100"/>
    <p:sldLayoutId id="2147490103" r:id="rId101"/>
    <p:sldLayoutId id="2147490104" r:id="rId102"/>
    <p:sldLayoutId id="2147490105" r:id="rId103"/>
    <p:sldLayoutId id="2147490106" r:id="rId104"/>
    <p:sldLayoutId id="2147490107" r:id="rId105"/>
    <p:sldLayoutId id="2147490108" r:id="rId106"/>
    <p:sldLayoutId id="2147490109" r:id="rId107"/>
    <p:sldLayoutId id="2147490110" r:id="rId108"/>
    <p:sldLayoutId id="2147490111" r:id="rId109"/>
    <p:sldLayoutId id="2147490112" r:id="rId110"/>
    <p:sldLayoutId id="2147490113" r:id="rId111"/>
    <p:sldLayoutId id="2147490114" r:id="rId112"/>
    <p:sldLayoutId id="2147490115" r:id="rId113"/>
    <p:sldLayoutId id="2147490116" r:id="rId114"/>
    <p:sldLayoutId id="2147490117" r:id="rId115"/>
    <p:sldLayoutId id="2147490118" r:id="rId116"/>
    <p:sldLayoutId id="2147490119" r:id="rId117"/>
    <p:sldLayoutId id="2147490120" r:id="rId118"/>
    <p:sldLayoutId id="2147490121" r:id="rId119"/>
    <p:sldLayoutId id="2147490122" r:id="rId120"/>
    <p:sldLayoutId id="2147490123" r:id="rId121"/>
    <p:sldLayoutId id="2147490124" r:id="rId122"/>
    <p:sldLayoutId id="2147490125" r:id="rId123"/>
    <p:sldLayoutId id="2147490126" r:id="rId124"/>
    <p:sldLayoutId id="2147490127" r:id="rId125"/>
    <p:sldLayoutId id="2147490128" r:id="rId126"/>
    <p:sldLayoutId id="2147490129" r:id="rId127"/>
    <p:sldLayoutId id="2147490130" r:id="rId12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905"/>
        <p:cNvGrpSpPr/>
        <p:nvPr/>
      </p:nvGrpSpPr>
      <p:grpSpPr>
        <a:xfrm>
          <a:off x="0" y="0"/>
          <a:ext cx="0" cy="0"/>
          <a:chOff x="0" y="0"/>
          <a:chExt cx="0" cy="0"/>
        </a:xfrm>
      </p:grpSpPr>
      <p:sp>
        <p:nvSpPr>
          <p:cNvPr id="2906" name="Google Shape;2906;p3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5400"/>
              <a:buFont typeface="Calibri"/>
              <a:buNone/>
              <a:defRPr sz="5400" b="1" i="0" u="none" strike="noStrike" cap="none">
                <a:solidFill>
                  <a:schemeClr val="accen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907" name="Google Shape;2907;p38"/>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00" marR="0" lvl="0" indent="-457200" algn="l" rtl="0">
              <a:lnSpc>
                <a:spcPct val="100000"/>
              </a:lnSpc>
              <a:spcBef>
                <a:spcPts val="1500"/>
              </a:spcBef>
              <a:spcAft>
                <a:spcPts val="0"/>
              </a:spcAft>
              <a:buClr>
                <a:schemeClr val="accent2"/>
              </a:buClr>
              <a:buSzPts val="3600"/>
              <a:buFont typeface="Arial"/>
              <a:buChar char="•"/>
              <a:defRPr sz="3600" b="0" i="0" u="none" strike="noStrike" cap="none">
                <a:solidFill>
                  <a:schemeClr val="dk1"/>
                </a:solidFill>
                <a:latin typeface="Calibri"/>
                <a:ea typeface="Calibri"/>
                <a:cs typeface="Calibri"/>
                <a:sym typeface="Calibri"/>
              </a:defRPr>
            </a:lvl1pPr>
            <a:lvl2pPr marL="914400" marR="0" lvl="1" indent="-419100" algn="l" rtl="0">
              <a:lnSpc>
                <a:spcPct val="100000"/>
              </a:lnSpc>
              <a:spcBef>
                <a:spcPts val="1500"/>
              </a:spcBef>
              <a:spcAft>
                <a:spcPts val="0"/>
              </a:spcAft>
              <a:buClr>
                <a:schemeClr val="accent1"/>
              </a:buClr>
              <a:buSzPts val="3000"/>
              <a:buFont typeface="Arial"/>
              <a:buChar char="•"/>
              <a:defRPr sz="3000" b="0" i="0" u="none" strike="noStrike" cap="none">
                <a:solidFill>
                  <a:schemeClr val="dk1"/>
                </a:solidFill>
                <a:latin typeface="Calibri"/>
                <a:ea typeface="Calibri"/>
                <a:cs typeface="Calibri"/>
                <a:sym typeface="Calibri"/>
              </a:defRPr>
            </a:lvl2pPr>
            <a:lvl3pPr marL="1371600" marR="0" lvl="2" indent="-400050" algn="l" rtl="0">
              <a:lnSpc>
                <a:spcPct val="100000"/>
              </a:lnSpc>
              <a:spcBef>
                <a:spcPts val="1500"/>
              </a:spcBef>
              <a:spcAft>
                <a:spcPts val="0"/>
              </a:spcAft>
              <a:buClr>
                <a:schemeClr val="accent2"/>
              </a:buClr>
              <a:buSzPts val="2700"/>
              <a:buFont typeface="Arial"/>
              <a:buChar char="•"/>
              <a:defRPr sz="2700" b="0" i="0" u="none" strike="noStrike" cap="none">
                <a:solidFill>
                  <a:schemeClr val="dk1"/>
                </a:solidFill>
                <a:latin typeface="Calibri"/>
                <a:ea typeface="Calibri"/>
                <a:cs typeface="Calibri"/>
                <a:sym typeface="Calibri"/>
              </a:defRPr>
            </a:lvl3pPr>
            <a:lvl4pPr marL="1828800" marR="0" lvl="3" indent="-381000" algn="l" rtl="0">
              <a:lnSpc>
                <a:spcPct val="100000"/>
              </a:lnSpc>
              <a:spcBef>
                <a:spcPts val="15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4pPr>
            <a:lvl5pPr marL="2286000" marR="0" lvl="4" indent="-381000" algn="l" rtl="0">
              <a:lnSpc>
                <a:spcPct val="100000"/>
              </a:lnSpc>
              <a:spcBef>
                <a:spcPts val="15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5pPr>
            <a:lvl6pPr marL="2743200" marR="0" lvl="5" indent="-400050" algn="l" rtl="0">
              <a:lnSpc>
                <a:spcPct val="90000"/>
              </a:lnSpc>
              <a:spcBef>
                <a:spcPts val="1500"/>
              </a:spcBef>
              <a:spcAft>
                <a:spcPts val="0"/>
              </a:spcAft>
              <a:buClr>
                <a:schemeClr val="dk1"/>
              </a:buClr>
              <a:buSzPts val="2700"/>
              <a:buFont typeface="Arial"/>
              <a:buChar char="•"/>
              <a:defRPr sz="2700" b="0" i="0" u="none" strike="noStrike" cap="none">
                <a:solidFill>
                  <a:schemeClr val="dk1"/>
                </a:solidFill>
                <a:latin typeface="Calibri"/>
                <a:ea typeface="Calibri"/>
                <a:cs typeface="Calibri"/>
                <a:sym typeface="Calibri"/>
              </a:defRPr>
            </a:lvl6pPr>
            <a:lvl7pPr marL="3200400" marR="0" lvl="6" indent="-400050" algn="l" rtl="0">
              <a:lnSpc>
                <a:spcPct val="90000"/>
              </a:lnSpc>
              <a:spcBef>
                <a:spcPts val="750"/>
              </a:spcBef>
              <a:spcAft>
                <a:spcPts val="0"/>
              </a:spcAft>
              <a:buClr>
                <a:schemeClr val="dk1"/>
              </a:buClr>
              <a:buSzPts val="2700"/>
              <a:buFont typeface="Arial"/>
              <a:buChar char="•"/>
              <a:defRPr sz="2700" b="0" i="0" u="none" strike="noStrike" cap="none">
                <a:solidFill>
                  <a:schemeClr val="dk1"/>
                </a:solidFill>
                <a:latin typeface="Calibri"/>
                <a:ea typeface="Calibri"/>
                <a:cs typeface="Calibri"/>
                <a:sym typeface="Calibri"/>
              </a:defRPr>
            </a:lvl7pPr>
            <a:lvl8pPr marL="3657600" marR="0" lvl="7" indent="-400050" algn="l" rtl="0">
              <a:lnSpc>
                <a:spcPct val="90000"/>
              </a:lnSpc>
              <a:spcBef>
                <a:spcPts val="750"/>
              </a:spcBef>
              <a:spcAft>
                <a:spcPts val="0"/>
              </a:spcAft>
              <a:buClr>
                <a:schemeClr val="dk1"/>
              </a:buClr>
              <a:buSzPts val="2700"/>
              <a:buFont typeface="Arial"/>
              <a:buChar char="•"/>
              <a:defRPr sz="2700" b="0" i="0" u="none" strike="noStrike" cap="none">
                <a:solidFill>
                  <a:schemeClr val="dk1"/>
                </a:solidFill>
                <a:latin typeface="Calibri"/>
                <a:ea typeface="Calibri"/>
                <a:cs typeface="Calibri"/>
                <a:sym typeface="Calibri"/>
              </a:defRPr>
            </a:lvl8pPr>
            <a:lvl9pPr marL="4114800" marR="0" lvl="8" indent="-400050" algn="l" rtl="0">
              <a:lnSpc>
                <a:spcPct val="90000"/>
              </a:lnSpc>
              <a:spcBef>
                <a:spcPts val="750"/>
              </a:spcBef>
              <a:spcAft>
                <a:spcPts val="0"/>
              </a:spcAft>
              <a:buClr>
                <a:schemeClr val="dk1"/>
              </a:buClr>
              <a:buSzPts val="2700"/>
              <a:buFont typeface="Arial"/>
              <a:buChar char="•"/>
              <a:defRPr sz="2700" b="0" i="0" u="none" strike="noStrike" cap="none">
                <a:solidFill>
                  <a:schemeClr val="dk1"/>
                </a:solidFill>
                <a:latin typeface="Calibri"/>
                <a:ea typeface="Calibri"/>
                <a:cs typeface="Calibri"/>
                <a:sym typeface="Calibri"/>
              </a:defRPr>
            </a:lvl9pPr>
          </a:lstStyle>
          <a:p>
            <a:endParaRPr/>
          </a:p>
        </p:txBody>
      </p:sp>
      <p:sp>
        <p:nvSpPr>
          <p:cNvPr id="2908" name="Google Shape;2908;p3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1pPr>
            <a:lvl2pPr marL="0" marR="0" lvl="1"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2pPr>
            <a:lvl3pPr marL="0" marR="0" lvl="2"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3pPr>
            <a:lvl4pPr marL="0" marR="0" lvl="3"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4pPr>
            <a:lvl5pPr marL="0" marR="0" lvl="4"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5pPr>
            <a:lvl6pPr marL="0" marR="0" lvl="5"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6pPr>
            <a:lvl7pPr marL="0" marR="0" lvl="6"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7pPr>
            <a:lvl8pPr marL="0" marR="0" lvl="7"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8pPr>
            <a:lvl9pPr marL="0" marR="0" lvl="8"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2909" name="Google Shape;2909;p3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SzPts val="1400"/>
              <a:buNone/>
              <a:defRPr sz="1200" b="0" i="0" u="none" strike="noStrike" cap="none">
                <a:solidFill>
                  <a:srgbClr val="919497"/>
                </a:solidFill>
                <a:latin typeface="Arial"/>
                <a:ea typeface="Arial"/>
                <a:cs typeface="Arial"/>
                <a:sym typeface="Arial"/>
              </a:defRPr>
            </a:lvl1pPr>
            <a:lvl2pPr marR="0" lvl="1"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933"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2248020909"/>
      </p:ext>
    </p:extLst>
  </p:cSld>
  <p:clrMap bg1="lt1" tx1="dk1" bg2="dk2" tx2="lt2" accent1="accent1" accent2="accent2" accent3="accent3" accent4="accent4" accent5="accent5" accent6="accent6" hlink="hlink" folHlink="folHlink"/>
  <p:sldLayoutIdLst>
    <p:sldLayoutId id="2147484050" r:id="rId1"/>
    <p:sldLayoutId id="2147484051" r:id="rId2"/>
    <p:sldLayoutId id="2147484052" r:id="rId3"/>
    <p:sldLayoutId id="2147484053" r:id="rId4"/>
    <p:sldLayoutId id="2147484054" r:id="rId5"/>
    <p:sldLayoutId id="2147484055" r:id="rId6"/>
    <p:sldLayoutId id="2147484056" r:id="rId7"/>
    <p:sldLayoutId id="2147484057" r:id="rId8"/>
    <p:sldLayoutId id="2147484058" r:id="rId9"/>
    <p:sldLayoutId id="2147484059" r:id="rId10"/>
    <p:sldLayoutId id="2147484060" r:id="rId11"/>
    <p:sldLayoutId id="2147484061" r:id="rId12"/>
    <p:sldLayoutId id="2147484062" r:id="rId13"/>
    <p:sldLayoutId id="2147484063" r:id="rId14"/>
    <p:sldLayoutId id="2147484064" r:id="rId15"/>
    <p:sldLayoutId id="2147484065" r:id="rId16"/>
    <p:sldLayoutId id="2147484066" r:id="rId17"/>
    <p:sldLayoutId id="2147484067" r:id="rId18"/>
    <p:sldLayoutId id="2147484068" r:id="rId19"/>
    <p:sldLayoutId id="2147484069" r:id="rId20"/>
    <p:sldLayoutId id="2147484070" r:id="rId21"/>
    <p:sldLayoutId id="2147484071" r:id="rId22"/>
    <p:sldLayoutId id="2147484072" r:id="rId23"/>
    <p:sldLayoutId id="2147484073" r:id="rId24"/>
    <p:sldLayoutId id="2147484074" r:id="rId25"/>
    <p:sldLayoutId id="2147484075" r:id="rId26"/>
    <p:sldLayoutId id="2147484076" r:id="rId27"/>
    <p:sldLayoutId id="2147484077" r:id="rId28"/>
    <p:sldLayoutId id="2147484078" r:id="rId29"/>
    <p:sldLayoutId id="2147484079" r:id="rId30"/>
    <p:sldLayoutId id="2147484080" r:id="rId31"/>
    <p:sldLayoutId id="2147484081" r:id="rId32"/>
    <p:sldLayoutId id="2147484082" r:id="rId33"/>
    <p:sldLayoutId id="2147484083" r:id="rId34"/>
    <p:sldLayoutId id="2147484084" r:id="rId35"/>
    <p:sldLayoutId id="2147484085" r:id="rId36"/>
    <p:sldLayoutId id="2147484086" r:id="rId37"/>
    <p:sldLayoutId id="2147484087" r:id="rId38"/>
    <p:sldLayoutId id="2147484088" r:id="rId39"/>
    <p:sldLayoutId id="2147484089" r:id="rId40"/>
    <p:sldLayoutId id="2147484090" r:id="rId41"/>
    <p:sldLayoutId id="2147484091" r:id="rId42"/>
    <p:sldLayoutId id="2147484092" r:id="rId43"/>
    <p:sldLayoutId id="2147484093" r:id="rId44"/>
    <p:sldLayoutId id="2147484094" r:id="rId45"/>
    <p:sldLayoutId id="2147484095" r:id="rId46"/>
    <p:sldLayoutId id="2147484096" r:id="rId47"/>
    <p:sldLayoutId id="2147484097" r:id="rId48"/>
    <p:sldLayoutId id="2147484098" r:id="rId49"/>
    <p:sldLayoutId id="2147484099" r:id="rId50"/>
    <p:sldLayoutId id="2147484100" r:id="rId51"/>
    <p:sldLayoutId id="2147484101" r:id="rId52"/>
    <p:sldLayoutId id="2147484102" r:id="rId53"/>
    <p:sldLayoutId id="2147484103" r:id="rId54"/>
    <p:sldLayoutId id="2147484104" r:id="rId55"/>
    <p:sldLayoutId id="2147484105" r:id="rId56"/>
    <p:sldLayoutId id="2147484106" r:id="rId57"/>
    <p:sldLayoutId id="2147484107" r:id="rId58"/>
    <p:sldLayoutId id="2147484108" r:id="rId59"/>
    <p:sldLayoutId id="2147484109" r:id="rId60"/>
    <p:sldLayoutId id="2147484110" r:id="rId61"/>
    <p:sldLayoutId id="2147484111" r:id="rId62"/>
    <p:sldLayoutId id="2147484112" r:id="rId63"/>
    <p:sldLayoutId id="2147484113" r:id="rId64"/>
    <p:sldLayoutId id="2147484114" r:id="rId65"/>
    <p:sldLayoutId id="2147484115" r:id="rId66"/>
    <p:sldLayoutId id="2147484116" r:id="rId67"/>
    <p:sldLayoutId id="2147484117" r:id="rId68"/>
    <p:sldLayoutId id="2147484118" r:id="rId69"/>
    <p:sldLayoutId id="2147484119" r:id="rId70"/>
    <p:sldLayoutId id="2147484120" r:id="rId71"/>
    <p:sldLayoutId id="2147484121" r:id="rId72"/>
    <p:sldLayoutId id="2147484122" r:id="rId73"/>
    <p:sldLayoutId id="2147484123" r:id="rId74"/>
    <p:sldLayoutId id="2147484124" r:id="rId75"/>
    <p:sldLayoutId id="2147484125" r:id="rId76"/>
    <p:sldLayoutId id="2147484126" r:id="rId77"/>
    <p:sldLayoutId id="2147484127" r:id="rId78"/>
    <p:sldLayoutId id="2147484128" r:id="rId79"/>
    <p:sldLayoutId id="2147484129" r:id="rId80"/>
    <p:sldLayoutId id="2147484130" r:id="rId81"/>
    <p:sldLayoutId id="2147484131" r:id="rId82"/>
    <p:sldLayoutId id="2147484132" r:id="rId83"/>
    <p:sldLayoutId id="2147484133" r:id="rId84"/>
    <p:sldLayoutId id="2147484134" r:id="rId85"/>
    <p:sldLayoutId id="2147484135" r:id="rId86"/>
    <p:sldLayoutId id="2147484136" r:id="rId87"/>
    <p:sldLayoutId id="2147484137" r:id="rId88"/>
    <p:sldLayoutId id="2147484138" r:id="rId89"/>
    <p:sldLayoutId id="2147484139" r:id="rId90"/>
    <p:sldLayoutId id="2147484140" r:id="rId91"/>
    <p:sldLayoutId id="2147484141" r:id="rId92"/>
    <p:sldLayoutId id="2147484142" r:id="rId93"/>
    <p:sldLayoutId id="2147484143" r:id="rId94"/>
    <p:sldLayoutId id="2147484144" r:id="rId95"/>
    <p:sldLayoutId id="2147484145" r:id="rId96"/>
    <p:sldLayoutId id="2147484146" r:id="rId97"/>
    <p:sldLayoutId id="2147484147" r:id="rId98"/>
    <p:sldLayoutId id="2147484148" r:id="rId99"/>
    <p:sldLayoutId id="2147484149" r:id="rId100"/>
    <p:sldLayoutId id="2147484150" r:id="rId101"/>
    <p:sldLayoutId id="2147484151" r:id="rId102"/>
    <p:sldLayoutId id="2147484152" r:id="rId103"/>
    <p:sldLayoutId id="2147484153" r:id="rId104"/>
    <p:sldLayoutId id="2147484154" r:id="rId105"/>
    <p:sldLayoutId id="2147484155" r:id="rId106"/>
    <p:sldLayoutId id="2147484156" r:id="rId107"/>
    <p:sldLayoutId id="2147484157" r:id="rId108"/>
    <p:sldLayoutId id="2147484158" r:id="rId109"/>
    <p:sldLayoutId id="2147484159" r:id="rId110"/>
    <p:sldLayoutId id="2147484160" r:id="rId111"/>
    <p:sldLayoutId id="2147484161" r:id="rId112"/>
    <p:sldLayoutId id="2147484162" r:id="rId113"/>
    <p:sldLayoutId id="2147484163" r:id="rId114"/>
    <p:sldLayoutId id="2147484164" r:id="rId115"/>
    <p:sldLayoutId id="2147484165" r:id="rId116"/>
    <p:sldLayoutId id="2147484166" r:id="rId117"/>
    <p:sldLayoutId id="2147484167" r:id="rId118"/>
    <p:sldLayoutId id="2147484168" r:id="rId119"/>
    <p:sldLayoutId id="2147484169" r:id="rId120"/>
    <p:sldLayoutId id="2147484170" r:id="rId121"/>
    <p:sldLayoutId id="2147484171" r:id="rId122"/>
    <p:sldLayoutId id="2147484172" r:id="rId123"/>
    <p:sldLayoutId id="2147484173" r:id="rId124"/>
    <p:sldLayoutId id="2147484174" r:id="rId125"/>
    <p:sldLayoutId id="2147484175" r:id="rId126"/>
    <p:sldLayoutId id="2147484176" r:id="rId127"/>
    <p:sldLayoutId id="2147484177" r:id="rId128"/>
    <p:sldLayoutId id="2147484178" r:id="rId129"/>
    <p:sldLayoutId id="2147484179" r:id="rId130"/>
    <p:sldLayoutId id="2147484180" r:id="rId131"/>
    <p:sldLayoutId id="2147484181" r:id="rId132"/>
    <p:sldLayoutId id="2147484182" r:id="rId133"/>
    <p:sldLayoutId id="2147484183" r:id="rId134"/>
    <p:sldLayoutId id="2147484184" r:id="rId135"/>
    <p:sldLayoutId id="2147484185" r:id="rId136"/>
    <p:sldLayoutId id="2147484186" r:id="rId137"/>
    <p:sldLayoutId id="2147484187" r:id="rId138"/>
    <p:sldLayoutId id="2147484188" r:id="rId139"/>
    <p:sldLayoutId id="2147484189" r:id="rId140"/>
    <p:sldLayoutId id="2147484190" r:id="rId141"/>
    <p:sldLayoutId id="2147484191" r:id="rId142"/>
    <p:sldLayoutId id="2147484192" r:id="rId143"/>
    <p:sldLayoutId id="2147484193" r:id="rId144"/>
    <p:sldLayoutId id="2147484194" r:id="rId145"/>
    <p:sldLayoutId id="2147484195" r:id="rId146"/>
    <p:sldLayoutId id="2147484196" r:id="rId147"/>
    <p:sldLayoutId id="2147484197" r:id="rId148"/>
    <p:sldLayoutId id="2147484198" r:id="rId149"/>
    <p:sldLayoutId id="2147484199" r:id="rId150"/>
    <p:sldLayoutId id="2147489471" r:id="rId151"/>
    <p:sldLayoutId id="2147484201" r:id="rId152"/>
    <p:sldLayoutId id="2147484202" r:id="rId153"/>
    <p:sldLayoutId id="2147484203" r:id="rId154"/>
    <p:sldLayoutId id="2147484204" r:id="rId155"/>
    <p:sldLayoutId id="2147489472" r:id="rId156"/>
    <p:sldLayoutId id="2147489473" r:id="rId157"/>
    <p:sldLayoutId id="2147484207" r:id="rId158"/>
    <p:sldLayoutId id="2147484208" r:id="rId159"/>
    <p:sldLayoutId id="2147484209" r:id="rId160"/>
    <p:sldLayoutId id="2147484210" r:id="rId161"/>
    <p:sldLayoutId id="2147484211" r:id="rId162"/>
    <p:sldLayoutId id="2147484212" r:id="rId163"/>
    <p:sldLayoutId id="2147484213" r:id="rId164"/>
    <p:sldLayoutId id="2147484214" r:id="rId165"/>
    <p:sldLayoutId id="2147484215" r:id="rId166"/>
    <p:sldLayoutId id="2147484216" r:id="rId167"/>
    <p:sldLayoutId id="2147484217" r:id="rId168"/>
    <p:sldLayoutId id="2147484218" r:id="rId169"/>
    <p:sldLayoutId id="2147484219" r:id="rId170"/>
    <p:sldLayoutId id="2147484220" r:id="rId171"/>
    <p:sldLayoutId id="2147484221" r:id="rId172"/>
    <p:sldLayoutId id="2147489522" r:id="rId173"/>
    <p:sldLayoutId id="2147484223" r:id="rId174"/>
    <p:sldLayoutId id="2147484224" r:id="rId175"/>
    <p:sldLayoutId id="2147484225" r:id="rId176"/>
    <p:sldLayoutId id="2147484226" r:id="rId177"/>
    <p:sldLayoutId id="2147484227" r:id="rId178"/>
    <p:sldLayoutId id="2147484228" r:id="rId179"/>
    <p:sldLayoutId id="2147484229" r:id="rId180"/>
    <p:sldLayoutId id="2147484230" r:id="rId181"/>
    <p:sldLayoutId id="2147489475" r:id="rId182"/>
    <p:sldLayoutId id="2147484232" r:id="rId183"/>
    <p:sldLayoutId id="2147484233" r:id="rId184"/>
    <p:sldLayoutId id="2147484234" r:id="rId185"/>
    <p:sldLayoutId id="2147489477" r:id="rId186"/>
    <p:sldLayoutId id="2147484236" r:id="rId187"/>
    <p:sldLayoutId id="2147484237" r:id="rId188"/>
    <p:sldLayoutId id="2147489470" r:id="rId189"/>
    <p:sldLayoutId id="2147484239" r:id="rId190"/>
    <p:sldLayoutId id="2147484240" r:id="rId191"/>
    <p:sldLayoutId id="2147484241" r:id="rId192"/>
    <p:sldLayoutId id="2147484242" r:id="rId193"/>
    <p:sldLayoutId id="2147484243" r:id="rId194"/>
    <p:sldLayoutId id="2147484244" r:id="rId195"/>
    <p:sldLayoutId id="2147484245" r:id="rId196"/>
    <p:sldLayoutId id="2147484246" r:id="rId197"/>
    <p:sldLayoutId id="2147484247" r:id="rId198"/>
    <p:sldLayoutId id="2147484248" r:id="rId199"/>
    <p:sldLayoutId id="2147484249" r:id="rId200"/>
    <p:sldLayoutId id="2147484250" r:id="rId201"/>
    <p:sldLayoutId id="2147484251" r:id="rId202"/>
    <p:sldLayoutId id="2147484252" r:id="rId203"/>
    <p:sldLayoutId id="2147484253" r:id="rId204"/>
    <p:sldLayoutId id="2147484254" r:id="rId205"/>
    <p:sldLayoutId id="2147484255" r:id="rId206"/>
    <p:sldLayoutId id="2147484256" r:id="rId207"/>
    <p:sldLayoutId id="2147484257" r:id="rId208"/>
    <p:sldLayoutId id="2147484258" r:id="rId209"/>
    <p:sldLayoutId id="2147484259" r:id="rId210"/>
    <p:sldLayoutId id="2147484260" r:id="rId211"/>
    <p:sldLayoutId id="2147484261" r:id="rId212"/>
    <p:sldLayoutId id="2147484262" r:id="rId213"/>
    <p:sldLayoutId id="2147484263" r:id="rId214"/>
    <p:sldLayoutId id="2147484264" r:id="rId215"/>
    <p:sldLayoutId id="2147484265" r:id="rId216"/>
    <p:sldLayoutId id="2147484266" r:id="rId217"/>
    <p:sldLayoutId id="2147484267" r:id="rId218"/>
    <p:sldLayoutId id="2147489476" r:id="rId219"/>
    <p:sldLayoutId id="2147484269" r:id="rId220"/>
    <p:sldLayoutId id="2147484270" r:id="rId221"/>
    <p:sldLayoutId id="2147484271" r:id="rId222"/>
    <p:sldLayoutId id="2147484272" r:id="rId223"/>
    <p:sldLayoutId id="2147484273" r:id="rId224"/>
    <p:sldLayoutId id="2147484274" r:id="rId225"/>
    <p:sldLayoutId id="2147484275" r:id="rId226"/>
    <p:sldLayoutId id="2147484276" r:id="rId227"/>
    <p:sldLayoutId id="2147484277" r:id="rId228"/>
    <p:sldLayoutId id="2147484278" r:id="rId229"/>
    <p:sldLayoutId id="2147484279" r:id="rId230"/>
    <p:sldLayoutId id="2147484280" r:id="rId231"/>
    <p:sldLayoutId id="2147484281" r:id="rId232"/>
    <p:sldLayoutId id="2147484282" r:id="rId233"/>
    <p:sldLayoutId id="2147484283" r:id="rId234"/>
    <p:sldLayoutId id="2147484284" r:id="rId235"/>
    <p:sldLayoutId id="2147484285" r:id="rId236"/>
    <p:sldLayoutId id="2147484286" r:id="rId237"/>
    <p:sldLayoutId id="2147484287" r:id="rId238"/>
    <p:sldLayoutId id="2147484288" r:id="rId239"/>
    <p:sldLayoutId id="2147484289" r:id="rId240"/>
    <p:sldLayoutId id="2147484290" r:id="rId241"/>
    <p:sldLayoutId id="2147484291" r:id="rId242"/>
    <p:sldLayoutId id="2147484292" r:id="rId243"/>
    <p:sldLayoutId id="2147484293" r:id="rId244"/>
    <p:sldLayoutId id="2147484294" r:id="rId245"/>
    <p:sldLayoutId id="2147484295" r:id="rId246"/>
    <p:sldLayoutId id="2147484296" r:id="rId247"/>
    <p:sldLayoutId id="2147484297" r:id="rId248"/>
    <p:sldLayoutId id="2147484298" r:id="rId249"/>
    <p:sldLayoutId id="2147484299" r:id="rId250"/>
    <p:sldLayoutId id="2147484300" r:id="rId251"/>
    <p:sldLayoutId id="2147484301" r:id="rId252"/>
    <p:sldLayoutId id="2147484302" r:id="rId253"/>
    <p:sldLayoutId id="2147484303" r:id="rId254"/>
    <p:sldLayoutId id="2147484304" r:id="rId255"/>
    <p:sldLayoutId id="2147484305" r:id="rId256"/>
    <p:sldLayoutId id="2147484306" r:id="rId257"/>
    <p:sldLayoutId id="2147484307" r:id="rId258"/>
    <p:sldLayoutId id="2147484308" r:id="rId259"/>
    <p:sldLayoutId id="2147484309" r:id="rId260"/>
    <p:sldLayoutId id="2147484310" r:id="rId261"/>
    <p:sldLayoutId id="2147484311" r:id="rId262"/>
    <p:sldLayoutId id="2147484312" r:id="rId263"/>
    <p:sldLayoutId id="2147484313" r:id="rId264"/>
    <p:sldLayoutId id="2147484314" r:id="rId265"/>
    <p:sldLayoutId id="2147484315" r:id="rId266"/>
    <p:sldLayoutId id="2147484316" r:id="rId267"/>
    <p:sldLayoutId id="2147484317" r:id="rId268"/>
    <p:sldLayoutId id="2147484318" r:id="rId269"/>
    <p:sldLayoutId id="2147484319" r:id="rId270"/>
    <p:sldLayoutId id="2147484320" r:id="rId271"/>
    <p:sldLayoutId id="2147484321" r:id="rId272"/>
    <p:sldLayoutId id="2147484322" r:id="rId273"/>
    <p:sldLayoutId id="2147484323" r:id="rId274"/>
    <p:sldLayoutId id="2147484324" r:id="rId275"/>
    <p:sldLayoutId id="2147484325" r:id="rId276"/>
    <p:sldLayoutId id="2147484326" r:id="rId277"/>
    <p:sldLayoutId id="2147484327" r:id="rId278"/>
    <p:sldLayoutId id="2147484328" r:id="rId279"/>
    <p:sldLayoutId id="2147484329" r:id="rId280"/>
    <p:sldLayoutId id="2147484330" r:id="rId281"/>
    <p:sldLayoutId id="2147484331" r:id="rId282"/>
    <p:sldLayoutId id="2147484332" r:id="rId283"/>
    <p:sldLayoutId id="2147484333" r:id="rId284"/>
    <p:sldLayoutId id="2147484334" r:id="rId285"/>
    <p:sldLayoutId id="2147484335" r:id="rId286"/>
    <p:sldLayoutId id="2147484336" r:id="rId287"/>
    <p:sldLayoutId id="2147484337" r:id="rId288"/>
    <p:sldLayoutId id="2147484338" r:id="rId289"/>
    <p:sldLayoutId id="2147484339" r:id="rId290"/>
    <p:sldLayoutId id="2147484340" r:id="rId291"/>
    <p:sldLayoutId id="2147484341" r:id="rId292"/>
    <p:sldLayoutId id="2147484342" r:id="rId293"/>
    <p:sldLayoutId id="2147484343" r:id="rId294"/>
    <p:sldLayoutId id="2147484344" r:id="rId295"/>
    <p:sldLayoutId id="2147484345" r:id="rId296"/>
    <p:sldLayoutId id="2147484346" r:id="rId297"/>
    <p:sldLayoutId id="2147484347" r:id="rId298"/>
    <p:sldLayoutId id="2147484348" r:id="rId299"/>
    <p:sldLayoutId id="2147484349" r:id="rId300"/>
    <p:sldLayoutId id="2147484350" r:id="rId301"/>
    <p:sldLayoutId id="2147484351" r:id="rId302"/>
    <p:sldLayoutId id="2147484352" r:id="rId303"/>
    <p:sldLayoutId id="2147484353" r:id="rId304"/>
    <p:sldLayoutId id="2147484354" r:id="rId305"/>
    <p:sldLayoutId id="2147484355" r:id="rId306"/>
    <p:sldLayoutId id="2147484356" r:id="rId307"/>
    <p:sldLayoutId id="2147484357" r:id="rId308"/>
    <p:sldLayoutId id="2147484358" r:id="rId309"/>
    <p:sldLayoutId id="2147484359" r:id="rId310"/>
    <p:sldLayoutId id="2147484360" r:id="rId311"/>
    <p:sldLayoutId id="2147484361" r:id="rId312"/>
    <p:sldLayoutId id="2147484362" r:id="rId313"/>
    <p:sldLayoutId id="2147484363" r:id="rId314"/>
    <p:sldLayoutId id="2147489520" r:id="rId315"/>
    <p:sldLayoutId id="2147484365" r:id="rId316"/>
    <p:sldLayoutId id="2147484366" r:id="rId317"/>
    <p:sldLayoutId id="2147484367" r:id="rId318"/>
    <p:sldLayoutId id="2147484368" r:id="rId319"/>
    <p:sldLayoutId id="2147484369" r:id="rId320"/>
    <p:sldLayoutId id="2147484370" r:id="rId321"/>
    <p:sldLayoutId id="2147484371" r:id="rId322"/>
    <p:sldLayoutId id="2147484372" r:id="rId323"/>
    <p:sldLayoutId id="2147484373" r:id="rId324"/>
    <p:sldLayoutId id="2147484374" r:id="rId325"/>
    <p:sldLayoutId id="2147484375" r:id="rId326"/>
    <p:sldLayoutId id="2147484376" r:id="rId327"/>
    <p:sldLayoutId id="2147484377" r:id="rId328"/>
    <p:sldLayoutId id="2147484378" r:id="rId329"/>
    <p:sldLayoutId id="2147484379" r:id="rId330"/>
    <p:sldLayoutId id="2147484380" r:id="rId331"/>
    <p:sldLayoutId id="2147484381" r:id="rId332"/>
    <p:sldLayoutId id="2147484382" r:id="rId333"/>
    <p:sldLayoutId id="2147484383" r:id="rId334"/>
    <p:sldLayoutId id="2147484384" r:id="rId335"/>
    <p:sldLayoutId id="2147484385" r:id="rId336"/>
    <p:sldLayoutId id="2147484386" r:id="rId337"/>
    <p:sldLayoutId id="2147484387" r:id="rId338"/>
    <p:sldLayoutId id="2147484388" r:id="rId339"/>
    <p:sldLayoutId id="2147484389" r:id="rId340"/>
    <p:sldLayoutId id="2147484390" r:id="rId341"/>
    <p:sldLayoutId id="2147484391" r:id="rId342"/>
    <p:sldLayoutId id="2147484392" r:id="rId343"/>
    <p:sldLayoutId id="2147484393" r:id="rId344"/>
    <p:sldLayoutId id="2147484394" r:id="rId345"/>
    <p:sldLayoutId id="2147484395" r:id="rId346"/>
    <p:sldLayoutId id="2147484396" r:id="rId347"/>
    <p:sldLayoutId id="2147484397" r:id="rId348"/>
    <p:sldLayoutId id="2147484398" r:id="rId349"/>
    <p:sldLayoutId id="2147484399" r:id="rId350"/>
    <p:sldLayoutId id="2147484400" r:id="rId351"/>
    <p:sldLayoutId id="2147484401" r:id="rId352"/>
    <p:sldLayoutId id="2147484402" r:id="rId353"/>
    <p:sldLayoutId id="2147484403" r:id="rId354"/>
    <p:sldLayoutId id="2147484404" r:id="rId355"/>
    <p:sldLayoutId id="2147484405" r:id="rId356"/>
    <p:sldLayoutId id="2147484406" r:id="rId357"/>
    <p:sldLayoutId id="2147484407" r:id="rId358"/>
    <p:sldLayoutId id="2147484408" r:id="rId359"/>
    <p:sldLayoutId id="2147484409" r:id="rId360"/>
    <p:sldLayoutId id="2147484410" r:id="rId361"/>
    <p:sldLayoutId id="2147484411" r:id="rId362"/>
    <p:sldLayoutId id="2147484412" r:id="rId363"/>
    <p:sldLayoutId id="2147484413" r:id="rId364"/>
    <p:sldLayoutId id="2147484414" r:id="rId365"/>
    <p:sldLayoutId id="2147484415" r:id="rId366"/>
    <p:sldLayoutId id="2147484416" r:id="rId367"/>
    <p:sldLayoutId id="2147484417" r:id="rId368"/>
    <p:sldLayoutId id="2147484418" r:id="rId369"/>
    <p:sldLayoutId id="2147484419" r:id="rId370"/>
    <p:sldLayoutId id="2147484420" r:id="rId371"/>
    <p:sldLayoutId id="2147484421" r:id="rId372"/>
    <p:sldLayoutId id="2147484422" r:id="rId373"/>
    <p:sldLayoutId id="2147484423" r:id="rId374"/>
    <p:sldLayoutId id="2147484424" r:id="rId375"/>
    <p:sldLayoutId id="2147484425" r:id="rId376"/>
    <p:sldLayoutId id="2147484426" r:id="rId377"/>
    <p:sldLayoutId id="2147484427" r:id="rId378"/>
    <p:sldLayoutId id="2147484428" r:id="rId379"/>
    <p:sldLayoutId id="2147484429" r:id="rId380"/>
    <p:sldLayoutId id="2147484430" r:id="rId381"/>
    <p:sldLayoutId id="2147484431" r:id="rId382"/>
    <p:sldLayoutId id="2147484432" r:id="rId383"/>
    <p:sldLayoutId id="2147484433" r:id="rId384"/>
    <p:sldLayoutId id="2147484434" r:id="rId385"/>
    <p:sldLayoutId id="2147484435" r:id="rId386"/>
    <p:sldLayoutId id="2147484436" r:id="rId387"/>
    <p:sldLayoutId id="2147484437" r:id="rId388"/>
    <p:sldLayoutId id="2147484438" r:id="rId389"/>
    <p:sldLayoutId id="2147484439" r:id="rId390"/>
    <p:sldLayoutId id="2147484440" r:id="rId391"/>
    <p:sldLayoutId id="2147484441" r:id="rId392"/>
    <p:sldLayoutId id="2147484442" r:id="rId393"/>
    <p:sldLayoutId id="2147484443" r:id="rId394"/>
    <p:sldLayoutId id="2147484444" r:id="rId395"/>
    <p:sldLayoutId id="2147484445" r:id="rId396"/>
    <p:sldLayoutId id="2147484446" r:id="rId397"/>
    <p:sldLayoutId id="2147484447" r:id="rId398"/>
    <p:sldLayoutId id="2147484448" r:id="rId399"/>
    <p:sldLayoutId id="2147484449" r:id="rId400"/>
    <p:sldLayoutId id="2147484450" r:id="rId401"/>
    <p:sldLayoutId id="2147484451" r:id="rId402"/>
    <p:sldLayoutId id="2147484452" r:id="rId403"/>
    <p:sldLayoutId id="2147484453" r:id="rId404"/>
    <p:sldLayoutId id="2147484454" r:id="rId405"/>
    <p:sldLayoutId id="2147484455" r:id="rId406"/>
    <p:sldLayoutId id="2147484456" r:id="rId407"/>
    <p:sldLayoutId id="2147484457" r:id="rId408"/>
    <p:sldLayoutId id="2147484458" r:id="rId409"/>
    <p:sldLayoutId id="2147484459" r:id="rId410"/>
    <p:sldLayoutId id="2147484460" r:id="rId411"/>
    <p:sldLayoutId id="2147484461" r:id="rId412"/>
    <p:sldLayoutId id="2147484462" r:id="rId413"/>
    <p:sldLayoutId id="2147484463" r:id="rId414"/>
    <p:sldLayoutId id="2147484464" r:id="rId415"/>
    <p:sldLayoutId id="2147484465" r:id="rId416"/>
    <p:sldLayoutId id="2147484466" r:id="rId417"/>
    <p:sldLayoutId id="2147484467" r:id="rId418"/>
    <p:sldLayoutId id="2147484468" r:id="rId419"/>
    <p:sldLayoutId id="2147484469" r:id="rId420"/>
    <p:sldLayoutId id="2147484470" r:id="rId421"/>
    <p:sldLayoutId id="2147484471" r:id="rId422"/>
    <p:sldLayoutId id="2147484472" r:id="rId423"/>
    <p:sldLayoutId id="2147484473" r:id="rId424"/>
    <p:sldLayoutId id="2147484474" r:id="rId425"/>
    <p:sldLayoutId id="2147484475" r:id="rId426"/>
    <p:sldLayoutId id="2147484476" r:id="rId427"/>
    <p:sldLayoutId id="2147484477" r:id="rId428"/>
    <p:sldLayoutId id="2147484478" r:id="rId429"/>
    <p:sldLayoutId id="2147484479" r:id="rId430"/>
    <p:sldLayoutId id="2147484480" r:id="rId431"/>
    <p:sldLayoutId id="2147484481" r:id="rId432"/>
    <p:sldLayoutId id="2147484482" r:id="rId433"/>
    <p:sldLayoutId id="2147484483" r:id="rId434"/>
    <p:sldLayoutId id="2147484484" r:id="rId435"/>
    <p:sldLayoutId id="2147489510" r:id="rId436"/>
    <p:sldLayoutId id="2147489511" r:id="rId437"/>
    <p:sldLayoutId id="2147484487" r:id="rId438"/>
    <p:sldLayoutId id="2147484488" r:id="rId439"/>
    <p:sldLayoutId id="2147484489" r:id="rId440"/>
    <p:sldLayoutId id="2147484490" r:id="rId441"/>
    <p:sldLayoutId id="2147484491" r:id="rId442"/>
    <p:sldLayoutId id="2147484492" r:id="rId443"/>
    <p:sldLayoutId id="2147484493" r:id="rId444"/>
    <p:sldLayoutId id="2147484494" r:id="rId445"/>
    <p:sldLayoutId id="2147484495" r:id="rId446"/>
    <p:sldLayoutId id="2147484496" r:id="rId447"/>
    <p:sldLayoutId id="2147484497" r:id="rId448"/>
    <p:sldLayoutId id="2147484498" r:id="rId449"/>
    <p:sldLayoutId id="2147484499" r:id="rId450"/>
    <p:sldLayoutId id="2147484500" r:id="rId451"/>
    <p:sldLayoutId id="2147484501" r:id="rId452"/>
    <p:sldLayoutId id="2147484502" r:id="rId453"/>
    <p:sldLayoutId id="2147484503" r:id="rId454"/>
    <p:sldLayoutId id="2147484504" r:id="rId455"/>
    <p:sldLayoutId id="2147484505" r:id="rId456"/>
    <p:sldLayoutId id="2147484506" r:id="rId457"/>
    <p:sldLayoutId id="2147484507" r:id="rId458"/>
    <p:sldLayoutId id="2147484508" r:id="rId459"/>
    <p:sldLayoutId id="2147484509" r:id="rId460"/>
    <p:sldLayoutId id="2147484510" r:id="rId461"/>
    <p:sldLayoutId id="2147484511" r:id="rId462"/>
    <p:sldLayoutId id="2147484512" r:id="rId463"/>
    <p:sldLayoutId id="2147484513" r:id="rId464"/>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5289"/>
        <p:cNvGrpSpPr/>
        <p:nvPr/>
      </p:nvGrpSpPr>
      <p:grpSpPr>
        <a:xfrm>
          <a:off x="0" y="0"/>
          <a:ext cx="0" cy="0"/>
          <a:chOff x="0" y="0"/>
          <a:chExt cx="0" cy="0"/>
        </a:xfrm>
      </p:grpSpPr>
      <p:sp>
        <p:nvSpPr>
          <p:cNvPr id="15290" name="Google Shape;15290;p99"/>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3600"/>
              <a:buFont typeface="Arial"/>
              <a:buNone/>
              <a:defRPr sz="36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5291" name="Google Shape;15291;p99"/>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rmAutofit/>
          </a:bodyPr>
          <a:lstStyle>
            <a:lvl1pPr marL="457200" marR="0" lvl="0" indent="-381000" algn="l" rtl="0">
              <a:lnSpc>
                <a:spcPct val="90000"/>
              </a:lnSpc>
              <a:spcBef>
                <a:spcPts val="1000"/>
              </a:spcBef>
              <a:spcAft>
                <a:spcPts val="0"/>
              </a:spcAft>
              <a:buClr>
                <a:schemeClr val="accent2"/>
              </a:buClr>
              <a:buSzPts val="2400"/>
              <a:buFont typeface="Arial"/>
              <a:buChar char="•"/>
              <a:defRPr sz="2400" b="0" i="0" u="none" strike="noStrike" cap="none">
                <a:solidFill>
                  <a:schemeClr val="dk1"/>
                </a:solidFill>
                <a:latin typeface="Arial"/>
                <a:ea typeface="Arial"/>
                <a:cs typeface="Arial"/>
                <a:sym typeface="Arial"/>
              </a:defRPr>
            </a:lvl1pPr>
            <a:lvl2pPr marL="914400" marR="0" lvl="1" indent="-355600" algn="l" rtl="0">
              <a:lnSpc>
                <a:spcPct val="90000"/>
              </a:lnSpc>
              <a:spcBef>
                <a:spcPts val="500"/>
              </a:spcBef>
              <a:spcAft>
                <a:spcPts val="0"/>
              </a:spcAft>
              <a:buClr>
                <a:schemeClr val="accent2"/>
              </a:buClr>
              <a:buSzPts val="2000"/>
              <a:buFont typeface="Arial"/>
              <a:buChar char="•"/>
              <a:defRPr sz="2000" b="0" i="0" u="none" strike="noStrike" cap="none">
                <a:solidFill>
                  <a:schemeClr val="dk1"/>
                </a:solidFill>
                <a:latin typeface="Arial"/>
                <a:ea typeface="Arial"/>
                <a:cs typeface="Arial"/>
                <a:sym typeface="Arial"/>
              </a:defRPr>
            </a:lvl2pPr>
            <a:lvl3pPr marL="1371600" marR="0" lvl="2" indent="-342900" algn="l" rtl="0">
              <a:lnSpc>
                <a:spcPct val="90000"/>
              </a:lnSpc>
              <a:spcBef>
                <a:spcPts val="500"/>
              </a:spcBef>
              <a:spcAft>
                <a:spcPts val="0"/>
              </a:spcAft>
              <a:buClr>
                <a:schemeClr val="accent2"/>
              </a:buClr>
              <a:buSzPts val="1800"/>
              <a:buFont typeface="Arial"/>
              <a:buChar char="•"/>
              <a:defRPr sz="18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accent2"/>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accent2"/>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5292" name="Google Shape;15292;p9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Clr>
                <a:srgbClr val="919497"/>
              </a:buClr>
              <a:buSzPts val="1800"/>
              <a:buFont typeface="Arial"/>
              <a:buNone/>
              <a:defRPr sz="1200">
                <a:solidFill>
                  <a:srgbClr val="919497"/>
                </a:solidFill>
                <a:latin typeface="Arial"/>
                <a:ea typeface="Arial"/>
                <a:cs typeface="Arial"/>
                <a:sym typeface="Arial"/>
              </a:defRPr>
            </a:lvl1pPr>
            <a:lvl2pPr marL="0" marR="0" lvl="1" indent="0" algn="r" rtl="0">
              <a:spcBef>
                <a:spcPts val="0"/>
              </a:spcBef>
              <a:buClr>
                <a:srgbClr val="919497"/>
              </a:buClr>
              <a:buSzPts val="1800"/>
              <a:buFont typeface="Arial"/>
              <a:buNone/>
              <a:defRPr sz="1200">
                <a:solidFill>
                  <a:srgbClr val="919497"/>
                </a:solidFill>
                <a:latin typeface="Arial"/>
                <a:ea typeface="Arial"/>
                <a:cs typeface="Arial"/>
                <a:sym typeface="Arial"/>
              </a:defRPr>
            </a:lvl2pPr>
            <a:lvl3pPr marL="0" marR="0" lvl="2" indent="0" algn="r" rtl="0">
              <a:spcBef>
                <a:spcPts val="0"/>
              </a:spcBef>
              <a:buClr>
                <a:srgbClr val="919497"/>
              </a:buClr>
              <a:buSzPts val="1800"/>
              <a:buFont typeface="Arial"/>
              <a:buNone/>
              <a:defRPr sz="1200">
                <a:solidFill>
                  <a:srgbClr val="919497"/>
                </a:solidFill>
                <a:latin typeface="Arial"/>
                <a:ea typeface="Arial"/>
                <a:cs typeface="Arial"/>
                <a:sym typeface="Arial"/>
              </a:defRPr>
            </a:lvl3pPr>
            <a:lvl4pPr marL="0" marR="0" lvl="3" indent="0" algn="r" rtl="0">
              <a:spcBef>
                <a:spcPts val="0"/>
              </a:spcBef>
              <a:buClr>
                <a:srgbClr val="919497"/>
              </a:buClr>
              <a:buSzPts val="1800"/>
              <a:buFont typeface="Arial"/>
              <a:buNone/>
              <a:defRPr sz="1200">
                <a:solidFill>
                  <a:srgbClr val="919497"/>
                </a:solidFill>
                <a:latin typeface="Arial"/>
                <a:ea typeface="Arial"/>
                <a:cs typeface="Arial"/>
                <a:sym typeface="Arial"/>
              </a:defRPr>
            </a:lvl4pPr>
            <a:lvl5pPr marL="0" marR="0" lvl="4" indent="0" algn="r" rtl="0">
              <a:spcBef>
                <a:spcPts val="0"/>
              </a:spcBef>
              <a:buClr>
                <a:srgbClr val="919497"/>
              </a:buClr>
              <a:buSzPts val="1800"/>
              <a:buFont typeface="Arial"/>
              <a:buNone/>
              <a:defRPr sz="1200">
                <a:solidFill>
                  <a:srgbClr val="919497"/>
                </a:solidFill>
                <a:latin typeface="Arial"/>
                <a:ea typeface="Arial"/>
                <a:cs typeface="Arial"/>
                <a:sym typeface="Arial"/>
              </a:defRPr>
            </a:lvl5pPr>
            <a:lvl6pPr marL="0" marR="0" lvl="5" indent="0" algn="r" rtl="0">
              <a:spcBef>
                <a:spcPts val="0"/>
              </a:spcBef>
              <a:buClr>
                <a:srgbClr val="919497"/>
              </a:buClr>
              <a:buSzPts val="1800"/>
              <a:buFont typeface="Arial"/>
              <a:buNone/>
              <a:defRPr sz="1200">
                <a:solidFill>
                  <a:srgbClr val="919497"/>
                </a:solidFill>
                <a:latin typeface="Arial"/>
                <a:ea typeface="Arial"/>
                <a:cs typeface="Arial"/>
                <a:sym typeface="Arial"/>
              </a:defRPr>
            </a:lvl6pPr>
            <a:lvl7pPr marL="0" marR="0" lvl="6" indent="0" algn="r" rtl="0">
              <a:spcBef>
                <a:spcPts val="0"/>
              </a:spcBef>
              <a:buClr>
                <a:srgbClr val="919497"/>
              </a:buClr>
              <a:buSzPts val="1800"/>
              <a:buFont typeface="Arial"/>
              <a:buNone/>
              <a:defRPr sz="1200">
                <a:solidFill>
                  <a:srgbClr val="919497"/>
                </a:solidFill>
                <a:latin typeface="Arial"/>
                <a:ea typeface="Arial"/>
                <a:cs typeface="Arial"/>
                <a:sym typeface="Arial"/>
              </a:defRPr>
            </a:lvl7pPr>
            <a:lvl8pPr marL="0" marR="0" lvl="7" indent="0" algn="r" rtl="0">
              <a:spcBef>
                <a:spcPts val="0"/>
              </a:spcBef>
              <a:buClr>
                <a:srgbClr val="919497"/>
              </a:buClr>
              <a:buSzPts val="1800"/>
              <a:buFont typeface="Arial"/>
              <a:buNone/>
              <a:defRPr sz="1200">
                <a:solidFill>
                  <a:srgbClr val="919497"/>
                </a:solidFill>
                <a:latin typeface="Arial"/>
                <a:ea typeface="Arial"/>
                <a:cs typeface="Arial"/>
                <a:sym typeface="Arial"/>
              </a:defRPr>
            </a:lvl8pPr>
            <a:lvl9pPr marL="0" marR="0" lvl="8" indent="0" algn="r" rtl="0">
              <a:spcBef>
                <a:spcPts val="0"/>
              </a:spcBef>
              <a:buClr>
                <a:srgbClr val="919497"/>
              </a:buClr>
              <a:buSzPts val="1800"/>
              <a:buFont typeface="Arial"/>
              <a:buNone/>
              <a:defRPr sz="1200">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15293" name="Google Shape;15293;p9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Clr>
                <a:srgbClr val="919497"/>
              </a:buClr>
              <a:buSzPts val="1400"/>
              <a:buFont typeface="Arial"/>
              <a:buNone/>
              <a:defRPr sz="1200">
                <a:solidFill>
                  <a:srgbClr val="919497"/>
                </a:solidFill>
                <a:latin typeface="Arial"/>
                <a:ea typeface="Arial"/>
                <a:cs typeface="Arial"/>
                <a:sym typeface="Arial"/>
              </a:defRPr>
            </a:lvl1pPr>
            <a:lvl2pPr marR="0" lvl="1" algn="l" rtl="0">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sldLayoutIdLst>
    <p:sldLayoutId id="2147485259" r:id="rId1"/>
    <p:sldLayoutId id="2147485260" r:id="rId2"/>
    <p:sldLayoutId id="2147485261" r:id="rId3"/>
    <p:sldLayoutId id="2147485262" r:id="rId4"/>
    <p:sldLayoutId id="2147485263" r:id="rId5"/>
    <p:sldLayoutId id="2147485264" r:id="rId6"/>
    <p:sldLayoutId id="2147485265" r:id="rId7"/>
    <p:sldLayoutId id="2147485266" r:id="rId8"/>
    <p:sldLayoutId id="2147485267" r:id="rId9"/>
    <p:sldLayoutId id="2147485268" r:id="rId10"/>
    <p:sldLayoutId id="2147485269"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15408"/>
        <p:cNvGrpSpPr/>
        <p:nvPr/>
      </p:nvGrpSpPr>
      <p:grpSpPr>
        <a:xfrm>
          <a:off x="0" y="0"/>
          <a:ext cx="0" cy="0"/>
          <a:chOff x="0" y="0"/>
          <a:chExt cx="0" cy="0"/>
        </a:xfrm>
      </p:grpSpPr>
      <p:sp>
        <p:nvSpPr>
          <p:cNvPr id="15409" name="Google Shape;15409;p101"/>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rmAutofit/>
          </a:bodyPr>
          <a:lstStyle>
            <a:lvl1pPr marR="0" lvl="0" algn="l" rtl="0">
              <a:lnSpc>
                <a:spcPct val="90000"/>
              </a:lnSpc>
              <a:spcBef>
                <a:spcPts val="0"/>
              </a:spcBef>
              <a:spcAft>
                <a:spcPts val="0"/>
              </a:spcAft>
              <a:buClr>
                <a:srgbClr val="444C55"/>
              </a:buClr>
              <a:buSzPts val="5400"/>
              <a:buFont typeface="Arial"/>
              <a:buNone/>
              <a:defRPr sz="5400" b="0" i="0" u="none" strike="noStrike" cap="none">
                <a:solidFill>
                  <a:srgbClr val="444C55"/>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5410" name="Google Shape;15410;p101"/>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rmAutofit/>
          </a:bodyPr>
          <a:lstStyle>
            <a:lvl1pPr marL="457200" marR="0" lvl="0" indent="-381000" algn="l" rtl="0">
              <a:lnSpc>
                <a:spcPct val="90000"/>
              </a:lnSpc>
              <a:spcBef>
                <a:spcPts val="1500"/>
              </a:spcBef>
              <a:spcAft>
                <a:spcPts val="0"/>
              </a:spcAft>
              <a:buClr>
                <a:srgbClr val="F5668F"/>
              </a:buClr>
              <a:buSzPts val="2400"/>
              <a:buFont typeface="Arial"/>
              <a:buChar char="•"/>
              <a:defRPr sz="3600" b="0" i="0" u="none" strike="noStrike" cap="none">
                <a:solidFill>
                  <a:srgbClr val="444C55"/>
                </a:solidFill>
                <a:latin typeface="Arial"/>
                <a:ea typeface="Arial"/>
                <a:cs typeface="Arial"/>
                <a:sym typeface="Arial"/>
              </a:defRPr>
            </a:lvl1pPr>
            <a:lvl2pPr marL="914400" marR="0" lvl="1" indent="-457200" algn="l" rtl="0">
              <a:lnSpc>
                <a:spcPct val="90000"/>
              </a:lnSpc>
              <a:spcBef>
                <a:spcPts val="750"/>
              </a:spcBef>
              <a:spcAft>
                <a:spcPts val="0"/>
              </a:spcAft>
              <a:buClr>
                <a:srgbClr val="000000"/>
              </a:buClr>
              <a:buSzPts val="3600"/>
              <a:buFont typeface="Arial"/>
              <a:buChar char="•"/>
              <a:defRPr sz="3600" b="0" i="0" u="none" strike="noStrike" cap="none">
                <a:solidFill>
                  <a:srgbClr val="000000"/>
                </a:solidFill>
                <a:latin typeface="Calibri"/>
                <a:ea typeface="Calibri"/>
                <a:cs typeface="Calibri"/>
                <a:sym typeface="Calibri"/>
              </a:defRPr>
            </a:lvl2pPr>
            <a:lvl3pPr marL="1371600" marR="0" lvl="2" indent="-419100" algn="l" rtl="0">
              <a:lnSpc>
                <a:spcPct val="90000"/>
              </a:lnSpc>
              <a:spcBef>
                <a:spcPts val="750"/>
              </a:spcBef>
              <a:spcAft>
                <a:spcPts val="0"/>
              </a:spcAft>
              <a:buClr>
                <a:srgbClr val="000000"/>
              </a:buClr>
              <a:buSzPts val="3000"/>
              <a:buFont typeface="Arial"/>
              <a:buChar char="•"/>
              <a:defRPr sz="3000" b="0" i="0" u="none" strike="noStrike" cap="none">
                <a:solidFill>
                  <a:srgbClr val="000000"/>
                </a:solidFill>
                <a:latin typeface="Calibri"/>
                <a:ea typeface="Calibri"/>
                <a:cs typeface="Calibri"/>
                <a:sym typeface="Calibri"/>
              </a:defRPr>
            </a:lvl3pPr>
            <a:lvl4pPr marL="1828800" marR="0" lvl="3" indent="-400050" algn="l" rtl="0">
              <a:lnSpc>
                <a:spcPct val="90000"/>
              </a:lnSpc>
              <a:spcBef>
                <a:spcPts val="750"/>
              </a:spcBef>
              <a:spcAft>
                <a:spcPts val="0"/>
              </a:spcAft>
              <a:buClr>
                <a:srgbClr val="000000"/>
              </a:buClr>
              <a:buSzPts val="2700"/>
              <a:buFont typeface="Arial"/>
              <a:buChar char="•"/>
              <a:defRPr sz="2700" b="0" i="0" u="none" strike="noStrike" cap="none">
                <a:solidFill>
                  <a:srgbClr val="000000"/>
                </a:solidFill>
                <a:latin typeface="Calibri"/>
                <a:ea typeface="Calibri"/>
                <a:cs typeface="Calibri"/>
                <a:sym typeface="Calibri"/>
              </a:defRPr>
            </a:lvl4pPr>
            <a:lvl5pPr marL="2286000" marR="0" lvl="4" indent="-400050" algn="l" rtl="0">
              <a:lnSpc>
                <a:spcPct val="90000"/>
              </a:lnSpc>
              <a:spcBef>
                <a:spcPts val="750"/>
              </a:spcBef>
              <a:spcAft>
                <a:spcPts val="0"/>
              </a:spcAft>
              <a:buClr>
                <a:srgbClr val="000000"/>
              </a:buClr>
              <a:buSzPts val="2700"/>
              <a:buFont typeface="Arial"/>
              <a:buChar char="•"/>
              <a:defRPr sz="2700" b="0" i="0" u="none" strike="noStrike" cap="none">
                <a:solidFill>
                  <a:srgbClr val="000000"/>
                </a:solidFill>
                <a:latin typeface="Calibri"/>
                <a:ea typeface="Calibri"/>
                <a:cs typeface="Calibri"/>
                <a:sym typeface="Calibri"/>
              </a:defRPr>
            </a:lvl5pPr>
            <a:lvl6pPr marL="2743200" marR="0" lvl="5" indent="-400050" algn="l" rtl="0">
              <a:lnSpc>
                <a:spcPct val="90000"/>
              </a:lnSpc>
              <a:spcBef>
                <a:spcPts val="750"/>
              </a:spcBef>
              <a:spcAft>
                <a:spcPts val="0"/>
              </a:spcAft>
              <a:buClr>
                <a:schemeClr val="dk1"/>
              </a:buClr>
              <a:buSzPts val="2700"/>
              <a:buFont typeface="Arial"/>
              <a:buChar char="•"/>
              <a:defRPr sz="2700" b="0" i="0" u="none" strike="noStrike" cap="none">
                <a:solidFill>
                  <a:schemeClr val="dk1"/>
                </a:solidFill>
                <a:latin typeface="Arial"/>
                <a:ea typeface="Arial"/>
                <a:cs typeface="Arial"/>
                <a:sym typeface="Arial"/>
              </a:defRPr>
            </a:lvl6pPr>
            <a:lvl7pPr marL="3200400" marR="0" lvl="6" indent="-400050" algn="l" rtl="0">
              <a:lnSpc>
                <a:spcPct val="90000"/>
              </a:lnSpc>
              <a:spcBef>
                <a:spcPts val="750"/>
              </a:spcBef>
              <a:spcAft>
                <a:spcPts val="0"/>
              </a:spcAft>
              <a:buClr>
                <a:schemeClr val="dk1"/>
              </a:buClr>
              <a:buSzPts val="2700"/>
              <a:buFont typeface="Arial"/>
              <a:buChar char="•"/>
              <a:defRPr sz="2700" b="0" i="0" u="none" strike="noStrike" cap="none">
                <a:solidFill>
                  <a:schemeClr val="dk1"/>
                </a:solidFill>
                <a:latin typeface="Arial"/>
                <a:ea typeface="Arial"/>
                <a:cs typeface="Arial"/>
                <a:sym typeface="Arial"/>
              </a:defRPr>
            </a:lvl7pPr>
            <a:lvl8pPr marL="3657600" marR="0" lvl="7" indent="-400050" algn="l" rtl="0">
              <a:lnSpc>
                <a:spcPct val="90000"/>
              </a:lnSpc>
              <a:spcBef>
                <a:spcPts val="750"/>
              </a:spcBef>
              <a:spcAft>
                <a:spcPts val="0"/>
              </a:spcAft>
              <a:buClr>
                <a:schemeClr val="dk1"/>
              </a:buClr>
              <a:buSzPts val="2700"/>
              <a:buFont typeface="Arial"/>
              <a:buChar char="•"/>
              <a:defRPr sz="2700" b="0" i="0" u="none" strike="noStrike" cap="none">
                <a:solidFill>
                  <a:schemeClr val="dk1"/>
                </a:solidFill>
                <a:latin typeface="Arial"/>
                <a:ea typeface="Arial"/>
                <a:cs typeface="Arial"/>
                <a:sym typeface="Arial"/>
              </a:defRPr>
            </a:lvl8pPr>
            <a:lvl9pPr marL="4114800" marR="0" lvl="8" indent="-400050" algn="l" rtl="0">
              <a:lnSpc>
                <a:spcPct val="90000"/>
              </a:lnSpc>
              <a:spcBef>
                <a:spcPts val="750"/>
              </a:spcBef>
              <a:spcAft>
                <a:spcPts val="0"/>
              </a:spcAft>
              <a:buClr>
                <a:schemeClr val="dk1"/>
              </a:buClr>
              <a:buSzPts val="2700"/>
              <a:buFont typeface="Arial"/>
              <a:buChar char="•"/>
              <a:defRPr sz="2700" b="0" i="0" u="none" strike="noStrike" cap="none">
                <a:solidFill>
                  <a:schemeClr val="dk1"/>
                </a:solidFill>
                <a:latin typeface="Arial"/>
                <a:ea typeface="Arial"/>
                <a:cs typeface="Arial"/>
                <a:sym typeface="Arial"/>
              </a:defRPr>
            </a:lvl9pPr>
          </a:lstStyle>
          <a:p>
            <a:endParaRPr/>
          </a:p>
        </p:txBody>
      </p:sp>
      <p:sp>
        <p:nvSpPr>
          <p:cNvPr id="15411" name="Google Shape;15411;p101"/>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rtl="0">
              <a:lnSpc>
                <a:spcPct val="100000"/>
              </a:lnSpc>
              <a:spcBef>
                <a:spcPts val="0"/>
              </a:spcBef>
              <a:spcAft>
                <a:spcPts val="0"/>
              </a:spcAft>
              <a:buClr>
                <a:srgbClr val="919497"/>
              </a:buClr>
              <a:buSzPts val="1800"/>
              <a:buFont typeface="Arial"/>
              <a:buNone/>
              <a:defRPr sz="1200" b="0" i="0" u="none" strike="noStrike" cap="none">
                <a:solidFill>
                  <a:srgbClr val="919497"/>
                </a:solidFill>
                <a:latin typeface="Arial"/>
                <a:ea typeface="Arial"/>
                <a:cs typeface="Arial"/>
                <a:sym typeface="Arial"/>
              </a:defRPr>
            </a:lvl1pPr>
            <a:lvl2pPr marL="0" marR="0" lvl="1" indent="0" algn="r" rtl="0">
              <a:lnSpc>
                <a:spcPct val="100000"/>
              </a:lnSpc>
              <a:spcBef>
                <a:spcPts val="0"/>
              </a:spcBef>
              <a:spcAft>
                <a:spcPts val="0"/>
              </a:spcAft>
              <a:buClr>
                <a:srgbClr val="919497"/>
              </a:buClr>
              <a:buSzPts val="1800"/>
              <a:buFont typeface="Arial"/>
              <a:buNone/>
              <a:defRPr sz="1200" b="0" i="0" u="none" strike="noStrike" cap="none">
                <a:solidFill>
                  <a:srgbClr val="919497"/>
                </a:solidFill>
                <a:latin typeface="Arial"/>
                <a:ea typeface="Arial"/>
                <a:cs typeface="Arial"/>
                <a:sym typeface="Arial"/>
              </a:defRPr>
            </a:lvl2pPr>
            <a:lvl3pPr marL="0" marR="0" lvl="2" indent="0" algn="r" rtl="0">
              <a:lnSpc>
                <a:spcPct val="100000"/>
              </a:lnSpc>
              <a:spcBef>
                <a:spcPts val="0"/>
              </a:spcBef>
              <a:spcAft>
                <a:spcPts val="0"/>
              </a:spcAft>
              <a:buClr>
                <a:srgbClr val="919497"/>
              </a:buClr>
              <a:buSzPts val="1800"/>
              <a:buFont typeface="Arial"/>
              <a:buNone/>
              <a:defRPr sz="1200" b="0" i="0" u="none" strike="noStrike" cap="none">
                <a:solidFill>
                  <a:srgbClr val="919497"/>
                </a:solidFill>
                <a:latin typeface="Arial"/>
                <a:ea typeface="Arial"/>
                <a:cs typeface="Arial"/>
                <a:sym typeface="Arial"/>
              </a:defRPr>
            </a:lvl3pPr>
            <a:lvl4pPr marL="0" marR="0" lvl="3" indent="0" algn="r" rtl="0">
              <a:lnSpc>
                <a:spcPct val="100000"/>
              </a:lnSpc>
              <a:spcBef>
                <a:spcPts val="0"/>
              </a:spcBef>
              <a:spcAft>
                <a:spcPts val="0"/>
              </a:spcAft>
              <a:buClr>
                <a:srgbClr val="919497"/>
              </a:buClr>
              <a:buSzPts val="1800"/>
              <a:buFont typeface="Arial"/>
              <a:buNone/>
              <a:defRPr sz="1200" b="0" i="0" u="none" strike="noStrike" cap="none">
                <a:solidFill>
                  <a:srgbClr val="919497"/>
                </a:solidFill>
                <a:latin typeface="Arial"/>
                <a:ea typeface="Arial"/>
                <a:cs typeface="Arial"/>
                <a:sym typeface="Arial"/>
              </a:defRPr>
            </a:lvl4pPr>
            <a:lvl5pPr marL="0" marR="0" lvl="4" indent="0" algn="r" rtl="0">
              <a:lnSpc>
                <a:spcPct val="100000"/>
              </a:lnSpc>
              <a:spcBef>
                <a:spcPts val="0"/>
              </a:spcBef>
              <a:spcAft>
                <a:spcPts val="0"/>
              </a:spcAft>
              <a:buClr>
                <a:srgbClr val="919497"/>
              </a:buClr>
              <a:buSzPts val="1800"/>
              <a:buFont typeface="Arial"/>
              <a:buNone/>
              <a:defRPr sz="1200" b="0" i="0" u="none" strike="noStrike" cap="none">
                <a:solidFill>
                  <a:srgbClr val="919497"/>
                </a:solidFill>
                <a:latin typeface="Arial"/>
                <a:ea typeface="Arial"/>
                <a:cs typeface="Arial"/>
                <a:sym typeface="Arial"/>
              </a:defRPr>
            </a:lvl5pPr>
            <a:lvl6pPr marL="0" marR="0" lvl="5" indent="0" algn="r" rtl="0">
              <a:lnSpc>
                <a:spcPct val="100000"/>
              </a:lnSpc>
              <a:spcBef>
                <a:spcPts val="0"/>
              </a:spcBef>
              <a:spcAft>
                <a:spcPts val="0"/>
              </a:spcAft>
              <a:buClr>
                <a:srgbClr val="919497"/>
              </a:buClr>
              <a:buSzPts val="1800"/>
              <a:buFont typeface="Arial"/>
              <a:buNone/>
              <a:defRPr sz="1200" b="0" i="0" u="none" strike="noStrike" cap="none">
                <a:solidFill>
                  <a:srgbClr val="919497"/>
                </a:solidFill>
                <a:latin typeface="Arial"/>
                <a:ea typeface="Arial"/>
                <a:cs typeface="Arial"/>
                <a:sym typeface="Arial"/>
              </a:defRPr>
            </a:lvl6pPr>
            <a:lvl7pPr marL="0" marR="0" lvl="6" indent="0" algn="r" rtl="0">
              <a:lnSpc>
                <a:spcPct val="100000"/>
              </a:lnSpc>
              <a:spcBef>
                <a:spcPts val="0"/>
              </a:spcBef>
              <a:spcAft>
                <a:spcPts val="0"/>
              </a:spcAft>
              <a:buClr>
                <a:srgbClr val="919497"/>
              </a:buClr>
              <a:buSzPts val="1800"/>
              <a:buFont typeface="Arial"/>
              <a:buNone/>
              <a:defRPr sz="1200" b="0" i="0" u="none" strike="noStrike" cap="none">
                <a:solidFill>
                  <a:srgbClr val="919497"/>
                </a:solidFill>
                <a:latin typeface="Arial"/>
                <a:ea typeface="Arial"/>
                <a:cs typeface="Arial"/>
                <a:sym typeface="Arial"/>
              </a:defRPr>
            </a:lvl7pPr>
            <a:lvl8pPr marL="0" marR="0" lvl="7" indent="0" algn="r" rtl="0">
              <a:lnSpc>
                <a:spcPct val="100000"/>
              </a:lnSpc>
              <a:spcBef>
                <a:spcPts val="0"/>
              </a:spcBef>
              <a:spcAft>
                <a:spcPts val="0"/>
              </a:spcAft>
              <a:buClr>
                <a:srgbClr val="919497"/>
              </a:buClr>
              <a:buSzPts val="1800"/>
              <a:buFont typeface="Arial"/>
              <a:buNone/>
              <a:defRPr sz="1200" b="0" i="0" u="none" strike="noStrike" cap="none">
                <a:solidFill>
                  <a:srgbClr val="919497"/>
                </a:solidFill>
                <a:latin typeface="Arial"/>
                <a:ea typeface="Arial"/>
                <a:cs typeface="Arial"/>
                <a:sym typeface="Arial"/>
              </a:defRPr>
            </a:lvl8pPr>
            <a:lvl9pPr marL="0" marR="0" lvl="8" indent="0" algn="r" rtl="0">
              <a:lnSpc>
                <a:spcPct val="100000"/>
              </a:lnSpc>
              <a:spcBef>
                <a:spcPts val="0"/>
              </a:spcBef>
              <a:spcAft>
                <a:spcPts val="0"/>
              </a:spcAft>
              <a:buClr>
                <a:srgbClr val="919497"/>
              </a:buClr>
              <a:buSzPts val="18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15412" name="Google Shape;15412;p101"/>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marR="0" lvl="0" algn="ctr" rtl="0">
              <a:lnSpc>
                <a:spcPct val="100000"/>
              </a:lnSpc>
              <a:spcBef>
                <a:spcPts val="0"/>
              </a:spcBef>
              <a:spcAft>
                <a:spcPts val="0"/>
              </a:spcAft>
              <a:buClr>
                <a:srgbClr val="919497"/>
              </a:buClr>
              <a:buSzPts val="1800"/>
              <a:buFont typeface="Arial"/>
              <a:buNone/>
              <a:defRPr sz="1200" b="0" i="0" u="none" strike="noStrike" cap="none">
                <a:solidFill>
                  <a:srgbClr val="919497"/>
                </a:solidFill>
                <a:latin typeface="Arial"/>
                <a:ea typeface="Arial"/>
                <a:cs typeface="Arial"/>
                <a:sym typeface="Arial"/>
              </a:defRPr>
            </a:lvl1pPr>
            <a:lvl2pPr marR="0" lvl="1" algn="l" rtl="0">
              <a:spcBef>
                <a:spcPts val="0"/>
              </a:spcBef>
              <a:spcAft>
                <a:spcPts val="0"/>
              </a:spcAft>
              <a:buSzPts val="1400"/>
              <a:buNone/>
              <a:defRPr sz="12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2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2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2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2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2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2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200" b="0" i="0" u="none" strike="noStrike" cap="none">
                <a:solidFill>
                  <a:schemeClr val="dk1"/>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sldLayoutIdLst>
    <p:sldLayoutId id="2147485271" r:id="rId1"/>
    <p:sldLayoutId id="2147485272" r:id="rId2"/>
    <p:sldLayoutId id="2147485273" r:id="rId3"/>
    <p:sldLayoutId id="2147485274" r:id="rId4"/>
    <p:sldLayoutId id="2147485275" r:id="rId5"/>
    <p:sldLayoutId id="2147485276" r:id="rId6"/>
    <p:sldLayoutId id="2147485277" r:id="rId7"/>
    <p:sldLayoutId id="2147485278" r:id="rId8"/>
    <p:sldLayoutId id="2147485279" r:id="rId9"/>
    <p:sldLayoutId id="2147485280" r:id="rId1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24.png"/><Relationship Id="rId13" Type="http://schemas.openxmlformats.org/officeDocument/2006/relationships/image" Target="../media/image129.png"/><Relationship Id="rId18" Type="http://schemas.openxmlformats.org/officeDocument/2006/relationships/image" Target="../media/image134.png"/><Relationship Id="rId3" Type="http://schemas.openxmlformats.org/officeDocument/2006/relationships/image" Target="../media/image119.png"/><Relationship Id="rId21" Type="http://schemas.openxmlformats.org/officeDocument/2006/relationships/image" Target="../media/image137.png"/><Relationship Id="rId7" Type="http://schemas.openxmlformats.org/officeDocument/2006/relationships/image" Target="../media/image123.png"/><Relationship Id="rId12" Type="http://schemas.openxmlformats.org/officeDocument/2006/relationships/image" Target="../media/image128.png"/><Relationship Id="rId17" Type="http://schemas.openxmlformats.org/officeDocument/2006/relationships/image" Target="../media/image133.png"/><Relationship Id="rId2" Type="http://schemas.openxmlformats.org/officeDocument/2006/relationships/notesSlide" Target="../notesSlides/notesSlide1.xml"/><Relationship Id="rId16" Type="http://schemas.openxmlformats.org/officeDocument/2006/relationships/image" Target="../media/image132.png"/><Relationship Id="rId20" Type="http://schemas.openxmlformats.org/officeDocument/2006/relationships/image" Target="../media/image136.png"/><Relationship Id="rId1" Type="http://schemas.openxmlformats.org/officeDocument/2006/relationships/slideLayout" Target="../slideLayouts/slideLayout303.xml"/><Relationship Id="rId6" Type="http://schemas.openxmlformats.org/officeDocument/2006/relationships/image" Target="../media/image122.png"/><Relationship Id="rId11" Type="http://schemas.openxmlformats.org/officeDocument/2006/relationships/image" Target="../media/image127.png"/><Relationship Id="rId24" Type="http://schemas.openxmlformats.org/officeDocument/2006/relationships/image" Target="../media/image140.png"/><Relationship Id="rId5" Type="http://schemas.openxmlformats.org/officeDocument/2006/relationships/image" Target="../media/image121.png"/><Relationship Id="rId15" Type="http://schemas.openxmlformats.org/officeDocument/2006/relationships/image" Target="../media/image131.png"/><Relationship Id="rId23" Type="http://schemas.openxmlformats.org/officeDocument/2006/relationships/image" Target="../media/image139.jpeg"/><Relationship Id="rId10" Type="http://schemas.openxmlformats.org/officeDocument/2006/relationships/image" Target="../media/image126.png"/><Relationship Id="rId19" Type="http://schemas.openxmlformats.org/officeDocument/2006/relationships/image" Target="../media/image135.png"/><Relationship Id="rId4" Type="http://schemas.openxmlformats.org/officeDocument/2006/relationships/image" Target="../media/image120.png"/><Relationship Id="rId9" Type="http://schemas.openxmlformats.org/officeDocument/2006/relationships/image" Target="../media/image125.png"/><Relationship Id="rId14" Type="http://schemas.openxmlformats.org/officeDocument/2006/relationships/image" Target="../media/image130.png"/><Relationship Id="rId22" Type="http://schemas.openxmlformats.org/officeDocument/2006/relationships/image" Target="../media/image138.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71.xml"/></Relationships>
</file>

<file path=ppt/slides/_rels/slide11.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image" Target="../media/image148.png"/><Relationship Id="rId1" Type="http://schemas.openxmlformats.org/officeDocument/2006/relationships/slideLayout" Target="../slideLayouts/slideLayout696.xml"/><Relationship Id="rId6" Type="http://schemas.openxmlformats.org/officeDocument/2006/relationships/image" Target="../media/image167.png"/><Relationship Id="rId5" Type="http://schemas.openxmlformats.org/officeDocument/2006/relationships/image" Target="../media/image143.jpeg"/><Relationship Id="rId4" Type="http://schemas.openxmlformats.org/officeDocument/2006/relationships/image" Target="../media/image142.png"/></Relationships>
</file>

<file path=ppt/slides/_rels/slide12.xml.rels><?xml version="1.0" encoding="UTF-8" standalone="yes"?>
<Relationships xmlns="http://schemas.openxmlformats.org/package/2006/relationships"><Relationship Id="rId3" Type="http://schemas.microsoft.com/office/2018/10/relationships/comments" Target="../comments/modernComment_101_0.xml"/><Relationship Id="rId7" Type="http://schemas.openxmlformats.org/officeDocument/2006/relationships/image" Target="../media/image148.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170.jpeg"/><Relationship Id="rId5" Type="http://schemas.openxmlformats.org/officeDocument/2006/relationships/image" Target="../media/image169.jpeg"/><Relationship Id="rId4" Type="http://schemas.openxmlformats.org/officeDocument/2006/relationships/image" Target="../media/image168.jpeg"/></Relationships>
</file>

<file path=ppt/slides/_rels/slide13.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172.png"/></Relationships>
</file>

<file path=ppt/slides/_rels/slide14.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1.xml"/><Relationship Id="rId1" Type="http://schemas.openxmlformats.org/officeDocument/2006/relationships/slideLayout" Target="../slideLayouts/slideLayout2151.xml"/><Relationship Id="rId5" Type="http://schemas.openxmlformats.org/officeDocument/2006/relationships/image" Target="../media/image175.png"/><Relationship Id="rId4" Type="http://schemas.openxmlformats.org/officeDocument/2006/relationships/image" Target="../media/image174.png"/></Relationships>
</file>

<file path=ppt/slides/_rels/slide15.xml.rels><?xml version="1.0" encoding="UTF-8" standalone="yes"?>
<Relationships xmlns="http://schemas.openxmlformats.org/package/2006/relationships"><Relationship Id="rId3" Type="http://schemas.openxmlformats.org/officeDocument/2006/relationships/image" Target="../media/image143.jpeg"/><Relationship Id="rId2" Type="http://schemas.openxmlformats.org/officeDocument/2006/relationships/image" Target="../media/image142.png"/><Relationship Id="rId1" Type="http://schemas.openxmlformats.org/officeDocument/2006/relationships/slideLayout" Target="../slideLayouts/slideLayout696.xml"/><Relationship Id="rId5" Type="http://schemas.openxmlformats.org/officeDocument/2006/relationships/image" Target="../media/image177.jpeg"/><Relationship Id="rId4" Type="http://schemas.openxmlformats.org/officeDocument/2006/relationships/image" Target="../media/image176.jpeg"/></Relationships>
</file>

<file path=ppt/slides/_rels/slide16.xml.rels><?xml version="1.0" encoding="UTF-8" standalone="yes"?>
<Relationships xmlns="http://schemas.openxmlformats.org/package/2006/relationships"><Relationship Id="rId3" Type="http://schemas.openxmlformats.org/officeDocument/2006/relationships/image" Target="../media/image143.jpeg"/><Relationship Id="rId2" Type="http://schemas.openxmlformats.org/officeDocument/2006/relationships/image" Target="../media/image142.png"/><Relationship Id="rId1" Type="http://schemas.openxmlformats.org/officeDocument/2006/relationships/slideLayout" Target="../slideLayouts/slideLayout7.xml"/><Relationship Id="rId5" Type="http://schemas.openxmlformats.org/officeDocument/2006/relationships/image" Target="../media/image148.png"/><Relationship Id="rId4" Type="http://schemas.openxmlformats.org/officeDocument/2006/relationships/image" Target="../media/image178.svg"/></Relationships>
</file>

<file path=ppt/slides/_rels/slide17.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13.xml"/><Relationship Id="rId1" Type="http://schemas.openxmlformats.org/officeDocument/2006/relationships/slideLayout" Target="../slideLayouts/slideLayout12.xml"/><Relationship Id="rId4" Type="http://schemas.openxmlformats.org/officeDocument/2006/relationships/image" Target="../media/image181.jpeg"/></Relationships>
</file>

<file path=ppt/slides/_rels/slide19.xml.rels><?xml version="1.0" encoding="UTF-8" standalone="yes"?>
<Relationships xmlns="http://schemas.openxmlformats.org/package/2006/relationships"><Relationship Id="rId3" Type="http://schemas.openxmlformats.org/officeDocument/2006/relationships/image" Target="../media/image183.svg"/><Relationship Id="rId2" Type="http://schemas.openxmlformats.org/officeDocument/2006/relationships/image" Target="../media/image182.png"/><Relationship Id="rId1" Type="http://schemas.openxmlformats.org/officeDocument/2006/relationships/slideLayout" Target="../slideLayouts/slideLayout715.xml"/><Relationship Id="rId5" Type="http://schemas.openxmlformats.org/officeDocument/2006/relationships/image" Target="../media/image148.png"/><Relationship Id="rId4" Type="http://schemas.openxmlformats.org/officeDocument/2006/relationships/image" Target="../media/image184.png"/></Relationships>
</file>

<file path=ppt/slides/_rels/slide2.xml.rels><?xml version="1.0" encoding="UTF-8" standalone="yes"?>
<Relationships xmlns="http://schemas.openxmlformats.org/package/2006/relationships"><Relationship Id="rId3" Type="http://schemas.openxmlformats.org/officeDocument/2006/relationships/image" Target="../media/image141.jpeg"/><Relationship Id="rId2" Type="http://schemas.openxmlformats.org/officeDocument/2006/relationships/notesSlide" Target="../notesSlides/notesSlide2.xml"/><Relationship Id="rId1" Type="http://schemas.openxmlformats.org/officeDocument/2006/relationships/slideLayout" Target="../slideLayouts/slideLayout686.xml"/></Relationships>
</file>

<file path=ppt/slides/_rels/slide20.xml.rels><?xml version="1.0" encoding="UTF-8" standalone="yes"?>
<Relationships xmlns="http://schemas.openxmlformats.org/package/2006/relationships"><Relationship Id="rId3" Type="http://schemas.openxmlformats.org/officeDocument/2006/relationships/image" Target="../media/image162.png"/><Relationship Id="rId2" Type="http://schemas.microsoft.com/office/2018/10/relationships/comments" Target="../comments/modernComment_58A_2FB2A3D9.xml"/><Relationship Id="rId1" Type="http://schemas.openxmlformats.org/officeDocument/2006/relationships/slideLayout" Target="../slideLayouts/slideLayout7.xml"/><Relationship Id="rId6" Type="http://schemas.openxmlformats.org/officeDocument/2006/relationships/image" Target="../media/image184.png"/><Relationship Id="rId5" Type="http://schemas.openxmlformats.org/officeDocument/2006/relationships/image" Target="../media/image148.png"/><Relationship Id="rId4" Type="http://schemas.openxmlformats.org/officeDocument/2006/relationships/image" Target="../media/image185.png"/></Relationships>
</file>

<file path=ppt/slides/_rels/slide21.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4.xml"/><Relationship Id="rId1" Type="http://schemas.openxmlformats.org/officeDocument/2006/relationships/slideLayout" Target="../slideLayouts/slideLayout13.xml"/><Relationship Id="rId5" Type="http://schemas.openxmlformats.org/officeDocument/2006/relationships/image" Target="../media/image148.png"/><Relationship Id="rId4" Type="http://schemas.openxmlformats.org/officeDocument/2006/relationships/image" Target="../media/image186.png"/></Relationships>
</file>

<file path=ppt/slides/_rels/slide22.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5.xml"/><Relationship Id="rId1" Type="http://schemas.openxmlformats.org/officeDocument/2006/relationships/slideLayout" Target="../slideLayouts/slideLayout13.xml"/><Relationship Id="rId4" Type="http://schemas.openxmlformats.org/officeDocument/2006/relationships/image" Target="../media/image148.png"/></Relationships>
</file>

<file path=ppt/slides/_rels/slide23.xml.rels><?xml version="1.0" encoding="UTF-8" standalone="yes"?>
<Relationships xmlns="http://schemas.openxmlformats.org/package/2006/relationships"><Relationship Id="rId2" Type="http://schemas.openxmlformats.org/officeDocument/2006/relationships/image" Target="../media/image187.jpeg"/><Relationship Id="rId1" Type="http://schemas.openxmlformats.org/officeDocument/2006/relationships/slideLayout" Target="../slideLayouts/slideLayout715.xml"/></Relationships>
</file>

<file path=ppt/slides/_rels/slide24.xml.rels><?xml version="1.0" encoding="UTF-8" standalone="yes"?>
<Relationships xmlns="http://schemas.openxmlformats.org/package/2006/relationships"><Relationship Id="rId8" Type="http://schemas.openxmlformats.org/officeDocument/2006/relationships/image" Target="../media/image193.svg"/><Relationship Id="rId3" Type="http://schemas.openxmlformats.org/officeDocument/2006/relationships/image" Target="../media/image188.svg"/><Relationship Id="rId7" Type="http://schemas.openxmlformats.org/officeDocument/2006/relationships/image" Target="../media/image192.svg"/><Relationship Id="rId2" Type="http://schemas.openxmlformats.org/officeDocument/2006/relationships/notesSlide" Target="../notesSlides/notesSlide16.xml"/><Relationship Id="rId1" Type="http://schemas.openxmlformats.org/officeDocument/2006/relationships/slideLayout" Target="../slideLayouts/slideLayout696.xml"/><Relationship Id="rId6" Type="http://schemas.openxmlformats.org/officeDocument/2006/relationships/image" Target="../media/image191.svg"/><Relationship Id="rId11" Type="http://schemas.openxmlformats.org/officeDocument/2006/relationships/image" Target="../media/image196.svg"/><Relationship Id="rId5" Type="http://schemas.openxmlformats.org/officeDocument/2006/relationships/image" Target="../media/image190.jpeg"/><Relationship Id="rId10" Type="http://schemas.openxmlformats.org/officeDocument/2006/relationships/image" Target="../media/image195.svg"/><Relationship Id="rId4" Type="http://schemas.openxmlformats.org/officeDocument/2006/relationships/image" Target="../media/image189.png"/><Relationship Id="rId9" Type="http://schemas.openxmlformats.org/officeDocument/2006/relationships/image" Target="../media/image194.svg"/></Relationships>
</file>

<file path=ppt/slides/_rels/slide25.xml.rels><?xml version="1.0" encoding="UTF-8" standalone="yes"?>
<Relationships xmlns="http://schemas.openxmlformats.org/package/2006/relationships"><Relationship Id="rId3" Type="http://schemas.openxmlformats.org/officeDocument/2006/relationships/image" Target="../media/image190.jpeg"/><Relationship Id="rId7" Type="http://schemas.openxmlformats.org/officeDocument/2006/relationships/image" Target="../media/image200.png"/><Relationship Id="rId2" Type="http://schemas.openxmlformats.org/officeDocument/2006/relationships/image" Target="../media/image189.png"/><Relationship Id="rId1" Type="http://schemas.openxmlformats.org/officeDocument/2006/relationships/slideLayout" Target="../slideLayouts/slideLayout696.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197.png"/></Relationships>
</file>

<file path=ppt/slides/_rels/slide26.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17.xml"/><Relationship Id="rId1" Type="http://schemas.openxmlformats.org/officeDocument/2006/relationships/slideLayout" Target="../slideLayouts/slideLayout1955.xml"/><Relationship Id="rId4" Type="http://schemas.openxmlformats.org/officeDocument/2006/relationships/image" Target="../media/image202.jpeg"/></Relationships>
</file>

<file path=ppt/slides/_rels/slide27.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18.xml"/><Relationship Id="rId1" Type="http://schemas.openxmlformats.org/officeDocument/2006/relationships/slideLayout" Target="../slideLayouts/slideLayout1945.xml"/></Relationships>
</file>

<file path=ppt/slides/_rels/slide28.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204.jpeg"/><Relationship Id="rId1" Type="http://schemas.openxmlformats.org/officeDocument/2006/relationships/slideLayout" Target="../slideLayouts/slideLayout696.xml"/></Relationships>
</file>

<file path=ppt/slides/_rels/slide29.xml.rels><?xml version="1.0" encoding="UTF-8" standalone="yes"?>
<Relationships xmlns="http://schemas.openxmlformats.org/package/2006/relationships"><Relationship Id="rId8" Type="http://schemas.openxmlformats.org/officeDocument/2006/relationships/image" Target="../media/image210.svg"/><Relationship Id="rId3" Type="http://schemas.openxmlformats.org/officeDocument/2006/relationships/image" Target="../media/image205.png"/><Relationship Id="rId7" Type="http://schemas.openxmlformats.org/officeDocument/2006/relationships/image" Target="../media/image209.svg"/><Relationship Id="rId12" Type="http://schemas.openxmlformats.org/officeDocument/2006/relationships/image" Target="../media/image214.svg"/><Relationship Id="rId2" Type="http://schemas.openxmlformats.org/officeDocument/2006/relationships/notesSlide" Target="../notesSlides/notesSlide19.xml"/><Relationship Id="rId1" Type="http://schemas.openxmlformats.org/officeDocument/2006/relationships/slideLayout" Target="../slideLayouts/slideLayout340.xml"/><Relationship Id="rId6" Type="http://schemas.openxmlformats.org/officeDocument/2006/relationships/image" Target="../media/image208.svg"/><Relationship Id="rId11" Type="http://schemas.openxmlformats.org/officeDocument/2006/relationships/image" Target="../media/image213.png"/><Relationship Id="rId5" Type="http://schemas.openxmlformats.org/officeDocument/2006/relationships/image" Target="../media/image207.svg"/><Relationship Id="rId10" Type="http://schemas.openxmlformats.org/officeDocument/2006/relationships/image" Target="../media/image212.png"/><Relationship Id="rId4" Type="http://schemas.openxmlformats.org/officeDocument/2006/relationships/image" Target="../media/image206.svg"/><Relationship Id="rId9" Type="http://schemas.openxmlformats.org/officeDocument/2006/relationships/image" Target="../media/image211.svg"/></Relationships>
</file>

<file path=ppt/slides/_rels/slide3.xml.rels><?xml version="1.0" encoding="UTF-8" standalone="yes"?>
<Relationships xmlns="http://schemas.openxmlformats.org/package/2006/relationships"><Relationship Id="rId8" Type="http://schemas.openxmlformats.org/officeDocument/2006/relationships/image" Target="../media/image148.png"/><Relationship Id="rId3" Type="http://schemas.openxmlformats.org/officeDocument/2006/relationships/image" Target="../media/image143.jpeg"/><Relationship Id="rId7" Type="http://schemas.openxmlformats.org/officeDocument/2006/relationships/image" Target="../media/image147.jpeg"/><Relationship Id="rId2" Type="http://schemas.openxmlformats.org/officeDocument/2006/relationships/image" Target="../media/image142.png"/><Relationship Id="rId1" Type="http://schemas.openxmlformats.org/officeDocument/2006/relationships/slideLayout" Target="../slideLayouts/slideLayout696.xml"/><Relationship Id="rId6" Type="http://schemas.openxmlformats.org/officeDocument/2006/relationships/image" Target="../media/image146.jpeg"/><Relationship Id="rId5" Type="http://schemas.openxmlformats.org/officeDocument/2006/relationships/image" Target="../media/image145.jpeg"/><Relationship Id="rId4" Type="http://schemas.openxmlformats.org/officeDocument/2006/relationships/image" Target="../media/image144.jpeg"/></Relationships>
</file>

<file path=ppt/slides/_rels/slide30.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220.svg"/><Relationship Id="rId3" Type="http://schemas.openxmlformats.org/officeDocument/2006/relationships/image" Target="../media/image215.svg"/><Relationship Id="rId7" Type="http://schemas.openxmlformats.org/officeDocument/2006/relationships/image" Target="../media/image217.png"/><Relationship Id="rId12" Type="http://schemas.microsoft.com/office/2007/relationships/hdphoto" Target="../media/hdphoto3.wdp"/><Relationship Id="rId2" Type="http://schemas.openxmlformats.org/officeDocument/2006/relationships/notesSlide" Target="../notesSlides/notesSlide20.xml"/><Relationship Id="rId16" Type="http://schemas.openxmlformats.org/officeDocument/2006/relationships/image" Target="../media/image162.png"/><Relationship Id="rId1" Type="http://schemas.openxmlformats.org/officeDocument/2006/relationships/slideLayout" Target="../slideLayouts/slideLayout696.xml"/><Relationship Id="rId6" Type="http://schemas.openxmlformats.org/officeDocument/2006/relationships/image" Target="../media/image216.png"/><Relationship Id="rId11" Type="http://schemas.openxmlformats.org/officeDocument/2006/relationships/image" Target="../media/image219.png"/><Relationship Id="rId5" Type="http://schemas.openxmlformats.org/officeDocument/2006/relationships/image" Target="../media/image143.jpeg"/><Relationship Id="rId15" Type="http://schemas.openxmlformats.org/officeDocument/2006/relationships/image" Target="../media/image222.svg"/><Relationship Id="rId10" Type="http://schemas.microsoft.com/office/2007/relationships/hdphoto" Target="../media/hdphoto2.wdp"/><Relationship Id="rId4" Type="http://schemas.openxmlformats.org/officeDocument/2006/relationships/image" Target="../media/image142.png"/><Relationship Id="rId9" Type="http://schemas.openxmlformats.org/officeDocument/2006/relationships/image" Target="../media/image218.png"/><Relationship Id="rId14" Type="http://schemas.openxmlformats.org/officeDocument/2006/relationships/image" Target="../media/image221.svg"/></Relationships>
</file>

<file path=ppt/slides/_rels/slide31.xml.rels><?xml version="1.0" encoding="UTF-8" standalone="yes"?>
<Relationships xmlns="http://schemas.openxmlformats.org/package/2006/relationships"><Relationship Id="rId3" Type="http://schemas.openxmlformats.org/officeDocument/2006/relationships/image" Target="../media/image223.png"/><Relationship Id="rId2" Type="http://schemas.openxmlformats.org/officeDocument/2006/relationships/notesSlide" Target="../notesSlides/notesSlide21.xml"/><Relationship Id="rId1" Type="http://schemas.openxmlformats.org/officeDocument/2006/relationships/slideLayout" Target="../slideLayouts/slideLayout686.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96.xml"/><Relationship Id="rId1" Type="http://schemas.openxmlformats.org/officeDocument/2006/relationships/tags" Target="../tags/tag36.xml"/><Relationship Id="rId6" Type="http://schemas.openxmlformats.org/officeDocument/2006/relationships/image" Target="../media/image150.png"/><Relationship Id="rId5" Type="http://schemas.openxmlformats.org/officeDocument/2006/relationships/image" Target="../media/image149.png"/><Relationship Id="rId4" Type="http://schemas.microsoft.com/office/2018/10/relationships/comments" Target="../comments/modernComment_13F_652FAC1D.xml"/></Relationships>
</file>

<file path=ppt/slides/_rels/slide5.xml.rels><?xml version="1.0" encoding="UTF-8" standalone="yes"?>
<Relationships xmlns="http://schemas.openxmlformats.org/package/2006/relationships"><Relationship Id="rId3" Type="http://schemas.microsoft.com/office/2018/10/relationships/comments" Target="../comments/modernComment_597_43CF335.xml"/><Relationship Id="rId2" Type="http://schemas.openxmlformats.org/officeDocument/2006/relationships/notesSlide" Target="../notesSlides/notesSlide4.xml"/><Relationship Id="rId1" Type="http://schemas.openxmlformats.org/officeDocument/2006/relationships/slideLayout" Target="../slideLayouts/slideLayout696.xml"/><Relationship Id="rId6" Type="http://schemas.openxmlformats.org/officeDocument/2006/relationships/image" Target="../media/image153.png"/><Relationship Id="rId5" Type="http://schemas.openxmlformats.org/officeDocument/2006/relationships/image" Target="../media/image152.png"/><Relationship Id="rId4" Type="http://schemas.openxmlformats.org/officeDocument/2006/relationships/image" Target="../media/image151.png"/></Relationships>
</file>

<file path=ppt/slides/_rels/slide6.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5.xml"/><Relationship Id="rId1" Type="http://schemas.openxmlformats.org/officeDocument/2006/relationships/slideLayout" Target="../slideLayouts/slideLayout689.xml"/></Relationships>
</file>

<file path=ppt/slides/_rels/slide7.xml.rels><?xml version="1.0" encoding="UTF-8" standalone="yes"?>
<Relationships xmlns="http://schemas.openxmlformats.org/package/2006/relationships"><Relationship Id="rId8" Type="http://schemas.openxmlformats.org/officeDocument/2006/relationships/image" Target="../media/image157.svg"/><Relationship Id="rId3" Type="http://schemas.microsoft.com/office/2018/10/relationships/comments" Target="../comments/modernComment_3BD_B8501D3B.xml"/><Relationship Id="rId7" Type="http://schemas.openxmlformats.org/officeDocument/2006/relationships/image" Target="../media/image156.svg"/><Relationship Id="rId2" Type="http://schemas.openxmlformats.org/officeDocument/2006/relationships/notesSlide" Target="../notesSlides/notesSlide6.xml"/><Relationship Id="rId1" Type="http://schemas.openxmlformats.org/officeDocument/2006/relationships/slideLayout" Target="../slideLayouts/slideLayout696.xml"/><Relationship Id="rId6" Type="http://schemas.openxmlformats.org/officeDocument/2006/relationships/image" Target="../media/image155.png"/><Relationship Id="rId5" Type="http://schemas.openxmlformats.org/officeDocument/2006/relationships/image" Target="../media/image143.jpeg"/><Relationship Id="rId10" Type="http://schemas.openxmlformats.org/officeDocument/2006/relationships/image" Target="../media/image148.png"/><Relationship Id="rId4" Type="http://schemas.openxmlformats.org/officeDocument/2006/relationships/image" Target="../media/image142.png"/><Relationship Id="rId9" Type="http://schemas.openxmlformats.org/officeDocument/2006/relationships/image" Target="../media/image158.svg"/></Relationships>
</file>

<file path=ppt/slides/_rels/slide8.xml.rels><?xml version="1.0" encoding="UTF-8" standalone="yes"?>
<Relationships xmlns="http://schemas.openxmlformats.org/package/2006/relationships"><Relationship Id="rId8" Type="http://schemas.openxmlformats.org/officeDocument/2006/relationships/image" Target="../media/image148.png"/><Relationship Id="rId3" Type="http://schemas.microsoft.com/office/2018/10/relationships/comments" Target="../comments/modernComment_3BE_C1EE5ACA.xml"/><Relationship Id="rId7" Type="http://schemas.openxmlformats.org/officeDocument/2006/relationships/image" Target="../media/image159.svg"/><Relationship Id="rId2" Type="http://schemas.openxmlformats.org/officeDocument/2006/relationships/notesSlide" Target="../notesSlides/notesSlide7.xml"/><Relationship Id="rId1" Type="http://schemas.openxmlformats.org/officeDocument/2006/relationships/slideLayout" Target="../slideLayouts/slideLayout696.xml"/><Relationship Id="rId6" Type="http://schemas.openxmlformats.org/officeDocument/2006/relationships/image" Target="../media/image158.svg"/><Relationship Id="rId5" Type="http://schemas.openxmlformats.org/officeDocument/2006/relationships/image" Target="../media/image143.jpeg"/><Relationship Id="rId4" Type="http://schemas.openxmlformats.org/officeDocument/2006/relationships/image" Target="../media/image142.png"/><Relationship Id="rId9" Type="http://schemas.openxmlformats.org/officeDocument/2006/relationships/image" Target="../media/image160.svg"/></Relationships>
</file>

<file path=ppt/slides/_rels/slide9.xml.rels><?xml version="1.0" encoding="UTF-8" standalone="yes"?>
<Relationships xmlns="http://schemas.openxmlformats.org/package/2006/relationships"><Relationship Id="rId8" Type="http://schemas.openxmlformats.org/officeDocument/2006/relationships/image" Target="../media/image148.png"/><Relationship Id="rId3" Type="http://schemas.openxmlformats.org/officeDocument/2006/relationships/image" Target="../media/image162.png"/><Relationship Id="rId7" Type="http://schemas.openxmlformats.org/officeDocument/2006/relationships/image" Target="../media/image166.png"/><Relationship Id="rId2" Type="http://schemas.openxmlformats.org/officeDocument/2006/relationships/image" Target="../media/image161.jpeg"/><Relationship Id="rId1" Type="http://schemas.openxmlformats.org/officeDocument/2006/relationships/slideLayout" Target="../slideLayouts/slideLayout7.xml"/><Relationship Id="rId6" Type="http://schemas.openxmlformats.org/officeDocument/2006/relationships/image" Target="../media/image165.png"/><Relationship Id="rId5" Type="http://schemas.openxmlformats.org/officeDocument/2006/relationships/image" Target="../media/image164.png"/><Relationship Id="rId4" Type="http://schemas.openxmlformats.org/officeDocument/2006/relationships/image" Target="../media/image16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9">
            <a:extLst>
              <a:ext uri="{FF2B5EF4-FFF2-40B4-BE49-F238E27FC236}">
                <a16:creationId xmlns:a16="http://schemas.microsoft.com/office/drawing/2014/main" id="{5C62BB4B-A258-5124-645C-5E1CB4276163}"/>
              </a:ext>
            </a:extLst>
          </p:cNvPr>
          <p:cNvSpPr/>
          <p:nvPr/>
        </p:nvSpPr>
        <p:spPr>
          <a:xfrm>
            <a:off x="496958" y="6187104"/>
            <a:ext cx="11314044" cy="397562"/>
          </a:xfrm>
          <a:prstGeom prst="rect">
            <a:avLst/>
          </a:prstGeom>
          <a:solidFill>
            <a:srgbClr val="FFFFFF"/>
          </a:solidFill>
          <a:ln w="12701" cap="flat">
            <a:solidFill>
              <a:srgbClr val="FFF7F5"/>
            </a:solidFill>
            <a:prstDash val="solid"/>
            <a:miter/>
          </a:ln>
        </p:spPr>
        <p:txBody>
          <a:bodyPr vert="horz" wrap="square" lIns="91440" tIns="45720" rIns="91440" bIns="45720" anchor="ctr" anchorCtr="1" compatLnSpc="1">
            <a:no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defTabSz="914446">
              <a:defRPr sz="1800" b="0" i="0" u="none" strike="noStrike" kern="0" cap="none" spc="0" baseline="0">
                <a:solidFill>
                  <a:srgbClr val="000000"/>
                </a:solidFill>
                <a:uFillTx/>
              </a:defRPr>
            </a:pPr>
            <a:endParaRPr lang="en-US" sz="1800">
              <a:solidFill>
                <a:srgbClr val="FFFFFF"/>
              </a:solidFill>
              <a:latin typeface="Calibri"/>
            </a:endParaRPr>
          </a:p>
        </p:txBody>
      </p:sp>
      <p:sp>
        <p:nvSpPr>
          <p:cNvPr id="3" name="Rectangle 19">
            <a:extLst>
              <a:ext uri="{FF2B5EF4-FFF2-40B4-BE49-F238E27FC236}">
                <a16:creationId xmlns:a16="http://schemas.microsoft.com/office/drawing/2014/main" id="{5BB91AC1-FC38-FE12-1FEA-BBEAF0FE94D2}"/>
              </a:ext>
            </a:extLst>
          </p:cNvPr>
          <p:cNvSpPr/>
          <p:nvPr/>
        </p:nvSpPr>
        <p:spPr>
          <a:xfrm>
            <a:off x="6940827" y="-24844"/>
            <a:ext cx="5259455" cy="1938125"/>
          </a:xfrm>
          <a:prstGeom prst="rect">
            <a:avLst/>
          </a:prstGeom>
          <a:solidFill>
            <a:srgbClr val="FFFFFF"/>
          </a:solidFill>
          <a:ln w="12701" cap="flat">
            <a:solidFill>
              <a:srgbClr val="FFF7F5"/>
            </a:solidFill>
            <a:prstDash val="solid"/>
            <a:miter/>
          </a:ln>
        </p:spPr>
        <p:txBody>
          <a:bodyPr vert="horz" wrap="square" lIns="91440" tIns="45720" rIns="91440" bIns="45720" anchor="ctr" anchorCtr="1" compatLnSpc="1">
            <a:no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defTabSz="914446">
              <a:defRPr sz="1800" b="0" i="0" u="none" strike="noStrike" kern="0" cap="none" spc="0" baseline="0">
                <a:solidFill>
                  <a:srgbClr val="000000"/>
                </a:solidFill>
                <a:uFillTx/>
              </a:defRPr>
            </a:pPr>
            <a:endParaRPr lang="en-US" sz="1800">
              <a:solidFill>
                <a:srgbClr val="FFFFFF"/>
              </a:solidFill>
              <a:latin typeface="Calibri"/>
            </a:endParaRPr>
          </a:p>
        </p:txBody>
      </p:sp>
      <p:sp>
        <p:nvSpPr>
          <p:cNvPr id="4" name="Slide Number Placeholder 3">
            <a:extLst>
              <a:ext uri="{FF2B5EF4-FFF2-40B4-BE49-F238E27FC236}">
                <a16:creationId xmlns:a16="http://schemas.microsoft.com/office/drawing/2014/main" id="{8424F856-2F85-AFE3-1704-2198B3377B24}"/>
              </a:ext>
            </a:extLst>
          </p:cNvPr>
          <p:cNvSpPr txBox="1"/>
          <p:nvPr/>
        </p:nvSpPr>
        <p:spPr>
          <a:xfrm>
            <a:off x="8839203" y="6356352"/>
            <a:ext cx="2743200" cy="365129"/>
          </a:xfrm>
          <a:prstGeom prst="rect">
            <a:avLst/>
          </a:prstGeom>
          <a:noFill/>
          <a:ln cap="flat">
            <a:noFill/>
          </a:ln>
        </p:spPr>
        <p:txBody>
          <a:bodyPr vert="horz" wrap="square" lIns="91440" tIns="45720" rIns="91440" bIns="45720" anchor="ctr" anchorCtr="0" compatLnSpc="1">
            <a:no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r" defTabSz="914446">
              <a:defRPr sz="1800" b="0" i="0" u="none" strike="noStrike" kern="0" cap="none" spc="0" baseline="0">
                <a:solidFill>
                  <a:srgbClr val="000000"/>
                </a:solidFill>
                <a:uFillTx/>
              </a:defRPr>
            </a:pPr>
            <a:fld id="{D808EF1E-75F6-4A9F-B2AD-492A8AEDF495}" type="slidenum">
              <a:rPr lang="en-US" sz="1200">
                <a:solidFill>
                  <a:srgbClr val="AFB3B9"/>
                </a:solidFill>
                <a:latin typeface="Calibri"/>
              </a:rPr>
              <a:pPr algn="r" defTabSz="914446">
                <a:defRPr sz="1800" b="0" i="0" u="none" strike="noStrike" kern="0" cap="none" spc="0" baseline="0">
                  <a:solidFill>
                    <a:srgbClr val="000000"/>
                  </a:solidFill>
                  <a:uFillTx/>
                </a:defRPr>
              </a:pPr>
              <a:t>1</a:t>
            </a:fld>
            <a:endParaRPr lang="en-US" sz="1200">
              <a:solidFill>
                <a:srgbClr val="AFB3B9"/>
              </a:solidFill>
              <a:latin typeface="Calibri"/>
            </a:endParaRPr>
          </a:p>
        </p:txBody>
      </p:sp>
      <p:sp>
        <p:nvSpPr>
          <p:cNvPr id="5" name="Title 1">
            <a:extLst>
              <a:ext uri="{FF2B5EF4-FFF2-40B4-BE49-F238E27FC236}">
                <a16:creationId xmlns:a16="http://schemas.microsoft.com/office/drawing/2014/main" id="{6BBE12CE-F33D-0C29-5EF9-3ABD7CA347BC}"/>
              </a:ext>
            </a:extLst>
          </p:cNvPr>
          <p:cNvSpPr txBox="1"/>
          <p:nvPr/>
        </p:nvSpPr>
        <p:spPr>
          <a:xfrm>
            <a:off x="2229207" y="-106618"/>
            <a:ext cx="7616403" cy="1105975"/>
          </a:xfrm>
          <a:prstGeom prst="rect">
            <a:avLst/>
          </a:prstGeom>
          <a:noFill/>
          <a:ln cap="flat">
            <a:noFill/>
          </a:ln>
        </p:spPr>
        <p:txBody>
          <a:bodyPr vert="horz" wrap="square" lIns="91440" tIns="45720" rIns="91440" bIns="45720" anchor="ctr" anchorCtr="1" compatLnSpc="1">
            <a:norm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defTabSz="914446">
              <a:defRPr sz="1800" b="0" i="0" u="none" strike="noStrike" kern="0" cap="none" spc="0" baseline="0">
                <a:solidFill>
                  <a:srgbClr val="000000"/>
                </a:solidFill>
                <a:uFillTx/>
              </a:defRPr>
            </a:pPr>
            <a:r>
              <a:rPr lang="en-US" sz="3600" b="1">
                <a:solidFill>
                  <a:srgbClr val="1C498B"/>
                </a:solidFill>
                <a:latin typeface="Calibri"/>
                <a:ea typeface="Lato Medium"/>
                <a:cs typeface="Lato Medium"/>
              </a:rPr>
              <a:t>Thank you to our</a:t>
            </a:r>
            <a:r>
              <a:rPr lang="en-US" sz="3600" b="1">
                <a:solidFill>
                  <a:srgbClr val="3C4045"/>
                </a:solidFill>
                <a:latin typeface="Calibri"/>
                <a:ea typeface="Lato Medium"/>
                <a:cs typeface="Lato Medium"/>
              </a:rPr>
              <a:t> </a:t>
            </a:r>
            <a:r>
              <a:rPr lang="en-US" sz="3600" b="1">
                <a:solidFill>
                  <a:srgbClr val="F58366"/>
                </a:solidFill>
                <a:latin typeface="Calibri"/>
                <a:ea typeface="Lato Medium"/>
                <a:cs typeface="Lato Medium"/>
              </a:rPr>
              <a:t>Funders:</a:t>
            </a:r>
            <a:endParaRPr lang="en-US" sz="3600" b="1">
              <a:solidFill>
                <a:srgbClr val="F58366"/>
              </a:solidFill>
              <a:latin typeface="Calibri"/>
              <a:ea typeface="Lato Medium" pitchFamily="34"/>
              <a:cs typeface="Lato Medium" pitchFamily="34"/>
            </a:endParaRPr>
          </a:p>
        </p:txBody>
      </p:sp>
      <p:pic>
        <p:nvPicPr>
          <p:cNvPr id="6" name="Picture 8" descr="IDPH | Protecting health, improving lives.">
            <a:extLst>
              <a:ext uri="{FF2B5EF4-FFF2-40B4-BE49-F238E27FC236}">
                <a16:creationId xmlns:a16="http://schemas.microsoft.com/office/drawing/2014/main" id="{1B9DFED7-4B56-F34B-3567-FA15C8CEA83C}"/>
              </a:ext>
            </a:extLst>
          </p:cNvPr>
          <p:cNvPicPr>
            <a:picLocks noChangeAspect="1"/>
          </p:cNvPicPr>
          <p:nvPr/>
        </p:nvPicPr>
        <p:blipFill>
          <a:blip r:embed="rId3"/>
          <a:srcRect/>
          <a:stretch>
            <a:fillRect/>
          </a:stretch>
        </p:blipFill>
        <p:spPr>
          <a:xfrm>
            <a:off x="1167350" y="905786"/>
            <a:ext cx="2354488" cy="618838"/>
          </a:xfrm>
          <a:prstGeom prst="rect">
            <a:avLst/>
          </a:prstGeom>
          <a:noFill/>
          <a:ln cap="flat">
            <a:noFill/>
          </a:ln>
        </p:spPr>
      </p:pic>
      <p:pic>
        <p:nvPicPr>
          <p:cNvPr id="7" name="Picture 4" descr="File:US CDC logo.svg - Wikimedia Commons">
            <a:extLst>
              <a:ext uri="{FF2B5EF4-FFF2-40B4-BE49-F238E27FC236}">
                <a16:creationId xmlns:a16="http://schemas.microsoft.com/office/drawing/2014/main" id="{C6E03321-02C2-21A7-9DCC-0A54866CAC3B}"/>
              </a:ext>
            </a:extLst>
          </p:cNvPr>
          <p:cNvPicPr>
            <a:picLocks noChangeAspect="1"/>
          </p:cNvPicPr>
          <p:nvPr/>
        </p:nvPicPr>
        <p:blipFill>
          <a:blip r:embed="rId4"/>
          <a:srcRect/>
          <a:stretch>
            <a:fillRect/>
          </a:stretch>
        </p:blipFill>
        <p:spPr>
          <a:xfrm>
            <a:off x="1047668" y="2311506"/>
            <a:ext cx="1185976" cy="944035"/>
          </a:xfrm>
          <a:prstGeom prst="rect">
            <a:avLst/>
          </a:prstGeom>
          <a:noFill/>
          <a:ln cap="flat">
            <a:noFill/>
          </a:ln>
        </p:spPr>
      </p:pic>
      <p:pic>
        <p:nvPicPr>
          <p:cNvPr id="8" name="Picture 2" descr="Logo&#10;&#10;Description automatically generated">
            <a:extLst>
              <a:ext uri="{FF2B5EF4-FFF2-40B4-BE49-F238E27FC236}">
                <a16:creationId xmlns:a16="http://schemas.microsoft.com/office/drawing/2014/main" id="{5C9AB5D2-80C9-3B93-CEB1-C155F29077A3}"/>
              </a:ext>
            </a:extLst>
          </p:cNvPr>
          <p:cNvPicPr>
            <a:picLocks noChangeAspect="1"/>
          </p:cNvPicPr>
          <p:nvPr/>
        </p:nvPicPr>
        <p:blipFill>
          <a:blip r:embed="rId5"/>
          <a:stretch>
            <a:fillRect/>
          </a:stretch>
        </p:blipFill>
        <p:spPr>
          <a:xfrm>
            <a:off x="4433908" y="821068"/>
            <a:ext cx="1076495" cy="1042827"/>
          </a:xfrm>
          <a:prstGeom prst="rect">
            <a:avLst/>
          </a:prstGeom>
          <a:noFill/>
          <a:ln cap="flat">
            <a:noFill/>
          </a:ln>
        </p:spPr>
      </p:pic>
      <p:pic>
        <p:nvPicPr>
          <p:cNvPr id="9" name="Picture 28" descr="Logo, company name&#10;&#10;Description automatically generated">
            <a:extLst>
              <a:ext uri="{FF2B5EF4-FFF2-40B4-BE49-F238E27FC236}">
                <a16:creationId xmlns:a16="http://schemas.microsoft.com/office/drawing/2014/main" id="{E0C07CCE-05B7-2F8B-F9F5-FC7042321FD7}"/>
              </a:ext>
            </a:extLst>
          </p:cNvPr>
          <p:cNvPicPr>
            <a:picLocks noChangeAspect="1"/>
          </p:cNvPicPr>
          <p:nvPr/>
        </p:nvPicPr>
        <p:blipFill>
          <a:blip r:embed="rId6"/>
          <a:srcRect/>
          <a:stretch>
            <a:fillRect/>
          </a:stretch>
        </p:blipFill>
        <p:spPr>
          <a:xfrm>
            <a:off x="9444360" y="2346667"/>
            <a:ext cx="1919618" cy="900382"/>
          </a:xfrm>
          <a:prstGeom prst="rect">
            <a:avLst/>
          </a:prstGeom>
          <a:noFill/>
          <a:ln cap="flat">
            <a:noFill/>
          </a:ln>
        </p:spPr>
      </p:pic>
      <p:sp>
        <p:nvSpPr>
          <p:cNvPr id="10" name="Title 1">
            <a:extLst>
              <a:ext uri="{FF2B5EF4-FFF2-40B4-BE49-F238E27FC236}">
                <a16:creationId xmlns:a16="http://schemas.microsoft.com/office/drawing/2014/main" id="{BA89DB8A-87E0-5AE2-443C-27DC6470898C}"/>
              </a:ext>
            </a:extLst>
          </p:cNvPr>
          <p:cNvSpPr txBox="1"/>
          <p:nvPr/>
        </p:nvSpPr>
        <p:spPr>
          <a:xfrm>
            <a:off x="3237104" y="3431807"/>
            <a:ext cx="5306738" cy="593308"/>
          </a:xfrm>
          <a:prstGeom prst="rect">
            <a:avLst/>
          </a:prstGeom>
          <a:noFill/>
          <a:ln cap="flat">
            <a:noFill/>
          </a:ln>
        </p:spPr>
        <p:txBody>
          <a:bodyPr vert="horz" wrap="square" lIns="91440" tIns="45720" rIns="91440" bIns="45720" anchor="ctr" anchorCtr="1" compatLnSpc="1">
            <a:norm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defTabSz="914446">
              <a:lnSpc>
                <a:spcPct val="90000"/>
              </a:lnSpc>
              <a:defRPr sz="1800" b="0" i="0" u="none" strike="noStrike" kern="0" cap="none" spc="0" baseline="0">
                <a:solidFill>
                  <a:srgbClr val="000000"/>
                </a:solidFill>
                <a:uFillTx/>
              </a:defRPr>
            </a:pPr>
            <a:r>
              <a:rPr lang="en-US" sz="3600" b="1">
                <a:solidFill>
                  <a:srgbClr val="F58366"/>
                </a:solidFill>
                <a:latin typeface="Calibri"/>
                <a:ea typeface="Lato Medium"/>
                <a:cs typeface="Lato Medium"/>
              </a:rPr>
              <a:t>Supporters:</a:t>
            </a:r>
            <a:endParaRPr lang="en-US" sz="3600" b="1">
              <a:solidFill>
                <a:srgbClr val="F58366"/>
              </a:solidFill>
              <a:latin typeface="Calibri"/>
              <a:ea typeface="Lato Medium" pitchFamily="34"/>
              <a:cs typeface="Lato Medium" pitchFamily="34"/>
            </a:endParaRPr>
          </a:p>
        </p:txBody>
      </p:sp>
      <p:pic>
        <p:nvPicPr>
          <p:cNvPr id="11" name="Picture 36">
            <a:extLst>
              <a:ext uri="{FF2B5EF4-FFF2-40B4-BE49-F238E27FC236}">
                <a16:creationId xmlns:a16="http://schemas.microsoft.com/office/drawing/2014/main" id="{6EFBFE74-F435-C283-BDF0-365E01426804}"/>
              </a:ext>
            </a:extLst>
          </p:cNvPr>
          <p:cNvPicPr>
            <a:picLocks noChangeAspect="1"/>
          </p:cNvPicPr>
          <p:nvPr/>
        </p:nvPicPr>
        <p:blipFill>
          <a:blip r:embed="rId7"/>
          <a:stretch>
            <a:fillRect/>
          </a:stretch>
        </p:blipFill>
        <p:spPr>
          <a:xfrm>
            <a:off x="8410240" y="5094370"/>
            <a:ext cx="2298490" cy="471199"/>
          </a:xfrm>
          <a:prstGeom prst="rect">
            <a:avLst/>
          </a:prstGeom>
          <a:noFill/>
          <a:ln cap="flat">
            <a:noFill/>
          </a:ln>
        </p:spPr>
      </p:pic>
      <p:pic>
        <p:nvPicPr>
          <p:cNvPr id="12" name="Picture 38" descr="A picture containing text, sign&#10;&#10;Description automatically generated">
            <a:extLst>
              <a:ext uri="{FF2B5EF4-FFF2-40B4-BE49-F238E27FC236}">
                <a16:creationId xmlns:a16="http://schemas.microsoft.com/office/drawing/2014/main" id="{1E7889F0-7FCB-DA27-468E-72E8B9E2BC6F}"/>
              </a:ext>
            </a:extLst>
          </p:cNvPr>
          <p:cNvPicPr>
            <a:picLocks noChangeAspect="1"/>
          </p:cNvPicPr>
          <p:nvPr/>
        </p:nvPicPr>
        <p:blipFill>
          <a:blip r:embed="rId8"/>
          <a:stretch>
            <a:fillRect/>
          </a:stretch>
        </p:blipFill>
        <p:spPr>
          <a:xfrm>
            <a:off x="1270888" y="4159990"/>
            <a:ext cx="1664902" cy="598045"/>
          </a:xfrm>
          <a:prstGeom prst="rect">
            <a:avLst/>
          </a:prstGeom>
          <a:noFill/>
          <a:ln cap="flat">
            <a:noFill/>
          </a:ln>
        </p:spPr>
      </p:pic>
      <p:pic>
        <p:nvPicPr>
          <p:cNvPr id="13" name="Picture 41" descr="A picture containing icon&#10;&#10;Description automatically generated">
            <a:extLst>
              <a:ext uri="{FF2B5EF4-FFF2-40B4-BE49-F238E27FC236}">
                <a16:creationId xmlns:a16="http://schemas.microsoft.com/office/drawing/2014/main" id="{28D5DAC5-8950-426A-D4F2-7C7E092DDE31}"/>
              </a:ext>
            </a:extLst>
          </p:cNvPr>
          <p:cNvPicPr>
            <a:picLocks noChangeAspect="1"/>
          </p:cNvPicPr>
          <p:nvPr/>
        </p:nvPicPr>
        <p:blipFill>
          <a:blip r:embed="rId9"/>
          <a:stretch>
            <a:fillRect/>
          </a:stretch>
        </p:blipFill>
        <p:spPr>
          <a:xfrm>
            <a:off x="8411346" y="4258488"/>
            <a:ext cx="1904996" cy="476246"/>
          </a:xfrm>
          <a:prstGeom prst="rect">
            <a:avLst/>
          </a:prstGeom>
          <a:noFill/>
          <a:ln cap="flat">
            <a:noFill/>
          </a:ln>
        </p:spPr>
      </p:pic>
      <p:pic>
        <p:nvPicPr>
          <p:cNvPr id="14" name="Picture 1" descr="A blue and red logo&#10;&#10;Description automatically generated">
            <a:extLst>
              <a:ext uri="{FF2B5EF4-FFF2-40B4-BE49-F238E27FC236}">
                <a16:creationId xmlns:a16="http://schemas.microsoft.com/office/drawing/2014/main" id="{85A759A7-CB90-9341-E058-580EC00C1D82}"/>
              </a:ext>
            </a:extLst>
          </p:cNvPr>
          <p:cNvPicPr>
            <a:picLocks noChangeAspect="1"/>
          </p:cNvPicPr>
          <p:nvPr/>
        </p:nvPicPr>
        <p:blipFill>
          <a:blip r:embed="rId10"/>
          <a:stretch>
            <a:fillRect/>
          </a:stretch>
        </p:blipFill>
        <p:spPr>
          <a:xfrm>
            <a:off x="3089982" y="2307245"/>
            <a:ext cx="2369301" cy="739091"/>
          </a:xfrm>
          <a:prstGeom prst="rect">
            <a:avLst/>
          </a:prstGeom>
          <a:noFill/>
          <a:ln cap="flat">
            <a:noFill/>
          </a:ln>
        </p:spPr>
      </p:pic>
      <p:sp>
        <p:nvSpPr>
          <p:cNvPr id="15" name="TextBox 9">
            <a:extLst>
              <a:ext uri="{FF2B5EF4-FFF2-40B4-BE49-F238E27FC236}">
                <a16:creationId xmlns:a16="http://schemas.microsoft.com/office/drawing/2014/main" id="{E465D8AA-DBB7-6389-8894-E6179D5E5E69}"/>
              </a:ext>
            </a:extLst>
          </p:cNvPr>
          <p:cNvSpPr txBox="1"/>
          <p:nvPr/>
        </p:nvSpPr>
        <p:spPr>
          <a:xfrm>
            <a:off x="9585389" y="1907553"/>
            <a:ext cx="2225613" cy="430887"/>
          </a:xfrm>
          <a:prstGeom prst="rect">
            <a:avLst/>
          </a:prstGeom>
          <a:noFill/>
          <a:ln cap="flat">
            <a:noFill/>
          </a:ln>
        </p:spPr>
        <p:txBody>
          <a:bodyPr vert="horz" wrap="square" lIns="91440" tIns="45720" rIns="91440" bIns="45720" anchor="t" anchorCtr="0" compatLnSpc="1">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914446">
              <a:defRPr sz="1800" b="0" i="0" u="none" strike="noStrike" kern="0" cap="none" spc="0" baseline="0">
                <a:solidFill>
                  <a:srgbClr val="000000"/>
                </a:solidFill>
                <a:uFillTx/>
              </a:defRPr>
            </a:pPr>
            <a:r>
              <a:rPr lang="en-US" sz="2200" b="1">
                <a:solidFill>
                  <a:srgbClr val="1C498B"/>
                </a:solidFill>
                <a:latin typeface="Calibri"/>
                <a:ea typeface="Lato Medium"/>
                <a:cs typeface="Lato Medium"/>
              </a:rPr>
              <a:t>CME Provider</a:t>
            </a:r>
          </a:p>
        </p:txBody>
      </p:sp>
      <p:pic>
        <p:nvPicPr>
          <p:cNvPr id="16" name="Picture 45" descr="Logo, company name&#10;&#10;Description automatically generated">
            <a:extLst>
              <a:ext uri="{FF2B5EF4-FFF2-40B4-BE49-F238E27FC236}">
                <a16:creationId xmlns:a16="http://schemas.microsoft.com/office/drawing/2014/main" id="{77D65E32-6EC7-AE4D-79A7-50F34DD72D6A}"/>
              </a:ext>
            </a:extLst>
          </p:cNvPr>
          <p:cNvPicPr>
            <a:picLocks noChangeAspect="1"/>
          </p:cNvPicPr>
          <p:nvPr/>
        </p:nvPicPr>
        <p:blipFill>
          <a:blip r:embed="rId11"/>
          <a:stretch>
            <a:fillRect/>
          </a:stretch>
        </p:blipFill>
        <p:spPr>
          <a:xfrm>
            <a:off x="6558689" y="5995025"/>
            <a:ext cx="1644072" cy="544168"/>
          </a:xfrm>
          <a:prstGeom prst="rect">
            <a:avLst/>
          </a:prstGeom>
          <a:noFill/>
          <a:ln cap="flat">
            <a:noFill/>
          </a:ln>
        </p:spPr>
      </p:pic>
      <p:pic>
        <p:nvPicPr>
          <p:cNvPr id="17" name="Picture 46" descr="Logo&#10;&#10;Description automatically generated">
            <a:extLst>
              <a:ext uri="{FF2B5EF4-FFF2-40B4-BE49-F238E27FC236}">
                <a16:creationId xmlns:a16="http://schemas.microsoft.com/office/drawing/2014/main" id="{778A3F2A-20CC-946A-0DF1-615ACBFDD1FB}"/>
              </a:ext>
            </a:extLst>
          </p:cNvPr>
          <p:cNvPicPr>
            <a:picLocks noChangeAspect="1"/>
          </p:cNvPicPr>
          <p:nvPr/>
        </p:nvPicPr>
        <p:blipFill>
          <a:blip r:embed="rId12"/>
          <a:stretch>
            <a:fillRect/>
          </a:stretch>
        </p:blipFill>
        <p:spPr>
          <a:xfrm>
            <a:off x="8751649" y="5827389"/>
            <a:ext cx="1432416" cy="625961"/>
          </a:xfrm>
          <a:prstGeom prst="rect">
            <a:avLst/>
          </a:prstGeom>
          <a:noFill/>
          <a:ln cap="flat">
            <a:noFill/>
          </a:ln>
        </p:spPr>
      </p:pic>
      <p:pic>
        <p:nvPicPr>
          <p:cNvPr id="18" name="Picture 20" descr="A purple text on a white background&#10;&#10;Description automatically generated">
            <a:extLst>
              <a:ext uri="{FF2B5EF4-FFF2-40B4-BE49-F238E27FC236}">
                <a16:creationId xmlns:a16="http://schemas.microsoft.com/office/drawing/2014/main" id="{4BDF7F1E-07A4-7B33-5657-12D9C002F65B}"/>
              </a:ext>
            </a:extLst>
          </p:cNvPr>
          <p:cNvPicPr>
            <a:picLocks noChangeAspect="1"/>
          </p:cNvPicPr>
          <p:nvPr/>
        </p:nvPicPr>
        <p:blipFill>
          <a:blip r:embed="rId13"/>
          <a:stretch>
            <a:fillRect/>
          </a:stretch>
        </p:blipFill>
        <p:spPr>
          <a:xfrm>
            <a:off x="3750667" y="5994935"/>
            <a:ext cx="2283128" cy="538343"/>
          </a:xfrm>
          <a:prstGeom prst="rect">
            <a:avLst/>
          </a:prstGeom>
          <a:noFill/>
          <a:ln cap="flat">
            <a:noFill/>
          </a:ln>
        </p:spPr>
      </p:pic>
      <p:pic>
        <p:nvPicPr>
          <p:cNvPr id="19" name="Picture 11" descr="A logo with a person in the middle&#10;&#10;Description automatically generated">
            <a:extLst>
              <a:ext uri="{FF2B5EF4-FFF2-40B4-BE49-F238E27FC236}">
                <a16:creationId xmlns:a16="http://schemas.microsoft.com/office/drawing/2014/main" id="{E2C9DB92-2FDB-98B2-AA7C-35D5AD50A606}"/>
              </a:ext>
            </a:extLst>
          </p:cNvPr>
          <p:cNvPicPr>
            <a:picLocks noChangeAspect="1"/>
          </p:cNvPicPr>
          <p:nvPr/>
        </p:nvPicPr>
        <p:blipFill>
          <a:blip r:embed="rId14"/>
          <a:stretch>
            <a:fillRect/>
          </a:stretch>
        </p:blipFill>
        <p:spPr>
          <a:xfrm>
            <a:off x="6113371" y="2251420"/>
            <a:ext cx="1150872" cy="859682"/>
          </a:xfrm>
          <a:prstGeom prst="rect">
            <a:avLst/>
          </a:prstGeom>
          <a:noFill/>
          <a:ln cap="flat">
            <a:noFill/>
          </a:ln>
        </p:spPr>
      </p:pic>
      <p:pic>
        <p:nvPicPr>
          <p:cNvPr id="20" name="Picture 17" descr="A blue cross and a blue shield&#10;&#10;Description automatically generated">
            <a:extLst>
              <a:ext uri="{FF2B5EF4-FFF2-40B4-BE49-F238E27FC236}">
                <a16:creationId xmlns:a16="http://schemas.microsoft.com/office/drawing/2014/main" id="{24E59B91-D691-8279-6DF6-2939D94FBC8F}"/>
              </a:ext>
            </a:extLst>
          </p:cNvPr>
          <p:cNvPicPr>
            <a:picLocks noChangeAspect="1"/>
          </p:cNvPicPr>
          <p:nvPr/>
        </p:nvPicPr>
        <p:blipFill>
          <a:blip r:embed="rId15"/>
          <a:stretch>
            <a:fillRect/>
          </a:stretch>
        </p:blipFill>
        <p:spPr>
          <a:xfrm>
            <a:off x="6509770" y="816322"/>
            <a:ext cx="1766501" cy="849386"/>
          </a:xfrm>
          <a:prstGeom prst="rect">
            <a:avLst/>
          </a:prstGeom>
          <a:noFill/>
          <a:ln cap="flat">
            <a:noFill/>
          </a:ln>
        </p:spPr>
      </p:pic>
      <p:pic>
        <p:nvPicPr>
          <p:cNvPr id="22" name="Picture 23" descr="A blue logo with a tree and text&#10;&#10;Description automatically generated">
            <a:extLst>
              <a:ext uri="{FF2B5EF4-FFF2-40B4-BE49-F238E27FC236}">
                <a16:creationId xmlns:a16="http://schemas.microsoft.com/office/drawing/2014/main" id="{C9D58313-BD49-F925-ED38-A1EA348CBFFF}"/>
              </a:ext>
            </a:extLst>
          </p:cNvPr>
          <p:cNvPicPr>
            <a:picLocks noChangeAspect="1"/>
          </p:cNvPicPr>
          <p:nvPr/>
        </p:nvPicPr>
        <p:blipFill>
          <a:blip r:embed="rId16"/>
          <a:stretch>
            <a:fillRect/>
          </a:stretch>
        </p:blipFill>
        <p:spPr>
          <a:xfrm>
            <a:off x="724909" y="5740704"/>
            <a:ext cx="2506909" cy="800511"/>
          </a:xfrm>
          <a:prstGeom prst="rect">
            <a:avLst/>
          </a:prstGeom>
          <a:noFill/>
          <a:ln cap="flat">
            <a:noFill/>
          </a:ln>
        </p:spPr>
      </p:pic>
      <p:pic>
        <p:nvPicPr>
          <p:cNvPr id="23" name="Picture 25" descr="A logo with blue wings&#10;&#10;Description automatically generated">
            <a:extLst>
              <a:ext uri="{FF2B5EF4-FFF2-40B4-BE49-F238E27FC236}">
                <a16:creationId xmlns:a16="http://schemas.microsoft.com/office/drawing/2014/main" id="{2C4F52D3-FB88-722C-40F9-E108B29D6FCA}"/>
              </a:ext>
            </a:extLst>
          </p:cNvPr>
          <p:cNvPicPr>
            <a:picLocks noChangeAspect="1"/>
          </p:cNvPicPr>
          <p:nvPr/>
        </p:nvPicPr>
        <p:blipFill>
          <a:blip r:embed="rId17"/>
          <a:stretch>
            <a:fillRect/>
          </a:stretch>
        </p:blipFill>
        <p:spPr>
          <a:xfrm>
            <a:off x="1074046" y="4930546"/>
            <a:ext cx="2310313" cy="806903"/>
          </a:xfrm>
          <a:prstGeom prst="rect">
            <a:avLst/>
          </a:prstGeom>
          <a:noFill/>
          <a:ln cap="flat">
            <a:noFill/>
          </a:ln>
        </p:spPr>
      </p:pic>
      <p:pic>
        <p:nvPicPr>
          <p:cNvPr id="24" name="Picture 29" descr="A blue and white logo&#10;&#10;Description automatically generated">
            <a:extLst>
              <a:ext uri="{FF2B5EF4-FFF2-40B4-BE49-F238E27FC236}">
                <a16:creationId xmlns:a16="http://schemas.microsoft.com/office/drawing/2014/main" id="{A75313DA-09E3-4824-10C0-10917C70B0EE}"/>
              </a:ext>
            </a:extLst>
          </p:cNvPr>
          <p:cNvPicPr>
            <a:picLocks noChangeAspect="1"/>
          </p:cNvPicPr>
          <p:nvPr/>
        </p:nvPicPr>
        <p:blipFill>
          <a:blip r:embed="rId18"/>
          <a:stretch>
            <a:fillRect/>
          </a:stretch>
        </p:blipFill>
        <p:spPr>
          <a:xfrm>
            <a:off x="3715372" y="4197891"/>
            <a:ext cx="2172349" cy="592028"/>
          </a:xfrm>
          <a:prstGeom prst="rect">
            <a:avLst/>
          </a:prstGeom>
          <a:noFill/>
          <a:ln cap="flat">
            <a:noFill/>
          </a:ln>
        </p:spPr>
      </p:pic>
      <p:pic>
        <p:nvPicPr>
          <p:cNvPr id="25" name="Picture 31" descr="A logo of a child&#10;&#10;Description automatically generated">
            <a:extLst>
              <a:ext uri="{FF2B5EF4-FFF2-40B4-BE49-F238E27FC236}">
                <a16:creationId xmlns:a16="http://schemas.microsoft.com/office/drawing/2014/main" id="{358CA147-750C-FFDD-4E35-C45AEB6E827B}"/>
              </a:ext>
            </a:extLst>
          </p:cNvPr>
          <p:cNvPicPr>
            <a:picLocks noChangeAspect="1"/>
          </p:cNvPicPr>
          <p:nvPr/>
        </p:nvPicPr>
        <p:blipFill>
          <a:blip r:embed="rId19"/>
          <a:stretch>
            <a:fillRect/>
          </a:stretch>
        </p:blipFill>
        <p:spPr>
          <a:xfrm>
            <a:off x="6962544" y="4139709"/>
            <a:ext cx="870033" cy="713131"/>
          </a:xfrm>
          <a:prstGeom prst="rect">
            <a:avLst/>
          </a:prstGeom>
          <a:noFill/>
          <a:ln cap="flat">
            <a:noFill/>
          </a:ln>
        </p:spPr>
      </p:pic>
      <p:pic>
        <p:nvPicPr>
          <p:cNvPr id="26" name="Picture 33" descr="A blue logo with a black background&#10;&#10;Description automatically generated">
            <a:extLst>
              <a:ext uri="{FF2B5EF4-FFF2-40B4-BE49-F238E27FC236}">
                <a16:creationId xmlns:a16="http://schemas.microsoft.com/office/drawing/2014/main" id="{063EE870-0027-42CE-E644-71A319B4B0ED}"/>
              </a:ext>
            </a:extLst>
          </p:cNvPr>
          <p:cNvPicPr>
            <a:picLocks noChangeAspect="1"/>
          </p:cNvPicPr>
          <p:nvPr/>
        </p:nvPicPr>
        <p:blipFill>
          <a:blip r:embed="rId20"/>
          <a:stretch>
            <a:fillRect/>
          </a:stretch>
        </p:blipFill>
        <p:spPr>
          <a:xfrm>
            <a:off x="6940086" y="4931113"/>
            <a:ext cx="877074" cy="862571"/>
          </a:xfrm>
          <a:prstGeom prst="rect">
            <a:avLst/>
          </a:prstGeom>
          <a:noFill/>
          <a:ln cap="flat">
            <a:noFill/>
          </a:ln>
        </p:spPr>
      </p:pic>
      <p:pic>
        <p:nvPicPr>
          <p:cNvPr id="27" name="Picture 41" descr="A close-up of a logo&#10;&#10;Description automatically generated">
            <a:extLst>
              <a:ext uri="{FF2B5EF4-FFF2-40B4-BE49-F238E27FC236}">
                <a16:creationId xmlns:a16="http://schemas.microsoft.com/office/drawing/2014/main" id="{D8445A4B-4E0A-BEF3-7D9B-B724124749A0}"/>
              </a:ext>
            </a:extLst>
          </p:cNvPr>
          <p:cNvPicPr>
            <a:picLocks noChangeAspect="1"/>
          </p:cNvPicPr>
          <p:nvPr/>
        </p:nvPicPr>
        <p:blipFill>
          <a:blip r:embed="rId21"/>
          <a:stretch>
            <a:fillRect/>
          </a:stretch>
        </p:blipFill>
        <p:spPr>
          <a:xfrm>
            <a:off x="3949477" y="4930692"/>
            <a:ext cx="1865065" cy="868131"/>
          </a:xfrm>
          <a:prstGeom prst="rect">
            <a:avLst/>
          </a:prstGeom>
          <a:noFill/>
          <a:ln cap="flat">
            <a:noFill/>
          </a:ln>
        </p:spPr>
      </p:pic>
      <p:sp>
        <p:nvSpPr>
          <p:cNvPr id="28" name="Freeform 23">
            <a:extLst>
              <a:ext uri="{FF2B5EF4-FFF2-40B4-BE49-F238E27FC236}">
                <a16:creationId xmlns:a16="http://schemas.microsoft.com/office/drawing/2014/main" id="{B94EA65E-56EB-33C0-907A-511F0F62EA51}"/>
              </a:ext>
            </a:extLst>
          </p:cNvPr>
          <p:cNvSpPr/>
          <p:nvPr/>
        </p:nvSpPr>
        <p:spPr>
          <a:xfrm>
            <a:off x="10918311" y="-29736"/>
            <a:ext cx="1271107" cy="635553"/>
          </a:xfrm>
          <a:custGeom>
            <a:avLst/>
            <a:gdLst>
              <a:gd name="f0" fmla="val w"/>
              <a:gd name="f1" fmla="val h"/>
              <a:gd name="f2" fmla="val 0"/>
              <a:gd name="f3" fmla="val 1906662"/>
              <a:gd name="f4" fmla="val 953331"/>
              <a:gd name="f5" fmla="*/ f0 1 1906662"/>
              <a:gd name="f6" fmla="*/ f1 1 953331"/>
              <a:gd name="f7" fmla="+- f4 0 f2"/>
              <a:gd name="f8" fmla="+- f3 0 f2"/>
              <a:gd name="f9" fmla="*/ f8 1 1906662"/>
              <a:gd name="f10" fmla="*/ f7 1 953331"/>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1906662" h="953331">
                <a:moveTo>
                  <a:pt x="f2" y="f2"/>
                </a:moveTo>
                <a:lnTo>
                  <a:pt x="f3" y="f2"/>
                </a:lnTo>
                <a:lnTo>
                  <a:pt x="f3" y="f4"/>
                </a:lnTo>
                <a:lnTo>
                  <a:pt x="f2" y="f4"/>
                </a:lnTo>
                <a:lnTo>
                  <a:pt x="f2" y="f2"/>
                </a:lnTo>
                <a:close/>
              </a:path>
            </a:pathLst>
          </a:custGeom>
          <a:blipFill>
            <a:blip r:embed="rId22">
              <a:alphaModFix/>
            </a:blip>
            <a:stretch>
              <a:fillRect/>
            </a:stretch>
          </a:blipFill>
          <a:ln cap="flat">
            <a:noFill/>
            <a:prstDash val="solid"/>
          </a:ln>
        </p:spPr>
        <p:txBody>
          <a:bodyPr vert="horz" wrap="square" lIns="91440" tIns="45720" rIns="91440" bIns="45720" anchor="t" anchorCtr="0" compatLnSpc="1">
            <a:no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914446">
              <a:defRPr sz="1800" b="0" i="0" u="none" strike="noStrike" kern="0" cap="none" spc="0" baseline="0">
                <a:solidFill>
                  <a:srgbClr val="000000"/>
                </a:solidFill>
                <a:uFillTx/>
              </a:defRPr>
            </a:pPr>
            <a:endParaRPr lang="en-US" sz="1800">
              <a:solidFill>
                <a:srgbClr val="444C55"/>
              </a:solidFill>
              <a:latin typeface="Calibri"/>
            </a:endParaRPr>
          </a:p>
        </p:txBody>
      </p:sp>
      <p:pic>
        <p:nvPicPr>
          <p:cNvPr id="31" name="Picture 30">
            <a:extLst>
              <a:ext uri="{FF2B5EF4-FFF2-40B4-BE49-F238E27FC236}">
                <a16:creationId xmlns:a16="http://schemas.microsoft.com/office/drawing/2014/main" id="{A7D1550C-FBF2-C08D-2954-643C1815A812}"/>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7590244" y="2175101"/>
            <a:ext cx="1794523" cy="1016176"/>
          </a:xfrm>
          <a:prstGeom prst="rect">
            <a:avLst/>
          </a:prstGeom>
        </p:spPr>
      </p:pic>
      <p:pic>
        <p:nvPicPr>
          <p:cNvPr id="33" name="Picture 32">
            <a:extLst>
              <a:ext uri="{FF2B5EF4-FFF2-40B4-BE49-F238E27FC236}">
                <a16:creationId xmlns:a16="http://schemas.microsoft.com/office/drawing/2014/main" id="{031BBFFB-4747-9AE5-1BEC-FBC5C5A83B8F}"/>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8985458" y="1061398"/>
            <a:ext cx="2661769" cy="584335"/>
          </a:xfrm>
          <a:prstGeom prst="rect">
            <a:avLst/>
          </a:prstGeom>
        </p:spPr>
      </p:pic>
    </p:spTree>
    <p:extLst>
      <p:ext uri="{BB962C8B-B14F-4D97-AF65-F5344CB8AC3E}">
        <p14:creationId xmlns:p14="http://schemas.microsoft.com/office/powerpoint/2010/main" val="15505261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51479">
          <a:extLst>
            <a:ext uri="{FF2B5EF4-FFF2-40B4-BE49-F238E27FC236}">
              <a16:creationId xmlns:a16="http://schemas.microsoft.com/office/drawing/2014/main" id="{F3181A12-E310-B2A7-7F96-6F15173C870A}"/>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FF8DDA0E-69B2-A4AB-F38D-0FBB7768F37D}"/>
              </a:ext>
            </a:extLst>
          </p:cNvPr>
          <p:cNvSpPr txBox="1"/>
          <p:nvPr/>
        </p:nvSpPr>
        <p:spPr>
          <a:xfrm>
            <a:off x="5876039" y="5455258"/>
            <a:ext cx="6327132" cy="1432411"/>
          </a:xfrm>
          <a:prstGeom prst="rect">
            <a:avLst/>
          </a:prstGeom>
          <a:solidFill>
            <a:schemeClr val="bg1"/>
          </a:solidFill>
        </p:spPr>
        <p:txBody>
          <a:bodyPr wrap="square" rtlCol="0">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2" name="TextBox 1">
            <a:extLst>
              <a:ext uri="{FF2B5EF4-FFF2-40B4-BE49-F238E27FC236}">
                <a16:creationId xmlns:a16="http://schemas.microsoft.com/office/drawing/2014/main" id="{72FC9270-2EA7-135B-E519-3E36E036A610}"/>
              </a:ext>
            </a:extLst>
          </p:cNvPr>
          <p:cNvSpPr txBox="1"/>
          <p:nvPr/>
        </p:nvSpPr>
        <p:spPr>
          <a:xfrm>
            <a:off x="8225183" y="-1176"/>
            <a:ext cx="3977988" cy="1432411"/>
          </a:xfrm>
          <a:prstGeom prst="rect">
            <a:avLst/>
          </a:prstGeom>
          <a:solidFill>
            <a:schemeClr val="bg1"/>
          </a:solidFill>
        </p:spPr>
        <p:txBody>
          <a:bodyPr wrap="square" rtlCol="0">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51480" name="Google Shape;51480;p7">
            <a:extLst>
              <a:ext uri="{FF2B5EF4-FFF2-40B4-BE49-F238E27FC236}">
                <a16:creationId xmlns:a16="http://schemas.microsoft.com/office/drawing/2014/main" id="{8488EB25-F452-54FD-39BB-C37CA4E43307}"/>
              </a:ext>
            </a:extLst>
          </p:cNvPr>
          <p:cNvSpPr txBox="1">
            <a:spLocks noGrp="1"/>
          </p:cNvSpPr>
          <p:nvPr>
            <p:ph type="sldNum" idx="12"/>
          </p:nvPr>
        </p:nvSpPr>
        <p:spPr>
          <a:xfrm>
            <a:off x="8839200" y="6356352"/>
            <a:ext cx="2743200" cy="365125"/>
          </a:xfrm>
          <a:prstGeom prst="rect">
            <a:avLst/>
          </a:prstGeom>
          <a:noFill/>
          <a:ln>
            <a:noFill/>
          </a:ln>
        </p:spPr>
        <p:txBody>
          <a:bodyPr spcFirstLastPara="1" wrap="square" lIns="60950" tIns="30467" rIns="60950" bIns="30467" anchor="ctr" anchorCtr="0">
            <a:noAutofit/>
          </a:bodyPr>
          <a:lstStyle>
            <a:defPPr>
              <a:defRPr lang="en-US"/>
            </a:defPPr>
            <a:lvl1pPr marL="0" algn="l" defTabSz="406380" rtl="0" eaLnBrk="1" latinLnBrk="0" hangingPunct="1">
              <a:defRPr sz="800" kern="1200">
                <a:solidFill>
                  <a:schemeClr val="tx1"/>
                </a:solidFill>
                <a:latin typeface="+mn-lt"/>
                <a:ea typeface="+mn-ea"/>
                <a:cs typeface="+mn-cs"/>
              </a:defRPr>
            </a:lvl1pPr>
            <a:lvl2pPr marL="203190" algn="l" defTabSz="406380" rtl="0" eaLnBrk="1" latinLnBrk="0" hangingPunct="1">
              <a:defRPr sz="800" kern="1200">
                <a:solidFill>
                  <a:schemeClr val="tx1"/>
                </a:solidFill>
                <a:latin typeface="+mn-lt"/>
                <a:ea typeface="+mn-ea"/>
                <a:cs typeface="+mn-cs"/>
              </a:defRPr>
            </a:lvl2pPr>
            <a:lvl3pPr marL="406380" algn="l" defTabSz="406380" rtl="0" eaLnBrk="1" latinLnBrk="0" hangingPunct="1">
              <a:defRPr sz="800" kern="1200">
                <a:solidFill>
                  <a:schemeClr val="tx1"/>
                </a:solidFill>
                <a:latin typeface="+mn-lt"/>
                <a:ea typeface="+mn-ea"/>
                <a:cs typeface="+mn-cs"/>
              </a:defRPr>
            </a:lvl3pPr>
            <a:lvl4pPr marL="609570" algn="l" defTabSz="406380" rtl="0" eaLnBrk="1" latinLnBrk="0" hangingPunct="1">
              <a:defRPr sz="800" kern="1200">
                <a:solidFill>
                  <a:schemeClr val="tx1"/>
                </a:solidFill>
                <a:latin typeface="+mn-lt"/>
                <a:ea typeface="+mn-ea"/>
                <a:cs typeface="+mn-cs"/>
              </a:defRPr>
            </a:lvl4pPr>
            <a:lvl5pPr marL="812759" algn="l" defTabSz="406380" rtl="0" eaLnBrk="1" latinLnBrk="0" hangingPunct="1">
              <a:defRPr sz="800" kern="1200">
                <a:solidFill>
                  <a:schemeClr val="tx1"/>
                </a:solidFill>
                <a:latin typeface="+mn-lt"/>
                <a:ea typeface="+mn-ea"/>
                <a:cs typeface="+mn-cs"/>
              </a:defRPr>
            </a:lvl5pPr>
            <a:lvl6pPr marL="1015949" algn="l" defTabSz="406380" rtl="0" eaLnBrk="1" latinLnBrk="0" hangingPunct="1">
              <a:defRPr sz="800" kern="1200">
                <a:solidFill>
                  <a:schemeClr val="tx1"/>
                </a:solidFill>
                <a:latin typeface="+mn-lt"/>
                <a:ea typeface="+mn-ea"/>
                <a:cs typeface="+mn-cs"/>
              </a:defRPr>
            </a:lvl6pPr>
            <a:lvl7pPr marL="1219139" algn="l" defTabSz="406380" rtl="0" eaLnBrk="1" latinLnBrk="0" hangingPunct="1">
              <a:defRPr sz="800" kern="1200">
                <a:solidFill>
                  <a:schemeClr val="tx1"/>
                </a:solidFill>
                <a:latin typeface="+mn-lt"/>
                <a:ea typeface="+mn-ea"/>
                <a:cs typeface="+mn-cs"/>
              </a:defRPr>
            </a:lvl7pPr>
            <a:lvl8pPr marL="1422329" algn="l" defTabSz="406380" rtl="0" eaLnBrk="1" latinLnBrk="0" hangingPunct="1">
              <a:defRPr sz="800" kern="1200">
                <a:solidFill>
                  <a:schemeClr val="tx1"/>
                </a:solidFill>
                <a:latin typeface="+mn-lt"/>
                <a:ea typeface="+mn-ea"/>
                <a:cs typeface="+mn-cs"/>
              </a:defRPr>
            </a:lvl8pPr>
            <a:lvl9pPr marL="1625519" algn="l" defTabSz="406380" rtl="0" eaLnBrk="1" latinLnBrk="0" hangingPunct="1">
              <a:defRPr sz="800" kern="1200">
                <a:solidFill>
                  <a:schemeClr val="tx1"/>
                </a:solidFill>
                <a:latin typeface="+mn-lt"/>
                <a:ea typeface="+mn-ea"/>
                <a:cs typeface="+mn-cs"/>
              </a:defRPr>
            </a:lvl9pPr>
          </a:lstStyle>
          <a:p>
            <a:pPr marL="0" marR="0" lvl="0" indent="0" algn="r" defTabSz="60963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a:ln>
                  <a:noFill/>
                </a:ln>
                <a:solidFill>
                  <a:srgbClr val="AEB3B7"/>
                </a:solidFill>
                <a:effectLst/>
                <a:uLnTx/>
                <a:uFillTx/>
                <a:latin typeface="Calibri"/>
                <a:ea typeface="Calibri"/>
                <a:cs typeface="Calibri"/>
                <a:sym typeface="Calibri"/>
              </a:rPr>
              <a:pPr marL="0" marR="0" lvl="0" indent="0" algn="r" defTabSz="609630" rtl="0" eaLnBrk="1" fontAlgn="auto" latinLnBrk="0" hangingPunct="1">
                <a:lnSpc>
                  <a:spcPct val="100000"/>
                </a:lnSpc>
                <a:spcBef>
                  <a:spcPts val="0"/>
                </a:spcBef>
                <a:spcAft>
                  <a:spcPts val="0"/>
                </a:spcAft>
                <a:buClr>
                  <a:srgbClr val="000000"/>
                </a:buClr>
                <a:buSzTx/>
                <a:buFont typeface="Arial"/>
                <a:buNone/>
                <a:tabLst/>
                <a:defRPr/>
              </a:pPr>
              <a:t>10</a:t>
            </a:fld>
            <a:endParaRPr kumimoji="0" sz="1200" b="0" i="0" u="none" strike="noStrike" kern="0" cap="none" spc="0" normalizeH="0" baseline="0" noProof="0">
              <a:ln>
                <a:noFill/>
              </a:ln>
              <a:solidFill>
                <a:srgbClr val="AEB3B7"/>
              </a:solidFill>
              <a:effectLst/>
              <a:uLnTx/>
              <a:uFillTx/>
              <a:latin typeface="Calibri"/>
              <a:ea typeface="Calibri"/>
              <a:cs typeface="Calibri"/>
              <a:sym typeface="Calibri"/>
            </a:endParaRPr>
          </a:p>
        </p:txBody>
      </p:sp>
      <p:sp>
        <p:nvSpPr>
          <p:cNvPr id="4" name="Title 1">
            <a:extLst>
              <a:ext uri="{FF2B5EF4-FFF2-40B4-BE49-F238E27FC236}">
                <a16:creationId xmlns:a16="http://schemas.microsoft.com/office/drawing/2014/main" id="{7B638375-924B-BBEC-7BF8-538CF552269B}"/>
              </a:ext>
            </a:extLst>
          </p:cNvPr>
          <p:cNvSpPr txBox="1">
            <a:spLocks noGrp="1"/>
          </p:cNvSpPr>
          <p:nvPr/>
        </p:nvSpPr>
        <p:spPr>
          <a:xfrm>
            <a:off x="0" y="0"/>
            <a:ext cx="12192000" cy="668867"/>
          </a:xfrm>
          <a:prstGeom prst="rect">
            <a:avLst/>
          </a:prstGeom>
          <a:solidFill>
            <a:srgbClr val="1C498B"/>
          </a:solidFill>
          <a:ln>
            <a:noFill/>
          </a:ln>
        </p:spPr>
        <p:txBody>
          <a:bodyPr vert="horz" wrap="square" lIns="60947" tIns="30467" rIns="60947" bIns="30467" anchor="ctr" anchorCtr="1" compatLnSpc="1">
            <a:no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lvl="0" algn="ctr"/>
            <a:r>
              <a:rPr lang="en-US" sz="2650" b="1">
                <a:solidFill>
                  <a:schemeClr val="bg1"/>
                </a:solidFill>
              </a:rPr>
              <a:t>ILPQC Face-to-Face 2026: Day #2 Neonatal Agenda</a:t>
            </a:r>
            <a:endParaRPr lang="en-US" sz="2650" b="1">
              <a:solidFill>
                <a:schemeClr val="bg1"/>
              </a:solidFill>
              <a:cs typeface="Arial"/>
            </a:endParaRPr>
          </a:p>
        </p:txBody>
      </p:sp>
      <p:graphicFrame>
        <p:nvGraphicFramePr>
          <p:cNvPr id="6" name="Table 5">
            <a:extLst>
              <a:ext uri="{FF2B5EF4-FFF2-40B4-BE49-F238E27FC236}">
                <a16:creationId xmlns:a16="http://schemas.microsoft.com/office/drawing/2014/main" id="{DE45E4B5-B0DD-5843-4EA2-D5CB2D5B10F7}"/>
              </a:ext>
            </a:extLst>
          </p:cNvPr>
          <p:cNvGraphicFramePr>
            <a:graphicFrameLocks noGrp="1"/>
          </p:cNvGraphicFramePr>
          <p:nvPr/>
        </p:nvGraphicFramePr>
        <p:xfrm>
          <a:off x="25400" y="685800"/>
          <a:ext cx="5883218" cy="6336703"/>
        </p:xfrm>
        <a:graphic>
          <a:graphicData uri="http://schemas.openxmlformats.org/drawingml/2006/table">
            <a:tbl>
              <a:tblPr bandRow="1">
                <a:tableStyleId>{5C22544A-7EE6-4342-B048-85BDC9FD1C3A}</a:tableStyleId>
              </a:tblPr>
              <a:tblGrid>
                <a:gridCol w="1306202">
                  <a:extLst>
                    <a:ext uri="{9D8B030D-6E8A-4147-A177-3AD203B41FA5}">
                      <a16:colId xmlns:a16="http://schemas.microsoft.com/office/drawing/2014/main" val="487482038"/>
                    </a:ext>
                  </a:extLst>
                </a:gridCol>
                <a:gridCol w="4577016">
                  <a:extLst>
                    <a:ext uri="{9D8B030D-6E8A-4147-A177-3AD203B41FA5}">
                      <a16:colId xmlns:a16="http://schemas.microsoft.com/office/drawing/2014/main" val="3419434082"/>
                    </a:ext>
                  </a:extLst>
                </a:gridCol>
              </a:tblGrid>
              <a:tr h="1483360">
                <a:tc>
                  <a:txBody>
                    <a:bodyPr/>
                    <a:lstStyle/>
                    <a:p>
                      <a:pPr algn="l" rtl="0" fontAlgn="base">
                        <a:lnSpc>
                          <a:spcPts val="1552"/>
                        </a:lnSpc>
                        <a:buNone/>
                      </a:pPr>
                      <a:r>
                        <a:rPr lang="en-US" sz="1300" b="1" i="0">
                          <a:solidFill>
                            <a:srgbClr val="004990"/>
                          </a:solidFill>
                          <a:effectLst/>
                          <a:latin typeface="Calibri"/>
                        </a:rPr>
                        <a:t>9:00-9:15am </a:t>
                      </a:r>
                      <a:endParaRPr lang="en-US" sz="1300" b="1" i="0">
                        <a:solidFill>
                          <a:srgbClr val="365F91"/>
                        </a:solidFill>
                        <a:effectLst/>
                        <a:latin typeface="Calibri"/>
                      </a:endParaRPr>
                    </a:p>
                    <a:p>
                      <a:pPr algn="l" rtl="0" fontAlgn="base">
                        <a:lnSpc>
                          <a:spcPts val="1552"/>
                        </a:lnSpc>
                        <a:buNone/>
                      </a:pPr>
                      <a:endParaRPr lang="en-US" sz="1300" b="1" i="0">
                        <a:solidFill>
                          <a:srgbClr val="365F91"/>
                        </a:solidFill>
                        <a:effectLst/>
                        <a:latin typeface="Calibri"/>
                      </a:endParaRPr>
                    </a:p>
                  </a:txBody>
                  <a:tcPr marL="44450" marR="44450" marT="30480" marB="304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1EAFF"/>
                    </a:solidFill>
                  </a:tcPr>
                </a:tc>
                <a:tc>
                  <a:txBody>
                    <a:bodyPr/>
                    <a:lstStyle/>
                    <a:p>
                      <a:pPr algn="l" rtl="0" fontAlgn="base">
                        <a:lnSpc>
                          <a:spcPct val="100000"/>
                        </a:lnSpc>
                        <a:buNone/>
                      </a:pPr>
                      <a:r>
                        <a:rPr lang="en-US" sz="1300" b="1" i="0">
                          <a:solidFill>
                            <a:srgbClr val="004990"/>
                          </a:solidFill>
                          <a:effectLst/>
                          <a:latin typeface="Calibri"/>
                        </a:rPr>
                        <a:t>VIP Welcome </a:t>
                      </a:r>
                      <a:r>
                        <a:rPr lang="en-US" sz="1300" b="0" i="0">
                          <a:solidFill>
                            <a:srgbClr val="004990"/>
                          </a:solidFill>
                          <a:effectLst/>
                          <a:latin typeface="Calibri"/>
                        </a:rPr>
                        <a:t> </a:t>
                      </a:r>
                      <a:endParaRPr lang="en-US" sz="1300" b="0" i="0">
                        <a:solidFill>
                          <a:srgbClr val="365F91"/>
                        </a:solidFill>
                        <a:effectLst/>
                        <a:latin typeface="Calibri"/>
                      </a:endParaRPr>
                    </a:p>
                    <a:p>
                      <a:pPr algn="l" rtl="0" fontAlgn="base">
                        <a:lnSpc>
                          <a:spcPct val="100000"/>
                        </a:lnSpc>
                        <a:buNone/>
                      </a:pPr>
                      <a:r>
                        <a:rPr lang="en-US" sz="1300" b="1" i="0">
                          <a:solidFill>
                            <a:srgbClr val="F58466"/>
                          </a:solidFill>
                          <a:effectLst/>
                          <a:latin typeface="Calibri"/>
                        </a:rPr>
                        <a:t>Lily Lou, MD, FAAP</a:t>
                      </a:r>
                      <a:r>
                        <a:rPr lang="en-US" sz="1300" b="0" i="0">
                          <a:solidFill>
                            <a:srgbClr val="F58466"/>
                          </a:solidFill>
                          <a:effectLst/>
                          <a:latin typeface="Calibri"/>
                        </a:rPr>
                        <a:t> </a:t>
                      </a:r>
                      <a:endParaRPr lang="en-US" sz="1300" b="0" i="0">
                        <a:solidFill>
                          <a:srgbClr val="365F91"/>
                        </a:solidFill>
                        <a:effectLst/>
                        <a:latin typeface="Calibri"/>
                      </a:endParaRPr>
                    </a:p>
                    <a:p>
                      <a:pPr algn="l" rtl="0" fontAlgn="base">
                        <a:lnSpc>
                          <a:spcPct val="100000"/>
                        </a:lnSpc>
                        <a:buNone/>
                      </a:pPr>
                      <a:r>
                        <a:rPr lang="en-US" sz="1300" b="0" i="1">
                          <a:solidFill>
                            <a:srgbClr val="004990"/>
                          </a:solidFill>
                          <a:effectLst/>
                          <a:latin typeface="Calibri"/>
                        </a:rPr>
                        <a:t>Neonatologist and Public Health Leader, UI Health</a:t>
                      </a:r>
                      <a:r>
                        <a:rPr lang="en-US" sz="1300" b="0" i="0">
                          <a:solidFill>
                            <a:srgbClr val="004990"/>
                          </a:solidFill>
                          <a:effectLst/>
                          <a:latin typeface="Calibri"/>
                        </a:rPr>
                        <a:t> </a:t>
                      </a:r>
                    </a:p>
                    <a:p>
                      <a:pPr algn="l" rtl="0" fontAlgn="base">
                        <a:lnSpc>
                          <a:spcPct val="100000"/>
                        </a:lnSpc>
                        <a:buNone/>
                      </a:pPr>
                      <a:endParaRPr lang="en-US" sz="1300" b="0" i="0">
                        <a:solidFill>
                          <a:srgbClr val="365F91"/>
                        </a:solidFill>
                        <a:effectLst/>
                        <a:latin typeface="Calibri"/>
                      </a:endParaRPr>
                    </a:p>
                    <a:p>
                      <a:pPr algn="l" rtl="0" fontAlgn="base">
                        <a:lnSpc>
                          <a:spcPct val="100000"/>
                        </a:lnSpc>
                        <a:buNone/>
                      </a:pPr>
                      <a:r>
                        <a:rPr lang="en-US" sz="1300" b="1" i="0">
                          <a:solidFill>
                            <a:srgbClr val="004990"/>
                          </a:solidFill>
                          <a:effectLst/>
                          <a:latin typeface="Calibri"/>
                        </a:rPr>
                        <a:t>Overview of the Day</a:t>
                      </a:r>
                      <a:r>
                        <a:rPr lang="en-US" sz="1300" b="0" i="0">
                          <a:solidFill>
                            <a:srgbClr val="004990"/>
                          </a:solidFill>
                          <a:effectLst/>
                          <a:latin typeface="Calibri"/>
                        </a:rPr>
                        <a:t> </a:t>
                      </a:r>
                      <a:endParaRPr lang="en-US" sz="1300" b="0" i="0">
                        <a:solidFill>
                          <a:srgbClr val="365F91"/>
                        </a:solidFill>
                        <a:effectLst/>
                        <a:latin typeface="Calibri"/>
                      </a:endParaRPr>
                    </a:p>
                    <a:p>
                      <a:pPr algn="l" rtl="0" fontAlgn="base">
                        <a:lnSpc>
                          <a:spcPct val="100000"/>
                        </a:lnSpc>
                        <a:buNone/>
                      </a:pPr>
                      <a:r>
                        <a:rPr lang="en-US" sz="1300" b="1" i="0">
                          <a:solidFill>
                            <a:srgbClr val="F58466"/>
                          </a:solidFill>
                          <a:effectLst/>
                          <a:latin typeface="Calibri"/>
                        </a:rPr>
                        <a:t>Leslie Caldarelli, MD and Justin Josephsen, MD  </a:t>
                      </a:r>
                      <a:r>
                        <a:rPr lang="en-US" sz="1300" b="0" i="0">
                          <a:solidFill>
                            <a:srgbClr val="F58466"/>
                          </a:solidFill>
                          <a:effectLst/>
                          <a:latin typeface="Calibri"/>
                        </a:rPr>
                        <a:t> </a:t>
                      </a:r>
                      <a:endParaRPr lang="en-US" sz="1300" b="0" i="0">
                        <a:solidFill>
                          <a:srgbClr val="365F91"/>
                        </a:solidFill>
                        <a:effectLst/>
                        <a:latin typeface="Calibri"/>
                      </a:endParaRPr>
                    </a:p>
                    <a:p>
                      <a:pPr algn="l" rtl="0" fontAlgn="base">
                        <a:lnSpc>
                          <a:spcPct val="100000"/>
                        </a:lnSpc>
                        <a:buNone/>
                      </a:pPr>
                      <a:r>
                        <a:rPr lang="en-US" sz="1300" b="0" i="1">
                          <a:solidFill>
                            <a:srgbClr val="004990"/>
                          </a:solidFill>
                          <a:effectLst/>
                          <a:latin typeface="Calibri"/>
                        </a:rPr>
                        <a:t>Neonatal Clinical Co-Leads, ILPQC</a:t>
                      </a:r>
                      <a:r>
                        <a:rPr lang="en-US" sz="1300" b="0" i="0">
                          <a:solidFill>
                            <a:srgbClr val="004990"/>
                          </a:solidFill>
                          <a:effectLst/>
                          <a:latin typeface="Calibri"/>
                        </a:rPr>
                        <a:t> </a:t>
                      </a:r>
                      <a:endParaRPr lang="en-US" sz="1300" b="0" i="0">
                        <a:solidFill>
                          <a:srgbClr val="365F91"/>
                        </a:solidFill>
                        <a:effectLst/>
                        <a:latin typeface="Calibri"/>
                      </a:endParaRPr>
                    </a:p>
                  </a:txBody>
                  <a:tcPr marL="44450" marR="44450" marT="30480" marB="304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1EAFF"/>
                    </a:solidFill>
                  </a:tcPr>
                </a:tc>
                <a:extLst>
                  <a:ext uri="{0D108BD9-81ED-4DB2-BD59-A6C34878D82A}">
                    <a16:rowId xmlns:a16="http://schemas.microsoft.com/office/drawing/2014/main" val="2222059013"/>
                  </a:ext>
                </a:extLst>
              </a:tr>
              <a:tr h="789186">
                <a:tc>
                  <a:txBody>
                    <a:bodyPr/>
                    <a:lstStyle/>
                    <a:p>
                      <a:pPr algn="l" rtl="0" fontAlgn="base">
                        <a:lnSpc>
                          <a:spcPts val="1552"/>
                        </a:lnSpc>
                        <a:buNone/>
                      </a:pPr>
                      <a:r>
                        <a:rPr lang="en-US" sz="1300" b="1" i="0">
                          <a:solidFill>
                            <a:srgbClr val="004990"/>
                          </a:solidFill>
                          <a:effectLst/>
                          <a:latin typeface="Calibri"/>
                        </a:rPr>
                        <a:t>9:15-9:45am </a:t>
                      </a:r>
                      <a:endParaRPr lang="en-US" sz="1300" b="1" i="0">
                        <a:solidFill>
                          <a:srgbClr val="365F91"/>
                        </a:solidFill>
                        <a:effectLst/>
                        <a:latin typeface="Calibri"/>
                      </a:endParaRPr>
                    </a:p>
                    <a:p>
                      <a:pPr algn="l" rtl="0" fontAlgn="base">
                        <a:lnSpc>
                          <a:spcPts val="1552"/>
                        </a:lnSpc>
                        <a:buNone/>
                      </a:pPr>
                      <a:endParaRPr lang="en-US" sz="1300" b="1" i="0">
                        <a:solidFill>
                          <a:srgbClr val="365F91"/>
                        </a:solidFill>
                        <a:effectLst/>
                        <a:latin typeface="Calibri"/>
                      </a:endParaRPr>
                    </a:p>
                  </a:txBody>
                  <a:tcPr marL="44450" marR="44450" marT="30480" marB="304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ase">
                        <a:lnSpc>
                          <a:spcPct val="100000"/>
                        </a:lnSpc>
                        <a:buNone/>
                      </a:pPr>
                      <a:r>
                        <a:rPr lang="en-US" sz="1300" b="1" i="0">
                          <a:solidFill>
                            <a:srgbClr val="004990"/>
                          </a:solidFill>
                          <a:effectLst/>
                          <a:latin typeface="Calibri"/>
                        </a:rPr>
                        <a:t>Celebrating ESSI &amp; Framing the Path Forward</a:t>
                      </a:r>
                      <a:r>
                        <a:rPr lang="en-US" sz="1300" b="0" i="0">
                          <a:solidFill>
                            <a:srgbClr val="004990"/>
                          </a:solidFill>
                          <a:effectLst/>
                          <a:latin typeface="Calibri"/>
                        </a:rPr>
                        <a:t> </a:t>
                      </a:r>
                      <a:endParaRPr lang="en-US" sz="1300" b="0" i="0">
                        <a:solidFill>
                          <a:srgbClr val="365F91"/>
                        </a:solidFill>
                        <a:effectLst/>
                        <a:latin typeface="Calibri"/>
                      </a:endParaRPr>
                    </a:p>
                    <a:p>
                      <a:pPr algn="l" rtl="0" fontAlgn="base">
                        <a:lnSpc>
                          <a:spcPct val="100000"/>
                        </a:lnSpc>
                        <a:buNone/>
                      </a:pPr>
                      <a:r>
                        <a:rPr lang="en-US" sz="1300" b="1" i="0">
                          <a:solidFill>
                            <a:srgbClr val="F58466"/>
                          </a:solidFill>
                          <a:effectLst/>
                          <a:latin typeface="Calibri"/>
                        </a:rPr>
                        <a:t>Leslie Caldarelli, MD and Justin Josephsen, MD </a:t>
                      </a:r>
                      <a:r>
                        <a:rPr lang="en-US" sz="1300" b="0" i="0">
                          <a:solidFill>
                            <a:srgbClr val="F58466"/>
                          </a:solidFill>
                          <a:effectLst/>
                          <a:latin typeface="Calibri"/>
                        </a:rPr>
                        <a:t> </a:t>
                      </a:r>
                      <a:endParaRPr lang="en-US" sz="1300" b="0" i="0">
                        <a:solidFill>
                          <a:srgbClr val="365F91"/>
                        </a:solidFill>
                        <a:effectLst/>
                        <a:latin typeface="Calibri"/>
                      </a:endParaRPr>
                    </a:p>
                    <a:p>
                      <a:pPr algn="l" rtl="0" fontAlgn="base">
                        <a:lnSpc>
                          <a:spcPct val="100000"/>
                        </a:lnSpc>
                        <a:buNone/>
                      </a:pPr>
                      <a:r>
                        <a:rPr lang="en-US" sz="1300" b="0" i="1">
                          <a:solidFill>
                            <a:srgbClr val="004990"/>
                          </a:solidFill>
                          <a:effectLst/>
                          <a:latin typeface="Calibri"/>
                        </a:rPr>
                        <a:t>Neonatal Clinical Co-Leads, ILPQC </a:t>
                      </a:r>
                      <a:r>
                        <a:rPr lang="en-US" sz="1300" b="0" i="0">
                          <a:solidFill>
                            <a:srgbClr val="004990"/>
                          </a:solidFill>
                          <a:effectLst/>
                          <a:latin typeface="Calibri"/>
                        </a:rPr>
                        <a:t> </a:t>
                      </a:r>
                      <a:endParaRPr lang="en-US" sz="1300" b="0" i="0">
                        <a:solidFill>
                          <a:srgbClr val="365F91"/>
                        </a:solidFill>
                        <a:effectLst/>
                        <a:latin typeface="Calibri"/>
                      </a:endParaRPr>
                    </a:p>
                  </a:txBody>
                  <a:tcPr marL="44450" marR="44450" marT="30480" marB="304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36759105"/>
                  </a:ext>
                </a:extLst>
              </a:tr>
              <a:tr h="1076960">
                <a:tc>
                  <a:txBody>
                    <a:bodyPr/>
                    <a:lstStyle/>
                    <a:p>
                      <a:pPr algn="l" rtl="0" fontAlgn="base">
                        <a:lnSpc>
                          <a:spcPts val="1552"/>
                        </a:lnSpc>
                        <a:buNone/>
                      </a:pPr>
                      <a:r>
                        <a:rPr lang="en-US" sz="1300" b="1" i="0">
                          <a:solidFill>
                            <a:srgbClr val="004990"/>
                          </a:solidFill>
                          <a:effectLst/>
                          <a:latin typeface="Calibri"/>
                        </a:rPr>
                        <a:t>9:45-10:30am </a:t>
                      </a:r>
                      <a:endParaRPr lang="en-US" sz="1300" b="1" i="0">
                        <a:solidFill>
                          <a:srgbClr val="365F91"/>
                        </a:solidFill>
                        <a:effectLst/>
                        <a:latin typeface="Calibri"/>
                      </a:endParaRPr>
                    </a:p>
                    <a:p>
                      <a:pPr algn="l" rtl="0" fontAlgn="base">
                        <a:lnSpc>
                          <a:spcPts val="1552"/>
                        </a:lnSpc>
                        <a:buNone/>
                      </a:pPr>
                      <a:endParaRPr lang="en-US" sz="1300" b="1" i="0">
                        <a:solidFill>
                          <a:srgbClr val="365F91"/>
                        </a:solidFill>
                        <a:effectLst/>
                        <a:latin typeface="Calibri"/>
                      </a:endParaRPr>
                    </a:p>
                  </a:txBody>
                  <a:tcPr marL="44450" marR="44450" marT="30480" marB="304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1EAFF"/>
                    </a:solidFill>
                  </a:tcPr>
                </a:tc>
                <a:tc>
                  <a:txBody>
                    <a:bodyPr/>
                    <a:lstStyle/>
                    <a:p>
                      <a:pPr algn="l" rtl="0" fontAlgn="base">
                        <a:lnSpc>
                          <a:spcPct val="100000"/>
                        </a:lnSpc>
                        <a:buNone/>
                      </a:pPr>
                      <a:r>
                        <a:rPr lang="en-US" sz="1300" b="1" i="0">
                          <a:solidFill>
                            <a:srgbClr val="365F91"/>
                          </a:solidFill>
                          <a:effectLst/>
                          <a:latin typeface="Calibri"/>
                        </a:rPr>
                        <a:t>Beyond the Bedside: Building Mental Health Support for NICU Families</a:t>
                      </a:r>
                      <a:r>
                        <a:rPr lang="en-US" sz="1300" b="0" i="0">
                          <a:solidFill>
                            <a:srgbClr val="365F91"/>
                          </a:solidFill>
                          <a:effectLst/>
                          <a:latin typeface="Calibri"/>
                        </a:rPr>
                        <a:t> </a:t>
                      </a:r>
                    </a:p>
                    <a:p>
                      <a:pPr marR="0" algn="l" rtl="0" fontAlgn="base">
                        <a:lnSpc>
                          <a:spcPct val="100000"/>
                        </a:lnSpc>
                        <a:spcBef>
                          <a:spcPts val="0"/>
                        </a:spcBef>
                        <a:spcAft>
                          <a:spcPts val="0"/>
                        </a:spcAft>
                        <a:buClr>
                          <a:srgbClr val="000000"/>
                        </a:buClr>
                        <a:buFont typeface="Arial"/>
                        <a:buNone/>
                      </a:pPr>
                      <a:r>
                        <a:rPr lang="en-US" sz="1300" b="1" i="0" u="none" strike="noStrike" cap="none">
                          <a:solidFill>
                            <a:srgbClr val="F58466"/>
                          </a:solidFill>
                          <a:effectLst/>
                          <a:latin typeface="Calibri"/>
                          <a:ea typeface="+mn-ea"/>
                          <a:cs typeface="+mn-cs"/>
                          <a:sym typeface="Arial"/>
                        </a:rPr>
                        <a:t>Ann Downey, MD, MSc </a:t>
                      </a:r>
                    </a:p>
                    <a:p>
                      <a:pPr algn="l" rtl="0" fontAlgn="base">
                        <a:lnSpc>
                          <a:spcPct val="100000"/>
                        </a:lnSpc>
                        <a:buNone/>
                      </a:pPr>
                      <a:r>
                        <a:rPr lang="en-US" sz="1300" b="0" i="1">
                          <a:solidFill>
                            <a:srgbClr val="004990"/>
                          </a:solidFill>
                          <a:effectLst/>
                          <a:latin typeface="Calibri"/>
                        </a:rPr>
                        <a:t>Neonatologist, Medical Director of Neonatology and Neonatal Quality, Children’s Minnesota</a:t>
                      </a:r>
                      <a:r>
                        <a:rPr lang="en-US" sz="1300" b="0" i="0">
                          <a:solidFill>
                            <a:srgbClr val="004990"/>
                          </a:solidFill>
                          <a:effectLst/>
                          <a:latin typeface="Calibri"/>
                        </a:rPr>
                        <a:t> </a:t>
                      </a:r>
                      <a:endParaRPr lang="en-US" sz="1300" b="0" i="0">
                        <a:solidFill>
                          <a:srgbClr val="365F91"/>
                        </a:solidFill>
                        <a:effectLst/>
                        <a:latin typeface="Calibri"/>
                      </a:endParaRPr>
                    </a:p>
                  </a:txBody>
                  <a:tcPr marL="44450" marR="44450" marT="30480" marB="304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1EAFF"/>
                    </a:solidFill>
                  </a:tcPr>
                </a:tc>
                <a:extLst>
                  <a:ext uri="{0D108BD9-81ED-4DB2-BD59-A6C34878D82A}">
                    <a16:rowId xmlns:a16="http://schemas.microsoft.com/office/drawing/2014/main" val="1176717494"/>
                  </a:ext>
                </a:extLst>
              </a:tr>
              <a:tr h="330357">
                <a:tc>
                  <a:txBody>
                    <a:bodyPr/>
                    <a:lstStyle/>
                    <a:p>
                      <a:pPr algn="l" rtl="0" fontAlgn="base">
                        <a:lnSpc>
                          <a:spcPts val="1552"/>
                        </a:lnSpc>
                        <a:buNone/>
                      </a:pPr>
                      <a:r>
                        <a:rPr lang="en-US" sz="1300" b="1" i="0">
                          <a:solidFill>
                            <a:srgbClr val="004990"/>
                          </a:solidFill>
                          <a:effectLst/>
                          <a:latin typeface="Calibri"/>
                        </a:rPr>
                        <a:t>10:30-10:45am </a:t>
                      </a:r>
                      <a:endParaRPr lang="en-US" sz="1300" b="1" i="0">
                        <a:solidFill>
                          <a:srgbClr val="365F91"/>
                        </a:solidFill>
                        <a:effectLst/>
                        <a:latin typeface="Calibri"/>
                      </a:endParaRPr>
                    </a:p>
                  </a:txBody>
                  <a:tcPr marL="44450" marR="44450" marT="30480" marB="304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ase">
                        <a:lnSpc>
                          <a:spcPts val="1552"/>
                        </a:lnSpc>
                        <a:buNone/>
                      </a:pPr>
                      <a:r>
                        <a:rPr lang="en-US" sz="1300" b="1" i="0">
                          <a:solidFill>
                            <a:srgbClr val="004990"/>
                          </a:solidFill>
                          <a:effectLst/>
                          <a:latin typeface="Calibri"/>
                        </a:rPr>
                        <a:t>Break</a:t>
                      </a:r>
                      <a:r>
                        <a:rPr lang="en-US" sz="1300" b="0" i="0">
                          <a:solidFill>
                            <a:srgbClr val="004990"/>
                          </a:solidFill>
                          <a:effectLst/>
                          <a:latin typeface="Calibri"/>
                        </a:rPr>
                        <a:t> </a:t>
                      </a:r>
                      <a:endParaRPr lang="en-US" sz="1300" b="0" i="0">
                        <a:solidFill>
                          <a:srgbClr val="365F91"/>
                        </a:solidFill>
                        <a:effectLst/>
                        <a:latin typeface="Calibri"/>
                      </a:endParaRPr>
                    </a:p>
                  </a:txBody>
                  <a:tcPr marL="44450" marR="44450" marT="30480" marB="304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30114864"/>
                  </a:ext>
                </a:extLst>
              </a:tr>
              <a:tr h="2467180">
                <a:tc>
                  <a:txBody>
                    <a:bodyPr/>
                    <a:lstStyle/>
                    <a:p>
                      <a:pPr algn="l" rtl="0" fontAlgn="base">
                        <a:lnSpc>
                          <a:spcPts val="1552"/>
                        </a:lnSpc>
                        <a:buNone/>
                      </a:pPr>
                      <a:r>
                        <a:rPr lang="en-US" sz="1300" b="1" i="0">
                          <a:solidFill>
                            <a:srgbClr val="004990"/>
                          </a:solidFill>
                          <a:effectLst/>
                          <a:latin typeface="Calibri"/>
                        </a:rPr>
                        <a:t>10:45-11:40am </a:t>
                      </a:r>
                      <a:endParaRPr lang="en-US" sz="1300" b="1" i="0">
                        <a:solidFill>
                          <a:srgbClr val="365F91"/>
                        </a:solidFill>
                        <a:effectLst/>
                        <a:latin typeface="Calibri"/>
                      </a:endParaRPr>
                    </a:p>
                    <a:p>
                      <a:pPr algn="l" rtl="0" fontAlgn="base">
                        <a:lnSpc>
                          <a:spcPts val="1552"/>
                        </a:lnSpc>
                        <a:buNone/>
                      </a:pPr>
                      <a:endParaRPr lang="en-US" sz="1300" b="1" i="0">
                        <a:solidFill>
                          <a:srgbClr val="365F91"/>
                        </a:solidFill>
                        <a:effectLst/>
                        <a:latin typeface="Calibri"/>
                      </a:endParaRPr>
                    </a:p>
                  </a:txBody>
                  <a:tcPr marL="44450" marR="44450" marT="30480" marB="304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1EAFF"/>
                    </a:solidFill>
                  </a:tcPr>
                </a:tc>
                <a:tc>
                  <a:txBody>
                    <a:bodyPr/>
                    <a:lstStyle/>
                    <a:p>
                      <a:pPr algn="l" rtl="0" fontAlgn="base">
                        <a:lnSpc>
                          <a:spcPts val="1552"/>
                        </a:lnSpc>
                        <a:buNone/>
                      </a:pPr>
                      <a:r>
                        <a:rPr lang="en-US" sz="1300" b="1" i="0">
                          <a:solidFill>
                            <a:srgbClr val="365F91"/>
                          </a:solidFill>
                          <a:effectLst/>
                          <a:latin typeface="Calibri"/>
                        </a:rPr>
                        <a:t>Too Early to Be Overlooked: Coordinated Care for Late Preterm Infants </a:t>
                      </a:r>
                      <a:r>
                        <a:rPr lang="en-US" sz="1300" b="0" i="0">
                          <a:solidFill>
                            <a:srgbClr val="365F91"/>
                          </a:solidFill>
                          <a:effectLst/>
                          <a:latin typeface="Calibri"/>
                        </a:rPr>
                        <a:t> </a:t>
                      </a:r>
                    </a:p>
                    <a:p>
                      <a:pPr algn="l" rtl="0" fontAlgn="base">
                        <a:lnSpc>
                          <a:spcPts val="1552"/>
                        </a:lnSpc>
                        <a:buNone/>
                      </a:pPr>
                      <a:r>
                        <a:rPr lang="en-US" sz="1300" b="0" i="1">
                          <a:solidFill>
                            <a:srgbClr val="365F91"/>
                          </a:solidFill>
                          <a:effectLst/>
                          <a:latin typeface="Calibri"/>
                        </a:rPr>
                        <a:t>Moderated by </a:t>
                      </a:r>
                      <a:r>
                        <a:rPr lang="en-US" sz="1300" b="1" i="0">
                          <a:solidFill>
                            <a:srgbClr val="F58466"/>
                          </a:solidFill>
                          <a:effectLst/>
                          <a:latin typeface="Calibri"/>
                        </a:rPr>
                        <a:t>Leslie Caldarelli, MD and Justin Josephsen, MD</a:t>
                      </a:r>
                      <a:r>
                        <a:rPr lang="en-US" sz="1300" b="0" i="0">
                          <a:solidFill>
                            <a:srgbClr val="F58466"/>
                          </a:solidFill>
                          <a:effectLst/>
                          <a:latin typeface="Calibri"/>
                        </a:rPr>
                        <a:t> </a:t>
                      </a:r>
                      <a:endParaRPr lang="en-US" sz="1300" b="0" i="0">
                        <a:solidFill>
                          <a:srgbClr val="365F91"/>
                        </a:solidFill>
                        <a:effectLst/>
                        <a:latin typeface="Calibri"/>
                      </a:endParaRPr>
                    </a:p>
                    <a:p>
                      <a:pPr algn="l" rtl="0" fontAlgn="base">
                        <a:lnSpc>
                          <a:spcPts val="1552"/>
                        </a:lnSpc>
                        <a:buNone/>
                      </a:pPr>
                      <a:endParaRPr lang="en-US" sz="1300" b="0" i="0">
                        <a:solidFill>
                          <a:srgbClr val="365F91"/>
                        </a:solidFill>
                        <a:effectLst/>
                        <a:latin typeface="Calibri"/>
                      </a:endParaRPr>
                    </a:p>
                    <a:p>
                      <a:pPr algn="l" rtl="0" fontAlgn="base">
                        <a:lnSpc>
                          <a:spcPct val="100000"/>
                        </a:lnSpc>
                        <a:buNone/>
                      </a:pPr>
                      <a:r>
                        <a:rPr lang="en-US" sz="1300" b="1" i="0">
                          <a:solidFill>
                            <a:srgbClr val="F58466"/>
                          </a:solidFill>
                          <a:effectLst/>
                          <a:latin typeface="Calibri"/>
                        </a:rPr>
                        <a:t>Maia Birchmoon-Gordon, BSN, RNC, IBCLC</a:t>
                      </a:r>
                      <a:r>
                        <a:rPr lang="en-US" sz="1300" b="0" i="0">
                          <a:solidFill>
                            <a:srgbClr val="F58466"/>
                          </a:solidFill>
                          <a:effectLst/>
                          <a:latin typeface="Calibri"/>
                        </a:rPr>
                        <a:t> </a:t>
                      </a:r>
                    </a:p>
                    <a:p>
                      <a:pPr algn="l" rtl="0" fontAlgn="base">
                        <a:lnSpc>
                          <a:spcPct val="100000"/>
                        </a:lnSpc>
                        <a:buNone/>
                      </a:pPr>
                      <a:r>
                        <a:rPr lang="en-US" sz="1300" b="0" i="1">
                          <a:solidFill>
                            <a:srgbClr val="365F91"/>
                          </a:solidFill>
                          <a:effectLst/>
                          <a:latin typeface="Calibri"/>
                        </a:rPr>
                        <a:t>Lactation Consultant and Nurse, Endeavor Health Swedish Hospital</a:t>
                      </a:r>
                      <a:r>
                        <a:rPr lang="en-US" sz="1300" b="0" i="0">
                          <a:solidFill>
                            <a:srgbClr val="365F91"/>
                          </a:solidFill>
                          <a:effectLst/>
                          <a:latin typeface="Calibri"/>
                        </a:rPr>
                        <a:t> </a:t>
                      </a:r>
                    </a:p>
                    <a:p>
                      <a:pPr algn="l" rtl="0" fontAlgn="base">
                        <a:lnSpc>
                          <a:spcPct val="100000"/>
                        </a:lnSpc>
                        <a:buNone/>
                      </a:pPr>
                      <a:r>
                        <a:rPr lang="en-US" sz="1300" b="1" i="0">
                          <a:solidFill>
                            <a:srgbClr val="F58466"/>
                          </a:solidFill>
                          <a:effectLst/>
                          <a:latin typeface="Calibri"/>
                        </a:rPr>
                        <a:t>Kristina Dakis, MD</a:t>
                      </a:r>
                      <a:r>
                        <a:rPr lang="en-US" sz="1300" b="0" i="0">
                          <a:solidFill>
                            <a:srgbClr val="F58466"/>
                          </a:solidFill>
                          <a:effectLst/>
                          <a:latin typeface="Calibri"/>
                        </a:rPr>
                        <a:t> </a:t>
                      </a:r>
                    </a:p>
                    <a:p>
                      <a:pPr algn="l" rtl="0" fontAlgn="base">
                        <a:lnSpc>
                          <a:spcPct val="100000"/>
                        </a:lnSpc>
                        <a:buNone/>
                      </a:pPr>
                      <a:r>
                        <a:rPr lang="en-US" sz="1300" b="0" i="1">
                          <a:solidFill>
                            <a:srgbClr val="365F91"/>
                          </a:solidFill>
                          <a:effectLst/>
                          <a:latin typeface="Calibri"/>
                        </a:rPr>
                        <a:t>Family Medicine Physician and Medical Director, Gibson Area Hospital and Health Services</a:t>
                      </a:r>
                      <a:r>
                        <a:rPr lang="en-US" sz="1300" b="0" i="0">
                          <a:solidFill>
                            <a:srgbClr val="365F91"/>
                          </a:solidFill>
                          <a:effectLst/>
                          <a:latin typeface="Calibri"/>
                        </a:rPr>
                        <a:t> </a:t>
                      </a:r>
                    </a:p>
                    <a:p>
                      <a:pPr algn="l" rtl="0" fontAlgn="base">
                        <a:lnSpc>
                          <a:spcPct val="100000"/>
                        </a:lnSpc>
                        <a:buNone/>
                      </a:pPr>
                      <a:r>
                        <a:rPr lang="en-US" sz="1300" b="1" i="0">
                          <a:solidFill>
                            <a:srgbClr val="F58466"/>
                          </a:solidFill>
                          <a:effectLst/>
                          <a:latin typeface="Calibri"/>
                        </a:rPr>
                        <a:t>Malika D. Shah, MD</a:t>
                      </a:r>
                      <a:r>
                        <a:rPr lang="en-US" sz="1300" b="0" i="0">
                          <a:solidFill>
                            <a:srgbClr val="F58466"/>
                          </a:solidFill>
                          <a:effectLst/>
                          <a:latin typeface="Calibri"/>
                        </a:rPr>
                        <a:t> </a:t>
                      </a:r>
                    </a:p>
                    <a:p>
                      <a:pPr algn="l" rtl="0" fontAlgn="base">
                        <a:lnSpc>
                          <a:spcPct val="100000"/>
                        </a:lnSpc>
                        <a:buNone/>
                      </a:pPr>
                      <a:r>
                        <a:rPr lang="en-US" sz="1300" b="0" i="1">
                          <a:solidFill>
                            <a:srgbClr val="365F91"/>
                          </a:solidFill>
                          <a:effectLst/>
                          <a:latin typeface="Calibri"/>
                        </a:rPr>
                        <a:t>Neonatologist, Medical Director, Newborn Nursery, Prentice Women’s Hospital Northwestern Medicine</a:t>
                      </a:r>
                      <a:r>
                        <a:rPr lang="en-US" sz="1300" b="0" i="0">
                          <a:solidFill>
                            <a:srgbClr val="365F91"/>
                          </a:solidFill>
                          <a:effectLst/>
                          <a:latin typeface="Calibri"/>
                        </a:rPr>
                        <a:t> </a:t>
                      </a:r>
                    </a:p>
                  </a:txBody>
                  <a:tcPr marL="44450" marR="44450" marT="30480" marB="304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1EAFF"/>
                    </a:solidFill>
                  </a:tcPr>
                </a:tc>
                <a:extLst>
                  <a:ext uri="{0D108BD9-81ED-4DB2-BD59-A6C34878D82A}">
                    <a16:rowId xmlns:a16="http://schemas.microsoft.com/office/drawing/2014/main" val="3891207493"/>
                  </a:ext>
                </a:extLst>
              </a:tr>
            </a:tbl>
          </a:graphicData>
        </a:graphic>
      </p:graphicFrame>
      <p:graphicFrame>
        <p:nvGraphicFramePr>
          <p:cNvPr id="8" name="Table 7">
            <a:extLst>
              <a:ext uri="{FF2B5EF4-FFF2-40B4-BE49-F238E27FC236}">
                <a16:creationId xmlns:a16="http://schemas.microsoft.com/office/drawing/2014/main" id="{6BAB2A5F-BA44-38F1-5838-B958ED83F4C0}"/>
              </a:ext>
            </a:extLst>
          </p:cNvPr>
          <p:cNvGraphicFramePr>
            <a:graphicFrameLocks noGrp="1"/>
          </p:cNvGraphicFramePr>
          <p:nvPr/>
        </p:nvGraphicFramePr>
        <p:xfrm>
          <a:off x="5918200" y="685800"/>
          <a:ext cx="6284922" cy="6205127"/>
        </p:xfrm>
        <a:graphic>
          <a:graphicData uri="http://schemas.openxmlformats.org/drawingml/2006/table">
            <a:tbl>
              <a:tblPr bandRow="1">
                <a:tableStyleId>{5C22544A-7EE6-4342-B048-85BDC9FD1C3A}</a:tableStyleId>
              </a:tblPr>
              <a:tblGrid>
                <a:gridCol w="1428919">
                  <a:extLst>
                    <a:ext uri="{9D8B030D-6E8A-4147-A177-3AD203B41FA5}">
                      <a16:colId xmlns:a16="http://schemas.microsoft.com/office/drawing/2014/main" val="1750596575"/>
                    </a:ext>
                  </a:extLst>
                </a:gridCol>
                <a:gridCol w="4856003">
                  <a:extLst>
                    <a:ext uri="{9D8B030D-6E8A-4147-A177-3AD203B41FA5}">
                      <a16:colId xmlns:a16="http://schemas.microsoft.com/office/drawing/2014/main" val="2732615748"/>
                    </a:ext>
                  </a:extLst>
                </a:gridCol>
              </a:tblGrid>
              <a:tr h="462188">
                <a:tc>
                  <a:txBody>
                    <a:bodyPr/>
                    <a:lstStyle/>
                    <a:p>
                      <a:pPr algn="l" rtl="0" fontAlgn="base">
                        <a:lnSpc>
                          <a:spcPts val="1552"/>
                        </a:lnSpc>
                        <a:buNone/>
                      </a:pPr>
                      <a:r>
                        <a:rPr lang="en-US" sz="1300" b="1" i="0">
                          <a:solidFill>
                            <a:srgbClr val="004990"/>
                          </a:solidFill>
                          <a:effectLst/>
                          <a:latin typeface="Calibri"/>
                        </a:rPr>
                        <a:t>11:40-12:00pm </a:t>
                      </a:r>
                      <a:endParaRPr lang="en-US" sz="1300" b="1" i="0">
                        <a:solidFill>
                          <a:srgbClr val="365F91"/>
                        </a:solidFill>
                        <a:effectLst/>
                        <a:latin typeface="Calibri"/>
                      </a:endParaRPr>
                    </a:p>
                  </a:txBody>
                  <a:tcPr marL="44450" marR="44450" marT="30480" marB="304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ase">
                        <a:lnSpc>
                          <a:spcPts val="1552"/>
                        </a:lnSpc>
                        <a:buNone/>
                      </a:pPr>
                      <a:r>
                        <a:rPr lang="en-US" sz="1300" b="1" i="0">
                          <a:solidFill>
                            <a:srgbClr val="365F91"/>
                          </a:solidFill>
                          <a:effectLst/>
                          <a:latin typeface="Calibri"/>
                        </a:rPr>
                        <a:t>QI Excellence Award Ceremony</a:t>
                      </a:r>
                      <a:r>
                        <a:rPr lang="en-US" sz="1300" b="0" i="0" dirty="0">
                          <a:solidFill>
                            <a:srgbClr val="365F91"/>
                          </a:solidFill>
                          <a:effectLst/>
                          <a:latin typeface="Calibri"/>
                        </a:rPr>
                        <a:t> </a:t>
                      </a:r>
                      <a:endParaRPr lang="en-US" sz="900" dirty="0"/>
                    </a:p>
                  </a:txBody>
                  <a:tcPr marL="44450" marR="44450" marT="30480" marB="304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4157331"/>
                  </a:ext>
                </a:extLst>
              </a:tr>
              <a:tr h="782163">
                <a:tc>
                  <a:txBody>
                    <a:bodyPr/>
                    <a:lstStyle/>
                    <a:p>
                      <a:pPr algn="l" rtl="0" fontAlgn="base">
                        <a:lnSpc>
                          <a:spcPts val="1552"/>
                        </a:lnSpc>
                        <a:buNone/>
                      </a:pPr>
                      <a:r>
                        <a:rPr lang="en-US" sz="1300" b="1" i="0">
                          <a:solidFill>
                            <a:srgbClr val="004990"/>
                          </a:solidFill>
                          <a:effectLst/>
                          <a:latin typeface="Calibri"/>
                        </a:rPr>
                        <a:t>12:00-1:10pm </a:t>
                      </a:r>
                      <a:endParaRPr lang="en-US" sz="1300" b="1" i="0">
                        <a:solidFill>
                          <a:srgbClr val="365F91"/>
                        </a:solidFill>
                        <a:effectLst/>
                        <a:latin typeface="Calibri"/>
                      </a:endParaRPr>
                    </a:p>
                  </a:txBody>
                  <a:tcPr marL="44450" marR="44450" marT="30480" marB="304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1EAFF"/>
                    </a:solidFill>
                  </a:tcPr>
                </a:tc>
                <a:tc>
                  <a:txBody>
                    <a:bodyPr/>
                    <a:lstStyle/>
                    <a:p>
                      <a:pPr algn="l" rtl="0" fontAlgn="base">
                        <a:lnSpc>
                          <a:spcPct val="100000"/>
                        </a:lnSpc>
                        <a:buNone/>
                      </a:pPr>
                      <a:r>
                        <a:rPr lang="en-US" sz="1300" b="1" i="0">
                          <a:solidFill>
                            <a:srgbClr val="004990"/>
                          </a:solidFill>
                          <a:effectLst/>
                          <a:latin typeface="Calibri"/>
                        </a:rPr>
                        <a:t>Team Storyboard Session: An Opportunity to Share and Learn </a:t>
                      </a:r>
                      <a:r>
                        <a:rPr lang="en-US" sz="1300" b="0" i="0" dirty="0">
                          <a:solidFill>
                            <a:srgbClr val="004990"/>
                          </a:solidFill>
                          <a:effectLst/>
                          <a:latin typeface="Calibri"/>
                        </a:rPr>
                        <a:t> </a:t>
                      </a:r>
                      <a:endParaRPr lang="en-US" sz="1300" b="0" i="0" dirty="0">
                        <a:solidFill>
                          <a:srgbClr val="365F91"/>
                        </a:solidFill>
                        <a:effectLst/>
                        <a:latin typeface="Calibri"/>
                      </a:endParaRPr>
                    </a:p>
                    <a:p>
                      <a:pPr algn="l" rtl="0" fontAlgn="base">
                        <a:lnSpc>
                          <a:spcPct val="100000"/>
                        </a:lnSpc>
                        <a:buNone/>
                      </a:pPr>
                      <a:r>
                        <a:rPr lang="en-US" sz="1300" b="1" i="0">
                          <a:solidFill>
                            <a:srgbClr val="004990"/>
                          </a:solidFill>
                          <a:effectLst/>
                          <a:latin typeface="Calibri"/>
                        </a:rPr>
                        <a:t>Networking Lunch</a:t>
                      </a:r>
                      <a:r>
                        <a:rPr lang="en-US" sz="1300" b="0" i="0" dirty="0">
                          <a:solidFill>
                            <a:srgbClr val="004990"/>
                          </a:solidFill>
                          <a:effectLst/>
                          <a:latin typeface="Calibri"/>
                        </a:rPr>
                        <a:t> </a:t>
                      </a:r>
                      <a:endParaRPr lang="en-US" sz="1300" b="0" i="0" dirty="0">
                        <a:solidFill>
                          <a:srgbClr val="365F91"/>
                        </a:solidFill>
                        <a:effectLst/>
                        <a:latin typeface="Calibri"/>
                      </a:endParaRPr>
                    </a:p>
                  </a:txBody>
                  <a:tcPr marL="44450" marR="44450" marT="30480" marB="304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1EAFF"/>
                    </a:solidFill>
                  </a:tcPr>
                </a:tc>
                <a:extLst>
                  <a:ext uri="{0D108BD9-81ED-4DB2-BD59-A6C34878D82A}">
                    <a16:rowId xmlns:a16="http://schemas.microsoft.com/office/drawing/2014/main" val="3553618023"/>
                  </a:ext>
                </a:extLst>
              </a:tr>
              <a:tr h="1483114">
                <a:tc>
                  <a:txBody>
                    <a:bodyPr/>
                    <a:lstStyle/>
                    <a:p>
                      <a:pPr algn="l" rtl="0" fontAlgn="base">
                        <a:lnSpc>
                          <a:spcPts val="1552"/>
                        </a:lnSpc>
                        <a:buNone/>
                      </a:pPr>
                      <a:endParaRPr lang="en-US" sz="1300" b="1" i="0">
                        <a:solidFill>
                          <a:srgbClr val="004990"/>
                        </a:solidFill>
                        <a:effectLst/>
                        <a:latin typeface="Calibri"/>
                      </a:endParaRPr>
                    </a:p>
                  </a:txBody>
                  <a:tcPr marL="44450" marR="44450" marT="30480" marB="304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ase">
                        <a:lnSpc>
                          <a:spcPts val="1552"/>
                        </a:lnSpc>
                        <a:buNone/>
                      </a:pPr>
                      <a:r>
                        <a:rPr lang="en-US" sz="1300" b="1" i="0">
                          <a:solidFill>
                            <a:srgbClr val="004990"/>
                          </a:solidFill>
                          <a:effectLst/>
                          <a:latin typeface="Calibri"/>
                        </a:rPr>
                        <a:t>Breakout Sessions</a:t>
                      </a:r>
                      <a:r>
                        <a:rPr lang="en-US" sz="1300" b="0" i="0" dirty="0">
                          <a:solidFill>
                            <a:srgbClr val="004990"/>
                          </a:solidFill>
                          <a:effectLst/>
                          <a:latin typeface="Calibri"/>
                        </a:rPr>
                        <a:t> </a:t>
                      </a:r>
                      <a:endParaRPr lang="en-US" sz="1300" b="0" i="0" dirty="0">
                        <a:solidFill>
                          <a:srgbClr val="365F91"/>
                        </a:solidFill>
                        <a:effectLst/>
                        <a:latin typeface="Calibri"/>
                      </a:endParaRPr>
                    </a:p>
                    <a:p>
                      <a:pPr marL="342900" lvl="0" indent="-342900" algn="l" rtl="0" fontAlgn="base">
                        <a:lnSpc>
                          <a:spcPct val="100000"/>
                        </a:lnSpc>
                        <a:buFont typeface="Arial" panose="020B0604020202020204" pitchFamily="34" charset="0"/>
                        <a:buChar char="•"/>
                      </a:pPr>
                      <a:r>
                        <a:rPr lang="en-US" sz="1300" b="0" i="0">
                          <a:solidFill>
                            <a:srgbClr val="004990"/>
                          </a:solidFill>
                          <a:effectLst/>
                          <a:latin typeface="Calibri"/>
                        </a:rPr>
                        <a:t>Two Patients, One Opportunity: Advancing Perinatal Mental Health   </a:t>
                      </a:r>
                      <a:endParaRPr lang="en-US" sz="1300" b="0" i="0">
                        <a:solidFill>
                          <a:srgbClr val="365F91"/>
                        </a:solidFill>
                        <a:effectLst/>
                        <a:latin typeface="Calibri"/>
                      </a:endParaRPr>
                    </a:p>
                    <a:p>
                      <a:pPr marL="342900" lvl="0" indent="-342900" algn="l" rtl="0" fontAlgn="base">
                        <a:lnSpc>
                          <a:spcPct val="100000"/>
                        </a:lnSpc>
                        <a:buFont typeface="Arial" panose="020B0604020202020204" pitchFamily="34" charset="0"/>
                        <a:buChar char="•"/>
                      </a:pPr>
                      <a:r>
                        <a:rPr lang="en-US" sz="1300" b="0" i="0">
                          <a:solidFill>
                            <a:srgbClr val="004990"/>
                          </a:solidFill>
                          <a:effectLst/>
                          <a:latin typeface="Calibri"/>
                        </a:rPr>
                        <a:t>Making ESSI Stick: Building Durable Systems for Ongoing Success </a:t>
                      </a:r>
                      <a:endParaRPr lang="en-US" sz="1300" b="0" i="0">
                        <a:solidFill>
                          <a:srgbClr val="365F91"/>
                        </a:solidFill>
                        <a:effectLst/>
                        <a:latin typeface="Calibri"/>
                      </a:endParaRPr>
                    </a:p>
                    <a:p>
                      <a:pPr marL="342900" lvl="0" indent="-342900" algn="l" rtl="0" fontAlgn="base">
                        <a:lnSpc>
                          <a:spcPct val="100000"/>
                        </a:lnSpc>
                        <a:buFont typeface="Arial" panose="020B0604020202020204" pitchFamily="34" charset="0"/>
                        <a:buChar char="•"/>
                      </a:pPr>
                      <a:r>
                        <a:rPr lang="en-US" sz="1300" b="0" i="0">
                          <a:solidFill>
                            <a:srgbClr val="004990"/>
                          </a:solidFill>
                          <a:effectLst/>
                          <a:latin typeface="Calibri"/>
                        </a:rPr>
                        <a:t>Delivery Room to Discharge: Comprehensive Care Pathways for the Late Preterm Infant </a:t>
                      </a:r>
                      <a:endParaRPr lang="en-US" sz="1300" b="0" i="0">
                        <a:solidFill>
                          <a:srgbClr val="365F91"/>
                        </a:solidFill>
                        <a:effectLst/>
                        <a:latin typeface="Calibri"/>
                      </a:endParaRPr>
                    </a:p>
                  </a:txBody>
                  <a:tcPr marL="44450" marR="44450" marT="30480" marB="304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620445"/>
                  </a:ext>
                </a:extLst>
              </a:tr>
              <a:tr h="489641">
                <a:tc>
                  <a:txBody>
                    <a:bodyPr/>
                    <a:lstStyle/>
                    <a:p>
                      <a:pPr algn="l" rtl="0" fontAlgn="base">
                        <a:lnSpc>
                          <a:spcPts val="1552"/>
                        </a:lnSpc>
                        <a:buNone/>
                      </a:pPr>
                      <a:r>
                        <a:rPr lang="en-US" sz="1300" b="1" i="0">
                          <a:solidFill>
                            <a:srgbClr val="004990"/>
                          </a:solidFill>
                          <a:effectLst/>
                          <a:latin typeface="Calibri"/>
                        </a:rPr>
                        <a:t>1:10-1:50pm </a:t>
                      </a:r>
                      <a:endParaRPr lang="en-US" sz="1300" b="1" i="0">
                        <a:solidFill>
                          <a:srgbClr val="365F91"/>
                        </a:solidFill>
                        <a:effectLst/>
                        <a:latin typeface="Calibri"/>
                      </a:endParaRPr>
                    </a:p>
                  </a:txBody>
                  <a:tcPr marL="44450" marR="44450" marT="30480" marB="304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1EAFF"/>
                    </a:solidFill>
                  </a:tcPr>
                </a:tc>
                <a:tc>
                  <a:txBody>
                    <a:bodyPr/>
                    <a:lstStyle/>
                    <a:p>
                      <a:pPr algn="l" rtl="0" fontAlgn="base">
                        <a:lnSpc>
                          <a:spcPct val="100000"/>
                        </a:lnSpc>
                        <a:buNone/>
                      </a:pPr>
                      <a:r>
                        <a:rPr lang="en-US" sz="1300" b="1" i="0">
                          <a:solidFill>
                            <a:srgbClr val="004990"/>
                          </a:solidFill>
                          <a:effectLst/>
                          <a:latin typeface="Calibri"/>
                        </a:rPr>
                        <a:t>Breakout Session 1: Small Group Key Topic Discussions on Implementation Strategies </a:t>
                      </a:r>
                      <a:r>
                        <a:rPr lang="en-US" sz="1300" b="0" i="0" dirty="0">
                          <a:solidFill>
                            <a:srgbClr val="004990"/>
                          </a:solidFill>
                          <a:effectLst/>
                          <a:latin typeface="Calibri"/>
                        </a:rPr>
                        <a:t> </a:t>
                      </a:r>
                      <a:endParaRPr lang="en-US" sz="1300" b="0" i="0" dirty="0">
                        <a:solidFill>
                          <a:srgbClr val="365F91"/>
                        </a:solidFill>
                        <a:effectLst/>
                        <a:latin typeface="Calibri"/>
                      </a:endParaRPr>
                    </a:p>
                  </a:txBody>
                  <a:tcPr marL="44450" marR="44450" marT="30480" marB="304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1EAFF"/>
                    </a:solidFill>
                  </a:tcPr>
                </a:tc>
                <a:extLst>
                  <a:ext uri="{0D108BD9-81ED-4DB2-BD59-A6C34878D82A}">
                    <a16:rowId xmlns:a16="http://schemas.microsoft.com/office/drawing/2014/main" val="1565688233"/>
                  </a:ext>
                </a:extLst>
              </a:tr>
              <a:tr h="462188">
                <a:tc>
                  <a:txBody>
                    <a:bodyPr/>
                    <a:lstStyle/>
                    <a:p>
                      <a:pPr algn="l" rtl="0" fontAlgn="base">
                        <a:lnSpc>
                          <a:spcPts val="1552"/>
                        </a:lnSpc>
                        <a:buNone/>
                      </a:pPr>
                      <a:r>
                        <a:rPr lang="en-US" sz="1300" b="1" i="0">
                          <a:solidFill>
                            <a:srgbClr val="004990"/>
                          </a:solidFill>
                          <a:effectLst/>
                          <a:latin typeface="Calibri"/>
                        </a:rPr>
                        <a:t>1:50-2:00pm </a:t>
                      </a:r>
                      <a:endParaRPr lang="en-US" sz="1300" b="1" i="0">
                        <a:solidFill>
                          <a:srgbClr val="365F91"/>
                        </a:solidFill>
                        <a:effectLst/>
                        <a:latin typeface="Calibri"/>
                      </a:endParaRPr>
                    </a:p>
                  </a:txBody>
                  <a:tcPr marL="44450" marR="44450" marT="30480" marB="304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ase">
                        <a:lnSpc>
                          <a:spcPct val="100000"/>
                        </a:lnSpc>
                        <a:buNone/>
                      </a:pPr>
                      <a:r>
                        <a:rPr lang="en-US" sz="1300" b="1" i="0">
                          <a:solidFill>
                            <a:srgbClr val="004990"/>
                          </a:solidFill>
                          <a:effectLst/>
                          <a:latin typeface="Calibri"/>
                        </a:rPr>
                        <a:t>Transition to Breakout Sessions </a:t>
                      </a:r>
                      <a:r>
                        <a:rPr lang="en-US" sz="1300" b="0" i="0" dirty="0">
                          <a:solidFill>
                            <a:srgbClr val="004990"/>
                          </a:solidFill>
                          <a:effectLst/>
                          <a:latin typeface="Calibri"/>
                        </a:rPr>
                        <a:t> </a:t>
                      </a:r>
                      <a:endParaRPr lang="en-US" sz="1300" b="0" i="0" dirty="0">
                        <a:solidFill>
                          <a:srgbClr val="365F91"/>
                        </a:solidFill>
                        <a:effectLst/>
                        <a:latin typeface="Calibri"/>
                      </a:endParaRPr>
                    </a:p>
                  </a:txBody>
                  <a:tcPr marL="44450" marR="44450" marT="30480" marB="304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4533927"/>
                  </a:ext>
                </a:extLst>
              </a:tr>
              <a:tr h="489641">
                <a:tc>
                  <a:txBody>
                    <a:bodyPr/>
                    <a:lstStyle/>
                    <a:p>
                      <a:pPr algn="l" rtl="0" fontAlgn="base">
                        <a:lnSpc>
                          <a:spcPts val="1552"/>
                        </a:lnSpc>
                        <a:buNone/>
                      </a:pPr>
                      <a:r>
                        <a:rPr lang="en-US" sz="1300" b="1" i="0">
                          <a:solidFill>
                            <a:srgbClr val="004990"/>
                          </a:solidFill>
                          <a:effectLst/>
                          <a:latin typeface="Calibri"/>
                        </a:rPr>
                        <a:t>2:00-2:40pm </a:t>
                      </a:r>
                      <a:endParaRPr lang="en-US" sz="1300" b="1" i="0">
                        <a:solidFill>
                          <a:srgbClr val="365F91"/>
                        </a:solidFill>
                        <a:effectLst/>
                        <a:latin typeface="Calibri"/>
                      </a:endParaRPr>
                    </a:p>
                  </a:txBody>
                  <a:tcPr marL="44450" marR="44450" marT="30480" marB="304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1EAFF"/>
                    </a:solidFill>
                  </a:tcPr>
                </a:tc>
                <a:tc>
                  <a:txBody>
                    <a:bodyPr/>
                    <a:lstStyle/>
                    <a:p>
                      <a:pPr algn="l" rtl="0" fontAlgn="base">
                        <a:lnSpc>
                          <a:spcPct val="100000"/>
                        </a:lnSpc>
                        <a:buNone/>
                      </a:pPr>
                      <a:r>
                        <a:rPr lang="en-US" sz="1300" b="1" i="0">
                          <a:solidFill>
                            <a:srgbClr val="004990"/>
                          </a:solidFill>
                          <a:effectLst/>
                          <a:latin typeface="Calibri"/>
                        </a:rPr>
                        <a:t>Breakout Session 2: Small Group Key Topic Discussions on Implementation Strategies</a:t>
                      </a:r>
                      <a:r>
                        <a:rPr lang="en-US" sz="1300" b="0" i="0" dirty="0">
                          <a:solidFill>
                            <a:srgbClr val="004990"/>
                          </a:solidFill>
                          <a:effectLst/>
                          <a:latin typeface="Calibri"/>
                        </a:rPr>
                        <a:t> </a:t>
                      </a:r>
                      <a:endParaRPr lang="en-US" sz="1300" b="0" i="0" dirty="0">
                        <a:solidFill>
                          <a:srgbClr val="365F91"/>
                        </a:solidFill>
                        <a:effectLst/>
                        <a:latin typeface="Calibri"/>
                      </a:endParaRPr>
                    </a:p>
                  </a:txBody>
                  <a:tcPr marL="44450" marR="44450" marT="30480" marB="304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1EAFF"/>
                    </a:solidFill>
                  </a:tcPr>
                </a:tc>
                <a:extLst>
                  <a:ext uri="{0D108BD9-81ED-4DB2-BD59-A6C34878D82A}">
                    <a16:rowId xmlns:a16="http://schemas.microsoft.com/office/drawing/2014/main" val="484465173"/>
                  </a:ext>
                </a:extLst>
              </a:tr>
              <a:tr h="462188">
                <a:tc>
                  <a:txBody>
                    <a:bodyPr/>
                    <a:lstStyle/>
                    <a:p>
                      <a:pPr algn="l" rtl="0" fontAlgn="base">
                        <a:lnSpc>
                          <a:spcPts val="1552"/>
                        </a:lnSpc>
                        <a:buNone/>
                      </a:pPr>
                      <a:r>
                        <a:rPr lang="en-US" sz="1300" b="1" i="0">
                          <a:solidFill>
                            <a:srgbClr val="004990"/>
                          </a:solidFill>
                          <a:effectLst/>
                          <a:latin typeface="Calibri"/>
                        </a:rPr>
                        <a:t>2:40-2:50pm </a:t>
                      </a:r>
                      <a:endParaRPr lang="en-US" sz="1300" b="1" i="0">
                        <a:solidFill>
                          <a:srgbClr val="365F91"/>
                        </a:solidFill>
                        <a:effectLst/>
                        <a:latin typeface="Calibri"/>
                      </a:endParaRPr>
                    </a:p>
                  </a:txBody>
                  <a:tcPr marL="44450" marR="44450" marT="30480" marB="304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ase">
                        <a:lnSpc>
                          <a:spcPct val="100000"/>
                        </a:lnSpc>
                        <a:buNone/>
                      </a:pPr>
                      <a:r>
                        <a:rPr lang="en-US" sz="1300" b="1" i="0">
                          <a:solidFill>
                            <a:srgbClr val="004990"/>
                          </a:solidFill>
                          <a:effectLst/>
                          <a:latin typeface="Calibri"/>
                        </a:rPr>
                        <a:t>Transition to Breakout Sessions</a:t>
                      </a:r>
                      <a:r>
                        <a:rPr lang="en-US" sz="1300" b="0" i="0" dirty="0">
                          <a:solidFill>
                            <a:srgbClr val="004990"/>
                          </a:solidFill>
                          <a:effectLst/>
                          <a:latin typeface="Calibri"/>
                        </a:rPr>
                        <a:t> </a:t>
                      </a:r>
                      <a:endParaRPr lang="en-US" sz="1300" b="0" i="0" dirty="0">
                        <a:solidFill>
                          <a:srgbClr val="365F91"/>
                        </a:solidFill>
                        <a:effectLst/>
                        <a:latin typeface="Calibri"/>
                      </a:endParaRPr>
                    </a:p>
                  </a:txBody>
                  <a:tcPr marL="44450" marR="44450" marT="30480" marB="304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4908857"/>
                  </a:ext>
                </a:extLst>
              </a:tr>
              <a:tr h="489641">
                <a:tc>
                  <a:txBody>
                    <a:bodyPr/>
                    <a:lstStyle/>
                    <a:p>
                      <a:pPr algn="l" rtl="0" fontAlgn="base">
                        <a:lnSpc>
                          <a:spcPts val="1552"/>
                        </a:lnSpc>
                        <a:buNone/>
                      </a:pPr>
                      <a:r>
                        <a:rPr lang="en-US" sz="1300" b="1" i="0">
                          <a:solidFill>
                            <a:srgbClr val="004990"/>
                          </a:solidFill>
                          <a:effectLst/>
                          <a:latin typeface="Calibri"/>
                        </a:rPr>
                        <a:t>2:50-3:30pm </a:t>
                      </a:r>
                      <a:endParaRPr lang="en-US" sz="1300" b="1" i="0">
                        <a:solidFill>
                          <a:srgbClr val="365F91"/>
                        </a:solidFill>
                        <a:effectLst/>
                        <a:latin typeface="Calibri"/>
                      </a:endParaRPr>
                    </a:p>
                  </a:txBody>
                  <a:tcPr marL="44450" marR="44450" marT="30480" marB="304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1EAFF"/>
                    </a:solidFill>
                  </a:tcPr>
                </a:tc>
                <a:tc>
                  <a:txBody>
                    <a:bodyPr/>
                    <a:lstStyle/>
                    <a:p>
                      <a:pPr algn="l" rtl="0" fontAlgn="base">
                        <a:lnSpc>
                          <a:spcPct val="100000"/>
                        </a:lnSpc>
                        <a:buNone/>
                      </a:pPr>
                      <a:r>
                        <a:rPr lang="en-US" sz="1300" b="1" i="0">
                          <a:solidFill>
                            <a:srgbClr val="004990"/>
                          </a:solidFill>
                          <a:effectLst/>
                          <a:latin typeface="Calibri"/>
                        </a:rPr>
                        <a:t>Breakout Session 3: Small Group Key Topic Discussions on Implementation Strategies</a:t>
                      </a:r>
                      <a:r>
                        <a:rPr lang="en-US" sz="1300" b="0" i="0" dirty="0">
                          <a:solidFill>
                            <a:srgbClr val="004990"/>
                          </a:solidFill>
                          <a:effectLst/>
                          <a:latin typeface="Calibri"/>
                        </a:rPr>
                        <a:t> </a:t>
                      </a:r>
                      <a:endParaRPr lang="en-US" sz="1300" b="0" i="0" dirty="0">
                        <a:solidFill>
                          <a:srgbClr val="365F91"/>
                        </a:solidFill>
                        <a:effectLst/>
                        <a:latin typeface="Calibri"/>
                      </a:endParaRPr>
                    </a:p>
                  </a:txBody>
                  <a:tcPr marL="44450" marR="44450" marT="30480" marB="304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1EAFF"/>
                    </a:solidFill>
                  </a:tcPr>
                </a:tc>
                <a:extLst>
                  <a:ext uri="{0D108BD9-81ED-4DB2-BD59-A6C34878D82A}">
                    <a16:rowId xmlns:a16="http://schemas.microsoft.com/office/drawing/2014/main" val="799558170"/>
                  </a:ext>
                </a:extLst>
              </a:tr>
              <a:tr h="1084363">
                <a:tc>
                  <a:txBody>
                    <a:bodyPr/>
                    <a:lstStyle/>
                    <a:p>
                      <a:pPr algn="l" rtl="0" fontAlgn="base">
                        <a:lnSpc>
                          <a:spcPts val="1552"/>
                        </a:lnSpc>
                        <a:buNone/>
                      </a:pPr>
                      <a:r>
                        <a:rPr lang="en-US" sz="1300" b="1" i="0">
                          <a:solidFill>
                            <a:srgbClr val="004990"/>
                          </a:solidFill>
                          <a:effectLst/>
                          <a:latin typeface="Calibri"/>
                        </a:rPr>
                        <a:t>3:30-3:50pm </a:t>
                      </a:r>
                      <a:endParaRPr lang="en-US" sz="1300" b="1" i="0">
                        <a:solidFill>
                          <a:srgbClr val="365F91"/>
                        </a:solidFill>
                        <a:effectLst/>
                        <a:latin typeface="Calibri"/>
                      </a:endParaRPr>
                    </a:p>
                  </a:txBody>
                  <a:tcPr marL="44450" marR="44450" marT="30480" marB="304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ase">
                        <a:lnSpc>
                          <a:spcPct val="100000"/>
                        </a:lnSpc>
                        <a:buNone/>
                      </a:pPr>
                      <a:r>
                        <a:rPr lang="en-US" sz="1300" b="1" i="0">
                          <a:solidFill>
                            <a:srgbClr val="004990"/>
                          </a:solidFill>
                          <a:effectLst/>
                          <a:latin typeface="Calibri"/>
                        </a:rPr>
                        <a:t>Closing Reflections &amp; Celebration: Advancing Perinatal Care Together</a:t>
                      </a:r>
                      <a:r>
                        <a:rPr lang="en-US" sz="1300" b="0" i="0" dirty="0">
                          <a:solidFill>
                            <a:srgbClr val="004990"/>
                          </a:solidFill>
                          <a:effectLst/>
                          <a:latin typeface="Calibri"/>
                        </a:rPr>
                        <a:t> </a:t>
                      </a:r>
                      <a:endParaRPr lang="en-US" sz="1300" b="0" i="0" dirty="0">
                        <a:solidFill>
                          <a:srgbClr val="365F91"/>
                        </a:solidFill>
                        <a:effectLst/>
                        <a:latin typeface="Calibri"/>
                      </a:endParaRPr>
                    </a:p>
                    <a:p>
                      <a:pPr algn="l" rtl="0" fontAlgn="base">
                        <a:lnSpc>
                          <a:spcPct val="100000"/>
                        </a:lnSpc>
                        <a:buNone/>
                      </a:pPr>
                      <a:r>
                        <a:rPr lang="en-US" sz="1300" b="1" i="0">
                          <a:solidFill>
                            <a:srgbClr val="F58466"/>
                          </a:solidFill>
                          <a:effectLst/>
                          <a:latin typeface="Calibri"/>
                        </a:rPr>
                        <a:t>Leslie Caldarelli, MD and Justin Josephsen, MD </a:t>
                      </a:r>
                      <a:r>
                        <a:rPr lang="en-US" sz="1300" b="0" i="0" dirty="0">
                          <a:solidFill>
                            <a:srgbClr val="F58466"/>
                          </a:solidFill>
                          <a:effectLst/>
                          <a:latin typeface="Calibri"/>
                        </a:rPr>
                        <a:t> </a:t>
                      </a:r>
                      <a:endParaRPr lang="en-US" sz="1300" b="0" i="0" dirty="0">
                        <a:solidFill>
                          <a:srgbClr val="365F91"/>
                        </a:solidFill>
                        <a:effectLst/>
                        <a:latin typeface="Calibri"/>
                      </a:endParaRPr>
                    </a:p>
                    <a:p>
                      <a:pPr algn="l" rtl="0" fontAlgn="base">
                        <a:lnSpc>
                          <a:spcPct val="100000"/>
                        </a:lnSpc>
                        <a:buNone/>
                      </a:pPr>
                      <a:r>
                        <a:rPr lang="en-US" sz="1300" b="0" i="1">
                          <a:solidFill>
                            <a:srgbClr val="004990"/>
                          </a:solidFill>
                          <a:effectLst/>
                          <a:latin typeface="Calibri"/>
                        </a:rPr>
                        <a:t>Neonatal Clinical Co-Leads, ILPQC</a:t>
                      </a:r>
                      <a:r>
                        <a:rPr lang="en-US" sz="1300" b="0" i="0" dirty="0">
                          <a:solidFill>
                            <a:srgbClr val="004990"/>
                          </a:solidFill>
                          <a:effectLst/>
                          <a:latin typeface="Calibri"/>
                        </a:rPr>
                        <a:t> </a:t>
                      </a:r>
                      <a:endParaRPr lang="en-US" sz="1300" b="0" i="0" dirty="0">
                        <a:solidFill>
                          <a:srgbClr val="365F91"/>
                        </a:solidFill>
                        <a:effectLst/>
                        <a:latin typeface="Calibri"/>
                      </a:endParaRPr>
                    </a:p>
                  </a:txBody>
                  <a:tcPr marL="44450" marR="44450" marT="30480" marB="304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376971"/>
                  </a:ext>
                </a:extLst>
              </a:tr>
            </a:tbl>
          </a:graphicData>
        </a:graphic>
      </p:graphicFrame>
    </p:spTree>
    <p:extLst>
      <p:ext uri="{BB962C8B-B14F-4D97-AF65-F5344CB8AC3E}">
        <p14:creationId xmlns:p14="http://schemas.microsoft.com/office/powerpoint/2010/main" val="18324948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F4B0DF-12B6-961A-5C3C-5CB66F232EF2}"/>
            </a:ext>
          </a:extLst>
        </p:cNvPr>
        <p:cNvGrpSpPr/>
        <p:nvPr/>
      </p:nvGrpSpPr>
      <p:grpSpPr>
        <a:xfrm>
          <a:off x="0" y="0"/>
          <a:ext cx="0" cy="0"/>
          <a:chOff x="0" y="0"/>
          <a:chExt cx="0" cy="0"/>
        </a:xfrm>
      </p:grpSpPr>
      <p:sp>
        <p:nvSpPr>
          <p:cNvPr id="8" name="Freeform 14" descr="A close-up of flowers in grass&#10;&#10;AI-generated content may be incorrect.">
            <a:extLst>
              <a:ext uri="{FF2B5EF4-FFF2-40B4-BE49-F238E27FC236}">
                <a16:creationId xmlns:a16="http://schemas.microsoft.com/office/drawing/2014/main" id="{8D5A2930-1780-CC37-CFE4-1D5AC041D434}"/>
              </a:ext>
            </a:extLst>
          </p:cNvPr>
          <p:cNvSpPr/>
          <p:nvPr/>
        </p:nvSpPr>
        <p:spPr>
          <a:xfrm>
            <a:off x="-646981" y="5314442"/>
            <a:ext cx="7848600" cy="1543558"/>
          </a:xfrm>
          <a:custGeom>
            <a:avLst/>
            <a:gdLst/>
            <a:ahLst/>
            <a:cxnLst/>
            <a:rect l="l" t="t" r="r" b="b"/>
            <a:pathLst>
              <a:path w="11772900" h="2315337">
                <a:moveTo>
                  <a:pt x="0" y="0"/>
                </a:moveTo>
                <a:lnTo>
                  <a:pt x="11772900" y="0"/>
                </a:lnTo>
                <a:lnTo>
                  <a:pt x="11772900" y="2315337"/>
                </a:lnTo>
                <a:lnTo>
                  <a:pt x="0" y="2315337"/>
                </a:lnTo>
                <a:lnTo>
                  <a:pt x="0" y="0"/>
                </a:lnTo>
                <a:close/>
              </a:path>
            </a:pathLst>
          </a:custGeom>
          <a:blipFill>
            <a:blip r:embed="rId2"/>
            <a:stretch>
              <a:fillRect/>
            </a:stretch>
          </a:blipFill>
        </p:spPr>
        <p:txBody>
          <a:bodyPr/>
          <a:lstStyle/>
          <a:p>
            <a:endParaRPr lang="en-US"/>
          </a:p>
        </p:txBody>
      </p:sp>
      <p:sp>
        <p:nvSpPr>
          <p:cNvPr id="15" name="Freeform 14" descr="A close-up of flowers in grass&#10;&#10;AI-generated content may be incorrect.">
            <a:extLst>
              <a:ext uri="{FF2B5EF4-FFF2-40B4-BE49-F238E27FC236}">
                <a16:creationId xmlns:a16="http://schemas.microsoft.com/office/drawing/2014/main" id="{829DBA5B-6039-72D0-F41B-4594D04B7176}"/>
              </a:ext>
            </a:extLst>
          </p:cNvPr>
          <p:cNvSpPr/>
          <p:nvPr/>
        </p:nvSpPr>
        <p:spPr>
          <a:xfrm>
            <a:off x="6558598" y="5314442"/>
            <a:ext cx="7848600" cy="1543558"/>
          </a:xfrm>
          <a:custGeom>
            <a:avLst/>
            <a:gdLst/>
            <a:ahLst/>
            <a:cxnLst/>
            <a:rect l="l" t="t" r="r" b="b"/>
            <a:pathLst>
              <a:path w="11772900" h="2315337">
                <a:moveTo>
                  <a:pt x="0" y="0"/>
                </a:moveTo>
                <a:lnTo>
                  <a:pt x="11772900" y="0"/>
                </a:lnTo>
                <a:lnTo>
                  <a:pt x="11772900" y="2315337"/>
                </a:lnTo>
                <a:lnTo>
                  <a:pt x="0" y="2315337"/>
                </a:lnTo>
                <a:lnTo>
                  <a:pt x="0" y="0"/>
                </a:lnTo>
                <a:close/>
              </a:path>
            </a:pathLst>
          </a:custGeom>
          <a:blipFill>
            <a:blip r:embed="rId2"/>
            <a:stretch>
              <a:fillRect/>
            </a:stretch>
          </a:blipFill>
        </p:spPr>
        <p:txBody>
          <a:bodyPr/>
          <a:lstStyle/>
          <a:p>
            <a:endParaRPr lang="en-US"/>
          </a:p>
        </p:txBody>
      </p:sp>
      <p:sp>
        <p:nvSpPr>
          <p:cNvPr id="6" name="Freeform 6">
            <a:extLst>
              <a:ext uri="{FF2B5EF4-FFF2-40B4-BE49-F238E27FC236}">
                <a16:creationId xmlns:a16="http://schemas.microsoft.com/office/drawing/2014/main" id="{508C31B1-A576-B3B2-0A0A-804C260F8D1E}"/>
              </a:ext>
            </a:extLst>
          </p:cNvPr>
          <p:cNvSpPr/>
          <p:nvPr/>
        </p:nvSpPr>
        <p:spPr>
          <a:xfrm rot="2946881">
            <a:off x="11221801" y="6056737"/>
            <a:ext cx="449002" cy="532413"/>
          </a:xfrm>
          <a:custGeom>
            <a:avLst/>
            <a:gdLst/>
            <a:ahLst/>
            <a:cxnLst/>
            <a:rect l="l" t="t" r="r" b="b"/>
            <a:pathLst>
              <a:path w="673503" h="798620">
                <a:moveTo>
                  <a:pt x="0" y="0"/>
                </a:moveTo>
                <a:lnTo>
                  <a:pt x="673503" y="0"/>
                </a:lnTo>
                <a:lnTo>
                  <a:pt x="673503" y="798620"/>
                </a:lnTo>
                <a:lnTo>
                  <a:pt x="0" y="798620"/>
                </a:lnTo>
                <a:lnTo>
                  <a:pt x="0" y="0"/>
                </a:lnTo>
                <a:close/>
              </a:path>
            </a:pathLst>
          </a:custGeom>
          <a:blipFill>
            <a:blip r:embed="rId3"/>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pic>
        <p:nvPicPr>
          <p:cNvPr id="9" name="Picture 8" descr="A blue and red curved line&#10;&#10;AI-generated content may be incorrect.">
            <a:extLst>
              <a:ext uri="{FF2B5EF4-FFF2-40B4-BE49-F238E27FC236}">
                <a16:creationId xmlns:a16="http://schemas.microsoft.com/office/drawing/2014/main" id="{C6246A9B-08B3-213E-2542-CA52BC51C9BB}"/>
              </a:ext>
            </a:extLst>
          </p:cNvPr>
          <p:cNvPicPr>
            <a:picLocks noChangeAspect="1"/>
          </p:cNvPicPr>
          <p:nvPr/>
        </p:nvPicPr>
        <p:blipFill>
          <a:blip r:embed="rId4"/>
          <a:stretch>
            <a:fillRect/>
          </a:stretch>
        </p:blipFill>
        <p:spPr>
          <a:xfrm>
            <a:off x="8933563" y="60400"/>
            <a:ext cx="3531305" cy="952500"/>
          </a:xfrm>
          <a:prstGeom prst="rect">
            <a:avLst/>
          </a:prstGeom>
        </p:spPr>
      </p:pic>
      <p:pic>
        <p:nvPicPr>
          <p:cNvPr id="12" name="Picture 11" descr="A logo with a map and text&#10;&#10;AI-generated content may be incorrect.">
            <a:extLst>
              <a:ext uri="{FF2B5EF4-FFF2-40B4-BE49-F238E27FC236}">
                <a16:creationId xmlns:a16="http://schemas.microsoft.com/office/drawing/2014/main" id="{74CAB35B-4796-9FC7-7DBC-820BE274817F}"/>
              </a:ext>
            </a:extLst>
          </p:cNvPr>
          <p:cNvPicPr>
            <a:picLocks noChangeAspect="1"/>
          </p:cNvPicPr>
          <p:nvPr/>
        </p:nvPicPr>
        <p:blipFill>
          <a:blip r:embed="rId5"/>
          <a:srcRect t="154" r="-244" b="3921"/>
          <a:stretch>
            <a:fillRect/>
          </a:stretch>
        </p:blipFill>
        <p:spPr>
          <a:xfrm>
            <a:off x="10339918" y="3550"/>
            <a:ext cx="1446409" cy="719901"/>
          </a:xfrm>
          <a:prstGeom prst="rect">
            <a:avLst/>
          </a:prstGeom>
        </p:spPr>
      </p:pic>
      <p:pic>
        <p:nvPicPr>
          <p:cNvPr id="1026" name="Picture 2" descr="Shape&#10;&#10;Description automatically generated">
            <a:extLst>
              <a:ext uri="{FF2B5EF4-FFF2-40B4-BE49-F238E27FC236}">
                <a16:creationId xmlns:a16="http://schemas.microsoft.com/office/drawing/2014/main" id="{69797AB9-4890-C713-F00B-B451B183504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28006" y="-6285"/>
            <a:ext cx="8334635" cy="692586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7">
            <a:extLst>
              <a:ext uri="{FF2B5EF4-FFF2-40B4-BE49-F238E27FC236}">
                <a16:creationId xmlns:a16="http://schemas.microsoft.com/office/drawing/2014/main" id="{C04F6F8D-91C0-9148-8B87-33CA35ACE1A6}"/>
              </a:ext>
            </a:extLst>
          </p:cNvPr>
          <p:cNvSpPr txBox="1"/>
          <p:nvPr/>
        </p:nvSpPr>
        <p:spPr>
          <a:xfrm>
            <a:off x="191056" y="361898"/>
            <a:ext cx="3575513" cy="3450560"/>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nSpc>
                <a:spcPts val="5413"/>
              </a:lnSpc>
            </a:pPr>
            <a:r>
              <a:rPr lang="en-US" sz="4400" b="1" dirty="0">
                <a:solidFill>
                  <a:srgbClr val="1C498B"/>
                </a:solidFill>
                <a:latin typeface="DM Sans"/>
                <a:ea typeface="Calibri"/>
                <a:cs typeface="Calibri"/>
                <a:sym typeface="The Seasons Bold"/>
              </a:rPr>
              <a:t>2026 Face-to-Face </a:t>
            </a:r>
          </a:p>
          <a:p>
            <a:pPr>
              <a:lnSpc>
                <a:spcPts val="5413"/>
              </a:lnSpc>
            </a:pPr>
            <a:r>
              <a:rPr lang="en-US" sz="4400" b="1" dirty="0">
                <a:solidFill>
                  <a:srgbClr val="1C498B"/>
                </a:solidFill>
                <a:latin typeface="DM Sans"/>
                <a:ea typeface="Calibri"/>
                <a:cs typeface="Calibri"/>
                <a:sym typeface="The Seasons Bold"/>
              </a:rPr>
              <a:t>Neo Day Resource Folder</a:t>
            </a:r>
            <a:endParaRPr lang="en-US" sz="4400" b="1" dirty="0">
              <a:solidFill>
                <a:srgbClr val="1C498B"/>
              </a:solidFill>
              <a:latin typeface="DM Sans"/>
              <a:ea typeface="Calibri"/>
              <a:cs typeface="Calibri"/>
            </a:endParaRPr>
          </a:p>
        </p:txBody>
      </p:sp>
      <p:sp>
        <p:nvSpPr>
          <p:cNvPr id="10" name="Rectangle 9">
            <a:extLst>
              <a:ext uri="{FF2B5EF4-FFF2-40B4-BE49-F238E27FC236}">
                <a16:creationId xmlns:a16="http://schemas.microsoft.com/office/drawing/2014/main" id="{59C6C321-D80D-A2F5-35FA-84E9E2895597}"/>
              </a:ext>
            </a:extLst>
          </p:cNvPr>
          <p:cNvSpPr/>
          <p:nvPr/>
        </p:nvSpPr>
        <p:spPr>
          <a:xfrm rot="197440">
            <a:off x="4449520" y="927115"/>
            <a:ext cx="3506415" cy="2657138"/>
          </a:xfrm>
          <a:prstGeom prst="rect">
            <a:avLst/>
          </a:prstGeom>
          <a:noFill/>
          <a:ln cap="flat">
            <a:noFill/>
            <a:prstDash val="solid"/>
          </a:ln>
        </p:spPr>
        <p:txBody>
          <a:bodyPr vert="horz" wrap="square" lIns="60960" tIns="30480" rIns="60960" bIns="30480" anchor="t" anchorCtr="0" compatLnSpc="1">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190500" indent="-190500" defTabSz="609630">
              <a:spcAft>
                <a:spcPts val="200"/>
              </a:spcAft>
              <a:buSzPct val="100000"/>
              <a:buFont typeface="Arial"/>
              <a:buChar char="•"/>
              <a:defRPr sz="1800" b="0" i="0" u="none" strike="noStrike" kern="0" cap="none" spc="0" baseline="0">
                <a:solidFill>
                  <a:srgbClr val="000000"/>
                </a:solidFill>
                <a:uFillTx/>
              </a:defRPr>
            </a:pPr>
            <a:r>
              <a:rPr lang="en-US" dirty="0">
                <a:solidFill>
                  <a:srgbClr val="000000"/>
                </a:solidFill>
                <a:latin typeface="DM Sans"/>
                <a:ea typeface="Arial"/>
                <a:cs typeface="Arial"/>
              </a:rPr>
              <a:t>Face-to-Face Neo 2026 Agenda</a:t>
            </a:r>
          </a:p>
          <a:p>
            <a:pPr marL="190500" indent="-190500" defTabSz="609630">
              <a:spcAft>
                <a:spcPts val="200"/>
              </a:spcAft>
              <a:buSzPct val="100000"/>
              <a:buFont typeface="Arial"/>
              <a:buChar char="•"/>
              <a:defRPr sz="1800" b="0" i="0" u="none" strike="noStrike" kern="0" cap="none" spc="0" baseline="0">
                <a:solidFill>
                  <a:srgbClr val="000000"/>
                </a:solidFill>
                <a:uFillTx/>
              </a:defRPr>
            </a:pPr>
            <a:r>
              <a:rPr lang="en-US" kern="0" dirty="0">
                <a:solidFill>
                  <a:srgbClr val="000000"/>
                </a:solidFill>
                <a:latin typeface="DM Sans"/>
                <a:ea typeface="Arial"/>
                <a:cs typeface="Arial"/>
              </a:rPr>
              <a:t>ILPQC Fact Sheet One Pager </a:t>
            </a:r>
          </a:p>
          <a:p>
            <a:pPr marL="190500" indent="-190500" defTabSz="609630">
              <a:spcAft>
                <a:spcPts val="200"/>
              </a:spcAft>
              <a:buSzPct val="100000"/>
              <a:buFont typeface="Arial"/>
              <a:buChar char="•"/>
              <a:defRPr sz="1800" b="0" i="0" u="none" strike="noStrike" kern="0" cap="none" spc="0" baseline="0">
                <a:solidFill>
                  <a:srgbClr val="000000"/>
                </a:solidFill>
                <a:uFillTx/>
              </a:defRPr>
            </a:pPr>
            <a:r>
              <a:rPr lang="en-US" kern="0" dirty="0">
                <a:solidFill>
                  <a:srgbClr val="000000"/>
                </a:solidFill>
                <a:latin typeface="DM Sans"/>
                <a:ea typeface="Arial"/>
                <a:cs typeface="Arial"/>
              </a:rPr>
              <a:t>ILPQC Bingo Card</a:t>
            </a:r>
          </a:p>
          <a:p>
            <a:pPr marL="190500" indent="-190500" defTabSz="609630">
              <a:spcAft>
                <a:spcPts val="200"/>
              </a:spcAft>
              <a:buSzPct val="100000"/>
              <a:buFont typeface="Arial"/>
              <a:buChar char="•"/>
              <a:defRPr sz="1800" b="0" i="0" u="none" strike="noStrike" kern="0" cap="none" spc="0" baseline="0">
                <a:solidFill>
                  <a:srgbClr val="000000"/>
                </a:solidFill>
                <a:uFillTx/>
              </a:defRPr>
            </a:pPr>
            <a:r>
              <a:rPr lang="en-US" kern="0" dirty="0">
                <a:solidFill>
                  <a:srgbClr val="000000"/>
                </a:solidFill>
                <a:latin typeface="DM Sans"/>
                <a:ea typeface="Arial"/>
                <a:cs typeface="Arial"/>
              </a:rPr>
              <a:t>Patient and Community Engagement Fact Sheet</a:t>
            </a:r>
          </a:p>
          <a:p>
            <a:pPr marL="190500" indent="-190500" defTabSz="609630">
              <a:spcAft>
                <a:spcPts val="200"/>
              </a:spcAft>
              <a:buSzPct val="100000"/>
              <a:buFont typeface="Arial"/>
              <a:buChar char="•"/>
              <a:defRPr sz="1800" b="0" i="0" u="none" strike="noStrike" kern="0" cap="none" spc="0" baseline="0">
                <a:solidFill>
                  <a:srgbClr val="000000"/>
                </a:solidFill>
                <a:uFillTx/>
              </a:defRPr>
            </a:pPr>
            <a:r>
              <a:rPr lang="en-US" kern="0" dirty="0">
                <a:solidFill>
                  <a:srgbClr val="000000"/>
                </a:solidFill>
                <a:latin typeface="DM Sans"/>
                <a:ea typeface="Arial"/>
                <a:cs typeface="Arial"/>
              </a:rPr>
              <a:t>5 Steps to Engaging</a:t>
            </a:r>
            <a:r>
              <a:rPr lang="en-US" kern="0" dirty="0">
                <a:solidFill>
                  <a:srgbClr val="0563C1"/>
                </a:solidFill>
                <a:latin typeface="DM Sans"/>
                <a:ea typeface="Arial"/>
                <a:cs typeface="Arial"/>
              </a:rPr>
              <a:t> </a:t>
            </a:r>
            <a:r>
              <a:rPr lang="en-US" kern="0" dirty="0">
                <a:latin typeface="DM Sans"/>
                <a:ea typeface="Arial"/>
                <a:cs typeface="Arial"/>
              </a:rPr>
              <a:t>a</a:t>
            </a:r>
            <a:r>
              <a:rPr lang="en-US" kern="0" dirty="0">
                <a:solidFill>
                  <a:srgbClr val="0563C1"/>
                </a:solidFill>
                <a:latin typeface="DM Sans"/>
                <a:ea typeface="Arial"/>
                <a:cs typeface="Arial"/>
              </a:rPr>
              <a:t> </a:t>
            </a:r>
            <a:r>
              <a:rPr lang="en-US" kern="0" dirty="0">
                <a:solidFill>
                  <a:srgbClr val="000000"/>
                </a:solidFill>
                <a:latin typeface="DM Sans"/>
                <a:ea typeface="Arial"/>
                <a:cs typeface="Arial"/>
              </a:rPr>
              <a:t>Patient/Parent Partner Flyer</a:t>
            </a:r>
            <a:endParaRPr lang="en-US" i="1" kern="0" dirty="0">
              <a:solidFill>
                <a:srgbClr val="000000"/>
              </a:solidFill>
              <a:latin typeface="DM Sans"/>
              <a:ea typeface="Arial"/>
              <a:cs typeface="Arial"/>
            </a:endParaRPr>
          </a:p>
        </p:txBody>
      </p:sp>
      <p:sp>
        <p:nvSpPr>
          <p:cNvPr id="11" name="TextBox 10">
            <a:extLst>
              <a:ext uri="{FF2B5EF4-FFF2-40B4-BE49-F238E27FC236}">
                <a16:creationId xmlns:a16="http://schemas.microsoft.com/office/drawing/2014/main" id="{68FB975D-1B3B-67B5-49F6-057F29EA2E7C}"/>
              </a:ext>
            </a:extLst>
          </p:cNvPr>
          <p:cNvSpPr txBox="1"/>
          <p:nvPr/>
        </p:nvSpPr>
        <p:spPr>
          <a:xfrm rot="21480004">
            <a:off x="8642274" y="1019281"/>
            <a:ext cx="2998129" cy="3475310"/>
          </a:xfrm>
          <a:prstGeom prst="rect">
            <a:avLst/>
          </a:prstGeom>
          <a:noFill/>
          <a:ln cap="flat">
            <a:noFill/>
          </a:ln>
        </p:spPr>
        <p:txBody>
          <a:bodyPr vert="horz" wrap="square" lIns="60960" tIns="30480" rIns="60960" bIns="30480" anchor="t" anchorCtr="0" compatLnSpc="1">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190500" indent="-190500">
              <a:spcAft>
                <a:spcPts val="133"/>
              </a:spcAft>
              <a:buSzPct val="100000"/>
              <a:buFont typeface="Arial"/>
              <a:buChar char="•"/>
              <a:defRPr sz="1800" b="0" i="0" u="none" strike="noStrike" kern="0" cap="none" spc="0" baseline="0">
                <a:solidFill>
                  <a:srgbClr val="000000"/>
                </a:solidFill>
                <a:uFillTx/>
              </a:defRPr>
            </a:pPr>
            <a:r>
              <a:rPr lang="en-US" dirty="0">
                <a:solidFill>
                  <a:srgbClr val="000000"/>
                </a:solidFill>
                <a:latin typeface="DM Sans"/>
                <a:ea typeface="Calibri"/>
                <a:cs typeface="Arial"/>
              </a:rPr>
              <a:t>ESSI</a:t>
            </a:r>
            <a:r>
              <a:rPr lang="en-US" kern="0" dirty="0">
                <a:solidFill>
                  <a:srgbClr val="000000"/>
                </a:solidFill>
                <a:latin typeface="DM Sans"/>
                <a:ea typeface="Calibri"/>
                <a:cs typeface="Arial"/>
              </a:rPr>
              <a:t> Fact Sheet </a:t>
            </a:r>
          </a:p>
          <a:p>
            <a:pPr marL="190500" indent="-190500">
              <a:spcAft>
                <a:spcPts val="133"/>
              </a:spcAft>
              <a:buSzPct val="100000"/>
              <a:buFont typeface="Arial"/>
              <a:buChar char="•"/>
              <a:defRPr sz="1800" b="0" i="0" u="none" strike="noStrike" kern="0" cap="none" spc="0" baseline="0">
                <a:solidFill>
                  <a:srgbClr val="000000"/>
                </a:solidFill>
                <a:uFillTx/>
              </a:defRPr>
            </a:pPr>
            <a:r>
              <a:rPr lang="en-US" kern="0" dirty="0">
                <a:solidFill>
                  <a:srgbClr val="000000"/>
                </a:solidFill>
                <a:latin typeface="DM Sans"/>
                <a:ea typeface="Calibri"/>
                <a:cs typeface="Arial"/>
              </a:rPr>
              <a:t>ESSI Sustainability Plan</a:t>
            </a:r>
          </a:p>
          <a:p>
            <a:pPr marL="190500" indent="-190500">
              <a:spcAft>
                <a:spcPts val="133"/>
              </a:spcAft>
              <a:buSzPct val="100000"/>
              <a:buFont typeface="Arial"/>
              <a:buChar char="•"/>
              <a:defRPr sz="1800" b="0" i="0" u="none" strike="noStrike" kern="0" cap="none" spc="0" baseline="0">
                <a:solidFill>
                  <a:srgbClr val="000000"/>
                </a:solidFill>
                <a:uFillTx/>
              </a:defRPr>
            </a:pPr>
            <a:r>
              <a:rPr lang="en-US" kern="0" dirty="0">
                <a:solidFill>
                  <a:srgbClr val="000000"/>
                </a:solidFill>
                <a:latin typeface="DM Sans"/>
                <a:ea typeface="Calibri"/>
                <a:cs typeface="Arial"/>
              </a:rPr>
              <a:t>ILPQC “My Baby’s Safe Sleep Plan” </a:t>
            </a:r>
          </a:p>
          <a:p>
            <a:pPr marL="190500" indent="-190500">
              <a:spcAft>
                <a:spcPts val="133"/>
              </a:spcAft>
              <a:buSzPct val="100000"/>
              <a:buFont typeface="Arial"/>
              <a:buChar char="•"/>
              <a:defRPr sz="1800" b="0" i="0" u="none" strike="noStrike" kern="0" cap="none" spc="0" baseline="0">
                <a:solidFill>
                  <a:srgbClr val="000000"/>
                </a:solidFill>
                <a:uFillTx/>
              </a:defRPr>
            </a:pPr>
            <a:r>
              <a:rPr lang="en-US" kern="0" dirty="0">
                <a:solidFill>
                  <a:srgbClr val="000000"/>
                </a:solidFill>
                <a:latin typeface="DM Sans"/>
                <a:ea typeface="Calibri"/>
                <a:cs typeface="Arial"/>
              </a:rPr>
              <a:t>Neo Respectful Care Practices Flyer</a:t>
            </a:r>
          </a:p>
          <a:p>
            <a:pPr marL="190500" indent="-190500">
              <a:spcAft>
                <a:spcPts val="133"/>
              </a:spcAft>
              <a:buSzPct val="100000"/>
              <a:buFont typeface="Arial"/>
              <a:buChar char="•"/>
              <a:defRPr sz="1800" b="0" i="0" u="none" strike="noStrike" kern="0" cap="none" spc="0" baseline="0">
                <a:solidFill>
                  <a:srgbClr val="000000"/>
                </a:solidFill>
                <a:uFillTx/>
              </a:defRPr>
            </a:pPr>
            <a:r>
              <a:rPr lang="en-US" kern="0" dirty="0">
                <a:solidFill>
                  <a:srgbClr val="000000"/>
                </a:solidFill>
                <a:latin typeface="DM Sans"/>
                <a:ea typeface="Calibri"/>
                <a:cs typeface="Arial"/>
              </a:rPr>
              <a:t>SDOH and Linkage Flyer</a:t>
            </a:r>
          </a:p>
          <a:p>
            <a:pPr marL="190500" indent="-190500">
              <a:spcAft>
                <a:spcPts val="133"/>
              </a:spcAft>
              <a:buSzPct val="100000"/>
              <a:buFont typeface="Arial"/>
              <a:buChar char="•"/>
              <a:defRPr sz="1800" b="0" i="0" u="none" strike="noStrike" kern="0" cap="none" spc="0" baseline="0">
                <a:solidFill>
                  <a:srgbClr val="000000"/>
                </a:solidFill>
                <a:uFillTx/>
              </a:defRPr>
            </a:pPr>
            <a:r>
              <a:rPr lang="en-US" kern="0" dirty="0">
                <a:solidFill>
                  <a:srgbClr val="000000"/>
                </a:solidFill>
                <a:latin typeface="DM Sans"/>
                <a:ea typeface="Calibri"/>
                <a:cs typeface="Arial"/>
              </a:rPr>
              <a:t>Home Visiting Flyer</a:t>
            </a:r>
          </a:p>
          <a:p>
            <a:pPr marL="190500" indent="-190500">
              <a:spcAft>
                <a:spcPts val="133"/>
              </a:spcAft>
              <a:buSzPct val="100000"/>
              <a:buFont typeface="Arial"/>
              <a:buChar char="•"/>
              <a:defRPr sz="1800" b="0" i="0" u="none" strike="noStrike" kern="0" cap="none" spc="0" baseline="0">
                <a:solidFill>
                  <a:srgbClr val="000000"/>
                </a:solidFill>
                <a:uFillTx/>
              </a:defRPr>
            </a:pPr>
            <a:r>
              <a:rPr lang="en-US" kern="0" dirty="0">
                <a:solidFill>
                  <a:srgbClr val="000000"/>
                </a:solidFill>
                <a:latin typeface="DM Sans"/>
                <a:ea typeface="Calibri"/>
                <a:cs typeface="Arial"/>
              </a:rPr>
              <a:t>Steal Shamelessly Handout</a:t>
            </a:r>
          </a:p>
          <a:p>
            <a:pPr marL="190500" indent="-190500">
              <a:spcAft>
                <a:spcPts val="133"/>
              </a:spcAft>
              <a:buSzPct val="100000"/>
              <a:buFont typeface="Arial"/>
              <a:buChar char="•"/>
              <a:defRPr sz="1800" b="0" i="0" u="none" strike="noStrike" kern="0" cap="none" spc="0" baseline="0">
                <a:solidFill>
                  <a:srgbClr val="000000"/>
                </a:solidFill>
                <a:uFillTx/>
              </a:defRPr>
            </a:pPr>
            <a:r>
              <a:rPr lang="en-US" kern="0" dirty="0">
                <a:solidFill>
                  <a:srgbClr val="000000"/>
                </a:solidFill>
                <a:latin typeface="DM Sans"/>
                <a:ea typeface="Calibri"/>
                <a:cs typeface="Arial"/>
              </a:rPr>
              <a:t>Respectful Care Breakfast Flyer</a:t>
            </a:r>
          </a:p>
        </p:txBody>
      </p:sp>
      <p:sp>
        <p:nvSpPr>
          <p:cNvPr id="13" name="Subtitle 5">
            <a:extLst>
              <a:ext uri="{FF2B5EF4-FFF2-40B4-BE49-F238E27FC236}">
                <a16:creationId xmlns:a16="http://schemas.microsoft.com/office/drawing/2014/main" id="{FAE9260A-1D86-8646-20E6-8C23F0C7FC10}"/>
              </a:ext>
            </a:extLst>
          </p:cNvPr>
          <p:cNvSpPr txBox="1">
            <a:spLocks noGrp="1"/>
          </p:cNvSpPr>
          <p:nvPr/>
        </p:nvSpPr>
        <p:spPr>
          <a:xfrm>
            <a:off x="510924" y="4504955"/>
            <a:ext cx="2070255" cy="582747"/>
          </a:xfrm>
          <a:prstGeom prst="rect">
            <a:avLst/>
          </a:prstGeom>
          <a:noFill/>
          <a:ln>
            <a:noFill/>
          </a:ln>
        </p:spPr>
        <p:txBody>
          <a:bodyPr vert="horz" wrap="square" lIns="60947" tIns="30467" rIns="60947" bIns="30467" anchor="t" anchorCtr="0" compatLnSpc="1">
            <a:no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lvl="0">
              <a:buNone/>
            </a:pPr>
            <a:r>
              <a:rPr lang="en-US" sz="2133" b="1" dirty="0">
                <a:latin typeface="DM Sans"/>
              </a:rPr>
              <a:t>Resources also available at </a:t>
            </a:r>
            <a:r>
              <a:rPr lang="en-US" sz="2133" b="1" dirty="0" err="1">
                <a:latin typeface="DM Sans"/>
              </a:rPr>
              <a:t>ilpqc.org</a:t>
            </a:r>
            <a:endParaRPr lang="en-US" sz="2400" dirty="0">
              <a:latin typeface="DM Sans"/>
            </a:endParaRPr>
          </a:p>
        </p:txBody>
      </p:sp>
      <p:pic>
        <p:nvPicPr>
          <p:cNvPr id="16" name="Picture 15">
            <a:extLst>
              <a:ext uri="{FF2B5EF4-FFF2-40B4-BE49-F238E27FC236}">
                <a16:creationId xmlns:a16="http://schemas.microsoft.com/office/drawing/2014/main" id="{4949A418-A210-FD68-4817-269CF2DB0F2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1436956">
            <a:off x="9302726" y="4990607"/>
            <a:ext cx="1853430" cy="953653"/>
          </a:xfrm>
          <a:prstGeom prst="rect">
            <a:avLst/>
          </a:prstGeom>
        </p:spPr>
      </p:pic>
      <p:sp>
        <p:nvSpPr>
          <p:cNvPr id="17" name="Explosion: 8 Points 16">
            <a:extLst>
              <a:ext uri="{FF2B5EF4-FFF2-40B4-BE49-F238E27FC236}">
                <a16:creationId xmlns:a16="http://schemas.microsoft.com/office/drawing/2014/main" id="{B3DF7BD6-F6C6-0B18-F686-C1A30254E95F}"/>
              </a:ext>
            </a:extLst>
          </p:cNvPr>
          <p:cNvSpPr/>
          <p:nvPr/>
        </p:nvSpPr>
        <p:spPr>
          <a:xfrm>
            <a:off x="4060358" y="3682790"/>
            <a:ext cx="3741624" cy="2615466"/>
          </a:xfrm>
          <a:prstGeom prst="irregularSeal1">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r>
              <a:rPr lang="en-US" sz="1600" dirty="0">
                <a:solidFill>
                  <a:schemeClr val="bg1"/>
                </a:solidFill>
                <a:latin typeface="DM Sans"/>
              </a:rPr>
              <a:t>Share these ILPQC resources with your team!</a:t>
            </a:r>
          </a:p>
        </p:txBody>
      </p:sp>
    </p:spTree>
    <p:extLst>
      <p:ext uri="{BB962C8B-B14F-4D97-AF65-F5344CB8AC3E}">
        <p14:creationId xmlns:p14="http://schemas.microsoft.com/office/powerpoint/2010/main" val="4042976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6844"/>
        <p:cNvGrpSpPr/>
        <p:nvPr/>
      </p:nvGrpSpPr>
      <p:grpSpPr>
        <a:xfrm>
          <a:off x="0" y="0"/>
          <a:ext cx="0" cy="0"/>
          <a:chOff x="0" y="0"/>
          <a:chExt cx="0" cy="0"/>
        </a:xfrm>
      </p:grpSpPr>
      <p:sp>
        <p:nvSpPr>
          <p:cNvPr id="6845" name="Google Shape;6845;p2"/>
          <p:cNvSpPr/>
          <p:nvPr/>
        </p:nvSpPr>
        <p:spPr>
          <a:xfrm>
            <a:off x="7217833" y="0"/>
            <a:ext cx="4963583" cy="167216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853" name="Google Shape;6853;p2"/>
          <p:cNvSpPr txBox="1"/>
          <p:nvPr/>
        </p:nvSpPr>
        <p:spPr>
          <a:xfrm>
            <a:off x="2173097" y="449849"/>
            <a:ext cx="5838203" cy="769441"/>
          </a:xfrm>
          <a:prstGeom prst="rect">
            <a:avLst/>
          </a:prstGeom>
          <a:noFill/>
          <a:ln>
            <a:noFill/>
          </a:ln>
        </p:spPr>
        <p:txBody>
          <a:bodyPr spcFirstLastPara="1" wrap="square" lIns="0" tIns="0" rIns="0" bIns="0" anchor="t" anchorCtr="0">
            <a:spAutoFit/>
          </a:bodyPr>
          <a:lstStyle/>
          <a:p>
            <a:r>
              <a:rPr lang="en-US" sz="5000">
                <a:solidFill>
                  <a:srgbClr val="1C498B"/>
                </a:solidFill>
                <a:latin typeface="DM Sans"/>
                <a:ea typeface="Montserrat"/>
                <a:cs typeface="Montserrat"/>
                <a:sym typeface="Montserrat"/>
              </a:rPr>
              <a:t>Visit</a:t>
            </a:r>
            <a:r>
              <a:rPr lang="en-US" sz="5000" dirty="0">
                <a:solidFill>
                  <a:srgbClr val="1C498B"/>
                </a:solidFill>
                <a:latin typeface="DM Sans"/>
                <a:ea typeface="Montserrat"/>
                <a:cs typeface="Montserrat"/>
                <a:sym typeface="Montserrat"/>
              </a:rPr>
              <a:t> a Storyboard</a:t>
            </a:r>
            <a:endParaRPr lang="en-US" sz="5000" dirty="0">
              <a:solidFill>
                <a:srgbClr val="000000"/>
              </a:solidFill>
              <a:latin typeface="DM Sans"/>
              <a:ea typeface="Montserrat"/>
              <a:cs typeface="Montserrat"/>
              <a:sym typeface="Montserrat"/>
            </a:endParaRPr>
          </a:p>
        </p:txBody>
      </p:sp>
      <p:sp>
        <p:nvSpPr>
          <p:cNvPr id="6854" name="Google Shape;6854;p2"/>
          <p:cNvSpPr txBox="1"/>
          <p:nvPr/>
        </p:nvSpPr>
        <p:spPr>
          <a:xfrm>
            <a:off x="615318" y="1465884"/>
            <a:ext cx="4068284" cy="2585323"/>
          </a:xfrm>
          <a:prstGeom prst="rect">
            <a:avLst/>
          </a:prstGeom>
          <a:noFill/>
          <a:ln>
            <a:noFill/>
          </a:ln>
        </p:spPr>
        <p:txBody>
          <a:bodyPr spcFirstLastPara="1" wrap="square" lIns="0" tIns="0" rIns="0" bIns="0" anchor="t" anchorCtr="0">
            <a:spAutoFit/>
          </a:bodyPr>
          <a:lstStyle/>
          <a:p>
            <a:r>
              <a:rPr lang="en-US" sz="2400" b="1">
                <a:latin typeface="DM Sans"/>
                <a:sym typeface="Montserrat"/>
              </a:rPr>
              <a:t>Storyboard Session</a:t>
            </a:r>
            <a:endParaRPr lang="en-US" sz="2400">
              <a:latin typeface="DM Sans"/>
            </a:endParaRPr>
          </a:p>
          <a:p>
            <a:pPr marL="285750" indent="-285750">
              <a:buChar char="•"/>
            </a:pPr>
            <a:r>
              <a:rPr lang="en-US" sz="2400">
                <a:solidFill>
                  <a:srgbClr val="000000"/>
                </a:solidFill>
                <a:latin typeface="DM Sans"/>
                <a:ea typeface="+mn-lt"/>
                <a:cs typeface="+mn-lt"/>
                <a:sym typeface="Montserrat"/>
              </a:rPr>
              <a:t>Choose a team member to </a:t>
            </a:r>
            <a:r>
              <a:rPr lang="en-US" sz="2400" b="0" i="0" u="none" strike="noStrike" cap="none">
                <a:solidFill>
                  <a:srgbClr val="000000"/>
                </a:solidFill>
                <a:latin typeface="DM Sans"/>
                <a:ea typeface="+mn-lt"/>
                <a:cs typeface="+mn-lt"/>
                <a:sym typeface="Montserrat"/>
              </a:rPr>
              <a:t>stand by your storyboard</a:t>
            </a:r>
            <a:endParaRPr lang="en-US" sz="2400">
              <a:latin typeface="DM Sans"/>
              <a:ea typeface="+mn-lt"/>
              <a:cs typeface="+mn-lt"/>
            </a:endParaRPr>
          </a:p>
          <a:p>
            <a:pPr marL="285750" indent="-285750">
              <a:buChar char="•"/>
            </a:pPr>
            <a:r>
              <a:rPr lang="en-US" sz="2400" b="0" i="0" u="none" strike="noStrike" cap="none">
                <a:solidFill>
                  <a:srgbClr val="000000"/>
                </a:solidFill>
                <a:latin typeface="DM Sans"/>
                <a:ea typeface="+mn-lt"/>
                <a:cs typeface="+mn-lt"/>
                <a:sym typeface="Montserrat"/>
              </a:rPr>
              <a:t>Visit </a:t>
            </a:r>
            <a:r>
              <a:rPr lang="en-US" sz="2400">
                <a:solidFill>
                  <a:srgbClr val="000000"/>
                </a:solidFill>
                <a:latin typeface="DM Sans"/>
                <a:ea typeface="+mn-lt"/>
                <a:cs typeface="+mn-lt"/>
                <a:sym typeface="Montserrat"/>
              </a:rPr>
              <a:t>other </a:t>
            </a:r>
            <a:r>
              <a:rPr lang="en-US" sz="2400" b="0" i="0" u="none" strike="noStrike" cap="none">
                <a:solidFill>
                  <a:srgbClr val="000000"/>
                </a:solidFill>
                <a:latin typeface="DM Sans"/>
                <a:ea typeface="+mn-lt"/>
                <a:cs typeface="+mn-lt"/>
                <a:sym typeface="Montserrat"/>
              </a:rPr>
              <a:t>storyboards</a:t>
            </a:r>
            <a:endParaRPr lang="en-US" sz="2400">
              <a:latin typeface="DM Sans"/>
              <a:ea typeface="+mn-lt"/>
              <a:cs typeface="+mn-lt"/>
            </a:endParaRPr>
          </a:p>
          <a:p>
            <a:pPr marL="285750" indent="-285750">
              <a:buChar char="•"/>
            </a:pPr>
            <a:r>
              <a:rPr lang="en-US" sz="2400">
                <a:solidFill>
                  <a:srgbClr val="000000"/>
                </a:solidFill>
                <a:latin typeface="DM Sans"/>
                <a:ea typeface="+mn-lt"/>
                <a:cs typeface="+mn-lt"/>
                <a:sym typeface="Montserrat"/>
              </a:rPr>
              <a:t>Learn from</a:t>
            </a:r>
            <a:r>
              <a:rPr lang="en-US" sz="2400" b="0" i="0" u="none" strike="noStrike" cap="none">
                <a:solidFill>
                  <a:srgbClr val="000000"/>
                </a:solidFill>
                <a:latin typeface="DM Sans"/>
                <a:ea typeface="+mn-lt"/>
                <a:cs typeface="+mn-lt"/>
                <a:sym typeface="Montserrat"/>
              </a:rPr>
              <a:t> QI work across the state</a:t>
            </a:r>
            <a:endParaRPr lang="en-US" sz="2400">
              <a:latin typeface="DM Sans"/>
              <a:ea typeface="+mn-lt"/>
              <a:cs typeface="+mn-lt"/>
            </a:endParaRPr>
          </a:p>
        </p:txBody>
      </p:sp>
      <p:sp>
        <p:nvSpPr>
          <p:cNvPr id="6855" name="Google Shape;6855;p2"/>
          <p:cNvSpPr txBox="1"/>
          <p:nvPr/>
        </p:nvSpPr>
        <p:spPr>
          <a:xfrm>
            <a:off x="282748" y="4964607"/>
            <a:ext cx="4405191" cy="783035"/>
          </a:xfrm>
          <a:prstGeom prst="rect">
            <a:avLst/>
          </a:prstGeom>
          <a:noFill/>
          <a:ln w="28575">
            <a:solidFill>
              <a:schemeClr val="accent6">
                <a:lumMod val="50000"/>
              </a:schemeClr>
            </a:solidFill>
            <a:prstDash val="solid"/>
          </a:ln>
        </p:spPr>
        <p:txBody>
          <a:bodyPr spcFirstLastPara="1" wrap="square" lIns="0" tIns="0" rIns="0" bIns="0" anchor="t" anchorCtr="0">
            <a:spAutoFit/>
          </a:bodyPr>
          <a:lstStyle/>
          <a:p>
            <a:pPr marL="0" marR="0" lvl="0" indent="0" algn="ctr" rtl="0">
              <a:lnSpc>
                <a:spcPct val="106045"/>
              </a:lnSpc>
              <a:spcBef>
                <a:spcPts val="0"/>
              </a:spcBef>
              <a:spcAft>
                <a:spcPts val="0"/>
              </a:spcAft>
              <a:buClr>
                <a:srgbClr val="000000"/>
              </a:buClr>
              <a:buSzPts val="2200"/>
              <a:buFont typeface="Arial"/>
              <a:buNone/>
            </a:pPr>
            <a:r>
              <a:rPr lang="en-US" sz="2400" i="0" u="none" strike="noStrike" cap="none" dirty="0">
                <a:solidFill>
                  <a:srgbClr val="000000"/>
                </a:solidFill>
                <a:latin typeface="DM Sans"/>
                <a:ea typeface="Calibri"/>
                <a:cs typeface="Calibri"/>
                <a:sym typeface="Montserrat"/>
              </a:rPr>
              <a:t>Don’t forget to use your </a:t>
            </a:r>
            <a:r>
              <a:rPr lang="en-US" sz="2400" i="1" u="none" strike="noStrike" cap="none" dirty="0">
                <a:solidFill>
                  <a:srgbClr val="000000"/>
                </a:solidFill>
                <a:latin typeface="DM Sans"/>
                <a:ea typeface="Calibri"/>
                <a:cs typeface="Calibri"/>
                <a:sym typeface="Montserrat"/>
              </a:rPr>
              <a:t>Steal Shamelessly Handout</a:t>
            </a:r>
            <a:r>
              <a:rPr lang="en-US" sz="2400" i="0" u="none" strike="noStrike" cap="none" dirty="0">
                <a:solidFill>
                  <a:srgbClr val="000000"/>
                </a:solidFill>
                <a:latin typeface="DM Sans"/>
                <a:ea typeface="Calibri"/>
                <a:cs typeface="Calibri"/>
                <a:sym typeface="Montserrat"/>
              </a:rPr>
              <a:t>!</a:t>
            </a:r>
            <a:endParaRPr lang="en-US" sz="2400" i="0" u="none" strike="noStrike" cap="none" dirty="0">
              <a:solidFill>
                <a:srgbClr val="000000"/>
              </a:solidFill>
              <a:latin typeface="DM Sans"/>
              <a:ea typeface="Calibri"/>
              <a:cs typeface="Calibri"/>
            </a:endParaRPr>
          </a:p>
        </p:txBody>
      </p:sp>
      <p:pic>
        <p:nvPicPr>
          <p:cNvPr id="2" name="Picture 1" descr="A poster board with pictures and text&#10;&#10;AI-generated content may be incorrect.">
            <a:extLst>
              <a:ext uri="{FF2B5EF4-FFF2-40B4-BE49-F238E27FC236}">
                <a16:creationId xmlns:a16="http://schemas.microsoft.com/office/drawing/2014/main" id="{88059D51-C227-96C1-2582-9D2FA13B9D93}"/>
              </a:ext>
            </a:extLst>
          </p:cNvPr>
          <p:cNvPicPr>
            <a:picLocks noChangeAspect="1"/>
          </p:cNvPicPr>
          <p:nvPr/>
        </p:nvPicPr>
        <p:blipFill>
          <a:blip r:embed="rId4"/>
          <a:stretch>
            <a:fillRect/>
          </a:stretch>
        </p:blipFill>
        <p:spPr>
          <a:xfrm>
            <a:off x="8285500" y="207411"/>
            <a:ext cx="3772227" cy="321134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 name="Picture 2" descr="A person standing next to a poster board&#10;&#10;AI-generated content may be incorrect.">
            <a:extLst>
              <a:ext uri="{FF2B5EF4-FFF2-40B4-BE49-F238E27FC236}">
                <a16:creationId xmlns:a16="http://schemas.microsoft.com/office/drawing/2014/main" id="{00C45951-79F7-536A-6E87-57C3A2331DC8}"/>
              </a:ext>
            </a:extLst>
          </p:cNvPr>
          <p:cNvPicPr>
            <a:picLocks noChangeAspect="1"/>
          </p:cNvPicPr>
          <p:nvPr/>
        </p:nvPicPr>
        <p:blipFill>
          <a:blip r:embed="rId5"/>
          <a:stretch>
            <a:fillRect/>
          </a:stretch>
        </p:blipFill>
        <p:spPr>
          <a:xfrm>
            <a:off x="8280165" y="3586930"/>
            <a:ext cx="3780059" cy="293726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 name="Picture 3" descr="A display of information on a table&#10;&#10;AI-generated content may be incorrect.">
            <a:extLst>
              <a:ext uri="{FF2B5EF4-FFF2-40B4-BE49-F238E27FC236}">
                <a16:creationId xmlns:a16="http://schemas.microsoft.com/office/drawing/2014/main" id="{FF282C3A-11BD-4353-9005-30EF0545A91E}"/>
              </a:ext>
            </a:extLst>
          </p:cNvPr>
          <p:cNvPicPr>
            <a:picLocks noChangeAspect="1"/>
          </p:cNvPicPr>
          <p:nvPr/>
        </p:nvPicPr>
        <p:blipFill>
          <a:blip r:embed="rId6"/>
          <a:stretch>
            <a:fillRect/>
          </a:stretch>
        </p:blipFill>
        <p:spPr>
          <a:xfrm>
            <a:off x="4750618" y="1794918"/>
            <a:ext cx="3289166" cy="296950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8" name="Freeform 14" descr="A close-up of flowers in grass&#10;&#10;AI-generated content may be incorrect.">
            <a:extLst>
              <a:ext uri="{FF2B5EF4-FFF2-40B4-BE49-F238E27FC236}">
                <a16:creationId xmlns:a16="http://schemas.microsoft.com/office/drawing/2014/main" id="{D9C0F99B-3B61-EA7D-DBC0-C23E2368FF9D}"/>
              </a:ext>
            </a:extLst>
          </p:cNvPr>
          <p:cNvSpPr/>
          <p:nvPr/>
        </p:nvSpPr>
        <p:spPr>
          <a:xfrm>
            <a:off x="-646981" y="5751993"/>
            <a:ext cx="7848600" cy="1543558"/>
          </a:xfrm>
          <a:custGeom>
            <a:avLst/>
            <a:gdLst/>
            <a:ahLst/>
            <a:cxnLst/>
            <a:rect l="l" t="t" r="r" b="b"/>
            <a:pathLst>
              <a:path w="11772900" h="2315337">
                <a:moveTo>
                  <a:pt x="0" y="0"/>
                </a:moveTo>
                <a:lnTo>
                  <a:pt x="11772900" y="0"/>
                </a:lnTo>
                <a:lnTo>
                  <a:pt x="11772900" y="2315337"/>
                </a:lnTo>
                <a:lnTo>
                  <a:pt x="0" y="2315337"/>
                </a:lnTo>
                <a:lnTo>
                  <a:pt x="0" y="0"/>
                </a:lnTo>
                <a:close/>
              </a:path>
            </a:pathLst>
          </a:custGeom>
          <a:blipFill>
            <a:blip r:embed="rId7"/>
            <a:stretch>
              <a:fillRect/>
            </a:stretch>
          </a:blipFill>
        </p:spPr>
        <p:txBody>
          <a:bodyPr/>
          <a:lstStyle/>
          <a:p>
            <a:endParaRPr lang="en-US"/>
          </a:p>
        </p:txBody>
      </p:sp>
      <p:sp>
        <p:nvSpPr>
          <p:cNvPr id="10" name="Freeform 14" descr="A close-up of flowers in grass&#10;&#10;AI-generated content may be incorrect.">
            <a:extLst>
              <a:ext uri="{FF2B5EF4-FFF2-40B4-BE49-F238E27FC236}">
                <a16:creationId xmlns:a16="http://schemas.microsoft.com/office/drawing/2014/main" id="{D8672DAE-A06A-B8D0-EA0D-01FBD3091D56}"/>
              </a:ext>
            </a:extLst>
          </p:cNvPr>
          <p:cNvSpPr/>
          <p:nvPr/>
        </p:nvSpPr>
        <p:spPr>
          <a:xfrm>
            <a:off x="6699849" y="5751993"/>
            <a:ext cx="7848600" cy="1543558"/>
          </a:xfrm>
          <a:custGeom>
            <a:avLst/>
            <a:gdLst/>
            <a:ahLst/>
            <a:cxnLst/>
            <a:rect l="l" t="t" r="r" b="b"/>
            <a:pathLst>
              <a:path w="11772900" h="2315337">
                <a:moveTo>
                  <a:pt x="0" y="0"/>
                </a:moveTo>
                <a:lnTo>
                  <a:pt x="11772900" y="0"/>
                </a:lnTo>
                <a:lnTo>
                  <a:pt x="11772900" y="2315337"/>
                </a:lnTo>
                <a:lnTo>
                  <a:pt x="0" y="2315337"/>
                </a:lnTo>
                <a:lnTo>
                  <a:pt x="0" y="0"/>
                </a:lnTo>
                <a:close/>
              </a:path>
            </a:pathLst>
          </a:custGeom>
          <a:blipFill>
            <a:blip r:embed="rId7"/>
            <a:stretch>
              <a:fillRect/>
            </a:stretch>
          </a:blipFill>
        </p:spPr>
        <p:txBody>
          <a:bodyPr/>
          <a:lstStyle/>
          <a:p>
            <a:endParaRPr lang="en-US"/>
          </a:p>
        </p:txBody>
      </p:sp>
    </p:spTree>
  </p:cSld>
  <p:clrMapOvr>
    <a:masterClrMapping/>
  </p:clrMapOvr>
  <p:extLst>
    <p:ext uri="{6950BFC3-D8DA-4A85-94F7-54DA5524770B}">
      <p188:commentRel xmlns:p188="http://schemas.microsoft.com/office/powerpoint/2018/8/main" r:id="rId3"/>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blue and orange board with white text&#10;&#10;AI-generated content may be incorrect.">
            <a:extLst>
              <a:ext uri="{FF2B5EF4-FFF2-40B4-BE49-F238E27FC236}">
                <a16:creationId xmlns:a16="http://schemas.microsoft.com/office/drawing/2014/main" id="{B34AF30F-0AAA-6342-B209-2690A4DB4002}"/>
              </a:ext>
            </a:extLst>
          </p:cNvPr>
          <p:cNvPicPr>
            <a:picLocks noChangeAspect="1"/>
          </p:cNvPicPr>
          <p:nvPr/>
        </p:nvPicPr>
        <p:blipFill>
          <a:blip r:embed="rId3"/>
          <a:stretch>
            <a:fillRect/>
          </a:stretch>
        </p:blipFill>
        <p:spPr>
          <a:xfrm>
            <a:off x="275084" y="355600"/>
            <a:ext cx="6866631" cy="5181600"/>
          </a:xfrm>
          <a:prstGeom prst="rect">
            <a:avLst/>
          </a:prstGeom>
        </p:spPr>
      </p:pic>
      <p:sp>
        <p:nvSpPr>
          <p:cNvPr id="3" name="Google Shape;6879;p4">
            <a:extLst>
              <a:ext uri="{FF2B5EF4-FFF2-40B4-BE49-F238E27FC236}">
                <a16:creationId xmlns:a16="http://schemas.microsoft.com/office/drawing/2014/main" id="{687A0F77-E5F1-D6F0-C436-BBF07478452F}"/>
              </a:ext>
            </a:extLst>
          </p:cNvPr>
          <p:cNvSpPr txBox="1"/>
          <p:nvPr/>
        </p:nvSpPr>
        <p:spPr>
          <a:xfrm>
            <a:off x="7143987" y="157880"/>
            <a:ext cx="5046320" cy="1354217"/>
          </a:xfrm>
          <a:prstGeom prst="rect">
            <a:avLst/>
          </a:prstGeom>
          <a:noFill/>
          <a:ln>
            <a:noFill/>
          </a:ln>
        </p:spPr>
        <p:txBody>
          <a:bodyPr spcFirstLastPara="1" wrap="square" lIns="0" tIns="0" rIns="0" bIns="0" anchor="t" anchorCtr="0">
            <a:spAutoFit/>
          </a:bodyPr>
          <a:lstStyle/>
          <a:p>
            <a:pPr algn="ctr"/>
            <a:r>
              <a:rPr lang="en-US" sz="4400" dirty="0">
                <a:solidFill>
                  <a:srgbClr val="1C498B"/>
                </a:solidFill>
                <a:latin typeface="DM Sans"/>
                <a:ea typeface="Montserrat"/>
                <a:cs typeface="Montserrat"/>
              </a:rPr>
              <a:t>It's time to Storyboard </a:t>
            </a:r>
            <a:r>
              <a:rPr lang="en-US" sz="4400" dirty="0" err="1">
                <a:solidFill>
                  <a:srgbClr val="1C498B"/>
                </a:solidFill>
                <a:latin typeface="DM Sans"/>
                <a:ea typeface="Montserrat"/>
                <a:cs typeface="Montserrat"/>
              </a:rPr>
              <a:t>BinGo</a:t>
            </a:r>
            <a:r>
              <a:rPr lang="en-US" sz="4400" dirty="0">
                <a:solidFill>
                  <a:srgbClr val="1C498B"/>
                </a:solidFill>
                <a:latin typeface="DM Sans"/>
                <a:ea typeface="Montserrat"/>
                <a:cs typeface="Montserrat"/>
              </a:rPr>
              <a:t>!</a:t>
            </a:r>
            <a:endParaRPr lang="en-US" sz="4000" b="0" i="0" strike="noStrike" cap="none" dirty="0">
              <a:solidFill>
                <a:srgbClr val="4D5F27"/>
              </a:solidFill>
              <a:latin typeface="Montserrat"/>
              <a:ea typeface="Arial"/>
              <a:cs typeface="Arial"/>
            </a:endParaRPr>
          </a:p>
        </p:txBody>
      </p:sp>
      <p:sp>
        <p:nvSpPr>
          <p:cNvPr id="5" name="Google Shape;6880;p4">
            <a:extLst>
              <a:ext uri="{FF2B5EF4-FFF2-40B4-BE49-F238E27FC236}">
                <a16:creationId xmlns:a16="http://schemas.microsoft.com/office/drawing/2014/main" id="{4CAA76FF-FEC2-3FF3-B7E7-4EB7CC510F37}"/>
              </a:ext>
            </a:extLst>
          </p:cNvPr>
          <p:cNvSpPr txBox="1"/>
          <p:nvPr/>
        </p:nvSpPr>
        <p:spPr>
          <a:xfrm>
            <a:off x="7261192" y="1711993"/>
            <a:ext cx="4808148" cy="3416320"/>
          </a:xfrm>
          <a:prstGeom prst="rect">
            <a:avLst/>
          </a:prstGeom>
          <a:noFill/>
          <a:ln>
            <a:noFill/>
          </a:ln>
        </p:spPr>
        <p:txBody>
          <a:bodyPr spcFirstLastPara="1" wrap="square" lIns="0" tIns="0" rIns="0" bIns="0" anchor="t" anchorCtr="0">
            <a:spAutoFit/>
          </a:bodyPr>
          <a:lstStyle/>
          <a:p>
            <a:pPr marL="503555" marR="0" lvl="1" indent="-251460" algn="l" rtl="0">
              <a:lnSpc>
                <a:spcPct val="111080"/>
              </a:lnSpc>
              <a:spcBef>
                <a:spcPts val="0"/>
              </a:spcBef>
              <a:spcAft>
                <a:spcPts val="0"/>
              </a:spcAft>
              <a:buClr>
                <a:srgbClr val="000000"/>
              </a:buClr>
              <a:buSzPts val="2500"/>
              <a:buFont typeface="Arial"/>
              <a:buChar char="•"/>
            </a:pPr>
            <a:r>
              <a:rPr lang="en-US" sz="2500" b="0" i="0" u="none" strike="noStrike" cap="none" dirty="0">
                <a:solidFill>
                  <a:srgbClr val="000000"/>
                </a:solidFill>
                <a:latin typeface="Montserrat"/>
                <a:ea typeface="Montserrat"/>
                <a:cs typeface="Montserrat"/>
                <a:sym typeface="Montserrat"/>
              </a:rPr>
              <a:t>Visit team Storyboards and complete your </a:t>
            </a:r>
            <a:r>
              <a:rPr lang="en-US" sz="2500">
                <a:solidFill>
                  <a:srgbClr val="000000"/>
                </a:solidFill>
                <a:latin typeface="Montserrat"/>
                <a:ea typeface="Montserrat"/>
                <a:cs typeface="Montserrat"/>
                <a:sym typeface="Montserrat"/>
              </a:rPr>
              <a:t>Bingo</a:t>
            </a:r>
            <a:r>
              <a:rPr lang="en-US" sz="2500" b="0" i="0" u="none" strike="noStrike" cap="none" dirty="0">
                <a:solidFill>
                  <a:srgbClr val="000000"/>
                </a:solidFill>
                <a:latin typeface="Montserrat"/>
                <a:ea typeface="Montserrat"/>
                <a:cs typeface="Montserrat"/>
                <a:sym typeface="Montserrat"/>
              </a:rPr>
              <a:t> card for another chance to win one of the amazing raffle baskets!</a:t>
            </a:r>
            <a:endParaRPr lang="en-US" sz="2500" b="0" i="0" u="none" strike="noStrike" cap="none">
              <a:solidFill>
                <a:srgbClr val="000000"/>
              </a:solidFill>
              <a:latin typeface="Montserrat"/>
              <a:ea typeface="Montserrat"/>
              <a:cs typeface="Montserrat"/>
            </a:endParaRPr>
          </a:p>
          <a:p>
            <a:pPr marL="503555" lvl="1" indent="-251460">
              <a:lnSpc>
                <a:spcPct val="111080"/>
              </a:lnSpc>
              <a:buClr>
                <a:srgbClr val="000000"/>
              </a:buClr>
              <a:buSzPts val="2500"/>
              <a:buFont typeface="Arial"/>
              <a:buChar char="•"/>
            </a:pPr>
            <a:r>
              <a:rPr lang="en-US" sz="2500">
                <a:solidFill>
                  <a:schemeClr val="dk1"/>
                </a:solidFill>
                <a:latin typeface="Montserrat"/>
                <a:ea typeface="Montserrat"/>
                <a:cs typeface="Montserrat"/>
              </a:rPr>
              <a:t>Turn your completed Bingo card in at the ILPQC table</a:t>
            </a:r>
            <a:endParaRPr lang="en-US" sz="2500" dirty="0">
              <a:solidFill>
                <a:schemeClr val="dk1"/>
              </a:solidFill>
              <a:latin typeface="Montserrat"/>
              <a:ea typeface="Montserrat"/>
              <a:cs typeface="Montserrat"/>
            </a:endParaRPr>
          </a:p>
        </p:txBody>
      </p:sp>
      <p:sp>
        <p:nvSpPr>
          <p:cNvPr id="7" name="Google Shape;6881;p4">
            <a:extLst>
              <a:ext uri="{FF2B5EF4-FFF2-40B4-BE49-F238E27FC236}">
                <a16:creationId xmlns:a16="http://schemas.microsoft.com/office/drawing/2014/main" id="{EFF7B723-4FE9-E2E2-E13A-A4CC6D881808}"/>
              </a:ext>
            </a:extLst>
          </p:cNvPr>
          <p:cNvSpPr txBox="1"/>
          <p:nvPr/>
        </p:nvSpPr>
        <p:spPr>
          <a:xfrm>
            <a:off x="475631" y="5899960"/>
            <a:ext cx="7379564" cy="343235"/>
          </a:xfrm>
          <a:prstGeom prst="rect">
            <a:avLst/>
          </a:prstGeom>
          <a:noFill/>
          <a:ln>
            <a:noFill/>
          </a:ln>
        </p:spPr>
        <p:txBody>
          <a:bodyPr spcFirstLastPara="1" wrap="square" lIns="0" tIns="0" rIns="0" bIns="0" anchor="t" anchorCtr="0">
            <a:spAutoFit/>
          </a:bodyPr>
          <a:lstStyle/>
          <a:p>
            <a:pPr marL="0" marR="0" lvl="0" indent="0" algn="l" rtl="0">
              <a:lnSpc>
                <a:spcPct val="119031"/>
              </a:lnSpc>
              <a:spcBef>
                <a:spcPts val="0"/>
              </a:spcBef>
              <a:spcAft>
                <a:spcPts val="0"/>
              </a:spcAft>
              <a:buClr>
                <a:srgbClr val="000000"/>
              </a:buClr>
              <a:buSzPts val="2333"/>
              <a:buFont typeface="Arial"/>
              <a:buNone/>
            </a:pPr>
            <a:r>
              <a:rPr lang="en-US" sz="2333" b="1" i="0" u="none" strike="noStrike" cap="none" dirty="0">
                <a:solidFill>
                  <a:srgbClr val="F5886D"/>
                </a:solidFill>
                <a:latin typeface="Montserrat"/>
                <a:ea typeface="Montserrat"/>
                <a:cs typeface="Montserrat"/>
                <a:sym typeface="Montserrat"/>
              </a:rPr>
              <a:t>*</a:t>
            </a:r>
            <a:r>
              <a:rPr lang="en-US" sz="2333" b="1" i="0" u="none" strike="noStrike" cap="none" dirty="0" err="1">
                <a:solidFill>
                  <a:srgbClr val="F5886D"/>
                </a:solidFill>
                <a:latin typeface="Montserrat"/>
                <a:ea typeface="Montserrat"/>
                <a:cs typeface="Montserrat"/>
                <a:sym typeface="Montserrat"/>
              </a:rPr>
              <a:t>BinGo</a:t>
            </a:r>
            <a:r>
              <a:rPr lang="en-US" sz="2333" b="1" i="0" u="none" strike="noStrike" cap="none" dirty="0">
                <a:solidFill>
                  <a:srgbClr val="F5886D"/>
                </a:solidFill>
                <a:latin typeface="Montserrat"/>
                <a:ea typeface="Montserrat"/>
                <a:cs typeface="Montserrat"/>
                <a:sym typeface="Montserrat"/>
              </a:rPr>
              <a:t> card located in your ILPQC F2F folder</a:t>
            </a:r>
            <a:endParaRPr sz="1400" b="0" i="0" u="none" strike="noStrike" cap="none" dirty="0">
              <a:solidFill>
                <a:srgbClr val="000000"/>
              </a:solidFill>
              <a:latin typeface="Arial"/>
              <a:ea typeface="Arial"/>
              <a:cs typeface="Arial"/>
              <a:sym typeface="Arial"/>
            </a:endParaRPr>
          </a:p>
        </p:txBody>
      </p:sp>
      <p:pic>
        <p:nvPicPr>
          <p:cNvPr id="8" name="Picture 7">
            <a:extLst>
              <a:ext uri="{FF2B5EF4-FFF2-40B4-BE49-F238E27FC236}">
                <a16:creationId xmlns:a16="http://schemas.microsoft.com/office/drawing/2014/main" id="{E4581E0C-6FFA-2CFE-B292-FC20B64F8934}"/>
              </a:ext>
            </a:extLst>
          </p:cNvPr>
          <p:cNvPicPr>
            <a:picLocks noChangeAspect="1"/>
          </p:cNvPicPr>
          <p:nvPr/>
        </p:nvPicPr>
        <p:blipFill>
          <a:blip r:embed="rId4"/>
          <a:stretch>
            <a:fillRect/>
          </a:stretch>
        </p:blipFill>
        <p:spPr>
          <a:xfrm>
            <a:off x="9196286" y="4624585"/>
            <a:ext cx="2549458" cy="2313172"/>
          </a:xfrm>
          <a:prstGeom prst="rect">
            <a:avLst/>
          </a:prstGeom>
        </p:spPr>
      </p:pic>
    </p:spTree>
    <p:extLst>
      <p:ext uri="{BB962C8B-B14F-4D97-AF65-F5344CB8AC3E}">
        <p14:creationId xmlns:p14="http://schemas.microsoft.com/office/powerpoint/2010/main" val="29070765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24206"/>
        <p:cNvGrpSpPr/>
        <p:nvPr/>
      </p:nvGrpSpPr>
      <p:grpSpPr>
        <a:xfrm>
          <a:off x="0" y="0"/>
          <a:ext cx="0" cy="0"/>
          <a:chOff x="0" y="0"/>
          <a:chExt cx="0" cy="0"/>
        </a:xfrm>
      </p:grpSpPr>
      <p:sp>
        <p:nvSpPr>
          <p:cNvPr id="24207" name="Google Shape;24207;p20"/>
          <p:cNvSpPr/>
          <p:nvPr/>
        </p:nvSpPr>
        <p:spPr>
          <a:xfrm>
            <a:off x="1" y="1"/>
            <a:ext cx="12191999" cy="6857365"/>
          </a:xfrm>
          <a:prstGeom prst="rect">
            <a:avLst/>
          </a:prstGeom>
          <a:solidFill>
            <a:schemeClr val="lt1"/>
          </a:solidFill>
          <a:ln>
            <a:noFill/>
          </a:ln>
        </p:spPr>
        <p:txBody>
          <a:bodyPr spcFirstLastPara="1" wrap="square" lIns="60950" tIns="30467" rIns="60950" bIns="30467" anchor="ctr" anchorCtr="0">
            <a:noAutofit/>
          </a:bodyPr>
          <a:lstStyle/>
          <a:p>
            <a:pPr algn="ctr">
              <a:buSzPts val="2700"/>
            </a:pPr>
            <a:endParaRPr sz="1800">
              <a:solidFill>
                <a:srgbClr val="FFFFFF"/>
              </a:solidFill>
              <a:latin typeface="Calibri"/>
              <a:ea typeface="Calibri"/>
              <a:cs typeface="Calibri"/>
              <a:sym typeface="Calibri"/>
            </a:endParaRPr>
          </a:p>
        </p:txBody>
      </p:sp>
      <p:sp>
        <p:nvSpPr>
          <p:cNvPr id="24208" name="Google Shape;24208;p20"/>
          <p:cNvSpPr txBox="1"/>
          <p:nvPr/>
        </p:nvSpPr>
        <p:spPr>
          <a:xfrm>
            <a:off x="8584218" y="388408"/>
            <a:ext cx="3432663" cy="2445532"/>
          </a:xfrm>
          <a:prstGeom prst="rect">
            <a:avLst/>
          </a:prstGeom>
          <a:noFill/>
          <a:ln>
            <a:noFill/>
          </a:ln>
        </p:spPr>
        <p:txBody>
          <a:bodyPr spcFirstLastPara="1" wrap="square" lIns="91433" tIns="45717" rIns="91433" bIns="45717" anchor="ctr" anchorCtr="0">
            <a:normAutofit/>
          </a:bodyPr>
          <a:lstStyle/>
          <a:p>
            <a:pPr algn="ctr">
              <a:lnSpc>
                <a:spcPct val="90000"/>
              </a:lnSpc>
              <a:buSzPts val="5550"/>
            </a:pPr>
            <a:r>
              <a:rPr lang="en-US" sz="3700" b="1">
                <a:solidFill>
                  <a:srgbClr val="444C55"/>
                </a:solidFill>
                <a:latin typeface="Calibri"/>
                <a:ea typeface="Calibri"/>
                <a:cs typeface="Calibri"/>
                <a:sym typeface="Calibri"/>
              </a:rPr>
              <a:t>Say Hello to an ILPQC Team Member !</a:t>
            </a:r>
            <a:endParaRPr sz="3700" b="1">
              <a:solidFill>
                <a:srgbClr val="444C55"/>
              </a:solidFill>
              <a:latin typeface="Calibri"/>
              <a:ea typeface="Calibri"/>
              <a:cs typeface="Calibri"/>
              <a:sym typeface="Calibri"/>
            </a:endParaRPr>
          </a:p>
        </p:txBody>
      </p:sp>
      <p:sp>
        <p:nvSpPr>
          <p:cNvPr id="24209" name="Google Shape;24209;p20"/>
          <p:cNvSpPr/>
          <p:nvPr/>
        </p:nvSpPr>
        <p:spPr>
          <a:xfrm rot="-5400000">
            <a:off x="3433974" y="-827233"/>
            <a:ext cx="1715478" cy="8583421"/>
          </a:xfrm>
          <a:prstGeom prst="rect">
            <a:avLst/>
          </a:prstGeom>
          <a:solidFill>
            <a:schemeClr val="accent4"/>
          </a:solidFill>
          <a:ln>
            <a:noFill/>
          </a:ln>
        </p:spPr>
        <p:txBody>
          <a:bodyPr spcFirstLastPara="1" wrap="square" lIns="60950" tIns="30467" rIns="60950" bIns="30467" anchor="ctr" anchorCtr="0">
            <a:noAutofit/>
          </a:bodyPr>
          <a:lstStyle/>
          <a:p>
            <a:pPr algn="ctr">
              <a:buSzPts val="2700"/>
            </a:pPr>
            <a:endParaRPr sz="1800">
              <a:solidFill>
                <a:srgbClr val="FFFFFF"/>
              </a:solidFill>
              <a:latin typeface="Calibri"/>
              <a:ea typeface="Calibri"/>
              <a:cs typeface="Calibri"/>
              <a:sym typeface="Calibri"/>
            </a:endParaRPr>
          </a:p>
        </p:txBody>
      </p:sp>
      <p:sp>
        <p:nvSpPr>
          <p:cNvPr id="24210" name="Google Shape;24210;p20"/>
          <p:cNvSpPr/>
          <p:nvPr/>
        </p:nvSpPr>
        <p:spPr>
          <a:xfrm>
            <a:off x="302085" y="664308"/>
            <a:ext cx="8082632" cy="5600340"/>
          </a:xfrm>
          <a:prstGeom prst="rect">
            <a:avLst/>
          </a:prstGeom>
          <a:solidFill>
            <a:schemeClr val="lt1"/>
          </a:solidFill>
          <a:ln>
            <a:noFill/>
          </a:ln>
          <a:effectLst>
            <a:outerShdw blurRad="139700" dist="127000" dir="5400000" algn="t" rotWithShape="0">
              <a:srgbClr val="000000">
                <a:alpha val="14901"/>
              </a:srgbClr>
            </a:outerShdw>
          </a:effectLst>
        </p:spPr>
        <p:txBody>
          <a:bodyPr spcFirstLastPara="1" wrap="square" lIns="60950" tIns="30467" rIns="60950" bIns="30467" anchor="ctr" anchorCtr="0">
            <a:noAutofit/>
          </a:bodyPr>
          <a:lstStyle/>
          <a:p>
            <a:pPr algn="ctr">
              <a:buSzPts val="2700"/>
            </a:pPr>
            <a:endParaRPr sz="1800">
              <a:solidFill>
                <a:srgbClr val="FFFFFF"/>
              </a:solidFill>
              <a:latin typeface="Calibri"/>
              <a:ea typeface="Calibri"/>
              <a:cs typeface="Calibri"/>
              <a:sym typeface="Calibri"/>
            </a:endParaRPr>
          </a:p>
        </p:txBody>
      </p:sp>
      <p:sp>
        <p:nvSpPr>
          <p:cNvPr id="24211" name="Google Shape;24211;p20"/>
          <p:cNvSpPr/>
          <p:nvPr/>
        </p:nvSpPr>
        <p:spPr>
          <a:xfrm rot="5400000">
            <a:off x="7950447" y="3392098"/>
            <a:ext cx="1719072" cy="152382"/>
          </a:xfrm>
          <a:prstGeom prst="rect">
            <a:avLst/>
          </a:prstGeom>
          <a:solidFill>
            <a:schemeClr val="accent4"/>
          </a:solidFill>
          <a:ln>
            <a:noFill/>
          </a:ln>
        </p:spPr>
        <p:txBody>
          <a:bodyPr spcFirstLastPara="1" wrap="square" lIns="60950" tIns="30467" rIns="60950" bIns="30467" anchor="ctr" anchorCtr="0">
            <a:noAutofit/>
          </a:bodyPr>
          <a:lstStyle/>
          <a:p>
            <a:pPr algn="ctr">
              <a:buSzPts val="2700"/>
            </a:pPr>
            <a:endParaRPr sz="1800">
              <a:solidFill>
                <a:srgbClr val="FFFFFF"/>
              </a:solidFill>
              <a:latin typeface="Calibri"/>
              <a:ea typeface="Calibri"/>
              <a:cs typeface="Calibri"/>
              <a:sym typeface="Calibri"/>
            </a:endParaRPr>
          </a:p>
        </p:txBody>
      </p:sp>
      <p:sp>
        <p:nvSpPr>
          <p:cNvPr id="24212" name="Google Shape;24212;p20"/>
          <p:cNvSpPr txBox="1">
            <a:spLocks noGrp="1"/>
          </p:cNvSpPr>
          <p:nvPr>
            <p:ph type="sldNum" idx="12"/>
          </p:nvPr>
        </p:nvSpPr>
        <p:spPr>
          <a:xfrm>
            <a:off x="8610600" y="6492241"/>
            <a:ext cx="3126933" cy="365125"/>
          </a:xfrm>
          <a:prstGeom prst="rect">
            <a:avLst/>
          </a:prstGeom>
          <a:noFill/>
          <a:ln>
            <a:noFill/>
          </a:ln>
        </p:spPr>
        <p:txBody>
          <a:bodyPr spcFirstLastPara="1" wrap="square" lIns="91433" tIns="45717" rIns="91433" bIns="45717" anchor="ctr" anchorCtr="0">
            <a:normAutofit/>
          </a:bodyPr>
          <a:lstStyle/>
          <a:p>
            <a:fld id="{00000000-1234-1234-1234-123412341234}" type="slidenum">
              <a:rPr lang="en-US">
                <a:solidFill>
                  <a:srgbClr val="919497"/>
                </a:solidFill>
                <a:latin typeface="Calibri"/>
                <a:ea typeface="Calibri"/>
                <a:cs typeface="Calibri"/>
                <a:sym typeface="Calibri"/>
              </a:rPr>
              <a:pPr/>
              <a:t>14</a:t>
            </a:fld>
            <a:endParaRPr>
              <a:solidFill>
                <a:srgbClr val="919497"/>
              </a:solidFill>
              <a:latin typeface="Calibri"/>
              <a:ea typeface="Calibri"/>
              <a:cs typeface="Calibri"/>
              <a:sym typeface="Calibri"/>
            </a:endParaRPr>
          </a:p>
        </p:txBody>
      </p:sp>
      <p:sp>
        <p:nvSpPr>
          <p:cNvPr id="24214" name="Google Shape;24214;p20"/>
          <p:cNvSpPr/>
          <p:nvPr/>
        </p:nvSpPr>
        <p:spPr>
          <a:xfrm>
            <a:off x="9299074" y="3247859"/>
            <a:ext cx="2411663" cy="2803357"/>
          </a:xfrm>
          <a:prstGeom prst="rect">
            <a:avLst/>
          </a:prstGeom>
          <a:solidFill>
            <a:schemeClr val="accent1"/>
          </a:solidFill>
          <a:ln w="12700" cap="flat" cmpd="sng">
            <a:solidFill>
              <a:srgbClr val="0B1E3A"/>
            </a:solidFill>
            <a:prstDash val="solid"/>
            <a:miter lim="800000"/>
            <a:headEnd type="none" w="sm" len="sm"/>
            <a:tailEnd type="none" w="sm" len="sm"/>
          </a:ln>
        </p:spPr>
        <p:txBody>
          <a:bodyPr spcFirstLastPara="1" wrap="square" lIns="60950" tIns="30467" rIns="60950" bIns="30467" anchor="ctr" anchorCtr="0">
            <a:noAutofit/>
          </a:bodyPr>
          <a:lstStyle/>
          <a:p>
            <a:pPr algn="ctr">
              <a:buSzPts val="2700"/>
            </a:pPr>
            <a:endParaRPr sz="1800">
              <a:solidFill>
                <a:srgbClr val="FFFFFF"/>
              </a:solidFill>
              <a:latin typeface="Calibri"/>
              <a:ea typeface="Calibri"/>
              <a:cs typeface="Calibri"/>
              <a:sym typeface="Calibri"/>
            </a:endParaRPr>
          </a:p>
        </p:txBody>
      </p:sp>
      <p:pic>
        <p:nvPicPr>
          <p:cNvPr id="24215" name="Google Shape;24215;p20" descr="A qr code on a black background&#10;&#10;AI-generated content may be incorrect."/>
          <p:cNvPicPr preferRelativeResize="0"/>
          <p:nvPr/>
        </p:nvPicPr>
        <p:blipFill rotWithShape="1">
          <a:blip r:embed="rId3" cstate="email">
            <a:alphaModFix/>
            <a:extLst>
              <a:ext uri="{28A0092B-C50C-407E-A947-70E740481C1C}">
                <a14:useLocalDpi xmlns:a14="http://schemas.microsoft.com/office/drawing/2010/main"/>
              </a:ext>
            </a:extLst>
          </a:blip>
          <a:srcRect b="-567"/>
          <a:stretch/>
        </p:blipFill>
        <p:spPr>
          <a:xfrm>
            <a:off x="9386977" y="4037175"/>
            <a:ext cx="2286516" cy="2015799"/>
          </a:xfrm>
          <a:prstGeom prst="rect">
            <a:avLst/>
          </a:prstGeom>
          <a:noFill/>
          <a:ln>
            <a:noFill/>
          </a:ln>
        </p:spPr>
      </p:pic>
      <p:sp>
        <p:nvSpPr>
          <p:cNvPr id="24216" name="Google Shape;24216;p20"/>
          <p:cNvSpPr/>
          <p:nvPr/>
        </p:nvSpPr>
        <p:spPr>
          <a:xfrm>
            <a:off x="9299742" y="3248524"/>
            <a:ext cx="2406877" cy="769352"/>
          </a:xfrm>
          <a:prstGeom prst="rect">
            <a:avLst/>
          </a:prstGeom>
          <a:solidFill>
            <a:schemeClr val="accent1"/>
          </a:solidFill>
          <a:ln w="12700" cap="flat" cmpd="sng">
            <a:solidFill>
              <a:srgbClr val="0B1E3A"/>
            </a:solidFill>
            <a:prstDash val="solid"/>
            <a:miter lim="800000"/>
            <a:headEnd type="none" w="sm" len="sm"/>
            <a:tailEnd type="none" w="sm" len="sm"/>
          </a:ln>
        </p:spPr>
        <p:txBody>
          <a:bodyPr spcFirstLastPara="1" wrap="square" lIns="91433" tIns="45717" rIns="91433" bIns="45717" anchor="ctr" anchorCtr="0">
            <a:noAutofit/>
          </a:bodyPr>
          <a:lstStyle/>
          <a:p>
            <a:pPr algn="ctr">
              <a:buSzPts val="4200"/>
            </a:pPr>
            <a:r>
              <a:rPr lang="en-US" sz="2800" b="1">
                <a:solidFill>
                  <a:srgbClr val="FFFFFF"/>
                </a:solidFill>
                <a:latin typeface="Calibri"/>
                <a:ea typeface="Calibri"/>
                <a:cs typeface="Calibri"/>
                <a:sym typeface="Calibri"/>
              </a:rPr>
              <a:t>CONTACT US</a:t>
            </a:r>
            <a:endParaRPr sz="933"/>
          </a:p>
        </p:txBody>
      </p:sp>
      <p:pic>
        <p:nvPicPr>
          <p:cNvPr id="24217" name="Google Shape;24217;p20" descr="A cartoon hand with blue waves&#10;&#10;AI-generated content may be incorrect."/>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11354165" y="1718772"/>
            <a:ext cx="630363" cy="645992"/>
          </a:xfrm>
          <a:prstGeom prst="rect">
            <a:avLst/>
          </a:prstGeom>
          <a:noFill/>
          <a:ln>
            <a:noFill/>
          </a:ln>
        </p:spPr>
      </p:pic>
      <p:sp>
        <p:nvSpPr>
          <p:cNvPr id="24219" name="Google Shape;24219;p20"/>
          <p:cNvSpPr txBox="1"/>
          <p:nvPr/>
        </p:nvSpPr>
        <p:spPr>
          <a:xfrm>
            <a:off x="245166" y="6358411"/>
            <a:ext cx="4617775" cy="595129"/>
          </a:xfrm>
          <a:prstGeom prst="rect">
            <a:avLst/>
          </a:prstGeom>
          <a:noFill/>
          <a:ln>
            <a:noFill/>
          </a:ln>
        </p:spPr>
        <p:txBody>
          <a:bodyPr spcFirstLastPara="1" wrap="square" lIns="91433" tIns="45717" rIns="91433" bIns="45717" anchor="ctr" anchorCtr="0">
            <a:normAutofit/>
          </a:bodyPr>
          <a:lstStyle/>
          <a:p>
            <a:pPr algn="ctr">
              <a:lnSpc>
                <a:spcPct val="90000"/>
              </a:lnSpc>
              <a:buSzPts val="3000"/>
            </a:pPr>
            <a:r>
              <a:rPr lang="en-US" sz="2000" b="1" dirty="0">
                <a:solidFill>
                  <a:srgbClr val="444C55"/>
                </a:solidFill>
                <a:latin typeface="Calibri"/>
                <a:ea typeface="Calibri"/>
                <a:cs typeface="Calibri"/>
                <a:sym typeface="Calibri"/>
              </a:rPr>
              <a:t>Wishing Kiela luck on her next adventure!</a:t>
            </a:r>
            <a:endParaRPr sz="2000" b="1" dirty="0">
              <a:solidFill>
                <a:srgbClr val="444C55"/>
              </a:solidFill>
              <a:latin typeface="Calibri"/>
              <a:ea typeface="Calibri"/>
              <a:cs typeface="Calibri"/>
              <a:sym typeface="Calibri"/>
            </a:endParaRPr>
          </a:p>
        </p:txBody>
      </p:sp>
      <p:pic>
        <p:nvPicPr>
          <p:cNvPr id="2" name="Picture 1" descr="A collage of a group of people&#10;&#10;AI-generated content may be incorrect.">
            <a:extLst>
              <a:ext uri="{FF2B5EF4-FFF2-40B4-BE49-F238E27FC236}">
                <a16:creationId xmlns:a16="http://schemas.microsoft.com/office/drawing/2014/main" id="{884CFFBA-2D3A-83ED-B09B-F49F2E1621BD}"/>
              </a:ext>
            </a:extLst>
          </p:cNvPr>
          <p:cNvPicPr>
            <a:picLocks noChangeAspect="1"/>
          </p:cNvPicPr>
          <p:nvPr/>
        </p:nvPicPr>
        <p:blipFill>
          <a:blip r:embed="rId5"/>
          <a:stretch>
            <a:fillRect/>
          </a:stretch>
        </p:blipFill>
        <p:spPr>
          <a:xfrm>
            <a:off x="469900" y="466725"/>
            <a:ext cx="7734300" cy="5810250"/>
          </a:xfrm>
          <a:prstGeom prst="rect">
            <a:avLst/>
          </a:prstGeom>
        </p:spPr>
      </p:pic>
      <p:sp>
        <p:nvSpPr>
          <p:cNvPr id="24218" name="Google Shape;24218;p20"/>
          <p:cNvSpPr/>
          <p:nvPr/>
        </p:nvSpPr>
        <p:spPr>
          <a:xfrm>
            <a:off x="471304" y="4235115"/>
            <a:ext cx="1978375" cy="2032001"/>
          </a:xfrm>
          <a:prstGeom prst="heart">
            <a:avLst/>
          </a:prstGeom>
          <a:noFill/>
          <a:ln w="38100" cap="flat" cmpd="sng">
            <a:solidFill>
              <a:srgbClr val="EF1453"/>
            </a:solidFill>
            <a:prstDash val="solid"/>
            <a:miter lim="800000"/>
            <a:headEnd type="none" w="sm" len="sm"/>
            <a:tailEnd type="none" w="sm" len="sm"/>
          </a:ln>
        </p:spPr>
        <p:txBody>
          <a:bodyPr spcFirstLastPara="1" wrap="square" lIns="60950" tIns="30467" rIns="60950" bIns="30467" anchor="ctr" anchorCtr="0">
            <a:noAutofit/>
          </a:bodyPr>
          <a:lstStyle/>
          <a:p>
            <a:pPr algn="ctr">
              <a:buSzPts val="2700"/>
            </a:pPr>
            <a:endParaRPr sz="1800">
              <a:solidFill>
                <a:srgbClr val="FFFFFF"/>
              </a:solidFill>
              <a:latin typeface="Calibri"/>
              <a:ea typeface="Calibri"/>
              <a:cs typeface="Calibri"/>
              <a:sym typeface="Calibri"/>
            </a:endParaRPr>
          </a:p>
        </p:txBody>
      </p:sp>
    </p:spTree>
    <p:extLst>
      <p:ext uri="{BB962C8B-B14F-4D97-AF65-F5344CB8AC3E}">
        <p14:creationId xmlns:p14="http://schemas.microsoft.com/office/powerpoint/2010/main" val="26839043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520E63-40F0-4F08-1ED3-1EAE621ADAED}"/>
            </a:ext>
          </a:extLst>
        </p:cNvPr>
        <p:cNvGrpSpPr/>
        <p:nvPr/>
      </p:nvGrpSpPr>
      <p:grpSpPr>
        <a:xfrm>
          <a:off x="0" y="0"/>
          <a:ext cx="0" cy="0"/>
          <a:chOff x="0" y="0"/>
          <a:chExt cx="0" cy="0"/>
        </a:xfrm>
      </p:grpSpPr>
      <p:sp>
        <p:nvSpPr>
          <p:cNvPr id="7" name="TextBox 7">
            <a:extLst>
              <a:ext uri="{FF2B5EF4-FFF2-40B4-BE49-F238E27FC236}">
                <a16:creationId xmlns:a16="http://schemas.microsoft.com/office/drawing/2014/main" id="{59F652C9-45F8-BDA2-3B8A-C63BCCA10410}"/>
              </a:ext>
            </a:extLst>
          </p:cNvPr>
          <p:cNvSpPr txBox="1"/>
          <p:nvPr/>
        </p:nvSpPr>
        <p:spPr>
          <a:xfrm>
            <a:off x="259344" y="439597"/>
            <a:ext cx="10080574" cy="1410395"/>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nSpc>
                <a:spcPts val="5413"/>
              </a:lnSpc>
            </a:pPr>
            <a:r>
              <a:rPr lang="en-US" sz="5000" b="1" dirty="0">
                <a:solidFill>
                  <a:srgbClr val="1C498B"/>
                </a:solidFill>
                <a:ea typeface="Calibri"/>
                <a:cs typeface="Calibri"/>
              </a:rPr>
              <a:t>New Point of Contact for Neonatal Initiatives!</a:t>
            </a:r>
          </a:p>
        </p:txBody>
      </p:sp>
      <p:pic>
        <p:nvPicPr>
          <p:cNvPr id="9" name="Picture 8" descr="A blue and red curved line&#10;&#10;AI-generated content may be incorrect.">
            <a:extLst>
              <a:ext uri="{FF2B5EF4-FFF2-40B4-BE49-F238E27FC236}">
                <a16:creationId xmlns:a16="http://schemas.microsoft.com/office/drawing/2014/main" id="{2B25EF2A-CD68-1AF6-D263-07A3A8B9595B}"/>
              </a:ext>
            </a:extLst>
          </p:cNvPr>
          <p:cNvPicPr>
            <a:picLocks noChangeAspect="1"/>
          </p:cNvPicPr>
          <p:nvPr/>
        </p:nvPicPr>
        <p:blipFill>
          <a:blip r:embed="rId2"/>
          <a:stretch>
            <a:fillRect/>
          </a:stretch>
        </p:blipFill>
        <p:spPr>
          <a:xfrm>
            <a:off x="8671866" y="-1176"/>
            <a:ext cx="3531305" cy="952500"/>
          </a:xfrm>
          <a:prstGeom prst="rect">
            <a:avLst/>
          </a:prstGeom>
        </p:spPr>
      </p:pic>
      <p:pic>
        <p:nvPicPr>
          <p:cNvPr id="12" name="Picture 11" descr="A logo with a map and text&#10;&#10;AI-generated content may be incorrect.">
            <a:extLst>
              <a:ext uri="{FF2B5EF4-FFF2-40B4-BE49-F238E27FC236}">
                <a16:creationId xmlns:a16="http://schemas.microsoft.com/office/drawing/2014/main" id="{9F4EC4F3-C942-7269-9809-CDCA011C4498}"/>
              </a:ext>
            </a:extLst>
          </p:cNvPr>
          <p:cNvPicPr>
            <a:picLocks noChangeAspect="1"/>
          </p:cNvPicPr>
          <p:nvPr/>
        </p:nvPicPr>
        <p:blipFill>
          <a:blip r:embed="rId3"/>
          <a:srcRect t="154" r="-244" b="3921"/>
          <a:stretch>
            <a:fillRect/>
          </a:stretch>
        </p:blipFill>
        <p:spPr>
          <a:xfrm>
            <a:off x="10339918" y="3550"/>
            <a:ext cx="1446409" cy="719901"/>
          </a:xfrm>
          <a:prstGeom prst="rect">
            <a:avLst/>
          </a:prstGeom>
        </p:spPr>
      </p:pic>
      <p:sp>
        <p:nvSpPr>
          <p:cNvPr id="10" name="Google Shape;133;p3">
            <a:extLst>
              <a:ext uri="{FF2B5EF4-FFF2-40B4-BE49-F238E27FC236}">
                <a16:creationId xmlns:a16="http://schemas.microsoft.com/office/drawing/2014/main" id="{F67D3D06-A4C4-89AD-F155-0F9409F6B381}"/>
              </a:ext>
            </a:extLst>
          </p:cNvPr>
          <p:cNvSpPr txBox="1"/>
          <p:nvPr/>
        </p:nvSpPr>
        <p:spPr>
          <a:xfrm>
            <a:off x="-139700" y="4530317"/>
            <a:ext cx="6810467" cy="948918"/>
          </a:xfrm>
          <a:prstGeom prst="rect">
            <a:avLst/>
          </a:prstGeom>
          <a:noFill/>
          <a:ln cap="flat">
            <a:noFill/>
          </a:ln>
        </p:spPr>
        <p:txBody>
          <a:bodyPr vert="horz" wrap="square" lIns="0" tIns="0" rIns="0" bIns="0"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algn="ctr" defTabSz="914446">
              <a:lnSpc>
                <a:spcPct val="150000"/>
              </a:lnSpc>
              <a:defRPr sz="1800" b="0" i="0" u="none" strike="noStrike" kern="0" cap="none" spc="0" baseline="0">
                <a:solidFill>
                  <a:srgbClr val="000000"/>
                </a:solidFill>
                <a:uFillTx/>
              </a:defRPr>
            </a:pPr>
            <a:r>
              <a:rPr lang="en-US" sz="2600" b="1" dirty="0">
                <a:solidFill>
                  <a:srgbClr val="1C498B"/>
                </a:solidFill>
                <a:latin typeface="Calibri"/>
                <a:ea typeface="Calibri"/>
                <a:cs typeface="Calibri"/>
              </a:rPr>
              <a:t>Tochukwu </a:t>
            </a:r>
            <a:r>
              <a:rPr lang="en-US" sz="2600" b="1" dirty="0" err="1">
                <a:solidFill>
                  <a:srgbClr val="1C498B"/>
                </a:solidFill>
                <a:latin typeface="Calibri"/>
                <a:ea typeface="Calibri"/>
                <a:cs typeface="Calibri"/>
              </a:rPr>
              <a:t>Akujieze</a:t>
            </a:r>
            <a:endParaRPr lang="en-US" dirty="0">
              <a:latin typeface="Calibri"/>
              <a:ea typeface="Calibri"/>
              <a:cs typeface="Calibri"/>
            </a:endParaRPr>
          </a:p>
          <a:p>
            <a:pPr algn="ctr" defTabSz="914446">
              <a:lnSpc>
                <a:spcPct val="150000"/>
              </a:lnSpc>
              <a:defRPr sz="1800" b="0" i="0" u="none" strike="noStrike" kern="0" cap="none" spc="0" baseline="0">
                <a:solidFill>
                  <a:srgbClr val="000000"/>
                </a:solidFill>
                <a:uFillTx/>
              </a:defRPr>
            </a:pPr>
            <a:r>
              <a:rPr lang="en-US" sz="2600" b="1" dirty="0">
                <a:solidFill>
                  <a:srgbClr val="1C498B"/>
                </a:solidFill>
                <a:latin typeface="Calibri"/>
                <a:ea typeface="Calibri"/>
                <a:cs typeface="Calibri"/>
              </a:rPr>
              <a:t>ILPQC Community Engagement Coordinator</a:t>
            </a:r>
          </a:p>
          <a:p>
            <a:pPr algn="ctr" defTabSz="914446">
              <a:lnSpc>
                <a:spcPct val="150000"/>
              </a:lnSpc>
              <a:defRPr sz="1800" b="0" i="0" u="none" strike="noStrike" kern="0" cap="none" spc="0" baseline="0">
                <a:solidFill>
                  <a:srgbClr val="000000"/>
                </a:solidFill>
                <a:uFillTx/>
              </a:defRPr>
            </a:pPr>
            <a:r>
              <a:rPr lang="en-US" sz="2600" dirty="0" err="1">
                <a:solidFill>
                  <a:srgbClr val="1C498B"/>
                </a:solidFill>
                <a:latin typeface="Calibri"/>
                <a:ea typeface="Calibri"/>
                <a:cs typeface="Calibri"/>
              </a:rPr>
              <a:t>tochukwu.akujieze@endeavorhealth.org</a:t>
            </a:r>
            <a:endParaRPr lang="en-US" sz="2600" dirty="0">
              <a:solidFill>
                <a:srgbClr val="444C55"/>
              </a:solidFill>
              <a:latin typeface="Calibri"/>
              <a:ea typeface="Calibri"/>
              <a:cs typeface="Calibri"/>
            </a:endParaRPr>
          </a:p>
        </p:txBody>
      </p:sp>
      <p:sp>
        <p:nvSpPr>
          <p:cNvPr id="13" name="Google Shape;133;p3">
            <a:extLst>
              <a:ext uri="{FF2B5EF4-FFF2-40B4-BE49-F238E27FC236}">
                <a16:creationId xmlns:a16="http://schemas.microsoft.com/office/drawing/2014/main" id="{E362F887-68AB-CEF9-8D38-2935F9729106}"/>
              </a:ext>
            </a:extLst>
          </p:cNvPr>
          <p:cNvSpPr txBox="1"/>
          <p:nvPr/>
        </p:nvSpPr>
        <p:spPr>
          <a:xfrm>
            <a:off x="6509045" y="4530317"/>
            <a:ext cx="5692867" cy="948918"/>
          </a:xfrm>
          <a:prstGeom prst="rect">
            <a:avLst/>
          </a:prstGeom>
          <a:noFill/>
          <a:ln cap="flat">
            <a:noFill/>
          </a:ln>
        </p:spPr>
        <p:txBody>
          <a:bodyPr vert="horz" wrap="square" lIns="0" tIns="0" rIns="0" bIns="0"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algn="ctr" defTabSz="914446">
              <a:lnSpc>
                <a:spcPct val="150000"/>
              </a:lnSpc>
              <a:defRPr sz="1800" b="0" i="0" u="none" strike="noStrike" kern="0" cap="none" spc="0" baseline="0">
                <a:solidFill>
                  <a:srgbClr val="000000"/>
                </a:solidFill>
                <a:uFillTx/>
              </a:defRPr>
            </a:pPr>
            <a:r>
              <a:rPr lang="en-US" sz="2600" b="1" dirty="0">
                <a:solidFill>
                  <a:srgbClr val="1C498B"/>
                </a:solidFill>
                <a:latin typeface="Calibri"/>
                <a:ea typeface="Calibri"/>
                <a:cs typeface="Calibri"/>
              </a:rPr>
              <a:t>Linda O'Kelley</a:t>
            </a:r>
            <a:endParaRPr lang="en-US" dirty="0">
              <a:latin typeface="Calibri"/>
              <a:ea typeface="Calibri"/>
              <a:cs typeface="Calibri"/>
            </a:endParaRPr>
          </a:p>
          <a:p>
            <a:pPr algn="ctr" defTabSz="914446">
              <a:lnSpc>
                <a:spcPct val="150000"/>
              </a:lnSpc>
              <a:defRPr sz="1800" b="0" i="0" u="none" strike="noStrike" kern="0" cap="none" spc="0" baseline="0">
                <a:solidFill>
                  <a:srgbClr val="000000"/>
                </a:solidFill>
                <a:uFillTx/>
              </a:defRPr>
            </a:pPr>
            <a:r>
              <a:rPr lang="en-US" sz="2600" b="1" dirty="0">
                <a:solidFill>
                  <a:srgbClr val="1C498B"/>
                </a:solidFill>
                <a:latin typeface="Calibri"/>
                <a:ea typeface="Calibri"/>
                <a:cs typeface="Calibri"/>
              </a:rPr>
              <a:t>ILPQC Nurse Quality Manager</a:t>
            </a:r>
          </a:p>
          <a:p>
            <a:pPr algn="ctr" defTabSz="914446">
              <a:lnSpc>
                <a:spcPct val="150000"/>
              </a:lnSpc>
              <a:defRPr sz="1800" b="0" i="0" u="none" strike="noStrike" kern="0" cap="none" spc="0" baseline="0">
                <a:solidFill>
                  <a:srgbClr val="000000"/>
                </a:solidFill>
                <a:uFillTx/>
              </a:defRPr>
            </a:pPr>
            <a:r>
              <a:rPr lang="en-US" sz="2600" dirty="0" err="1">
                <a:solidFill>
                  <a:srgbClr val="1C498B"/>
                </a:solidFill>
                <a:latin typeface="Calibri"/>
                <a:ea typeface="Calibri"/>
                <a:cs typeface="Calibri"/>
              </a:rPr>
              <a:t>linda.okelley@endeavorhealth.org</a:t>
            </a:r>
            <a:endParaRPr lang="en-US" sz="2600" dirty="0">
              <a:solidFill>
                <a:srgbClr val="1C498B"/>
              </a:solidFill>
              <a:latin typeface="Calibri"/>
              <a:ea typeface="Calibri"/>
              <a:cs typeface="Calibri"/>
            </a:endParaRPr>
          </a:p>
        </p:txBody>
      </p:sp>
      <p:pic>
        <p:nvPicPr>
          <p:cNvPr id="14" name="Picture 13" descr="A person wearing glasses and a black jacket&#10;&#10;AI-generated content may be incorrect.">
            <a:extLst>
              <a:ext uri="{FF2B5EF4-FFF2-40B4-BE49-F238E27FC236}">
                <a16:creationId xmlns:a16="http://schemas.microsoft.com/office/drawing/2014/main" id="{C9D2584A-6B18-595E-0F1F-F5B274418361}"/>
              </a:ext>
            </a:extLst>
          </p:cNvPr>
          <p:cNvPicPr>
            <a:picLocks noChangeAspect="1"/>
          </p:cNvPicPr>
          <p:nvPr/>
        </p:nvPicPr>
        <p:blipFill>
          <a:blip r:embed="rId4"/>
          <a:srcRect t="-426" b="15237"/>
          <a:stretch>
            <a:fillRect/>
          </a:stretch>
        </p:blipFill>
        <p:spPr>
          <a:xfrm>
            <a:off x="1892300" y="1883364"/>
            <a:ext cx="2743200" cy="2804275"/>
          </a:xfrm>
          <a:prstGeom prst="rect">
            <a:avLst/>
          </a:prstGeom>
          <a:ln>
            <a:noFill/>
          </a:ln>
          <a:effectLst>
            <a:softEdge rad="112500"/>
          </a:effectLst>
        </p:spPr>
      </p:pic>
      <p:pic>
        <p:nvPicPr>
          <p:cNvPr id="15" name="Picture 14" descr="A person leaning against a wall&#10;&#10;AI-generated content may be incorrect.">
            <a:extLst>
              <a:ext uri="{FF2B5EF4-FFF2-40B4-BE49-F238E27FC236}">
                <a16:creationId xmlns:a16="http://schemas.microsoft.com/office/drawing/2014/main" id="{B443E878-812C-EB17-ABC8-240B70C29FD3}"/>
              </a:ext>
            </a:extLst>
          </p:cNvPr>
          <p:cNvPicPr>
            <a:picLocks noChangeAspect="1"/>
          </p:cNvPicPr>
          <p:nvPr/>
        </p:nvPicPr>
        <p:blipFill>
          <a:blip r:embed="rId5"/>
          <a:srcRect l="6499" t="4481" r="6923" b="22005"/>
          <a:stretch>
            <a:fillRect/>
          </a:stretch>
        </p:blipFill>
        <p:spPr>
          <a:xfrm>
            <a:off x="7694098" y="1849992"/>
            <a:ext cx="3327069" cy="2847559"/>
          </a:xfrm>
          <a:prstGeom prst="rect">
            <a:avLst/>
          </a:prstGeom>
          <a:ln>
            <a:noFill/>
          </a:ln>
          <a:effectLst>
            <a:softEdge rad="112500"/>
          </a:effectLst>
        </p:spPr>
      </p:pic>
    </p:spTree>
    <p:extLst>
      <p:ext uri="{BB962C8B-B14F-4D97-AF65-F5344CB8AC3E}">
        <p14:creationId xmlns:p14="http://schemas.microsoft.com/office/powerpoint/2010/main" val="18685065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7"/>
          <p:cNvSpPr txBox="1"/>
          <p:nvPr/>
        </p:nvSpPr>
        <p:spPr>
          <a:xfrm>
            <a:off x="596164" y="472737"/>
            <a:ext cx="7702079" cy="702565"/>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nSpc>
                <a:spcPts val="5413"/>
              </a:lnSpc>
            </a:pPr>
            <a:r>
              <a:rPr lang="en-US" sz="5000" b="1">
                <a:solidFill>
                  <a:srgbClr val="1C498B"/>
                </a:solidFill>
                <a:latin typeface="DM Sans"/>
                <a:ea typeface="Calibri"/>
                <a:cs typeface="Calibri"/>
                <a:sym typeface="The Seasons Bold"/>
              </a:rPr>
              <a:t>Breakout Sessions</a:t>
            </a:r>
            <a:endParaRPr lang="en-US" sz="5000" b="1">
              <a:solidFill>
                <a:srgbClr val="1C498B"/>
              </a:solidFill>
              <a:latin typeface="DM Sans"/>
              <a:ea typeface="Calibri"/>
              <a:cs typeface="Calibri"/>
            </a:endParaRPr>
          </a:p>
        </p:txBody>
      </p:sp>
      <p:pic>
        <p:nvPicPr>
          <p:cNvPr id="9" name="Picture 8" descr="A blue and red curved line&#10;&#10;AI-generated content may be incorrect.">
            <a:extLst>
              <a:ext uri="{FF2B5EF4-FFF2-40B4-BE49-F238E27FC236}">
                <a16:creationId xmlns:a16="http://schemas.microsoft.com/office/drawing/2014/main" id="{6EF9938D-4B2A-31A3-6B69-3376839293A6}"/>
              </a:ext>
            </a:extLst>
          </p:cNvPr>
          <p:cNvPicPr>
            <a:picLocks noChangeAspect="1"/>
          </p:cNvPicPr>
          <p:nvPr/>
        </p:nvPicPr>
        <p:blipFill>
          <a:blip r:embed="rId2"/>
          <a:stretch>
            <a:fillRect/>
          </a:stretch>
        </p:blipFill>
        <p:spPr>
          <a:xfrm>
            <a:off x="8671866" y="-1176"/>
            <a:ext cx="3423475" cy="952500"/>
          </a:xfrm>
          <a:prstGeom prst="rect">
            <a:avLst/>
          </a:prstGeom>
        </p:spPr>
      </p:pic>
      <p:pic>
        <p:nvPicPr>
          <p:cNvPr id="12" name="Picture 11" descr="A logo with a map and text&#10;&#10;AI-generated content may be incorrect.">
            <a:extLst>
              <a:ext uri="{FF2B5EF4-FFF2-40B4-BE49-F238E27FC236}">
                <a16:creationId xmlns:a16="http://schemas.microsoft.com/office/drawing/2014/main" id="{FF3AAC08-4914-5479-5E5C-A158F82A1524}"/>
              </a:ext>
            </a:extLst>
          </p:cNvPr>
          <p:cNvPicPr>
            <a:picLocks noChangeAspect="1"/>
          </p:cNvPicPr>
          <p:nvPr/>
        </p:nvPicPr>
        <p:blipFill>
          <a:blip r:embed="rId3"/>
          <a:srcRect t="154" r="-244" b="3921"/>
          <a:stretch>
            <a:fillRect/>
          </a:stretch>
        </p:blipFill>
        <p:spPr>
          <a:xfrm>
            <a:off x="10339918" y="3550"/>
            <a:ext cx="1403277" cy="719901"/>
          </a:xfrm>
          <a:prstGeom prst="rect">
            <a:avLst/>
          </a:prstGeom>
        </p:spPr>
      </p:pic>
      <p:graphicFrame>
        <p:nvGraphicFramePr>
          <p:cNvPr id="5" name="Table 4">
            <a:extLst>
              <a:ext uri="{FF2B5EF4-FFF2-40B4-BE49-F238E27FC236}">
                <a16:creationId xmlns:a16="http://schemas.microsoft.com/office/drawing/2014/main" id="{B2C84548-51B3-0D40-F9CD-03C2B16EB0B0}"/>
              </a:ext>
            </a:extLst>
          </p:cNvPr>
          <p:cNvGraphicFramePr>
            <a:graphicFrameLocks noGrp="1"/>
          </p:cNvGraphicFramePr>
          <p:nvPr/>
        </p:nvGraphicFramePr>
        <p:xfrm>
          <a:off x="595942" y="1713839"/>
          <a:ext cx="10866158" cy="1310640"/>
        </p:xfrm>
        <a:graphic>
          <a:graphicData uri="http://schemas.openxmlformats.org/drawingml/2006/table">
            <a:tbl>
              <a:tblPr firstRow="1" bandRow="1">
                <a:tableStyleId>{5C22544A-7EE6-4342-B048-85BDC9FD1C3A}</a:tableStyleId>
              </a:tblPr>
              <a:tblGrid>
                <a:gridCol w="3185160">
                  <a:extLst>
                    <a:ext uri="{9D8B030D-6E8A-4147-A177-3AD203B41FA5}">
                      <a16:colId xmlns:a16="http://schemas.microsoft.com/office/drawing/2014/main" val="2461222734"/>
                    </a:ext>
                  </a:extLst>
                </a:gridCol>
                <a:gridCol w="4058945">
                  <a:extLst>
                    <a:ext uri="{9D8B030D-6E8A-4147-A177-3AD203B41FA5}">
                      <a16:colId xmlns:a16="http://schemas.microsoft.com/office/drawing/2014/main" val="2808997204"/>
                    </a:ext>
                  </a:extLst>
                </a:gridCol>
                <a:gridCol w="3622053">
                  <a:extLst>
                    <a:ext uri="{9D8B030D-6E8A-4147-A177-3AD203B41FA5}">
                      <a16:colId xmlns:a16="http://schemas.microsoft.com/office/drawing/2014/main" val="3987938203"/>
                    </a:ext>
                  </a:extLst>
                </a:gridCol>
              </a:tblGrid>
              <a:tr h="370840">
                <a:tc>
                  <a:txBody>
                    <a:bodyPr/>
                    <a:lstStyle/>
                    <a:p>
                      <a:pPr lvl="0">
                        <a:buNone/>
                      </a:pPr>
                      <a:r>
                        <a:rPr lang="en-US" sz="2000" b="0" i="0" u="none" strike="noStrike" noProof="0">
                          <a:solidFill>
                            <a:schemeClr val="bg1"/>
                          </a:solidFill>
                          <a:latin typeface="DM Sans"/>
                        </a:rPr>
                        <a:t>Making ESSI Stick: Building Durable Systems for Ongoing Success</a:t>
                      </a:r>
                      <a:endParaRPr lang="en-US" sz="2000">
                        <a:solidFill>
                          <a:schemeClr val="bg1"/>
                        </a:solidFill>
                        <a:latin typeface="DM Sans"/>
                      </a:endParaRPr>
                    </a:p>
                  </a:txBody>
                  <a:tcPr/>
                </a:tc>
                <a:tc>
                  <a:txBody>
                    <a:bodyPr/>
                    <a:lstStyle/>
                    <a:p>
                      <a:pPr lvl="0">
                        <a:buNone/>
                      </a:pPr>
                      <a:r>
                        <a:rPr lang="en-US" sz="2000" b="0" i="0" u="none" strike="noStrike" noProof="0">
                          <a:solidFill>
                            <a:schemeClr val="bg1"/>
                          </a:solidFill>
                          <a:latin typeface="DM Sans"/>
                        </a:rPr>
                        <a:t>Two Patients, One Opportunity: Advancing Perinatal Mental Health  </a:t>
                      </a:r>
                      <a:endParaRPr lang="en-US" sz="2000">
                        <a:solidFill>
                          <a:schemeClr val="bg1"/>
                        </a:solidFill>
                        <a:latin typeface="DM Sans"/>
                      </a:endParaRPr>
                    </a:p>
                  </a:txBody>
                  <a:tcPr/>
                </a:tc>
                <a:tc>
                  <a:txBody>
                    <a:bodyPr/>
                    <a:lstStyle/>
                    <a:p>
                      <a:pPr lvl="0">
                        <a:buNone/>
                      </a:pPr>
                      <a:r>
                        <a:rPr lang="en-US" sz="2000" b="0" i="0" u="none" strike="noStrike" noProof="0">
                          <a:solidFill>
                            <a:schemeClr val="bg1"/>
                          </a:solidFill>
                          <a:latin typeface="DM Sans"/>
                        </a:rPr>
                        <a:t>From Delivery Room to Discharge: Comprehensive Care Pathways for the Late Preterm Infant</a:t>
                      </a:r>
                      <a:endParaRPr lang="en-US" sz="2000">
                        <a:solidFill>
                          <a:schemeClr val="bg1"/>
                        </a:solidFill>
                        <a:latin typeface="DM Sans"/>
                      </a:endParaRPr>
                    </a:p>
                  </a:txBody>
                  <a:tcPr/>
                </a:tc>
                <a:extLst>
                  <a:ext uri="{0D108BD9-81ED-4DB2-BD59-A6C34878D82A}">
                    <a16:rowId xmlns:a16="http://schemas.microsoft.com/office/drawing/2014/main" val="3055583413"/>
                  </a:ext>
                </a:extLst>
              </a:tr>
            </a:tbl>
          </a:graphicData>
        </a:graphic>
      </p:graphicFrame>
      <p:sp>
        <p:nvSpPr>
          <p:cNvPr id="10" name="Freeform 6">
            <a:extLst>
              <a:ext uri="{FF2B5EF4-FFF2-40B4-BE49-F238E27FC236}">
                <a16:creationId xmlns:a16="http://schemas.microsoft.com/office/drawing/2014/main" id="{60F52845-FD76-FB2A-BB16-F11E1F720144}"/>
              </a:ext>
            </a:extLst>
          </p:cNvPr>
          <p:cNvSpPr/>
          <p:nvPr/>
        </p:nvSpPr>
        <p:spPr>
          <a:xfrm>
            <a:off x="9368018" y="3769743"/>
            <a:ext cx="2461244" cy="2204149"/>
          </a:xfrm>
          <a:custGeom>
            <a:avLst/>
            <a:gdLst/>
            <a:ahLst/>
            <a:cxnLst/>
            <a:rect l="l" t="t" r="r" b="b"/>
            <a:pathLst>
              <a:path w="3810479" h="3306223">
                <a:moveTo>
                  <a:pt x="0" y="0"/>
                </a:moveTo>
                <a:lnTo>
                  <a:pt x="3810480" y="0"/>
                </a:lnTo>
                <a:lnTo>
                  <a:pt x="3810480" y="3306223"/>
                </a:lnTo>
                <a:lnTo>
                  <a:pt x="0" y="3306223"/>
                </a:lnTo>
                <a:lnTo>
                  <a:pt x="0" y="0"/>
                </a:lnTo>
                <a:close/>
              </a:path>
            </a:pathLst>
          </a:custGeom>
          <a:blipFill>
            <a:blip>
              <a:extLst>
                <a:ext uri="{96DAC541-7B7A-43D3-8B79-37D633B846F1}">
                  <asvg:svgBlip xmlns:asvg="http://schemas.microsoft.com/office/drawing/2016/SVG/main" r:embed="rId4"/>
                </a:ext>
              </a:extLst>
            </a:blip>
            <a:stretch>
              <a:fillRect/>
            </a:stretch>
          </a:blipFill>
        </p:spPr>
        <p:txBody>
          <a:bodyPr/>
          <a:lstStyle/>
          <a:p>
            <a:endParaRPr lang="en-US"/>
          </a:p>
        </p:txBody>
      </p:sp>
      <p:sp>
        <p:nvSpPr>
          <p:cNvPr id="11" name="Freeform 14" descr="A close-up of flowers in grass&#10;&#10;AI-generated content may be incorrect.">
            <a:extLst>
              <a:ext uri="{FF2B5EF4-FFF2-40B4-BE49-F238E27FC236}">
                <a16:creationId xmlns:a16="http://schemas.microsoft.com/office/drawing/2014/main" id="{28663730-A8C5-C776-2C47-68B93A798657}"/>
              </a:ext>
            </a:extLst>
          </p:cNvPr>
          <p:cNvSpPr/>
          <p:nvPr/>
        </p:nvSpPr>
        <p:spPr>
          <a:xfrm>
            <a:off x="-646981" y="5314442"/>
            <a:ext cx="7848600" cy="1543558"/>
          </a:xfrm>
          <a:custGeom>
            <a:avLst/>
            <a:gdLst/>
            <a:ahLst/>
            <a:cxnLst/>
            <a:rect l="l" t="t" r="r" b="b"/>
            <a:pathLst>
              <a:path w="11772900" h="2315337">
                <a:moveTo>
                  <a:pt x="0" y="0"/>
                </a:moveTo>
                <a:lnTo>
                  <a:pt x="11772900" y="0"/>
                </a:lnTo>
                <a:lnTo>
                  <a:pt x="11772900" y="2315337"/>
                </a:lnTo>
                <a:lnTo>
                  <a:pt x="0" y="2315337"/>
                </a:lnTo>
                <a:lnTo>
                  <a:pt x="0" y="0"/>
                </a:lnTo>
                <a:close/>
              </a:path>
            </a:pathLst>
          </a:custGeom>
          <a:blipFill>
            <a:blip r:embed="rId5"/>
            <a:stretch>
              <a:fillRect/>
            </a:stretch>
          </a:blipFill>
        </p:spPr>
        <p:txBody>
          <a:bodyPr/>
          <a:lstStyle/>
          <a:p>
            <a:endParaRPr lang="en-US"/>
          </a:p>
        </p:txBody>
      </p:sp>
      <p:sp>
        <p:nvSpPr>
          <p:cNvPr id="14" name="Freeform 14" descr="A close-up of flowers in grass&#10;&#10;AI-generated content may be incorrect.">
            <a:extLst>
              <a:ext uri="{FF2B5EF4-FFF2-40B4-BE49-F238E27FC236}">
                <a16:creationId xmlns:a16="http://schemas.microsoft.com/office/drawing/2014/main" id="{3AD481E5-9705-4C35-A30D-364C949341FC}"/>
              </a:ext>
            </a:extLst>
          </p:cNvPr>
          <p:cNvSpPr/>
          <p:nvPr/>
        </p:nvSpPr>
        <p:spPr>
          <a:xfrm>
            <a:off x="6558598" y="5314442"/>
            <a:ext cx="7848600" cy="1543558"/>
          </a:xfrm>
          <a:custGeom>
            <a:avLst/>
            <a:gdLst/>
            <a:ahLst/>
            <a:cxnLst/>
            <a:rect l="l" t="t" r="r" b="b"/>
            <a:pathLst>
              <a:path w="11772900" h="2315337">
                <a:moveTo>
                  <a:pt x="0" y="0"/>
                </a:moveTo>
                <a:lnTo>
                  <a:pt x="11772900" y="0"/>
                </a:lnTo>
                <a:lnTo>
                  <a:pt x="11772900" y="2315337"/>
                </a:lnTo>
                <a:lnTo>
                  <a:pt x="0" y="2315337"/>
                </a:lnTo>
                <a:lnTo>
                  <a:pt x="0" y="0"/>
                </a:lnTo>
                <a:close/>
              </a:path>
            </a:pathLst>
          </a:custGeom>
          <a:blipFill>
            <a:blip r:embed="rId5"/>
            <a:stretch>
              <a:fillRect/>
            </a:stretch>
          </a:blipFill>
        </p:spPr>
        <p:txBody>
          <a:bodyPr/>
          <a:lstStyle/>
          <a:p>
            <a:endParaRPr lang="en-US"/>
          </a:p>
        </p:txBody>
      </p:sp>
    </p:spTree>
    <p:extLst>
      <p:ext uri="{BB962C8B-B14F-4D97-AF65-F5344CB8AC3E}">
        <p14:creationId xmlns:p14="http://schemas.microsoft.com/office/powerpoint/2010/main" val="9766219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6592"/>
        <p:cNvGrpSpPr/>
        <p:nvPr/>
      </p:nvGrpSpPr>
      <p:grpSpPr>
        <a:xfrm>
          <a:off x="0" y="0"/>
          <a:ext cx="0" cy="0"/>
          <a:chOff x="0" y="0"/>
          <a:chExt cx="0" cy="0"/>
        </a:xfrm>
      </p:grpSpPr>
      <p:sp>
        <p:nvSpPr>
          <p:cNvPr id="16593" name="Google Shape;16593;p272"/>
          <p:cNvSpPr/>
          <p:nvPr/>
        </p:nvSpPr>
        <p:spPr>
          <a:xfrm>
            <a:off x="5219075" y="0"/>
            <a:ext cx="7052935" cy="6900116"/>
          </a:xfrm>
          <a:custGeom>
            <a:avLst/>
            <a:gdLst/>
            <a:ahLst/>
            <a:cxnLst/>
            <a:rect l="l" t="t" r="r" b="b"/>
            <a:pathLst>
              <a:path w="10579403" h="10200086" extrusionOk="0">
                <a:moveTo>
                  <a:pt x="0" y="0"/>
                </a:moveTo>
                <a:lnTo>
                  <a:pt x="10579403" y="0"/>
                </a:lnTo>
                <a:lnTo>
                  <a:pt x="10579403" y="10200086"/>
                </a:lnTo>
                <a:lnTo>
                  <a:pt x="0" y="10200086"/>
                </a:lnTo>
                <a:lnTo>
                  <a:pt x="0" y="0"/>
                </a:lnTo>
                <a:close/>
              </a:path>
            </a:pathLst>
          </a:custGeom>
          <a:blipFill rotWithShape="1">
            <a:blip r:embed="rId3" cstate="email">
              <a:alphaModFix/>
              <a:extLst>
                <a:ext uri="{28A0092B-C50C-407E-A947-70E740481C1C}">
                  <a14:useLocalDpi xmlns:a14="http://schemas.microsoft.com/office/drawing/2010/main"/>
                </a:ext>
              </a:extLst>
            </a:blip>
            <a:stretch>
              <a:fillRect/>
            </a:stretch>
          </a:bli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800"/>
              <a:buFont typeface="Arial"/>
              <a:buNone/>
            </a:pPr>
            <a:endParaRPr sz="800" b="0" i="0" u="none" strike="noStrike" cap="none" dirty="0">
              <a:solidFill>
                <a:schemeClr val="dk1"/>
              </a:solidFill>
              <a:latin typeface="DM Sans"/>
              <a:ea typeface="DM Sans"/>
              <a:cs typeface="DM Sans"/>
              <a:sym typeface="DM Sans"/>
            </a:endParaRPr>
          </a:p>
        </p:txBody>
      </p:sp>
      <p:sp>
        <p:nvSpPr>
          <p:cNvPr id="16594" name="Google Shape;16594;p272"/>
          <p:cNvSpPr txBox="1"/>
          <p:nvPr/>
        </p:nvSpPr>
        <p:spPr>
          <a:xfrm>
            <a:off x="476586" y="271010"/>
            <a:ext cx="4912597" cy="1324978"/>
          </a:xfrm>
          <a:prstGeom prst="rect">
            <a:avLst/>
          </a:prstGeom>
          <a:noFill/>
          <a:ln>
            <a:noFill/>
          </a:ln>
        </p:spPr>
        <p:txBody>
          <a:bodyPr spcFirstLastPara="1" wrap="square" lIns="0" tIns="0" rIns="0" bIns="0" anchor="t" anchorCtr="0">
            <a:spAutoFit/>
          </a:bodyPr>
          <a:lstStyle/>
          <a:p>
            <a:pPr marL="0" marR="0" lvl="0" indent="0" algn="l" rtl="0">
              <a:lnSpc>
                <a:spcPct val="140000"/>
              </a:lnSpc>
              <a:spcBef>
                <a:spcPts val="0"/>
              </a:spcBef>
              <a:spcAft>
                <a:spcPts val="0"/>
              </a:spcAft>
              <a:buClr>
                <a:srgbClr val="000000"/>
              </a:buClr>
              <a:buSzPts val="2075"/>
              <a:buFont typeface="Arial"/>
              <a:buNone/>
            </a:pPr>
            <a:r>
              <a:rPr lang="en-US" sz="2050" b="0" i="0" u="none" strike="noStrike" cap="none">
                <a:solidFill>
                  <a:srgbClr val="000000"/>
                </a:solidFill>
                <a:latin typeface="DM Sans"/>
                <a:ea typeface="DM Sans"/>
                <a:cs typeface="DM Sans"/>
                <a:sym typeface="DM Sans"/>
              </a:rPr>
              <a:t>You will be staying in the same room (assigned by last name)</a:t>
            </a:r>
            <a:r>
              <a:rPr lang="en-US" sz="2050" b="0" i="0" u="sng" strike="noStrike" cap="none">
                <a:solidFill>
                  <a:srgbClr val="000000"/>
                </a:solidFill>
                <a:latin typeface="DM Sans"/>
                <a:ea typeface="DM Sans"/>
                <a:cs typeface="DM Sans"/>
                <a:sym typeface="DM Sans"/>
              </a:rPr>
              <a:t> during all three breakout sessions.</a:t>
            </a:r>
            <a:endParaRPr lang="en-US" sz="2050" b="0" i="0" u="sng" strike="noStrike" cap="none">
              <a:solidFill>
                <a:srgbClr val="000000"/>
              </a:solidFill>
              <a:latin typeface="Arial"/>
              <a:ea typeface="Arial"/>
              <a:cs typeface="Arial"/>
            </a:endParaRPr>
          </a:p>
        </p:txBody>
      </p:sp>
      <p:sp>
        <p:nvSpPr>
          <p:cNvPr id="16595" name="Google Shape;16595;p272"/>
          <p:cNvSpPr txBox="1"/>
          <p:nvPr/>
        </p:nvSpPr>
        <p:spPr>
          <a:xfrm>
            <a:off x="478577" y="1715200"/>
            <a:ext cx="1805345" cy="447943"/>
          </a:xfrm>
          <a:prstGeom prst="rect">
            <a:avLst/>
          </a:prstGeom>
          <a:noFill/>
          <a:ln>
            <a:noFill/>
          </a:ln>
        </p:spPr>
        <p:txBody>
          <a:bodyPr spcFirstLastPara="1" wrap="square" lIns="0" tIns="0" rIns="0" bIns="0" anchor="t" anchorCtr="0">
            <a:spAutoFit/>
          </a:bodyPr>
          <a:lstStyle/>
          <a:p>
            <a:pPr marL="0" marR="0" lvl="0" indent="0" algn="l" rtl="0">
              <a:lnSpc>
                <a:spcPct val="141707"/>
              </a:lnSpc>
              <a:spcBef>
                <a:spcPts val="0"/>
              </a:spcBef>
              <a:spcAft>
                <a:spcPts val="0"/>
              </a:spcAft>
              <a:buClr>
                <a:srgbClr val="000000"/>
              </a:buClr>
              <a:buSzPts val="2050"/>
              <a:buFont typeface="Arial"/>
              <a:buNone/>
            </a:pPr>
            <a:r>
              <a:rPr lang="en-US" sz="2050" b="1" i="0" u="none" strike="noStrike" cap="none">
                <a:solidFill>
                  <a:srgbClr val="C02246"/>
                </a:solidFill>
                <a:latin typeface="DM Sans"/>
                <a:ea typeface="DM Sans"/>
                <a:cs typeface="DM Sans"/>
                <a:sym typeface="DM Sans"/>
              </a:rPr>
              <a:t>Room</a:t>
            </a:r>
            <a:endParaRPr sz="2075" b="1" i="0" u="none" strike="noStrike" cap="none">
              <a:solidFill>
                <a:srgbClr val="C02246"/>
              </a:solidFill>
              <a:latin typeface="DM Sans"/>
              <a:ea typeface="DM Sans"/>
              <a:cs typeface="DM Sans"/>
              <a:sym typeface="DM Sans"/>
            </a:endParaRPr>
          </a:p>
        </p:txBody>
      </p:sp>
      <p:sp>
        <p:nvSpPr>
          <p:cNvPr id="16596" name="Google Shape;16596;p272"/>
          <p:cNvSpPr txBox="1"/>
          <p:nvPr/>
        </p:nvSpPr>
        <p:spPr>
          <a:xfrm>
            <a:off x="3018577" y="2423322"/>
            <a:ext cx="3352435" cy="378565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2050"/>
              <a:buFont typeface="Arial"/>
              <a:buNone/>
            </a:pPr>
            <a:r>
              <a:rPr lang="en-US" sz="2050" b="1" i="0" u="none" strike="noStrike" cap="none">
                <a:solidFill>
                  <a:srgbClr val="000000"/>
                </a:solidFill>
                <a:latin typeface="DM Sans"/>
                <a:ea typeface="DM Sans"/>
                <a:cs typeface="DM Sans"/>
                <a:sym typeface="DM Sans"/>
              </a:rPr>
              <a:t>A-Ch</a:t>
            </a:r>
            <a:endParaRPr sz="2050" b="1" i="0" u="none" strike="noStrike" cap="none">
              <a:solidFill>
                <a:srgbClr val="000000"/>
              </a:solidFill>
              <a:latin typeface="DM Sans"/>
              <a:ea typeface="DM Sans"/>
              <a:cs typeface="DM Sans"/>
              <a:sym typeface="DM Sans"/>
            </a:endParaRPr>
          </a:p>
          <a:p>
            <a:pPr marL="0" marR="0" lvl="0" indent="0" algn="l" rtl="0">
              <a:lnSpc>
                <a:spcPct val="100000"/>
              </a:lnSpc>
              <a:spcBef>
                <a:spcPts val="0"/>
              </a:spcBef>
              <a:spcAft>
                <a:spcPts val="0"/>
              </a:spcAft>
              <a:buClr>
                <a:srgbClr val="000000"/>
              </a:buClr>
              <a:buSzPts val="2050"/>
              <a:buFont typeface="Arial"/>
              <a:buNone/>
            </a:pPr>
            <a:endParaRPr sz="2050" b="1" i="0" u="none" strike="noStrike" cap="none">
              <a:solidFill>
                <a:schemeClr val="dk1"/>
              </a:solidFill>
              <a:latin typeface="DM Sans"/>
              <a:ea typeface="DM Sans"/>
              <a:cs typeface="DM Sans"/>
              <a:sym typeface="DM Sans"/>
            </a:endParaRPr>
          </a:p>
          <a:p>
            <a:pPr marL="0" marR="0" lvl="0" indent="0" algn="l" rtl="0">
              <a:lnSpc>
                <a:spcPct val="100000"/>
              </a:lnSpc>
              <a:spcBef>
                <a:spcPts val="0"/>
              </a:spcBef>
              <a:spcAft>
                <a:spcPts val="0"/>
              </a:spcAft>
              <a:buClr>
                <a:srgbClr val="000000"/>
              </a:buClr>
              <a:buSzPts val="2050"/>
              <a:buFont typeface="Arial"/>
              <a:buNone/>
            </a:pPr>
            <a:r>
              <a:rPr lang="en-US" sz="2050" b="1" i="0" u="none" strike="noStrike" cap="none">
                <a:solidFill>
                  <a:schemeClr val="dk1"/>
                </a:solidFill>
                <a:latin typeface="DM Sans"/>
                <a:ea typeface="DM Sans"/>
                <a:cs typeface="DM Sans"/>
                <a:sym typeface="DM Sans"/>
              </a:rPr>
              <a:t>CI-F</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2050"/>
              <a:buFont typeface="Arial"/>
              <a:buNone/>
            </a:pPr>
            <a:endParaRPr sz="2050" b="1" i="0" u="none" strike="noStrike" cap="none">
              <a:solidFill>
                <a:schemeClr val="dk1"/>
              </a:solidFill>
              <a:latin typeface="DM Sans"/>
              <a:ea typeface="DM Sans"/>
              <a:cs typeface="DM Sans"/>
              <a:sym typeface="DM Sans"/>
            </a:endParaRPr>
          </a:p>
          <a:p>
            <a:pPr marL="0" marR="0" lvl="0" indent="0" algn="l" rtl="0">
              <a:lnSpc>
                <a:spcPct val="100000"/>
              </a:lnSpc>
              <a:spcBef>
                <a:spcPts val="0"/>
              </a:spcBef>
              <a:spcAft>
                <a:spcPts val="0"/>
              </a:spcAft>
              <a:buClr>
                <a:srgbClr val="000000"/>
              </a:buClr>
              <a:buSzPts val="2050"/>
              <a:buFont typeface="Arial"/>
              <a:buNone/>
            </a:pPr>
            <a:r>
              <a:rPr lang="en-US" sz="2050" b="1" i="0" u="none" strike="noStrike" cap="none">
                <a:solidFill>
                  <a:schemeClr val="dk1"/>
                </a:solidFill>
                <a:latin typeface="DM Sans"/>
                <a:ea typeface="DM Sans"/>
                <a:cs typeface="DM Sans"/>
                <a:sym typeface="DM Sans"/>
              </a:rPr>
              <a:t>G-Ka</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2050"/>
              <a:buFont typeface="Arial"/>
              <a:buNone/>
            </a:pPr>
            <a:endParaRPr sz="2050" b="1" i="0" u="none" strike="noStrike" cap="none">
              <a:solidFill>
                <a:schemeClr val="dk1"/>
              </a:solidFill>
              <a:latin typeface="DM Sans"/>
              <a:ea typeface="DM Sans"/>
              <a:cs typeface="DM Sans"/>
              <a:sym typeface="DM Sans"/>
            </a:endParaRPr>
          </a:p>
          <a:p>
            <a:pPr marL="0" marR="0" lvl="0" indent="0" algn="l" rtl="0">
              <a:lnSpc>
                <a:spcPct val="100000"/>
              </a:lnSpc>
              <a:spcBef>
                <a:spcPts val="0"/>
              </a:spcBef>
              <a:spcAft>
                <a:spcPts val="0"/>
              </a:spcAft>
              <a:buClr>
                <a:srgbClr val="000000"/>
              </a:buClr>
              <a:buSzPts val="2050"/>
              <a:buFont typeface="Arial"/>
              <a:buNone/>
            </a:pPr>
            <a:r>
              <a:rPr lang="en-US" sz="2050" b="1" i="0" u="none" strike="noStrike" cap="none">
                <a:solidFill>
                  <a:schemeClr val="dk1"/>
                </a:solidFill>
                <a:latin typeface="DM Sans"/>
                <a:ea typeface="DM Sans"/>
                <a:cs typeface="DM Sans"/>
                <a:sym typeface="DM Sans"/>
              </a:rPr>
              <a:t>Ke-M</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2050"/>
              <a:buFont typeface="Arial"/>
              <a:buNone/>
            </a:pPr>
            <a:endParaRPr sz="2050" b="1" i="0" u="none" strike="noStrike" cap="none">
              <a:solidFill>
                <a:schemeClr val="dk1"/>
              </a:solidFill>
              <a:latin typeface="DM Sans"/>
              <a:ea typeface="DM Sans"/>
              <a:cs typeface="DM Sans"/>
              <a:sym typeface="DM Sans"/>
            </a:endParaRPr>
          </a:p>
          <a:p>
            <a:pPr marL="0" marR="0" lvl="0" indent="0" algn="l" rtl="0">
              <a:lnSpc>
                <a:spcPct val="100000"/>
              </a:lnSpc>
              <a:spcBef>
                <a:spcPts val="0"/>
              </a:spcBef>
              <a:spcAft>
                <a:spcPts val="0"/>
              </a:spcAft>
              <a:buClr>
                <a:srgbClr val="000000"/>
              </a:buClr>
              <a:buSzPts val="2050"/>
              <a:buFont typeface="Arial"/>
              <a:buNone/>
            </a:pPr>
            <a:r>
              <a:rPr lang="en-US" sz="2050" b="1" i="0" u="none" strike="noStrike" cap="none">
                <a:solidFill>
                  <a:schemeClr val="dk1"/>
                </a:solidFill>
                <a:latin typeface="DM Sans"/>
                <a:ea typeface="DM Sans"/>
                <a:cs typeface="DM Sans"/>
                <a:sym typeface="DM Sans"/>
              </a:rPr>
              <a:t>N-Sh</a:t>
            </a:r>
            <a:endParaRPr sz="2050" b="1" i="0" u="none" strike="noStrike" cap="none">
              <a:solidFill>
                <a:schemeClr val="dk1"/>
              </a:solidFill>
              <a:latin typeface="DM Sans"/>
              <a:ea typeface="DM Sans"/>
              <a:cs typeface="DM Sans"/>
              <a:sym typeface="DM Sans"/>
            </a:endParaRPr>
          </a:p>
          <a:p>
            <a:pPr marL="0" marR="0" lvl="0" indent="0" algn="l" rtl="0">
              <a:lnSpc>
                <a:spcPct val="100000"/>
              </a:lnSpc>
              <a:spcBef>
                <a:spcPts val="0"/>
              </a:spcBef>
              <a:spcAft>
                <a:spcPts val="0"/>
              </a:spcAft>
              <a:buClr>
                <a:srgbClr val="000000"/>
              </a:buClr>
              <a:buSzPts val="2050"/>
              <a:buFont typeface="Arial"/>
              <a:buNone/>
            </a:pPr>
            <a:endParaRPr sz="2050" b="1" i="0" u="none" strike="noStrike" cap="none">
              <a:solidFill>
                <a:schemeClr val="dk1"/>
              </a:solidFill>
              <a:latin typeface="DM Sans"/>
              <a:ea typeface="DM Sans"/>
              <a:cs typeface="DM Sans"/>
              <a:sym typeface="DM Sans"/>
            </a:endParaRPr>
          </a:p>
          <a:p>
            <a:pPr marL="0" marR="0" lvl="0" indent="0" algn="l" rtl="0">
              <a:lnSpc>
                <a:spcPct val="100000"/>
              </a:lnSpc>
              <a:spcBef>
                <a:spcPts val="0"/>
              </a:spcBef>
              <a:spcAft>
                <a:spcPts val="0"/>
              </a:spcAft>
              <a:buClr>
                <a:srgbClr val="000000"/>
              </a:buClr>
              <a:buSzPts val="2050"/>
              <a:buFont typeface="Arial"/>
              <a:buNone/>
            </a:pPr>
            <a:r>
              <a:rPr lang="en-US" sz="2050" b="1" i="0" u="none" strike="noStrike" cap="none">
                <a:solidFill>
                  <a:schemeClr val="dk1"/>
                </a:solidFill>
                <a:latin typeface="DM Sans"/>
                <a:ea typeface="DM Sans"/>
                <a:cs typeface="DM Sans"/>
                <a:sym typeface="DM Sans"/>
              </a:rPr>
              <a:t>Si-Z</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2050"/>
              <a:buFont typeface="Arial"/>
              <a:buNone/>
            </a:pPr>
            <a:endParaRPr sz="2050" b="1" i="0" u="none" strike="noStrike" cap="none">
              <a:solidFill>
                <a:schemeClr val="dk1"/>
              </a:solidFill>
              <a:latin typeface="DM Sans"/>
              <a:ea typeface="DM Sans"/>
              <a:cs typeface="DM Sans"/>
              <a:sym typeface="DM Sans"/>
            </a:endParaRPr>
          </a:p>
        </p:txBody>
      </p:sp>
      <p:sp>
        <p:nvSpPr>
          <p:cNvPr id="16597" name="Google Shape;16597;p272"/>
          <p:cNvSpPr txBox="1"/>
          <p:nvPr/>
        </p:nvSpPr>
        <p:spPr>
          <a:xfrm>
            <a:off x="3018577" y="1715200"/>
            <a:ext cx="1805345" cy="447943"/>
          </a:xfrm>
          <a:prstGeom prst="rect">
            <a:avLst/>
          </a:prstGeom>
          <a:noFill/>
          <a:ln>
            <a:noFill/>
          </a:ln>
        </p:spPr>
        <p:txBody>
          <a:bodyPr spcFirstLastPara="1" wrap="square" lIns="0" tIns="0" rIns="0" bIns="0" anchor="t" anchorCtr="0">
            <a:spAutoFit/>
          </a:bodyPr>
          <a:lstStyle/>
          <a:p>
            <a:pPr marL="0" marR="0" lvl="0" indent="0" algn="l" rtl="0">
              <a:lnSpc>
                <a:spcPct val="141707"/>
              </a:lnSpc>
              <a:spcBef>
                <a:spcPts val="0"/>
              </a:spcBef>
              <a:spcAft>
                <a:spcPts val="0"/>
              </a:spcAft>
              <a:buClr>
                <a:srgbClr val="000000"/>
              </a:buClr>
              <a:buSzPts val="2050"/>
              <a:buFont typeface="Arial"/>
              <a:buNone/>
            </a:pPr>
            <a:r>
              <a:rPr lang="en-US" sz="2050" b="1" i="0" u="none" strike="noStrike" cap="none">
                <a:solidFill>
                  <a:srgbClr val="C02246"/>
                </a:solidFill>
                <a:latin typeface="DM Sans"/>
                <a:ea typeface="DM Sans"/>
                <a:cs typeface="DM Sans"/>
                <a:sym typeface="DM Sans"/>
              </a:rPr>
              <a:t>Last Name:</a:t>
            </a:r>
            <a:endParaRPr lang="en-US" sz="1200" b="0" i="0" u="none" strike="noStrike" cap="none">
              <a:solidFill>
                <a:srgbClr val="C02246"/>
              </a:solidFill>
              <a:latin typeface="DM Sans"/>
              <a:ea typeface="DM Sans"/>
              <a:cs typeface="DM Sans"/>
            </a:endParaRPr>
          </a:p>
        </p:txBody>
      </p:sp>
      <p:sp>
        <p:nvSpPr>
          <p:cNvPr id="16598" name="Google Shape;16598;p272"/>
          <p:cNvSpPr txBox="1"/>
          <p:nvPr/>
        </p:nvSpPr>
        <p:spPr>
          <a:xfrm>
            <a:off x="497195" y="2414608"/>
            <a:ext cx="3604039" cy="378666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2100"/>
              <a:buFont typeface="Arial"/>
              <a:buNone/>
            </a:pPr>
            <a:r>
              <a:rPr lang="en-US" sz="2100" b="0" i="0" u="none" strike="noStrike" cap="none" dirty="0">
                <a:solidFill>
                  <a:srgbClr val="444C55"/>
                </a:solidFill>
                <a:latin typeface="DM Sans"/>
                <a:ea typeface="DM Sans"/>
                <a:cs typeface="DM Sans"/>
                <a:sym typeface="DM Sans"/>
              </a:rPr>
              <a:t>Lincoln			</a:t>
            </a:r>
            <a:endParaRPr sz="1200" b="0" i="0" u="none" strike="noStrike" cap="none" dirty="0">
              <a:solidFill>
                <a:schemeClr val="dk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2050"/>
              <a:buFont typeface="Arial"/>
              <a:buNone/>
            </a:pPr>
            <a:endParaRPr sz="2050" b="0" i="0" u="none" strike="noStrike" cap="none" dirty="0">
              <a:solidFill>
                <a:srgbClr val="000000"/>
              </a:solidFill>
              <a:latin typeface="DM Sans"/>
              <a:ea typeface="DM Sans"/>
              <a:cs typeface="DM Sans"/>
              <a:sym typeface="DM Sans"/>
            </a:endParaRPr>
          </a:p>
          <a:p>
            <a:pPr marL="0" marR="0" lvl="0" indent="0" algn="l" rtl="0">
              <a:lnSpc>
                <a:spcPct val="100000"/>
              </a:lnSpc>
              <a:spcBef>
                <a:spcPts val="0"/>
              </a:spcBef>
              <a:spcAft>
                <a:spcPts val="0"/>
              </a:spcAft>
              <a:buClr>
                <a:srgbClr val="000000"/>
              </a:buClr>
              <a:buSzPts val="2100"/>
              <a:buFont typeface="Arial"/>
              <a:buNone/>
            </a:pPr>
            <a:r>
              <a:rPr lang="en-US" sz="2100" b="0" i="0" u="none" strike="noStrike" cap="none" dirty="0">
                <a:solidFill>
                  <a:schemeClr val="dk1"/>
                </a:solidFill>
                <a:latin typeface="DM Sans"/>
                <a:ea typeface="DM Sans"/>
                <a:cs typeface="DM Sans"/>
                <a:sym typeface="DM Sans"/>
              </a:rPr>
              <a:t>Ottawa</a:t>
            </a:r>
            <a:endParaRPr sz="2100" b="0" i="0" u="none" strike="noStrike" cap="none" dirty="0">
              <a:solidFill>
                <a:schemeClr val="dk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2050"/>
              <a:buFont typeface="Arial"/>
              <a:buNone/>
            </a:pPr>
            <a:endParaRPr sz="2050" b="1" i="0" u="none" strike="noStrike" cap="none" dirty="0">
              <a:solidFill>
                <a:schemeClr val="dk1"/>
              </a:solidFill>
              <a:latin typeface="DM Sans"/>
              <a:ea typeface="DM Sans"/>
              <a:cs typeface="DM Sans"/>
              <a:sym typeface="DM Sans"/>
            </a:endParaRPr>
          </a:p>
          <a:p>
            <a:pPr marL="0" marR="0" lvl="0" indent="0" algn="l" rtl="0">
              <a:lnSpc>
                <a:spcPct val="100000"/>
              </a:lnSpc>
              <a:spcBef>
                <a:spcPts val="0"/>
              </a:spcBef>
              <a:spcAft>
                <a:spcPts val="0"/>
              </a:spcAft>
              <a:buClr>
                <a:srgbClr val="000000"/>
              </a:buClr>
              <a:buSzPts val="2050"/>
              <a:buFont typeface="Arial"/>
              <a:buNone/>
            </a:pPr>
            <a:r>
              <a:rPr lang="en-US" sz="2050" b="0" i="0" u="none" strike="noStrike" cap="none" dirty="0">
                <a:solidFill>
                  <a:schemeClr val="dk1"/>
                </a:solidFill>
                <a:latin typeface="Arial"/>
                <a:ea typeface="Arial"/>
                <a:cs typeface="Arial"/>
                <a:sym typeface="Arial"/>
              </a:rPr>
              <a:t>Freeport A</a:t>
            </a:r>
            <a:endParaRPr sz="1200" b="0" i="0" u="none" strike="noStrike" cap="none" dirty="0">
              <a:solidFill>
                <a:schemeClr val="dk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2050"/>
              <a:buFont typeface="Arial"/>
              <a:buNone/>
            </a:pPr>
            <a:endParaRPr sz="2050" b="0" i="0" u="none" strike="noStrike" cap="none" dirty="0">
              <a:solidFill>
                <a:schemeClr val="dk1"/>
              </a:solidFill>
              <a:latin typeface="DM Sans"/>
              <a:ea typeface="DM Sans"/>
              <a:cs typeface="DM Sans"/>
              <a:sym typeface="DM Sans"/>
            </a:endParaRPr>
          </a:p>
          <a:p>
            <a:pPr marL="0" marR="0" lvl="0" indent="0" algn="l" rtl="0">
              <a:lnSpc>
                <a:spcPct val="100000"/>
              </a:lnSpc>
              <a:spcBef>
                <a:spcPts val="0"/>
              </a:spcBef>
              <a:spcAft>
                <a:spcPts val="0"/>
              </a:spcAft>
              <a:buClr>
                <a:srgbClr val="000000"/>
              </a:buClr>
              <a:buSzPts val="2050"/>
              <a:buFont typeface="Arial"/>
              <a:buNone/>
            </a:pPr>
            <a:r>
              <a:rPr lang="en-US" sz="2050" b="0" i="0" u="none" strike="noStrike" cap="none" dirty="0">
                <a:solidFill>
                  <a:schemeClr val="dk1"/>
                </a:solidFill>
                <a:latin typeface="Arial"/>
                <a:ea typeface="Arial"/>
                <a:cs typeface="Arial"/>
                <a:sym typeface="Arial"/>
              </a:rPr>
              <a:t>Freeport B</a:t>
            </a:r>
            <a:endParaRPr sz="1200" b="0" i="0" u="none" strike="noStrike" cap="none" dirty="0">
              <a:solidFill>
                <a:schemeClr val="dk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2050"/>
              <a:buFont typeface="Arial"/>
              <a:buNone/>
            </a:pPr>
            <a:endParaRPr sz="2050" b="1" i="0" u="none" strike="noStrike" cap="none" dirty="0">
              <a:solidFill>
                <a:schemeClr val="dk1"/>
              </a:solidFill>
              <a:latin typeface="DM Sans"/>
              <a:ea typeface="DM Sans"/>
              <a:cs typeface="DM Sans"/>
              <a:sym typeface="DM Sans"/>
            </a:endParaRPr>
          </a:p>
          <a:p>
            <a:pPr marL="0" marR="0" lvl="0" indent="0" algn="l" rtl="0">
              <a:lnSpc>
                <a:spcPct val="100000"/>
              </a:lnSpc>
              <a:spcBef>
                <a:spcPts val="0"/>
              </a:spcBef>
              <a:spcAft>
                <a:spcPts val="0"/>
              </a:spcAft>
              <a:buClr>
                <a:srgbClr val="000000"/>
              </a:buClr>
              <a:buSzPts val="2050"/>
              <a:buFont typeface="Arial"/>
              <a:buNone/>
            </a:pPr>
            <a:r>
              <a:rPr lang="en-US" sz="2050" b="0" i="0" u="none" strike="noStrike" cap="none" dirty="0">
                <a:solidFill>
                  <a:schemeClr val="dk1"/>
                </a:solidFill>
                <a:latin typeface="Arial"/>
                <a:ea typeface="Arial"/>
                <a:cs typeface="Arial"/>
                <a:sym typeface="Arial"/>
              </a:rPr>
              <a:t>Freeport C</a:t>
            </a:r>
            <a:endParaRPr sz="1200" b="0" i="0" u="none" strike="noStrike" cap="none" dirty="0">
              <a:solidFill>
                <a:schemeClr val="dk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2050"/>
              <a:buFont typeface="Arial"/>
              <a:buNone/>
            </a:pPr>
            <a:endParaRPr sz="2050" b="1" i="0" u="none" strike="noStrike" cap="none" dirty="0">
              <a:solidFill>
                <a:schemeClr val="dk1"/>
              </a:solidFill>
              <a:latin typeface="DM Sans"/>
              <a:ea typeface="DM Sans"/>
              <a:cs typeface="DM Sans"/>
              <a:sym typeface="DM Sans"/>
            </a:endParaRPr>
          </a:p>
          <a:p>
            <a:pPr marL="0" marR="0" lvl="0" indent="0" algn="l" rtl="0">
              <a:lnSpc>
                <a:spcPct val="100000"/>
              </a:lnSpc>
              <a:spcBef>
                <a:spcPts val="0"/>
              </a:spcBef>
              <a:spcAft>
                <a:spcPts val="0"/>
              </a:spcAft>
              <a:buClr>
                <a:srgbClr val="000000"/>
              </a:buClr>
              <a:buSzPts val="2050"/>
              <a:buFont typeface="Arial"/>
              <a:buNone/>
            </a:pPr>
            <a:r>
              <a:rPr lang="en-US" sz="2050" b="0" i="0" u="none" strike="noStrike" cap="none" dirty="0">
                <a:solidFill>
                  <a:schemeClr val="dk1"/>
                </a:solidFill>
                <a:latin typeface="DM Sans"/>
                <a:ea typeface="DM Sans"/>
                <a:cs typeface="DM Sans"/>
                <a:sym typeface="DM Sans"/>
              </a:rPr>
              <a:t>Gov. Altgeld</a:t>
            </a:r>
            <a:endParaRPr sz="2050" b="0" i="0" u="none" strike="noStrike" cap="none" dirty="0">
              <a:solidFill>
                <a:schemeClr val="dk1"/>
              </a:solidFill>
              <a:latin typeface="DM Sans"/>
              <a:ea typeface="DM Sans"/>
              <a:cs typeface="DM Sans"/>
              <a:sym typeface="DM Sans"/>
            </a:endParaRPr>
          </a:p>
          <a:p>
            <a:pPr marL="0" marR="0" lvl="0" indent="0" algn="l" rtl="0">
              <a:lnSpc>
                <a:spcPct val="100000"/>
              </a:lnSpc>
              <a:spcBef>
                <a:spcPts val="0"/>
              </a:spcBef>
              <a:spcAft>
                <a:spcPts val="0"/>
              </a:spcAft>
              <a:buClr>
                <a:srgbClr val="000000"/>
              </a:buClr>
              <a:buSzPts val="2050"/>
              <a:buFont typeface="Arial"/>
              <a:buNone/>
            </a:pPr>
            <a:endParaRPr sz="2050" b="1" i="0" u="none" strike="noStrike" cap="none" dirty="0">
              <a:solidFill>
                <a:schemeClr val="dk1"/>
              </a:solidFill>
              <a:latin typeface="DM Sans"/>
              <a:ea typeface="DM Sans"/>
              <a:cs typeface="DM Sans"/>
              <a:sym typeface="DM Sans"/>
            </a:endParaRPr>
          </a:p>
        </p:txBody>
      </p:sp>
      <p:sp>
        <p:nvSpPr>
          <p:cNvPr id="16599" name="Google Shape;16599;p272"/>
          <p:cNvSpPr/>
          <p:nvPr/>
        </p:nvSpPr>
        <p:spPr>
          <a:xfrm>
            <a:off x="9190945" y="2421773"/>
            <a:ext cx="1166191" cy="689113"/>
          </a:xfrm>
          <a:prstGeom prst="rect">
            <a:avLst/>
          </a:prstGeom>
          <a:noFill/>
          <a:ln w="57150"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DM Sans"/>
              <a:ea typeface="DM Sans"/>
              <a:cs typeface="DM Sans"/>
              <a:sym typeface="DM Sans"/>
            </a:endParaRPr>
          </a:p>
        </p:txBody>
      </p:sp>
      <p:sp>
        <p:nvSpPr>
          <p:cNvPr id="16600" name="Google Shape;16600;p272"/>
          <p:cNvSpPr/>
          <p:nvPr/>
        </p:nvSpPr>
        <p:spPr>
          <a:xfrm>
            <a:off x="6930885" y="5075582"/>
            <a:ext cx="1166191" cy="689113"/>
          </a:xfrm>
          <a:prstGeom prst="rect">
            <a:avLst/>
          </a:prstGeom>
          <a:noFill/>
          <a:ln w="57150"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DM Sans"/>
              <a:ea typeface="DM Sans"/>
              <a:cs typeface="DM Sans"/>
              <a:sym typeface="DM Sans"/>
            </a:endParaRPr>
          </a:p>
        </p:txBody>
      </p:sp>
      <p:sp>
        <p:nvSpPr>
          <p:cNvPr id="16601" name="Google Shape;16601;p272"/>
          <p:cNvSpPr/>
          <p:nvPr/>
        </p:nvSpPr>
        <p:spPr>
          <a:xfrm>
            <a:off x="9183754" y="5075581"/>
            <a:ext cx="1166191" cy="689113"/>
          </a:xfrm>
          <a:prstGeom prst="rect">
            <a:avLst/>
          </a:prstGeom>
          <a:noFill/>
          <a:ln w="57150"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DM Sans"/>
              <a:ea typeface="DM Sans"/>
              <a:cs typeface="DM Sans"/>
              <a:sym typeface="DM Sans"/>
            </a:endParaRPr>
          </a:p>
        </p:txBody>
      </p:sp>
      <p:sp>
        <p:nvSpPr>
          <p:cNvPr id="16602" name="Google Shape;16602;p272"/>
          <p:cNvSpPr/>
          <p:nvPr/>
        </p:nvSpPr>
        <p:spPr>
          <a:xfrm>
            <a:off x="6930884" y="5864084"/>
            <a:ext cx="708991" cy="689113"/>
          </a:xfrm>
          <a:prstGeom prst="rect">
            <a:avLst/>
          </a:prstGeom>
          <a:noFill/>
          <a:ln w="57150"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DM Sans"/>
              <a:ea typeface="DM Sans"/>
              <a:cs typeface="DM Sans"/>
              <a:sym typeface="DM Sans"/>
            </a:endParaRPr>
          </a:p>
        </p:txBody>
      </p:sp>
      <p:sp>
        <p:nvSpPr>
          <p:cNvPr id="16603" name="Google Shape;16603;p272"/>
          <p:cNvSpPr/>
          <p:nvPr/>
        </p:nvSpPr>
        <p:spPr>
          <a:xfrm>
            <a:off x="9771335" y="5072972"/>
            <a:ext cx="1066131" cy="673719"/>
          </a:xfrm>
          <a:prstGeom prst="rect">
            <a:avLst/>
          </a:prstGeom>
          <a:noFill/>
          <a:ln w="57150"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DM Sans"/>
              <a:ea typeface="DM Sans"/>
              <a:cs typeface="DM Sans"/>
              <a:sym typeface="DM Sans"/>
            </a:endParaRPr>
          </a:p>
        </p:txBody>
      </p:sp>
    </p:spTree>
    <p:extLst>
      <p:ext uri="{BB962C8B-B14F-4D97-AF65-F5344CB8AC3E}">
        <p14:creationId xmlns:p14="http://schemas.microsoft.com/office/powerpoint/2010/main" val="22460264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6888"/>
        <p:cNvGrpSpPr/>
        <p:nvPr/>
      </p:nvGrpSpPr>
      <p:grpSpPr>
        <a:xfrm>
          <a:off x="0" y="0"/>
          <a:ext cx="0" cy="0"/>
          <a:chOff x="0" y="0"/>
          <a:chExt cx="0" cy="0"/>
        </a:xfrm>
      </p:grpSpPr>
      <p:sp>
        <p:nvSpPr>
          <p:cNvPr id="9" name="Rectangle 8">
            <a:extLst>
              <a:ext uri="{FF2B5EF4-FFF2-40B4-BE49-F238E27FC236}">
                <a16:creationId xmlns:a16="http://schemas.microsoft.com/office/drawing/2014/main" id="{672749E3-B9B7-4C4F-296B-43A171AA45E1}"/>
              </a:ext>
            </a:extLst>
          </p:cNvPr>
          <p:cNvSpPr/>
          <p:nvPr/>
        </p:nvSpPr>
        <p:spPr>
          <a:xfrm>
            <a:off x="6829926" y="-247984"/>
            <a:ext cx="5694947" cy="258678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92" name="Google Shape;6892;p5"/>
          <p:cNvSpPr txBox="1"/>
          <p:nvPr/>
        </p:nvSpPr>
        <p:spPr>
          <a:xfrm>
            <a:off x="9096097" y="2011958"/>
            <a:ext cx="2489755" cy="3742315"/>
          </a:xfrm>
          <a:prstGeom prst="rect">
            <a:avLst/>
          </a:prstGeom>
          <a:noFill/>
          <a:ln>
            <a:noFill/>
          </a:ln>
        </p:spPr>
        <p:txBody>
          <a:bodyPr spcFirstLastPara="1" wrap="square" lIns="33850" tIns="33850" rIns="33850" bIns="33850" anchor="ctr" anchorCtr="0">
            <a:noAutofit/>
          </a:bodyPr>
          <a:lstStyle/>
          <a:p>
            <a:pPr marL="0" marR="0" lvl="0" indent="0" algn="ctr" rtl="0">
              <a:lnSpc>
                <a:spcPct val="226125"/>
              </a:lnSpc>
              <a:spcBef>
                <a:spcPts val="0"/>
              </a:spcBef>
              <a:spcAft>
                <a:spcPts val="0"/>
              </a:spcAft>
              <a:buClr>
                <a:srgbClr val="000000"/>
              </a:buClr>
              <a:buSzPts val="800"/>
              <a:buFont typeface="Arial"/>
              <a:buNone/>
            </a:pPr>
            <a:endParaRPr sz="800" b="0" i="0" u="none" strike="noStrike" cap="none">
              <a:solidFill>
                <a:schemeClr val="dk1"/>
              </a:solidFill>
              <a:latin typeface="Arial"/>
              <a:ea typeface="Arial"/>
              <a:cs typeface="Arial"/>
              <a:sym typeface="Arial"/>
            </a:endParaRPr>
          </a:p>
        </p:txBody>
      </p:sp>
      <p:sp>
        <p:nvSpPr>
          <p:cNvPr id="6894" name="Google Shape;6894;p5"/>
          <p:cNvSpPr txBox="1"/>
          <p:nvPr/>
        </p:nvSpPr>
        <p:spPr>
          <a:xfrm>
            <a:off x="2084962" y="2013532"/>
            <a:ext cx="5323881" cy="3985706"/>
          </a:xfrm>
          <a:prstGeom prst="rect">
            <a:avLst/>
          </a:prstGeom>
          <a:noFill/>
          <a:ln>
            <a:noFill/>
          </a:ln>
        </p:spPr>
        <p:txBody>
          <a:bodyPr spcFirstLastPara="1" wrap="square" lIns="0" tIns="0" rIns="0" bIns="0" anchor="t" anchorCtr="0">
            <a:spAutoFit/>
          </a:bodyPr>
          <a:lstStyle/>
          <a:p>
            <a:pPr marL="462915" marR="0" lvl="1" indent="-231140" algn="l" rtl="0">
              <a:lnSpc>
                <a:spcPct val="100000"/>
              </a:lnSpc>
              <a:spcBef>
                <a:spcPts val="0"/>
              </a:spcBef>
              <a:spcAft>
                <a:spcPts val="0"/>
              </a:spcAft>
              <a:buClr>
                <a:srgbClr val="000000"/>
              </a:buClr>
              <a:buSzPts val="2600"/>
              <a:buFont typeface="Arial"/>
              <a:buChar char="•"/>
            </a:pPr>
            <a:r>
              <a:rPr lang="en-US" sz="2600" b="0" i="0" u="none" strike="noStrike" cap="none" dirty="0">
                <a:solidFill>
                  <a:srgbClr val="000000"/>
                </a:solidFill>
                <a:latin typeface="Montserrat"/>
                <a:ea typeface="Montserrat"/>
                <a:cs typeface="Montserrat"/>
                <a:sym typeface="Montserrat"/>
              </a:rPr>
              <a:t>Raffle will be held at the end of the day during Wrap-up session at </a:t>
            </a:r>
            <a:r>
              <a:rPr lang="en-US" sz="2600" dirty="0">
                <a:solidFill>
                  <a:srgbClr val="000000"/>
                </a:solidFill>
                <a:latin typeface="Montserrat"/>
                <a:ea typeface="Montserrat"/>
                <a:cs typeface="Montserrat"/>
                <a:sym typeface="Montserrat"/>
              </a:rPr>
              <a:t>3:30-3:50</a:t>
            </a:r>
            <a:endParaRPr sz="2600" b="0" i="0" u="none" strike="noStrike" cap="none" dirty="0">
              <a:solidFill>
                <a:srgbClr val="000000"/>
              </a:solidFill>
              <a:latin typeface="Montserrat"/>
              <a:ea typeface="Montserrat"/>
              <a:cs typeface="Montserrat"/>
              <a:sym typeface="Montserrat"/>
            </a:endParaRPr>
          </a:p>
          <a:p>
            <a:pPr marL="462915" lvl="1" indent="-231140">
              <a:spcBef>
                <a:spcPts val="1000"/>
              </a:spcBef>
              <a:buClr>
                <a:srgbClr val="000000"/>
              </a:buClr>
              <a:buSzPts val="2600"/>
              <a:buFont typeface="Arial"/>
              <a:buChar char="•"/>
            </a:pPr>
            <a:r>
              <a:rPr lang="en-US" sz="2600" b="0" i="0" u="none" strike="noStrike" cap="none" dirty="0">
                <a:solidFill>
                  <a:srgbClr val="000000"/>
                </a:solidFill>
                <a:latin typeface="Montserrat"/>
                <a:ea typeface="Montserrat"/>
                <a:cs typeface="Montserrat"/>
                <a:sym typeface="Montserrat"/>
              </a:rPr>
              <a:t>Every attendee </a:t>
            </a:r>
            <a:r>
              <a:rPr lang="en-US" sz="2600" dirty="0">
                <a:solidFill>
                  <a:srgbClr val="000000"/>
                </a:solidFill>
                <a:latin typeface="Montserrat"/>
                <a:ea typeface="Montserrat"/>
                <a:cs typeface="Montserrat"/>
                <a:sym typeface="Montserrat"/>
              </a:rPr>
              <a:t>who registered is electronically entered into the raffle</a:t>
            </a:r>
            <a:endParaRPr lang="en-US" sz="2600" b="0" i="0" u="none" strike="noStrike" cap="none" dirty="0">
              <a:solidFill>
                <a:srgbClr val="000000"/>
              </a:solidFill>
              <a:latin typeface="Montserrat"/>
              <a:ea typeface="Montserrat"/>
              <a:cs typeface="Montserrat"/>
            </a:endParaRPr>
          </a:p>
          <a:p>
            <a:pPr marL="462915" marR="0" lvl="1" indent="-231140" algn="l" rtl="0">
              <a:lnSpc>
                <a:spcPct val="100000"/>
              </a:lnSpc>
              <a:spcBef>
                <a:spcPts val="1000"/>
              </a:spcBef>
              <a:spcAft>
                <a:spcPts val="0"/>
              </a:spcAft>
              <a:buClr>
                <a:srgbClr val="000000"/>
              </a:buClr>
              <a:buSzPts val="2600"/>
              <a:buFont typeface="Arial"/>
              <a:buChar char="•"/>
            </a:pPr>
            <a:r>
              <a:rPr lang="en-US" sz="2600" b="0" i="0" u="none" strike="noStrike" cap="none" dirty="0">
                <a:solidFill>
                  <a:srgbClr val="000000"/>
                </a:solidFill>
                <a:latin typeface="Montserrat"/>
                <a:ea typeface="Montserrat"/>
                <a:cs typeface="Montserrat"/>
                <a:sym typeface="Montserrat"/>
              </a:rPr>
              <a:t>3 raffle baskets = 3 chances to win</a:t>
            </a:r>
            <a:endParaRPr sz="2600" b="0" i="0" u="none" strike="noStrike" cap="none" dirty="0">
              <a:solidFill>
                <a:srgbClr val="000000"/>
              </a:solidFill>
              <a:latin typeface="Montserrat"/>
              <a:ea typeface="Montserrat"/>
              <a:cs typeface="Montserrat"/>
              <a:sym typeface="Montserrat"/>
            </a:endParaRPr>
          </a:p>
          <a:p>
            <a:pPr marL="462915" marR="0" lvl="1" indent="-231140" algn="l" rtl="0">
              <a:lnSpc>
                <a:spcPct val="100000"/>
              </a:lnSpc>
              <a:spcBef>
                <a:spcPts val="1000"/>
              </a:spcBef>
              <a:spcAft>
                <a:spcPts val="0"/>
              </a:spcAft>
              <a:buClr>
                <a:srgbClr val="000000"/>
              </a:buClr>
              <a:buSzPts val="2600"/>
              <a:buFont typeface="Arial"/>
              <a:buChar char="•"/>
            </a:pPr>
            <a:r>
              <a:rPr lang="en-US" sz="2600" b="1" i="0" u="none" strike="noStrike" cap="none" dirty="0">
                <a:solidFill>
                  <a:srgbClr val="000000"/>
                </a:solidFill>
                <a:latin typeface="Montserrat"/>
                <a:ea typeface="Montserrat"/>
                <a:cs typeface="Montserrat"/>
                <a:sym typeface="Montserrat"/>
              </a:rPr>
              <a:t>Must be present to win</a:t>
            </a:r>
            <a:endParaRPr sz="2600" b="1" i="0" u="none" strike="noStrike" cap="none" dirty="0">
              <a:solidFill>
                <a:srgbClr val="000000"/>
              </a:solidFill>
              <a:latin typeface="Montserrat"/>
              <a:ea typeface="Montserrat"/>
              <a:cs typeface="Montserrat"/>
              <a:sym typeface="Montserrat"/>
            </a:endParaRPr>
          </a:p>
        </p:txBody>
      </p:sp>
      <p:sp>
        <p:nvSpPr>
          <p:cNvPr id="6895" name="Google Shape;6895;p5"/>
          <p:cNvSpPr txBox="1"/>
          <p:nvPr/>
        </p:nvSpPr>
        <p:spPr>
          <a:xfrm>
            <a:off x="661669" y="500417"/>
            <a:ext cx="7076645" cy="1231106"/>
          </a:xfrm>
          <a:prstGeom prst="rect">
            <a:avLst/>
          </a:prstGeom>
          <a:noFill/>
          <a:ln>
            <a:noFill/>
          </a:ln>
        </p:spPr>
        <p:txBody>
          <a:bodyPr spcFirstLastPara="1" wrap="square" lIns="0" tIns="0" rIns="0" bIns="0" anchor="t" anchorCtr="0">
            <a:spAutoFit/>
          </a:bodyPr>
          <a:lstStyle/>
          <a:p>
            <a:pPr algn="ctr"/>
            <a:r>
              <a:rPr lang="en-US" sz="4000" dirty="0">
                <a:solidFill>
                  <a:srgbClr val="1C498B"/>
                </a:solidFill>
                <a:latin typeface="DM Sans"/>
                <a:sym typeface="Montserrat"/>
              </a:rPr>
              <a:t>ILPQC 2026 Face-to-Face </a:t>
            </a:r>
            <a:r>
              <a:rPr lang="en-US" sz="4000">
                <a:solidFill>
                  <a:srgbClr val="1C498B"/>
                </a:solidFill>
                <a:latin typeface="DM Sans"/>
                <a:sym typeface="Montserrat"/>
              </a:rPr>
              <a:t>Raffle</a:t>
            </a:r>
            <a:endParaRPr lang="en-US" sz="4000" b="0" i="0" u="none" strike="noStrike" cap="none">
              <a:solidFill>
                <a:srgbClr val="000000"/>
              </a:solidFill>
              <a:latin typeface="DM Sans"/>
              <a:ea typeface="Arial"/>
              <a:cs typeface="Arial"/>
            </a:endParaRPr>
          </a:p>
        </p:txBody>
      </p:sp>
      <p:pic>
        <p:nvPicPr>
          <p:cNvPr id="2" name="Picture 1" descr="A hand putting a card into a jar of gifts&#10;&#10;AI-generated content may be incorrect.">
            <a:extLst>
              <a:ext uri="{FF2B5EF4-FFF2-40B4-BE49-F238E27FC236}">
                <a16:creationId xmlns:a16="http://schemas.microsoft.com/office/drawing/2014/main" id="{7169EB8C-9B12-B60B-2CDE-45F3AAA4D6A3}"/>
              </a:ext>
            </a:extLst>
          </p:cNvPr>
          <p:cNvPicPr>
            <a:picLocks noChangeAspect="1"/>
          </p:cNvPicPr>
          <p:nvPr/>
        </p:nvPicPr>
        <p:blipFill>
          <a:blip r:embed="rId3"/>
          <a:stretch>
            <a:fillRect/>
          </a:stretch>
        </p:blipFill>
        <p:spPr>
          <a:xfrm>
            <a:off x="184480" y="4296673"/>
            <a:ext cx="1780457" cy="2182484"/>
          </a:xfrm>
          <a:prstGeom prst="rect">
            <a:avLst/>
          </a:prstGeom>
        </p:spPr>
      </p:pic>
      <p:pic>
        <p:nvPicPr>
          <p:cNvPr id="4" name="Picture 3" descr="Two women holding a basket of food&#10;&#10;AI-generated content may be incorrect.">
            <a:extLst>
              <a:ext uri="{FF2B5EF4-FFF2-40B4-BE49-F238E27FC236}">
                <a16:creationId xmlns:a16="http://schemas.microsoft.com/office/drawing/2014/main" id="{5C590403-AF50-943D-89C7-4F8258115F68}"/>
              </a:ext>
            </a:extLst>
          </p:cNvPr>
          <p:cNvPicPr>
            <a:picLocks noChangeAspect="1"/>
          </p:cNvPicPr>
          <p:nvPr/>
        </p:nvPicPr>
        <p:blipFill>
          <a:blip r:embed="rId4"/>
          <a:stretch>
            <a:fillRect/>
          </a:stretch>
        </p:blipFill>
        <p:spPr>
          <a:xfrm>
            <a:off x="7861118" y="-924"/>
            <a:ext cx="4327853" cy="3246120"/>
          </a:xfrm>
          <a:prstGeom prst="rect">
            <a:avLst/>
          </a:prstGeom>
          <a:ln w="127000" cap="rnd">
            <a:solidFill>
              <a:srgbClr val="FFFFFF"/>
            </a:solidFill>
          </a:ln>
          <a:effectLst>
            <a:outerShdw blurRad="76200" dist="95250" dir="10500000" sx="97000" sy="23000" kx="900000" algn="br" rotWithShape="0">
              <a:srgbClr val="000000">
                <a:alpha val="20000"/>
              </a:srgbClr>
            </a:outerShdw>
          </a:effectLst>
          <a:scene3d>
            <a:camera prst="orthographicFront"/>
            <a:lightRig rig="twoPt" dir="t">
              <a:rot lat="0" lon="0" rev="7800000"/>
            </a:lightRig>
          </a:scene3d>
          <a:sp3d contourW="6350">
            <a:bevelT w="50800" h="16510"/>
            <a:contourClr>
              <a:srgbClr val="C0C0C0"/>
            </a:contourClr>
          </a:sp3d>
        </p:spPr>
      </p:pic>
    </p:spTree>
    <p:extLst>
      <p:ext uri="{BB962C8B-B14F-4D97-AF65-F5344CB8AC3E}">
        <p14:creationId xmlns:p14="http://schemas.microsoft.com/office/powerpoint/2010/main" val="36607818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BF1E8F-03F7-28B7-7393-EFE58678F3B1}"/>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107427B9-114C-000D-BF55-9FA2CEDF5B70}"/>
              </a:ext>
            </a:extLst>
          </p:cNvPr>
          <p:cNvSpPr/>
          <p:nvPr/>
        </p:nvSpPr>
        <p:spPr>
          <a:xfrm>
            <a:off x="6829926" y="-247984"/>
            <a:ext cx="5694947" cy="258678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A road with colorful signs&#10;&#10;AI-generated content may be incorrect.">
            <a:extLst>
              <a:ext uri="{FF2B5EF4-FFF2-40B4-BE49-F238E27FC236}">
                <a16:creationId xmlns:a16="http://schemas.microsoft.com/office/drawing/2014/main" id="{C52B24B2-2A0E-CA20-5B91-2C7ED3819137}"/>
              </a:ext>
            </a:extLst>
          </p:cNvPr>
          <p:cNvPicPr>
            <a:picLocks noChangeAspect="1"/>
          </p:cNvPicPr>
          <p:nvPr/>
        </p:nvPicPr>
        <p:blipFill>
          <a:blip r:embed="rId2"/>
          <a:stretch>
            <a:fillRect/>
          </a:stretch>
        </p:blipFill>
        <p:spPr>
          <a:xfrm>
            <a:off x="4543425" y="7937"/>
            <a:ext cx="7613650" cy="7083425"/>
          </a:xfrm>
          <a:prstGeom prst="rect">
            <a:avLst/>
          </a:prstGeom>
        </p:spPr>
      </p:pic>
      <p:sp>
        <p:nvSpPr>
          <p:cNvPr id="5" name="Title 4">
            <a:extLst>
              <a:ext uri="{FF2B5EF4-FFF2-40B4-BE49-F238E27FC236}">
                <a16:creationId xmlns:a16="http://schemas.microsoft.com/office/drawing/2014/main" id="{998972D7-CB6B-C8FB-26D2-CD1D838E6A2D}"/>
              </a:ext>
            </a:extLst>
          </p:cNvPr>
          <p:cNvSpPr>
            <a:spLocks noGrp="1"/>
          </p:cNvSpPr>
          <p:nvPr>
            <p:ph type="title"/>
          </p:nvPr>
        </p:nvSpPr>
        <p:spPr>
          <a:xfrm>
            <a:off x="0" y="708025"/>
            <a:ext cx="10972800" cy="1325563"/>
          </a:xfrm>
        </p:spPr>
        <p:txBody>
          <a:bodyPr/>
          <a:lstStyle/>
          <a:p>
            <a:r>
              <a:rPr lang="en-US" sz="4800">
                <a:ea typeface="Lato Medium"/>
                <a:cs typeface="Lato Medium"/>
              </a:rPr>
              <a:t>Connect with ILPQC </a:t>
            </a:r>
            <a:endParaRPr lang="en-US" sz="4800"/>
          </a:p>
        </p:txBody>
      </p:sp>
      <p:sp>
        <p:nvSpPr>
          <p:cNvPr id="19" name="TextBox 18">
            <a:extLst>
              <a:ext uri="{FF2B5EF4-FFF2-40B4-BE49-F238E27FC236}">
                <a16:creationId xmlns:a16="http://schemas.microsoft.com/office/drawing/2014/main" id="{14C3F3AF-4620-1642-EE84-70AC4E331F61}"/>
              </a:ext>
            </a:extLst>
          </p:cNvPr>
          <p:cNvSpPr txBox="1"/>
          <p:nvPr/>
        </p:nvSpPr>
        <p:spPr>
          <a:xfrm>
            <a:off x="5047811" y="10487"/>
            <a:ext cx="1949775"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b="1" dirty="0">
                <a:solidFill>
                  <a:schemeClr val="bg1"/>
                </a:solidFill>
                <a:ea typeface="Calibri"/>
                <a:cs typeface="Calibri"/>
              </a:rPr>
              <a:t>Ask about being </a:t>
            </a:r>
            <a:r>
              <a:rPr lang="en-US" sz="2000" b="1">
                <a:solidFill>
                  <a:schemeClr val="bg1"/>
                </a:solidFill>
                <a:ea typeface="Calibri"/>
                <a:cs typeface="Calibri"/>
              </a:rPr>
              <a:t>an ILLPI Wave 1 </a:t>
            </a:r>
            <a:r>
              <a:rPr lang="en-US" sz="2000" b="1" dirty="0">
                <a:solidFill>
                  <a:schemeClr val="bg1"/>
                </a:solidFill>
                <a:ea typeface="Calibri"/>
                <a:cs typeface="Calibri"/>
              </a:rPr>
              <a:t>Team</a:t>
            </a:r>
          </a:p>
        </p:txBody>
      </p:sp>
      <p:sp>
        <p:nvSpPr>
          <p:cNvPr id="18" name="TextBox 17">
            <a:extLst>
              <a:ext uri="{FF2B5EF4-FFF2-40B4-BE49-F238E27FC236}">
                <a16:creationId xmlns:a16="http://schemas.microsoft.com/office/drawing/2014/main" id="{BC12C10F-A223-9B56-1EE1-C2F43E3C0631}"/>
              </a:ext>
            </a:extLst>
          </p:cNvPr>
          <p:cNvSpPr txBox="1"/>
          <p:nvPr/>
        </p:nvSpPr>
        <p:spPr>
          <a:xfrm>
            <a:off x="9033658" y="623017"/>
            <a:ext cx="2018328"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b="1">
                <a:solidFill>
                  <a:srgbClr val="000000"/>
                </a:solidFill>
                <a:ea typeface="Calibri"/>
                <a:cs typeface="Calibri"/>
              </a:rPr>
              <a:t>Ask us about the Perinatal Mental Health initiative</a:t>
            </a:r>
          </a:p>
        </p:txBody>
      </p:sp>
      <p:sp>
        <p:nvSpPr>
          <p:cNvPr id="15" name="TextBox 14">
            <a:extLst>
              <a:ext uri="{FF2B5EF4-FFF2-40B4-BE49-F238E27FC236}">
                <a16:creationId xmlns:a16="http://schemas.microsoft.com/office/drawing/2014/main" id="{377D1675-D48F-F0DD-CA31-4869D6A4DEFF}"/>
              </a:ext>
            </a:extLst>
          </p:cNvPr>
          <p:cNvSpPr txBox="1"/>
          <p:nvPr/>
        </p:nvSpPr>
        <p:spPr>
          <a:xfrm>
            <a:off x="10366180" y="4339233"/>
            <a:ext cx="1823531"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b="1">
                <a:solidFill>
                  <a:schemeClr val="bg1"/>
                </a:solidFill>
                <a:ea typeface="Calibri"/>
                <a:cs typeface="Calibri"/>
              </a:rPr>
              <a:t>Learn about Patient Partner Engagement</a:t>
            </a:r>
            <a:endParaRPr lang="en-US" sz="2000">
              <a:solidFill>
                <a:schemeClr val="bg1"/>
              </a:solidFill>
              <a:ea typeface="Calibri" panose="020F0502020204030204"/>
              <a:cs typeface="Calibri" panose="020F0502020204030204"/>
            </a:endParaRPr>
          </a:p>
        </p:txBody>
      </p:sp>
      <p:sp>
        <p:nvSpPr>
          <p:cNvPr id="16" name="TextBox 15">
            <a:extLst>
              <a:ext uri="{FF2B5EF4-FFF2-40B4-BE49-F238E27FC236}">
                <a16:creationId xmlns:a16="http://schemas.microsoft.com/office/drawing/2014/main" id="{72B25076-9547-25A2-EDDC-7282EE8458A2}"/>
              </a:ext>
            </a:extLst>
          </p:cNvPr>
          <p:cNvSpPr txBox="1"/>
          <p:nvPr/>
        </p:nvSpPr>
        <p:spPr>
          <a:xfrm>
            <a:off x="4522227" y="3092680"/>
            <a:ext cx="2114832"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b="1" dirty="0">
                <a:solidFill>
                  <a:schemeClr val="bg1"/>
                </a:solidFill>
                <a:ea typeface="Calibri"/>
                <a:cs typeface="Calibri"/>
              </a:rPr>
              <a:t>Ask about your </a:t>
            </a:r>
            <a:r>
              <a:rPr lang="en-US" sz="2000" b="1">
                <a:solidFill>
                  <a:schemeClr val="bg1"/>
                </a:solidFill>
                <a:ea typeface="Calibri"/>
                <a:cs typeface="Calibri"/>
              </a:rPr>
              <a:t>individualized </a:t>
            </a:r>
            <a:r>
              <a:rPr lang="en-US" sz="2000" b="1" dirty="0">
                <a:solidFill>
                  <a:schemeClr val="bg1"/>
                </a:solidFill>
                <a:ea typeface="Calibri"/>
                <a:cs typeface="Calibri"/>
              </a:rPr>
              <a:t>ESSI dashboard</a:t>
            </a:r>
          </a:p>
        </p:txBody>
      </p:sp>
      <p:sp>
        <p:nvSpPr>
          <p:cNvPr id="17" name="TextBox 16">
            <a:extLst>
              <a:ext uri="{FF2B5EF4-FFF2-40B4-BE49-F238E27FC236}">
                <a16:creationId xmlns:a16="http://schemas.microsoft.com/office/drawing/2014/main" id="{7870DD74-7037-4764-E472-E8E8A08BE8AC}"/>
              </a:ext>
            </a:extLst>
          </p:cNvPr>
          <p:cNvSpPr txBox="1"/>
          <p:nvPr/>
        </p:nvSpPr>
        <p:spPr>
          <a:xfrm>
            <a:off x="7629819" y="3151295"/>
            <a:ext cx="2027490"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b="1">
                <a:solidFill>
                  <a:schemeClr val="bg1"/>
                </a:solidFill>
                <a:ea typeface="Calibri"/>
                <a:cs typeface="Calibri"/>
              </a:rPr>
              <a:t>Connect for 1:1 Summer QI Support</a:t>
            </a:r>
          </a:p>
        </p:txBody>
      </p:sp>
      <p:sp>
        <p:nvSpPr>
          <p:cNvPr id="8" name="Rectangle: Rounded Corners 7">
            <a:extLst>
              <a:ext uri="{FF2B5EF4-FFF2-40B4-BE49-F238E27FC236}">
                <a16:creationId xmlns:a16="http://schemas.microsoft.com/office/drawing/2014/main" id="{25FB72A4-1EF7-7E7E-1C87-83B294AEDBCC}"/>
              </a:ext>
            </a:extLst>
          </p:cNvPr>
          <p:cNvSpPr/>
          <p:nvPr/>
        </p:nvSpPr>
        <p:spPr>
          <a:xfrm>
            <a:off x="276057" y="1991226"/>
            <a:ext cx="4249821" cy="3493836"/>
          </a:xfrm>
          <a:prstGeom prst="rect">
            <a:avLst/>
          </a:prstGeom>
          <a:solidFill>
            <a:srgbClr val="FFF0C7"/>
          </a:solidFill>
          <a:ln w="28575">
            <a:solidFill>
              <a:srgbClr val="F58466"/>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ontent Placeholder 9">
            <a:extLst>
              <a:ext uri="{FF2B5EF4-FFF2-40B4-BE49-F238E27FC236}">
                <a16:creationId xmlns:a16="http://schemas.microsoft.com/office/drawing/2014/main" id="{ED777F87-B38D-4A83-A72B-C2458C3D9C18}"/>
              </a:ext>
            </a:extLst>
          </p:cNvPr>
          <p:cNvSpPr>
            <a:spLocks noGrp="1"/>
          </p:cNvSpPr>
          <p:nvPr>
            <p:ph idx="1"/>
          </p:nvPr>
        </p:nvSpPr>
        <p:spPr>
          <a:xfrm>
            <a:off x="1800469" y="2214441"/>
            <a:ext cx="2547816" cy="1486023"/>
          </a:xfrm>
        </p:spPr>
        <p:txBody>
          <a:bodyPr vert="horz" lIns="91440" tIns="45720" rIns="91440" bIns="45720" rtlCol="0" anchor="t">
            <a:noAutofit/>
          </a:bodyPr>
          <a:lstStyle/>
          <a:p>
            <a:pPr marL="0" indent="0">
              <a:buNone/>
            </a:pPr>
            <a:r>
              <a:rPr lang="en-US" sz="3400" b="1">
                <a:solidFill>
                  <a:srgbClr val="F58466"/>
                </a:solidFill>
                <a:ea typeface="Lato"/>
                <a:cs typeface="Lato"/>
              </a:rPr>
              <a:t>Visit ILPQC's QI Support Table Today!</a:t>
            </a:r>
            <a:endParaRPr lang="en-US" sz="3400" b="1">
              <a:solidFill>
                <a:srgbClr val="F58466"/>
              </a:solidFill>
            </a:endParaRPr>
          </a:p>
        </p:txBody>
      </p:sp>
      <p:sp>
        <p:nvSpPr>
          <p:cNvPr id="21" name="Content Placeholder 9">
            <a:extLst>
              <a:ext uri="{FF2B5EF4-FFF2-40B4-BE49-F238E27FC236}">
                <a16:creationId xmlns:a16="http://schemas.microsoft.com/office/drawing/2014/main" id="{B46DB51D-2861-C5E1-65A2-92737C4BE41B}"/>
              </a:ext>
            </a:extLst>
          </p:cNvPr>
          <p:cNvSpPr txBox="1">
            <a:spLocks/>
          </p:cNvSpPr>
          <p:nvPr/>
        </p:nvSpPr>
        <p:spPr>
          <a:xfrm>
            <a:off x="501162" y="4147771"/>
            <a:ext cx="3784600" cy="1214438"/>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200" b="1" i="1">
                <a:solidFill>
                  <a:schemeClr val="accent1"/>
                </a:solidFill>
                <a:ea typeface="Lato"/>
                <a:cs typeface="Lato"/>
              </a:rPr>
              <a:t>Supporting your quality improvement efforts every step of the way!</a:t>
            </a:r>
            <a:endParaRPr lang="en-US" sz="2200" b="1" i="1">
              <a:solidFill>
                <a:schemeClr val="accent1"/>
              </a:solidFill>
            </a:endParaRPr>
          </a:p>
        </p:txBody>
      </p:sp>
      <p:cxnSp>
        <p:nvCxnSpPr>
          <p:cNvPr id="11" name="Straight Arrow Connector 10">
            <a:extLst>
              <a:ext uri="{FF2B5EF4-FFF2-40B4-BE49-F238E27FC236}">
                <a16:creationId xmlns:a16="http://schemas.microsoft.com/office/drawing/2014/main" id="{9A6CFCE6-D5AE-1055-EF95-214AB3DB6F6A}"/>
              </a:ext>
            </a:extLst>
          </p:cNvPr>
          <p:cNvCxnSpPr/>
          <p:nvPr/>
        </p:nvCxnSpPr>
        <p:spPr>
          <a:xfrm flipV="1">
            <a:off x="524036" y="4066004"/>
            <a:ext cx="3566961" cy="5348"/>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14" name="Flowchart: Connector 13">
            <a:extLst>
              <a:ext uri="{FF2B5EF4-FFF2-40B4-BE49-F238E27FC236}">
                <a16:creationId xmlns:a16="http://schemas.microsoft.com/office/drawing/2014/main" id="{23343AE5-B879-F04F-C12B-520748F8F7B5}"/>
              </a:ext>
            </a:extLst>
          </p:cNvPr>
          <p:cNvSpPr/>
          <p:nvPr/>
        </p:nvSpPr>
        <p:spPr>
          <a:xfrm>
            <a:off x="459873" y="2360194"/>
            <a:ext cx="1227889" cy="1311442"/>
          </a:xfrm>
          <a:prstGeom prst="flowChartConnector">
            <a:avLst/>
          </a:prstGeom>
          <a:solidFill>
            <a:srgbClr val="ED7D3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8">
            <a:extLst>
              <a:ext uri="{FF2B5EF4-FFF2-40B4-BE49-F238E27FC236}">
                <a16:creationId xmlns:a16="http://schemas.microsoft.com/office/drawing/2014/main" id="{92B8CCB3-3CF7-7D34-2105-7575C1A358FC}"/>
              </a:ext>
            </a:extLst>
          </p:cNvPr>
          <p:cNvSpPr/>
          <p:nvPr/>
        </p:nvSpPr>
        <p:spPr>
          <a:xfrm>
            <a:off x="566143" y="2585777"/>
            <a:ext cx="989505" cy="857667"/>
          </a:xfrm>
          <a:custGeom>
            <a:avLst/>
            <a:gdLst/>
            <a:ahLst/>
            <a:cxnLst/>
            <a:rect l="l" t="t" r="r" b="b"/>
            <a:pathLst>
              <a:path w="3579757" h="2581900">
                <a:moveTo>
                  <a:pt x="0" y="0"/>
                </a:moveTo>
                <a:lnTo>
                  <a:pt x="3579757" y="0"/>
                </a:lnTo>
                <a:lnTo>
                  <a:pt x="3579757" y="2581900"/>
                </a:lnTo>
                <a:lnTo>
                  <a:pt x="0" y="2581900"/>
                </a:lnTo>
                <a:lnTo>
                  <a:pt x="0" y="0"/>
                </a:lnTo>
                <a:close/>
              </a:path>
            </a:pathLst>
          </a:custGeom>
          <a:blipFill>
            <a:blip>
              <a:extLst>
                <a:ext uri="{96DAC541-7B7A-43D3-8B79-37D633B846F1}">
                  <asvg:svgBlip xmlns:asvg="http://schemas.microsoft.com/office/drawing/2016/SVG/main" r:embed="rId3"/>
                </a:ext>
              </a:extLst>
            </a:blip>
            <a:stretch>
              <a:fillRect/>
            </a:stretch>
          </a:blipFill>
        </p:spPr>
        <p:txBody>
          <a:bodyPr/>
          <a:lstStyle/>
          <a:p>
            <a:endParaRPr lang="en-US"/>
          </a:p>
        </p:txBody>
      </p:sp>
      <p:sp>
        <p:nvSpPr>
          <p:cNvPr id="20" name="Freeform 13" descr="A cartoon of a bird on a branch&#10;&#10;AI-generated content may be incorrect.">
            <a:extLst>
              <a:ext uri="{FF2B5EF4-FFF2-40B4-BE49-F238E27FC236}">
                <a16:creationId xmlns:a16="http://schemas.microsoft.com/office/drawing/2014/main" id="{5A3B7100-1059-836A-CBA9-10CFBF582B36}"/>
              </a:ext>
            </a:extLst>
          </p:cNvPr>
          <p:cNvSpPr/>
          <p:nvPr/>
        </p:nvSpPr>
        <p:spPr>
          <a:xfrm>
            <a:off x="-6304" y="4848"/>
            <a:ext cx="1121063" cy="1012976"/>
          </a:xfrm>
          <a:custGeom>
            <a:avLst/>
            <a:gdLst/>
            <a:ahLst/>
            <a:cxnLst/>
            <a:rect l="l" t="t" r="r" b="b"/>
            <a:pathLst>
              <a:path w="3715992" h="3005309">
                <a:moveTo>
                  <a:pt x="0" y="0"/>
                </a:moveTo>
                <a:lnTo>
                  <a:pt x="3715992" y="0"/>
                </a:lnTo>
                <a:lnTo>
                  <a:pt x="3715992" y="3005308"/>
                </a:lnTo>
                <a:lnTo>
                  <a:pt x="0" y="3005308"/>
                </a:lnTo>
                <a:lnTo>
                  <a:pt x="0" y="0"/>
                </a:lnTo>
                <a:close/>
              </a:path>
            </a:pathLst>
          </a:custGeom>
          <a:blipFill>
            <a:blip r:embed="rId4"/>
            <a:stretch>
              <a:fillRect/>
            </a:stretch>
          </a:blipFill>
        </p:spPr>
        <p:txBody>
          <a:bodyPr/>
          <a:lstStyle/>
          <a:p>
            <a:endParaRPr lang="en-US"/>
          </a:p>
        </p:txBody>
      </p:sp>
      <p:sp>
        <p:nvSpPr>
          <p:cNvPr id="23" name="Freeform 14" descr="A close-up of flowers in grass&#10;&#10;AI-generated content may be incorrect.">
            <a:extLst>
              <a:ext uri="{FF2B5EF4-FFF2-40B4-BE49-F238E27FC236}">
                <a16:creationId xmlns:a16="http://schemas.microsoft.com/office/drawing/2014/main" id="{CBFB6E0E-0A1E-1B01-EC94-F814D87AFEB8}"/>
              </a:ext>
            </a:extLst>
          </p:cNvPr>
          <p:cNvSpPr/>
          <p:nvPr/>
        </p:nvSpPr>
        <p:spPr>
          <a:xfrm>
            <a:off x="-646981" y="5472593"/>
            <a:ext cx="7848600" cy="1543558"/>
          </a:xfrm>
          <a:custGeom>
            <a:avLst/>
            <a:gdLst/>
            <a:ahLst/>
            <a:cxnLst/>
            <a:rect l="l" t="t" r="r" b="b"/>
            <a:pathLst>
              <a:path w="11772900" h="2315337">
                <a:moveTo>
                  <a:pt x="0" y="0"/>
                </a:moveTo>
                <a:lnTo>
                  <a:pt x="11772900" y="0"/>
                </a:lnTo>
                <a:lnTo>
                  <a:pt x="11772900" y="2315337"/>
                </a:lnTo>
                <a:lnTo>
                  <a:pt x="0" y="2315337"/>
                </a:lnTo>
                <a:lnTo>
                  <a:pt x="0" y="0"/>
                </a:lnTo>
                <a:close/>
              </a:path>
            </a:pathLst>
          </a:custGeom>
          <a:blipFill>
            <a:blip r:embed="rId5"/>
            <a:stretch>
              <a:fillRect/>
            </a:stretch>
          </a:blipFill>
        </p:spPr>
        <p:txBody>
          <a:bodyPr/>
          <a:lstStyle/>
          <a:p>
            <a:endParaRPr lang="en-US"/>
          </a:p>
        </p:txBody>
      </p:sp>
      <p:sp>
        <p:nvSpPr>
          <p:cNvPr id="25" name="Freeform 14" descr="A close-up of flowers in grass&#10;&#10;AI-generated content may be incorrect.">
            <a:extLst>
              <a:ext uri="{FF2B5EF4-FFF2-40B4-BE49-F238E27FC236}">
                <a16:creationId xmlns:a16="http://schemas.microsoft.com/office/drawing/2014/main" id="{02738FF2-CA06-57C9-B3FF-8860A81C83BA}"/>
              </a:ext>
            </a:extLst>
          </p:cNvPr>
          <p:cNvSpPr/>
          <p:nvPr/>
        </p:nvSpPr>
        <p:spPr>
          <a:xfrm>
            <a:off x="6699849" y="5472593"/>
            <a:ext cx="7848600" cy="1543558"/>
          </a:xfrm>
          <a:custGeom>
            <a:avLst/>
            <a:gdLst/>
            <a:ahLst/>
            <a:cxnLst/>
            <a:rect l="l" t="t" r="r" b="b"/>
            <a:pathLst>
              <a:path w="11772900" h="2315337">
                <a:moveTo>
                  <a:pt x="0" y="0"/>
                </a:moveTo>
                <a:lnTo>
                  <a:pt x="11772900" y="0"/>
                </a:lnTo>
                <a:lnTo>
                  <a:pt x="11772900" y="2315337"/>
                </a:lnTo>
                <a:lnTo>
                  <a:pt x="0" y="2315337"/>
                </a:lnTo>
                <a:lnTo>
                  <a:pt x="0" y="0"/>
                </a:lnTo>
                <a:close/>
              </a:path>
            </a:pathLst>
          </a:custGeom>
          <a:blipFill>
            <a:blip r:embed="rId5"/>
            <a:stretch>
              <a:fillRect/>
            </a:stretch>
          </a:blipFill>
        </p:spPr>
        <p:txBody>
          <a:bodyPr/>
          <a:lstStyle/>
          <a:p>
            <a:endParaRPr lang="en-US"/>
          </a:p>
        </p:txBody>
      </p:sp>
    </p:spTree>
    <p:extLst>
      <p:ext uri="{BB962C8B-B14F-4D97-AF65-F5344CB8AC3E}">
        <p14:creationId xmlns:p14="http://schemas.microsoft.com/office/powerpoint/2010/main" val="37811731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3623;p400">
            <a:extLst>
              <a:ext uri="{FF2B5EF4-FFF2-40B4-BE49-F238E27FC236}">
                <a16:creationId xmlns:a16="http://schemas.microsoft.com/office/drawing/2014/main" id="{56E8ED5F-191E-2342-550D-FA8B7CC2B2AC}"/>
              </a:ext>
            </a:extLst>
          </p:cNvPr>
          <p:cNvSpPr txBox="1">
            <a:spLocks noGrp="1"/>
          </p:cNvSpPr>
          <p:nvPr>
            <p:ph type="title"/>
          </p:nvPr>
        </p:nvSpPr>
        <p:spPr>
          <a:xfrm>
            <a:off x="874155" y="1716088"/>
            <a:ext cx="7126845" cy="1750140"/>
          </a:xfrm>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r>
              <a:rPr lang="en-US" sz="4800" dirty="0">
                <a:solidFill>
                  <a:srgbClr val="1C498B"/>
                </a:solidFill>
                <a:latin typeface="DM Sans"/>
                <a:ea typeface="Calibri Light"/>
                <a:cs typeface="Calibri Light"/>
              </a:rPr>
              <a:t>Neonatal Face-to-Face Meeting</a:t>
            </a:r>
            <a:endParaRPr lang="en-US" dirty="0"/>
          </a:p>
        </p:txBody>
      </p:sp>
      <p:sp>
        <p:nvSpPr>
          <p:cNvPr id="3" name="Google Shape;3624;p400">
            <a:extLst>
              <a:ext uri="{FF2B5EF4-FFF2-40B4-BE49-F238E27FC236}">
                <a16:creationId xmlns:a16="http://schemas.microsoft.com/office/drawing/2014/main" id="{B2EEB6EC-3B78-A744-4B5A-133B52C35C57}"/>
              </a:ext>
            </a:extLst>
          </p:cNvPr>
          <p:cNvSpPr txBox="1">
            <a:spLocks noGrp="1"/>
          </p:cNvSpPr>
          <p:nvPr>
            <p:ph type="subTitle" idx="4294967295"/>
          </p:nvPr>
        </p:nvSpPr>
        <p:spPr>
          <a:xfrm>
            <a:off x="874320" y="3711983"/>
            <a:ext cx="5705371" cy="1464237"/>
          </a:xfrm>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indent="0">
              <a:buNone/>
            </a:pPr>
            <a:r>
              <a:rPr lang="en-US" sz="2800">
                <a:latin typeface="DM Sans"/>
                <a:ea typeface="Calibri Light"/>
                <a:cs typeface="Calibri Light"/>
              </a:rPr>
              <a:t>May 21, 2026</a:t>
            </a:r>
            <a:endParaRPr lang="en-US"/>
          </a:p>
        </p:txBody>
      </p:sp>
      <p:pic>
        <p:nvPicPr>
          <p:cNvPr id="4" name="Picture 3" descr="A person holding a baby&#10;&#10;AI-generated content may be incorrect.">
            <a:extLst>
              <a:ext uri="{FF2B5EF4-FFF2-40B4-BE49-F238E27FC236}">
                <a16:creationId xmlns:a16="http://schemas.microsoft.com/office/drawing/2014/main" id="{2BEDB52F-E93F-2B78-E628-4E71B523F0FC}"/>
              </a:ext>
            </a:extLst>
          </p:cNvPr>
          <p:cNvPicPr>
            <a:picLocks noChangeAspect="1"/>
          </p:cNvPicPr>
          <p:nvPr/>
        </p:nvPicPr>
        <p:blipFill>
          <a:blip r:embed="rId3"/>
          <a:stretch>
            <a:fillRect/>
          </a:stretch>
        </p:blipFill>
        <p:spPr>
          <a:xfrm>
            <a:off x="8136534" y="635000"/>
            <a:ext cx="3437333" cy="5410200"/>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5DA945-E908-A113-84BA-D6270E91345E}"/>
            </a:ext>
          </a:extLst>
        </p:cNvPr>
        <p:cNvGrpSpPr/>
        <p:nvPr/>
      </p:nvGrpSpPr>
      <p:grpSpPr>
        <a:xfrm>
          <a:off x="0" y="0"/>
          <a:ext cx="0" cy="0"/>
          <a:chOff x="0" y="0"/>
          <a:chExt cx="0" cy="0"/>
        </a:xfrm>
      </p:grpSpPr>
      <p:sp>
        <p:nvSpPr>
          <p:cNvPr id="6" name="Freeform 6">
            <a:extLst>
              <a:ext uri="{FF2B5EF4-FFF2-40B4-BE49-F238E27FC236}">
                <a16:creationId xmlns:a16="http://schemas.microsoft.com/office/drawing/2014/main" id="{E1D91CC9-2725-F6B2-BF0F-79F564070FDF}"/>
              </a:ext>
            </a:extLst>
          </p:cNvPr>
          <p:cNvSpPr/>
          <p:nvPr/>
        </p:nvSpPr>
        <p:spPr>
          <a:xfrm rot="2946881">
            <a:off x="11221801" y="6056737"/>
            <a:ext cx="449002" cy="532413"/>
          </a:xfrm>
          <a:custGeom>
            <a:avLst/>
            <a:gdLst/>
            <a:ahLst/>
            <a:cxnLst/>
            <a:rect l="l" t="t" r="r" b="b"/>
            <a:pathLst>
              <a:path w="673503" h="798620">
                <a:moveTo>
                  <a:pt x="0" y="0"/>
                </a:moveTo>
                <a:lnTo>
                  <a:pt x="673503" y="0"/>
                </a:lnTo>
                <a:lnTo>
                  <a:pt x="673503" y="798620"/>
                </a:lnTo>
                <a:lnTo>
                  <a:pt x="0" y="798620"/>
                </a:lnTo>
                <a:lnTo>
                  <a:pt x="0" y="0"/>
                </a:lnTo>
                <a:close/>
              </a:path>
            </a:pathLst>
          </a:custGeom>
          <a:blipFill>
            <a:blip r:embed="rId3"/>
            <a:stretch>
              <a:fillRect/>
            </a:stretch>
          </a:blipFill>
        </p:spPr>
        <p:txBody>
          <a:bodyPr/>
          <a:lstStyle/>
          <a:p>
            <a:endParaRPr lang="en-US"/>
          </a:p>
        </p:txBody>
      </p:sp>
      <p:sp>
        <p:nvSpPr>
          <p:cNvPr id="7" name="TextBox 7">
            <a:extLst>
              <a:ext uri="{FF2B5EF4-FFF2-40B4-BE49-F238E27FC236}">
                <a16:creationId xmlns:a16="http://schemas.microsoft.com/office/drawing/2014/main" id="{7A10D125-FD39-FAA3-8EB4-337E8172A43C}"/>
              </a:ext>
            </a:extLst>
          </p:cNvPr>
          <p:cNvSpPr txBox="1"/>
          <p:nvPr/>
        </p:nvSpPr>
        <p:spPr>
          <a:xfrm>
            <a:off x="552903" y="937403"/>
            <a:ext cx="8716640" cy="1387559"/>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nSpc>
                <a:spcPts val="5413"/>
              </a:lnSpc>
            </a:pPr>
            <a:r>
              <a:rPr lang="en-US" sz="4800" b="1">
                <a:solidFill>
                  <a:srgbClr val="1C498B"/>
                </a:solidFill>
                <a:latin typeface="Calibri"/>
                <a:ea typeface="Calibri"/>
                <a:cs typeface="Calibri"/>
                <a:sym typeface="The Seasons Bold"/>
              </a:rPr>
              <a:t>Make Sure to Visit ILPQC's Partner Tables</a:t>
            </a:r>
            <a:endParaRPr lang="en-US" sz="4800"/>
          </a:p>
        </p:txBody>
      </p:sp>
      <p:pic>
        <p:nvPicPr>
          <p:cNvPr id="29" name="Picture 28" descr="A yellow post-it note with a red push pin&#10;&#10;AI-generated content may be incorrect.">
            <a:extLst>
              <a:ext uri="{FF2B5EF4-FFF2-40B4-BE49-F238E27FC236}">
                <a16:creationId xmlns:a16="http://schemas.microsoft.com/office/drawing/2014/main" id="{F0B4FFF6-D621-EB8F-ED10-226CAD04C0A7}"/>
              </a:ext>
            </a:extLst>
          </p:cNvPr>
          <p:cNvPicPr>
            <a:picLocks noChangeAspect="1"/>
          </p:cNvPicPr>
          <p:nvPr/>
        </p:nvPicPr>
        <p:blipFill>
          <a:blip r:embed="rId4"/>
          <a:stretch>
            <a:fillRect/>
          </a:stretch>
        </p:blipFill>
        <p:spPr>
          <a:xfrm flipH="1">
            <a:off x="9675126" y="0"/>
            <a:ext cx="2377440" cy="2250720"/>
          </a:xfrm>
          <a:prstGeom prst="rect">
            <a:avLst/>
          </a:prstGeom>
        </p:spPr>
      </p:pic>
      <p:sp>
        <p:nvSpPr>
          <p:cNvPr id="8" name="TextBox 8">
            <a:extLst>
              <a:ext uri="{FF2B5EF4-FFF2-40B4-BE49-F238E27FC236}">
                <a16:creationId xmlns:a16="http://schemas.microsoft.com/office/drawing/2014/main" id="{0667141C-5EC6-6E36-2EDA-E421C23B2C0D}"/>
              </a:ext>
            </a:extLst>
          </p:cNvPr>
          <p:cNvSpPr txBox="1"/>
          <p:nvPr/>
        </p:nvSpPr>
        <p:spPr>
          <a:xfrm>
            <a:off x="10017868" y="478572"/>
            <a:ext cx="1691955" cy="1394997"/>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nSpc>
                <a:spcPts val="1773"/>
              </a:lnSpc>
              <a:spcBef>
                <a:spcPct val="0"/>
              </a:spcBef>
            </a:pPr>
            <a:r>
              <a:rPr lang="en-US" sz="2000" b="1">
                <a:latin typeface="Calibri"/>
                <a:ea typeface="Calibri"/>
                <a:cs typeface="Calibri"/>
                <a:sym typeface="Poppins"/>
              </a:rPr>
              <a:t>Located outside the ballroom</a:t>
            </a:r>
          </a:p>
          <a:p>
            <a:pPr>
              <a:lnSpc>
                <a:spcPts val="1773"/>
              </a:lnSpc>
              <a:spcBef>
                <a:spcPct val="0"/>
              </a:spcBef>
            </a:pPr>
            <a:endParaRPr lang="en-US" sz="2000" b="1">
              <a:latin typeface="Calibri"/>
              <a:ea typeface="Calibri"/>
              <a:cs typeface="Calibri"/>
              <a:sym typeface="Poppins"/>
            </a:endParaRPr>
          </a:p>
          <a:p>
            <a:pPr>
              <a:lnSpc>
                <a:spcPts val="1773"/>
              </a:lnSpc>
              <a:spcBef>
                <a:spcPct val="0"/>
              </a:spcBef>
            </a:pPr>
            <a:r>
              <a:rPr lang="en-US" sz="2000" b="1">
                <a:latin typeface="Calibri"/>
                <a:ea typeface="Calibri"/>
                <a:cs typeface="Calibri"/>
                <a:sym typeface="Poppins"/>
              </a:rPr>
              <a:t>Open</a:t>
            </a:r>
            <a:r>
              <a:rPr lang="en-US" sz="2000" b="1">
                <a:latin typeface="Calibri"/>
                <a:ea typeface="Calibri"/>
                <a:cs typeface="Calibri"/>
              </a:rPr>
              <a:t> during Storyboard &amp; Lunch Sessions</a:t>
            </a:r>
          </a:p>
        </p:txBody>
      </p:sp>
      <p:sp>
        <p:nvSpPr>
          <p:cNvPr id="12" name="Flowchart: Magnetic Disk 15">
            <a:extLst>
              <a:ext uri="{FF2B5EF4-FFF2-40B4-BE49-F238E27FC236}">
                <a16:creationId xmlns:a16="http://schemas.microsoft.com/office/drawing/2014/main" id="{D379DA69-A9B2-E4C3-FF86-90FC50298DC9}"/>
              </a:ext>
            </a:extLst>
          </p:cNvPr>
          <p:cNvSpPr/>
          <p:nvPr/>
        </p:nvSpPr>
        <p:spPr>
          <a:xfrm>
            <a:off x="6390104" y="4325967"/>
            <a:ext cx="2761194" cy="1086080"/>
          </a:xfrm>
          <a:prstGeom prst="roundRect">
            <a:avLst/>
          </a:prstGeom>
          <a:solidFill>
            <a:schemeClr val="accent6"/>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b="1">
                <a:solidFill>
                  <a:schemeClr val="tx1">
                    <a:lumMod val="50000"/>
                  </a:schemeClr>
                </a:solidFill>
                <a:latin typeface="Calibri"/>
                <a:ea typeface="Calibri"/>
                <a:cs typeface="Calibri"/>
              </a:rPr>
              <a:t>IDHS Bureau of Maternal Child Health</a:t>
            </a:r>
            <a:endParaRPr lang="en-US" sz="2400">
              <a:solidFill>
                <a:schemeClr val="tx1">
                  <a:lumMod val="50000"/>
                </a:schemeClr>
              </a:solidFill>
            </a:endParaRPr>
          </a:p>
        </p:txBody>
      </p:sp>
      <p:sp>
        <p:nvSpPr>
          <p:cNvPr id="26" name="Flowchart: Magnetic Disk 15">
            <a:extLst>
              <a:ext uri="{FF2B5EF4-FFF2-40B4-BE49-F238E27FC236}">
                <a16:creationId xmlns:a16="http://schemas.microsoft.com/office/drawing/2014/main" id="{46C7D97B-1D20-D4B9-E434-DF3C5BBCF460}"/>
              </a:ext>
            </a:extLst>
          </p:cNvPr>
          <p:cNvSpPr/>
          <p:nvPr/>
        </p:nvSpPr>
        <p:spPr>
          <a:xfrm>
            <a:off x="2467759" y="2607560"/>
            <a:ext cx="2119006" cy="1124180"/>
          </a:xfrm>
          <a:prstGeom prst="roundRect">
            <a:avLst/>
          </a:prstGeom>
          <a:solidFill>
            <a:schemeClr val="accent6"/>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b="1" dirty="0">
                <a:solidFill>
                  <a:schemeClr val="tx1">
                    <a:lumMod val="50000"/>
                  </a:schemeClr>
                </a:solidFill>
                <a:latin typeface="Calibri"/>
                <a:ea typeface="Calibri"/>
                <a:cs typeface="Calibri"/>
              </a:rPr>
              <a:t>Illinois </a:t>
            </a:r>
            <a:r>
              <a:rPr lang="en-US" sz="2400" b="1" dirty="0" err="1">
                <a:solidFill>
                  <a:schemeClr val="tx1">
                    <a:lumMod val="50000"/>
                  </a:schemeClr>
                </a:solidFill>
                <a:latin typeface="Calibri"/>
                <a:ea typeface="Calibri"/>
                <a:cs typeface="Calibri"/>
              </a:rPr>
              <a:t>DocAssist</a:t>
            </a:r>
            <a:endParaRPr lang="en-US" sz="2400" dirty="0">
              <a:solidFill>
                <a:schemeClr val="tx1">
                  <a:lumMod val="50000"/>
                </a:schemeClr>
              </a:solidFill>
            </a:endParaRPr>
          </a:p>
        </p:txBody>
      </p:sp>
      <p:sp>
        <p:nvSpPr>
          <p:cNvPr id="27" name="Flowchart: Magnetic Disk 15">
            <a:extLst>
              <a:ext uri="{FF2B5EF4-FFF2-40B4-BE49-F238E27FC236}">
                <a16:creationId xmlns:a16="http://schemas.microsoft.com/office/drawing/2014/main" id="{5FB00147-ED76-B688-42DD-8493C1DA0C75}"/>
              </a:ext>
            </a:extLst>
          </p:cNvPr>
          <p:cNvSpPr/>
          <p:nvPr/>
        </p:nvSpPr>
        <p:spPr>
          <a:xfrm>
            <a:off x="140728" y="4326944"/>
            <a:ext cx="2671318" cy="1086080"/>
          </a:xfrm>
          <a:prstGeom prst="roundRect">
            <a:avLst/>
          </a:prstGeom>
          <a:solidFill>
            <a:schemeClr val="accent6"/>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b="1">
                <a:solidFill>
                  <a:schemeClr val="tx1">
                    <a:lumMod val="50000"/>
                  </a:schemeClr>
                </a:solidFill>
                <a:latin typeface="Calibri"/>
                <a:ea typeface="Calibri"/>
                <a:cs typeface="Calibri"/>
              </a:rPr>
              <a:t>Start Early and Raising Illinois</a:t>
            </a:r>
            <a:endParaRPr lang="en-US" sz="2400">
              <a:solidFill>
                <a:schemeClr val="tx1">
                  <a:lumMod val="50000"/>
                </a:schemeClr>
              </a:solidFill>
            </a:endParaRPr>
          </a:p>
        </p:txBody>
      </p:sp>
      <p:sp>
        <p:nvSpPr>
          <p:cNvPr id="28" name="Flowchart: Magnetic Disk 15">
            <a:extLst>
              <a:ext uri="{FF2B5EF4-FFF2-40B4-BE49-F238E27FC236}">
                <a16:creationId xmlns:a16="http://schemas.microsoft.com/office/drawing/2014/main" id="{9E711B69-2F8D-37B4-4A79-26F8D1A57686}"/>
              </a:ext>
            </a:extLst>
          </p:cNvPr>
          <p:cNvSpPr/>
          <p:nvPr/>
        </p:nvSpPr>
        <p:spPr>
          <a:xfrm>
            <a:off x="168081" y="2611467"/>
            <a:ext cx="2125218" cy="1124180"/>
          </a:xfrm>
          <a:prstGeom prst="roundRect">
            <a:avLst/>
          </a:prstGeom>
          <a:solidFill>
            <a:schemeClr val="accent6"/>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b="1">
                <a:solidFill>
                  <a:schemeClr val="tx1">
                    <a:lumMod val="50000"/>
                  </a:schemeClr>
                </a:solidFill>
                <a:latin typeface="Calibri"/>
                <a:ea typeface="Calibri"/>
                <a:cs typeface="Calibri"/>
              </a:rPr>
              <a:t>FIMR Chicago</a:t>
            </a:r>
          </a:p>
        </p:txBody>
      </p:sp>
      <p:sp>
        <p:nvSpPr>
          <p:cNvPr id="30" name="Flowchart: Magnetic Disk 15">
            <a:extLst>
              <a:ext uri="{FF2B5EF4-FFF2-40B4-BE49-F238E27FC236}">
                <a16:creationId xmlns:a16="http://schemas.microsoft.com/office/drawing/2014/main" id="{1DC7BDF0-DEA2-D220-4722-565893138C07}"/>
              </a:ext>
            </a:extLst>
          </p:cNvPr>
          <p:cNvSpPr/>
          <p:nvPr/>
        </p:nvSpPr>
        <p:spPr>
          <a:xfrm>
            <a:off x="4741057" y="2615375"/>
            <a:ext cx="2117090" cy="1124180"/>
          </a:xfrm>
          <a:prstGeom prst="roundRect">
            <a:avLst/>
          </a:prstGeom>
          <a:solidFill>
            <a:schemeClr val="accent6"/>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b="1" dirty="0">
                <a:solidFill>
                  <a:schemeClr val="tx1">
                    <a:lumMod val="50000"/>
                  </a:schemeClr>
                </a:solidFill>
                <a:latin typeface="Calibri"/>
                <a:ea typeface="Calibri"/>
                <a:cs typeface="Calibri"/>
              </a:rPr>
              <a:t>Chicago </a:t>
            </a:r>
            <a:r>
              <a:rPr lang="en-US" sz="2400" b="1">
                <a:solidFill>
                  <a:schemeClr val="tx1">
                    <a:lumMod val="50000"/>
                  </a:schemeClr>
                </a:solidFill>
                <a:latin typeface="Calibri"/>
                <a:ea typeface="Calibri"/>
                <a:cs typeface="Calibri"/>
              </a:rPr>
              <a:t>Family Doulas</a:t>
            </a:r>
            <a:endParaRPr lang="en-US" sz="2400">
              <a:solidFill>
                <a:schemeClr val="tx1">
                  <a:lumMod val="50000"/>
                </a:schemeClr>
              </a:solidFill>
            </a:endParaRPr>
          </a:p>
        </p:txBody>
      </p:sp>
      <p:sp>
        <p:nvSpPr>
          <p:cNvPr id="14" name="Freeform 14" descr="A close-up of flowers in grass&#10;&#10;AI-generated content may be incorrect.">
            <a:extLst>
              <a:ext uri="{FF2B5EF4-FFF2-40B4-BE49-F238E27FC236}">
                <a16:creationId xmlns:a16="http://schemas.microsoft.com/office/drawing/2014/main" id="{45835C4F-7002-658E-4D70-5FB909F25DC5}"/>
              </a:ext>
            </a:extLst>
          </p:cNvPr>
          <p:cNvSpPr/>
          <p:nvPr/>
        </p:nvSpPr>
        <p:spPr>
          <a:xfrm>
            <a:off x="-646981" y="5314442"/>
            <a:ext cx="7848600" cy="1543558"/>
          </a:xfrm>
          <a:custGeom>
            <a:avLst/>
            <a:gdLst/>
            <a:ahLst/>
            <a:cxnLst/>
            <a:rect l="l" t="t" r="r" b="b"/>
            <a:pathLst>
              <a:path w="11772900" h="2315337">
                <a:moveTo>
                  <a:pt x="0" y="0"/>
                </a:moveTo>
                <a:lnTo>
                  <a:pt x="11772900" y="0"/>
                </a:lnTo>
                <a:lnTo>
                  <a:pt x="11772900" y="2315337"/>
                </a:lnTo>
                <a:lnTo>
                  <a:pt x="0" y="2315337"/>
                </a:lnTo>
                <a:lnTo>
                  <a:pt x="0" y="0"/>
                </a:lnTo>
                <a:close/>
              </a:path>
            </a:pathLst>
          </a:custGeom>
          <a:blipFill>
            <a:blip r:embed="rId5"/>
            <a:stretch>
              <a:fillRect/>
            </a:stretch>
          </a:blipFill>
        </p:spPr>
        <p:txBody>
          <a:bodyPr/>
          <a:lstStyle/>
          <a:p>
            <a:endParaRPr lang="en-US"/>
          </a:p>
        </p:txBody>
      </p:sp>
      <p:sp>
        <p:nvSpPr>
          <p:cNvPr id="17" name="Freeform 14" descr="A close-up of flowers in grass&#10;&#10;AI-generated content may be incorrect.">
            <a:extLst>
              <a:ext uri="{FF2B5EF4-FFF2-40B4-BE49-F238E27FC236}">
                <a16:creationId xmlns:a16="http://schemas.microsoft.com/office/drawing/2014/main" id="{A29A7901-C89B-5A50-530B-7328781ED897}"/>
              </a:ext>
            </a:extLst>
          </p:cNvPr>
          <p:cNvSpPr/>
          <p:nvPr/>
        </p:nvSpPr>
        <p:spPr>
          <a:xfrm>
            <a:off x="6558598" y="5314442"/>
            <a:ext cx="7848600" cy="1543558"/>
          </a:xfrm>
          <a:custGeom>
            <a:avLst/>
            <a:gdLst/>
            <a:ahLst/>
            <a:cxnLst/>
            <a:rect l="l" t="t" r="r" b="b"/>
            <a:pathLst>
              <a:path w="11772900" h="2315337">
                <a:moveTo>
                  <a:pt x="0" y="0"/>
                </a:moveTo>
                <a:lnTo>
                  <a:pt x="11772900" y="0"/>
                </a:lnTo>
                <a:lnTo>
                  <a:pt x="11772900" y="2315337"/>
                </a:lnTo>
                <a:lnTo>
                  <a:pt x="0" y="2315337"/>
                </a:lnTo>
                <a:lnTo>
                  <a:pt x="0" y="0"/>
                </a:lnTo>
                <a:close/>
              </a:path>
            </a:pathLst>
          </a:custGeom>
          <a:blipFill>
            <a:blip r:embed="rId5"/>
            <a:stretch>
              <a:fillRect/>
            </a:stretch>
          </a:blipFill>
        </p:spPr>
        <p:txBody>
          <a:bodyPr/>
          <a:lstStyle/>
          <a:p>
            <a:endParaRPr lang="en-US"/>
          </a:p>
        </p:txBody>
      </p:sp>
      <p:sp>
        <p:nvSpPr>
          <p:cNvPr id="19" name="Freeform 13" descr="A cartoon of a bird on a branch&#10;&#10;AI-generated content may be incorrect.">
            <a:extLst>
              <a:ext uri="{FF2B5EF4-FFF2-40B4-BE49-F238E27FC236}">
                <a16:creationId xmlns:a16="http://schemas.microsoft.com/office/drawing/2014/main" id="{7BCBDF5A-D6B9-6CF1-AC54-0E878AF150DC}"/>
              </a:ext>
            </a:extLst>
          </p:cNvPr>
          <p:cNvSpPr/>
          <p:nvPr/>
        </p:nvSpPr>
        <p:spPr>
          <a:xfrm>
            <a:off x="-6304" y="4848"/>
            <a:ext cx="1121063" cy="1012976"/>
          </a:xfrm>
          <a:custGeom>
            <a:avLst/>
            <a:gdLst/>
            <a:ahLst/>
            <a:cxnLst/>
            <a:rect l="l" t="t" r="r" b="b"/>
            <a:pathLst>
              <a:path w="3715992" h="3005309">
                <a:moveTo>
                  <a:pt x="0" y="0"/>
                </a:moveTo>
                <a:lnTo>
                  <a:pt x="3715992" y="0"/>
                </a:lnTo>
                <a:lnTo>
                  <a:pt x="3715992" y="3005308"/>
                </a:lnTo>
                <a:lnTo>
                  <a:pt x="0" y="3005308"/>
                </a:lnTo>
                <a:lnTo>
                  <a:pt x="0" y="0"/>
                </a:lnTo>
                <a:close/>
              </a:path>
            </a:pathLst>
          </a:custGeom>
          <a:blipFill>
            <a:blip r:embed="rId6"/>
            <a:stretch>
              <a:fillRect/>
            </a:stretch>
          </a:blipFill>
        </p:spPr>
        <p:txBody>
          <a:bodyPr/>
          <a:lstStyle/>
          <a:p>
            <a:endParaRPr lang="en-US"/>
          </a:p>
        </p:txBody>
      </p:sp>
      <p:sp>
        <p:nvSpPr>
          <p:cNvPr id="2" name="Flowchart: Magnetic Disk 15">
            <a:extLst>
              <a:ext uri="{FF2B5EF4-FFF2-40B4-BE49-F238E27FC236}">
                <a16:creationId xmlns:a16="http://schemas.microsoft.com/office/drawing/2014/main" id="{4A816D07-FF5B-320C-1429-3042F2EC6AC7}"/>
              </a:ext>
            </a:extLst>
          </p:cNvPr>
          <p:cNvSpPr/>
          <p:nvPr/>
        </p:nvSpPr>
        <p:spPr>
          <a:xfrm>
            <a:off x="2962080" y="4296660"/>
            <a:ext cx="3258449" cy="1111480"/>
          </a:xfrm>
          <a:prstGeom prst="roundRect">
            <a:avLst/>
          </a:prstGeom>
          <a:solidFill>
            <a:schemeClr val="accent6"/>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200" b="1" dirty="0">
                <a:solidFill>
                  <a:schemeClr val="tx1">
                    <a:lumMod val="50000"/>
                  </a:schemeClr>
                </a:solidFill>
                <a:latin typeface="Calibri"/>
                <a:ea typeface="Calibri"/>
                <a:cs typeface="Calibri"/>
              </a:rPr>
              <a:t>Southern Illinois Health Care FIMR </a:t>
            </a:r>
            <a:r>
              <a:rPr lang="en-US" sz="2200" b="1">
                <a:solidFill>
                  <a:schemeClr val="tx1">
                    <a:lumMod val="50000"/>
                  </a:schemeClr>
                </a:solidFill>
                <a:latin typeface="Calibri"/>
                <a:ea typeface="Calibri"/>
                <a:cs typeface="Calibri"/>
              </a:rPr>
              <a:t>of St. Clair &amp; Madison Counties</a:t>
            </a:r>
            <a:endParaRPr lang="en-US" sz="2200">
              <a:solidFill>
                <a:schemeClr val="tx1">
                  <a:lumMod val="50000"/>
                </a:schemeClr>
              </a:solidFill>
            </a:endParaRPr>
          </a:p>
        </p:txBody>
      </p:sp>
      <p:sp>
        <p:nvSpPr>
          <p:cNvPr id="3" name="Flowchart: Magnetic Disk 15">
            <a:extLst>
              <a:ext uri="{FF2B5EF4-FFF2-40B4-BE49-F238E27FC236}">
                <a16:creationId xmlns:a16="http://schemas.microsoft.com/office/drawing/2014/main" id="{A9946981-27C1-19F9-3B5E-5AA66E0B3E80}"/>
              </a:ext>
            </a:extLst>
          </p:cNvPr>
          <p:cNvSpPr/>
          <p:nvPr/>
        </p:nvSpPr>
        <p:spPr>
          <a:xfrm>
            <a:off x="7032919" y="2602675"/>
            <a:ext cx="2129790" cy="1124180"/>
          </a:xfrm>
          <a:prstGeom prst="roundRect">
            <a:avLst/>
          </a:prstGeom>
          <a:solidFill>
            <a:schemeClr val="accent6"/>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b="1">
                <a:solidFill>
                  <a:schemeClr val="tx1">
                    <a:lumMod val="50000"/>
                  </a:schemeClr>
                </a:solidFill>
                <a:latin typeface="Calibri"/>
                <a:ea typeface="Calibri"/>
                <a:cs typeface="Calibri"/>
              </a:rPr>
              <a:t>Hopeful Beginnings</a:t>
            </a:r>
            <a:endParaRPr lang="en-US">
              <a:solidFill>
                <a:schemeClr val="tx1">
                  <a:lumMod val="50000"/>
                </a:schemeClr>
              </a:solidFill>
            </a:endParaRPr>
          </a:p>
        </p:txBody>
      </p:sp>
      <p:sp>
        <p:nvSpPr>
          <p:cNvPr id="4" name="Flowchart: Magnetic Disk 15">
            <a:extLst>
              <a:ext uri="{FF2B5EF4-FFF2-40B4-BE49-F238E27FC236}">
                <a16:creationId xmlns:a16="http://schemas.microsoft.com/office/drawing/2014/main" id="{5551EF32-DB4B-0FC8-C0AC-DB869ED7F548}"/>
              </a:ext>
            </a:extLst>
          </p:cNvPr>
          <p:cNvSpPr/>
          <p:nvPr/>
        </p:nvSpPr>
        <p:spPr>
          <a:xfrm>
            <a:off x="9338456" y="4329875"/>
            <a:ext cx="2764790" cy="1124180"/>
          </a:xfrm>
          <a:prstGeom prst="roundRect">
            <a:avLst/>
          </a:prstGeom>
          <a:solidFill>
            <a:schemeClr val="accent6"/>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b="1">
                <a:solidFill>
                  <a:schemeClr val="tx1">
                    <a:lumMod val="50000"/>
                  </a:schemeClr>
                </a:solidFill>
                <a:latin typeface="Calibri"/>
                <a:ea typeface="Calibri"/>
                <a:cs typeface="Calibri"/>
              </a:rPr>
              <a:t>Health Resources in Action – IL Helpline</a:t>
            </a:r>
            <a:endParaRPr lang="en-US">
              <a:solidFill>
                <a:schemeClr val="tx1">
                  <a:lumMod val="50000"/>
                </a:schemeClr>
              </a:solidFill>
            </a:endParaRPr>
          </a:p>
        </p:txBody>
      </p:sp>
      <p:sp>
        <p:nvSpPr>
          <p:cNvPr id="5" name="Flowchart: Magnetic Disk 15">
            <a:extLst>
              <a:ext uri="{FF2B5EF4-FFF2-40B4-BE49-F238E27FC236}">
                <a16:creationId xmlns:a16="http://schemas.microsoft.com/office/drawing/2014/main" id="{85601E22-7A64-84F8-E083-2768DE752148}"/>
              </a:ext>
            </a:extLst>
          </p:cNvPr>
          <p:cNvSpPr/>
          <p:nvPr/>
        </p:nvSpPr>
        <p:spPr>
          <a:xfrm>
            <a:off x="9287657" y="2615375"/>
            <a:ext cx="2688590" cy="1124180"/>
          </a:xfrm>
          <a:prstGeom prst="roundRect">
            <a:avLst/>
          </a:prstGeom>
          <a:solidFill>
            <a:schemeClr val="accent6"/>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b="1" dirty="0">
                <a:solidFill>
                  <a:schemeClr val="tx1">
                    <a:lumMod val="50000"/>
                  </a:schemeClr>
                </a:solidFill>
                <a:latin typeface="Calibri"/>
                <a:ea typeface="Calibri"/>
                <a:cs typeface="Calibri"/>
              </a:rPr>
              <a:t>IL Coalition </a:t>
            </a:r>
            <a:r>
              <a:rPr lang="en-US" sz="2400" b="1">
                <a:solidFill>
                  <a:schemeClr val="tx1">
                    <a:lumMod val="50000"/>
                  </a:schemeClr>
                </a:solidFill>
                <a:latin typeface="Calibri"/>
                <a:ea typeface="Calibri"/>
                <a:cs typeface="Calibri"/>
              </a:rPr>
              <a:t>Against Domestic </a:t>
            </a:r>
            <a:r>
              <a:rPr lang="en-US" sz="2400" b="1" dirty="0">
                <a:solidFill>
                  <a:schemeClr val="tx1">
                    <a:lumMod val="50000"/>
                  </a:schemeClr>
                </a:solidFill>
                <a:latin typeface="Calibri"/>
                <a:ea typeface="Calibri"/>
                <a:cs typeface="Calibri"/>
              </a:rPr>
              <a:t>Violence</a:t>
            </a:r>
          </a:p>
        </p:txBody>
      </p:sp>
    </p:spTree>
    <p:extLst>
      <p:ext uri="{BB962C8B-B14F-4D97-AF65-F5344CB8AC3E}">
        <p14:creationId xmlns:p14="http://schemas.microsoft.com/office/powerpoint/2010/main" val="800236505"/>
      </p:ext>
    </p:extLst>
  </p:cSld>
  <p:clrMapOvr>
    <a:masterClrMapping/>
  </p:clrMapOvr>
  <p:extLst>
    <p:ext uri="{6950BFC3-D8DA-4A85-94F7-54DA5524770B}">
      <p188:commentRel xmlns:p188="http://schemas.microsoft.com/office/powerpoint/2018/8/main" r:id="rId2"/>
    </p:ext>
  </p:extLst>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FFFEFE"/>
        </a:solidFill>
        <a:effectLst/>
      </p:bgPr>
    </p:bg>
    <p:spTree>
      <p:nvGrpSpPr>
        <p:cNvPr id="1" name="Shape 16622"/>
        <p:cNvGrpSpPr/>
        <p:nvPr/>
      </p:nvGrpSpPr>
      <p:grpSpPr>
        <a:xfrm>
          <a:off x="0" y="0"/>
          <a:ext cx="0" cy="0"/>
          <a:chOff x="0" y="0"/>
          <a:chExt cx="0" cy="0"/>
        </a:xfrm>
      </p:grpSpPr>
      <p:sp>
        <p:nvSpPr>
          <p:cNvPr id="16623" name="Google Shape;16623;g35b7e9ef692_0_0"/>
          <p:cNvSpPr txBox="1"/>
          <p:nvPr/>
        </p:nvSpPr>
        <p:spPr>
          <a:xfrm>
            <a:off x="797768" y="1712851"/>
            <a:ext cx="3774180" cy="1999330"/>
          </a:xfrm>
          <a:prstGeom prst="rect">
            <a:avLst/>
          </a:prstGeom>
          <a:noFill/>
          <a:ln>
            <a:noFill/>
          </a:ln>
        </p:spPr>
        <p:txBody>
          <a:bodyPr spcFirstLastPara="1" wrap="square" lIns="0" tIns="0" rIns="0" bIns="0" anchor="t" anchorCtr="0">
            <a:spAutoFit/>
          </a:bodyPr>
          <a:lstStyle/>
          <a:p>
            <a:pPr marL="0" marR="0" lvl="0" indent="0" algn="l" rtl="0">
              <a:lnSpc>
                <a:spcPct val="116200"/>
              </a:lnSpc>
              <a:spcBef>
                <a:spcPts val="0"/>
              </a:spcBef>
              <a:spcAft>
                <a:spcPts val="0"/>
              </a:spcAft>
              <a:buClr>
                <a:srgbClr val="000000"/>
              </a:buClr>
              <a:buSzPts val="2500"/>
              <a:buFont typeface="Arial"/>
              <a:buNone/>
            </a:pPr>
            <a:r>
              <a:rPr lang="en-US" sz="4800" b="1" i="0" u="none" strike="noStrike" cap="none" dirty="0">
                <a:solidFill>
                  <a:srgbClr val="C02246"/>
                </a:solidFill>
                <a:latin typeface="DM Sans"/>
                <a:ea typeface="DM Sans"/>
                <a:cs typeface="DM Sans"/>
                <a:sym typeface="DM Sans"/>
              </a:rPr>
              <a:t>Bathrooms</a:t>
            </a:r>
            <a:endParaRPr dirty="0">
              <a:solidFill>
                <a:srgbClr val="C02246"/>
              </a:solidFill>
              <a:latin typeface="DM Sans"/>
            </a:endParaRPr>
          </a:p>
          <a:p>
            <a:pPr marL="457200" marR="0" lvl="0" indent="-457200" algn="l" rtl="0">
              <a:lnSpc>
                <a:spcPct val="116200"/>
              </a:lnSpc>
              <a:spcBef>
                <a:spcPts val="0"/>
              </a:spcBef>
              <a:spcAft>
                <a:spcPts val="0"/>
              </a:spcAft>
              <a:buClr>
                <a:srgbClr val="000000"/>
              </a:buClr>
              <a:buSzPts val="2500"/>
              <a:buFont typeface="Arial"/>
              <a:buChar char="•"/>
            </a:pPr>
            <a:r>
              <a:rPr lang="en-US" sz="3200" b="1" i="0" u="none" strike="noStrike" cap="none" dirty="0">
                <a:solidFill>
                  <a:srgbClr val="000000"/>
                </a:solidFill>
                <a:latin typeface="DM Sans"/>
                <a:ea typeface="DM Sans"/>
                <a:cs typeface="DM Sans"/>
                <a:sym typeface="DM Sans"/>
              </a:rPr>
              <a:t>5 </a:t>
            </a:r>
            <a:r>
              <a:rPr lang="en-US" sz="3200" b="1" i="0" u="none" strike="noStrike" cap="none" dirty="0" err="1">
                <a:solidFill>
                  <a:srgbClr val="000000"/>
                </a:solidFill>
                <a:latin typeface="DM Sans"/>
                <a:ea typeface="DM Sans"/>
                <a:cs typeface="DM Sans"/>
                <a:sym typeface="DM Sans"/>
              </a:rPr>
              <a:t>Womens</a:t>
            </a:r>
            <a:endParaRPr sz="3200" b="1" i="0" u="none" strike="noStrike" cap="none" dirty="0" err="1">
              <a:solidFill>
                <a:srgbClr val="000000"/>
              </a:solidFill>
              <a:latin typeface="DM Sans"/>
              <a:ea typeface="DM Sans"/>
              <a:cs typeface="DM Sans"/>
            </a:endParaRPr>
          </a:p>
          <a:p>
            <a:pPr marL="457200" marR="0" lvl="0" indent="-457200" algn="l" rtl="0">
              <a:lnSpc>
                <a:spcPct val="116200"/>
              </a:lnSpc>
              <a:spcBef>
                <a:spcPts val="0"/>
              </a:spcBef>
              <a:spcAft>
                <a:spcPts val="0"/>
              </a:spcAft>
              <a:buClr>
                <a:srgbClr val="000000"/>
              </a:buClr>
              <a:buSzPts val="2500"/>
              <a:buFont typeface="Arial"/>
              <a:buChar char="•"/>
            </a:pPr>
            <a:r>
              <a:rPr lang="en-US" sz="3200" b="1" i="0" u="none" strike="noStrike" cap="none" dirty="0">
                <a:solidFill>
                  <a:srgbClr val="000000"/>
                </a:solidFill>
                <a:latin typeface="DM Sans"/>
                <a:ea typeface="DM Sans"/>
                <a:cs typeface="DM Sans"/>
                <a:sym typeface="DM Sans"/>
              </a:rPr>
              <a:t>2 </a:t>
            </a:r>
            <a:r>
              <a:rPr lang="en-US" sz="3200" b="1" i="0" u="none" strike="noStrike" cap="none" dirty="0" err="1">
                <a:solidFill>
                  <a:srgbClr val="000000"/>
                </a:solidFill>
                <a:latin typeface="DM Sans"/>
                <a:ea typeface="DM Sans"/>
                <a:cs typeface="DM Sans"/>
                <a:sym typeface="DM Sans"/>
              </a:rPr>
              <a:t>Mens</a:t>
            </a:r>
            <a:endParaRPr sz="1000" b="0" i="0" u="none" strike="noStrike" cap="none" dirty="0" err="1">
              <a:solidFill>
                <a:srgbClr val="000000"/>
              </a:solidFill>
              <a:latin typeface="DM Sans"/>
              <a:ea typeface="Arial"/>
              <a:cs typeface="Arial"/>
            </a:endParaRPr>
          </a:p>
        </p:txBody>
      </p:sp>
      <p:sp>
        <p:nvSpPr>
          <p:cNvPr id="16624" name="Google Shape;16624;g35b7e9ef692_0_0"/>
          <p:cNvSpPr txBox="1"/>
          <p:nvPr/>
        </p:nvSpPr>
        <p:spPr>
          <a:xfrm>
            <a:off x="5196100" y="2650650"/>
            <a:ext cx="7047300" cy="554100"/>
          </a:xfrm>
          <a:prstGeom prst="rect">
            <a:avLst/>
          </a:prstGeom>
          <a:no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dk1"/>
              </a:solidFill>
              <a:latin typeface="DM Sans"/>
              <a:ea typeface="Calibri"/>
              <a:cs typeface="Calibri"/>
              <a:sym typeface="Calibri"/>
            </a:endParaRPr>
          </a:p>
        </p:txBody>
      </p:sp>
      <p:sp>
        <p:nvSpPr>
          <p:cNvPr id="16625" name="Google Shape;16625;g35b7e9ef692_0_0"/>
          <p:cNvSpPr/>
          <p:nvPr/>
        </p:nvSpPr>
        <p:spPr>
          <a:xfrm>
            <a:off x="6710750" y="3365900"/>
            <a:ext cx="1262100" cy="673200"/>
          </a:xfrm>
          <a:prstGeom prst="rect">
            <a:avLst/>
          </a:prstGeom>
          <a:noFill/>
          <a:ln w="76200" cap="flat" cmpd="sng">
            <a:solidFill>
              <a:srgbClr val="E15829"/>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DM Sans"/>
              <a:ea typeface="Calibri"/>
              <a:cs typeface="Calibri"/>
              <a:sym typeface="Calibri"/>
            </a:endParaRPr>
          </a:p>
        </p:txBody>
      </p:sp>
      <p:sp>
        <p:nvSpPr>
          <p:cNvPr id="16627" name="Google Shape;16627;g35b7e9ef692_0_0"/>
          <p:cNvSpPr/>
          <p:nvPr/>
        </p:nvSpPr>
        <p:spPr>
          <a:xfrm>
            <a:off x="5136877" y="-1362"/>
            <a:ext cx="7052935" cy="6877026"/>
          </a:xfrm>
          <a:custGeom>
            <a:avLst/>
            <a:gdLst/>
            <a:ahLst/>
            <a:cxnLst/>
            <a:rect l="l" t="t" r="r" b="b"/>
            <a:pathLst>
              <a:path w="10579403" h="10200086" extrusionOk="0">
                <a:moveTo>
                  <a:pt x="0" y="0"/>
                </a:moveTo>
                <a:lnTo>
                  <a:pt x="10579403" y="0"/>
                </a:lnTo>
                <a:lnTo>
                  <a:pt x="10579403" y="10200086"/>
                </a:lnTo>
                <a:lnTo>
                  <a:pt x="0" y="10200086"/>
                </a:lnTo>
                <a:lnTo>
                  <a:pt x="0" y="0"/>
                </a:lnTo>
                <a:close/>
              </a:path>
            </a:pathLst>
          </a:custGeom>
          <a:blipFill rotWithShape="1">
            <a:blip r:embed="rId3" cstate="email">
              <a:alphaModFix/>
              <a:extLst>
                <a:ext uri="{28A0092B-C50C-407E-A947-70E740481C1C}">
                  <a14:useLocalDpi xmlns:a14="http://schemas.microsoft.com/office/drawing/2010/main"/>
                </a:ext>
              </a:extLst>
            </a:blip>
            <a:stretch>
              <a:fillRect/>
            </a:stretch>
          </a:bli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800"/>
              <a:buFont typeface="Arial"/>
              <a:buNone/>
            </a:pPr>
            <a:endParaRPr sz="800" b="0" i="0" u="none" strike="noStrike" cap="none">
              <a:solidFill>
                <a:schemeClr val="dk1"/>
              </a:solidFill>
              <a:latin typeface="DM Sans"/>
              <a:ea typeface="DM Sans"/>
              <a:cs typeface="DM Sans"/>
              <a:sym typeface="DM Sans"/>
            </a:endParaRPr>
          </a:p>
        </p:txBody>
      </p:sp>
      <p:sp>
        <p:nvSpPr>
          <p:cNvPr id="16628" name="Google Shape;16628;g35b7e9ef692_0_0"/>
          <p:cNvSpPr/>
          <p:nvPr/>
        </p:nvSpPr>
        <p:spPr>
          <a:xfrm>
            <a:off x="8070505" y="2399044"/>
            <a:ext cx="700088" cy="593375"/>
          </a:xfrm>
          <a:prstGeom prst="rect">
            <a:avLst/>
          </a:prstGeom>
          <a:noFill/>
          <a:ln w="76200" cap="flat" cmpd="sng">
            <a:solidFill>
              <a:srgbClr val="E15829"/>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DM Sans"/>
              <a:ea typeface="Calibri"/>
              <a:cs typeface="Calibri"/>
              <a:sym typeface="Calibri"/>
            </a:endParaRPr>
          </a:p>
        </p:txBody>
      </p:sp>
      <p:sp>
        <p:nvSpPr>
          <p:cNvPr id="16629" name="Google Shape;16629;g35b7e9ef692_0_0"/>
          <p:cNvSpPr/>
          <p:nvPr/>
        </p:nvSpPr>
        <p:spPr>
          <a:xfrm>
            <a:off x="9141318" y="2005036"/>
            <a:ext cx="947572" cy="554101"/>
          </a:xfrm>
          <a:prstGeom prst="rect">
            <a:avLst/>
          </a:prstGeom>
          <a:noFill/>
          <a:ln w="76200" cap="flat" cmpd="sng">
            <a:solidFill>
              <a:srgbClr val="E15829"/>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DM Sans"/>
              <a:ea typeface="Calibri"/>
              <a:cs typeface="Calibri"/>
              <a:sym typeface="Calibri"/>
            </a:endParaRPr>
          </a:p>
        </p:txBody>
      </p:sp>
      <p:pic>
        <p:nvPicPr>
          <p:cNvPr id="16630" name="Google Shape;16630;g35b7e9ef692_0_0"/>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8502968" y="2146765"/>
            <a:ext cx="242499" cy="255971"/>
          </a:xfrm>
          <a:prstGeom prst="rect">
            <a:avLst/>
          </a:prstGeom>
          <a:noFill/>
          <a:ln>
            <a:noFill/>
          </a:ln>
        </p:spPr>
      </p:pic>
      <p:sp>
        <p:nvSpPr>
          <p:cNvPr id="16631" name="Google Shape;16631;g35b7e9ef692_0_0"/>
          <p:cNvSpPr/>
          <p:nvPr/>
        </p:nvSpPr>
        <p:spPr>
          <a:xfrm>
            <a:off x="8238093" y="5163595"/>
            <a:ext cx="364808" cy="593375"/>
          </a:xfrm>
          <a:prstGeom prst="rect">
            <a:avLst/>
          </a:prstGeom>
          <a:noFill/>
          <a:ln w="76200" cap="flat" cmpd="sng">
            <a:solidFill>
              <a:srgbClr val="E15829"/>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DM Sans"/>
              <a:ea typeface="Calibri"/>
              <a:cs typeface="Calibri"/>
              <a:sym typeface="Calibri"/>
            </a:endParaRPr>
          </a:p>
        </p:txBody>
      </p:sp>
      <p:sp>
        <p:nvSpPr>
          <p:cNvPr id="16632" name="Google Shape;16632;g35b7e9ef692_0_0"/>
          <p:cNvSpPr/>
          <p:nvPr/>
        </p:nvSpPr>
        <p:spPr>
          <a:xfrm>
            <a:off x="9140762" y="5864382"/>
            <a:ext cx="493776" cy="342407"/>
          </a:xfrm>
          <a:prstGeom prst="rect">
            <a:avLst/>
          </a:prstGeom>
          <a:noFill/>
          <a:ln w="76200" cap="flat" cmpd="sng">
            <a:solidFill>
              <a:srgbClr val="E15829"/>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DM Sans"/>
              <a:ea typeface="Calibri"/>
              <a:cs typeface="Calibri"/>
              <a:sym typeface="Calibri"/>
            </a:endParaRPr>
          </a:p>
        </p:txBody>
      </p:sp>
      <p:sp>
        <p:nvSpPr>
          <p:cNvPr id="16626" name="Google Shape;16626;g35b7e9ef692_0_0"/>
          <p:cNvSpPr/>
          <p:nvPr/>
        </p:nvSpPr>
        <p:spPr>
          <a:xfrm>
            <a:off x="8417405" y="2155640"/>
            <a:ext cx="393420" cy="292200"/>
          </a:xfrm>
          <a:prstGeom prst="rect">
            <a:avLst/>
          </a:prstGeom>
          <a:noFill/>
          <a:ln w="76200" cap="flat" cmpd="sng">
            <a:solidFill>
              <a:srgbClr val="E15829"/>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DM Sans"/>
              <a:ea typeface="Calibri"/>
              <a:cs typeface="Calibri"/>
              <a:sym typeface="Calibri"/>
            </a:endParaRPr>
          </a:p>
        </p:txBody>
      </p:sp>
      <p:sp>
        <p:nvSpPr>
          <p:cNvPr id="4" name="Freeform 14" descr="A close-up of flowers in grass&#10;&#10;AI-generated content may be incorrect.">
            <a:extLst>
              <a:ext uri="{FF2B5EF4-FFF2-40B4-BE49-F238E27FC236}">
                <a16:creationId xmlns:a16="http://schemas.microsoft.com/office/drawing/2014/main" id="{6037E37F-ABB4-8B1E-E191-703726E46E40}"/>
              </a:ext>
            </a:extLst>
          </p:cNvPr>
          <p:cNvSpPr/>
          <p:nvPr/>
        </p:nvSpPr>
        <p:spPr>
          <a:xfrm>
            <a:off x="-1241927" y="5314442"/>
            <a:ext cx="7848600" cy="1543558"/>
          </a:xfrm>
          <a:custGeom>
            <a:avLst/>
            <a:gdLst/>
            <a:ahLst/>
            <a:cxnLst/>
            <a:rect l="l" t="t" r="r" b="b"/>
            <a:pathLst>
              <a:path w="11772900" h="2315337">
                <a:moveTo>
                  <a:pt x="0" y="0"/>
                </a:moveTo>
                <a:lnTo>
                  <a:pt x="11772900" y="0"/>
                </a:lnTo>
                <a:lnTo>
                  <a:pt x="11772900" y="2315337"/>
                </a:lnTo>
                <a:lnTo>
                  <a:pt x="0" y="2315337"/>
                </a:lnTo>
                <a:lnTo>
                  <a:pt x="0" y="0"/>
                </a:lnTo>
                <a:close/>
              </a:path>
            </a:pathLst>
          </a:custGeom>
          <a:blipFill>
            <a:blip r:embed="rId5"/>
            <a:stretch>
              <a:fillRect/>
            </a:stretch>
          </a:blipFill>
        </p:spPr>
        <p:txBody>
          <a:bodyPr/>
          <a:lstStyle/>
          <a:p>
            <a:endParaRPr lang="en-US"/>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FFFEFE"/>
        </a:solidFill>
        <a:effectLst/>
      </p:bgPr>
    </p:bg>
    <p:spTree>
      <p:nvGrpSpPr>
        <p:cNvPr id="1" name="Shape 16607"/>
        <p:cNvGrpSpPr/>
        <p:nvPr/>
      </p:nvGrpSpPr>
      <p:grpSpPr>
        <a:xfrm>
          <a:off x="0" y="0"/>
          <a:ext cx="0" cy="0"/>
          <a:chOff x="0" y="0"/>
          <a:chExt cx="0" cy="0"/>
        </a:xfrm>
      </p:grpSpPr>
      <p:sp>
        <p:nvSpPr>
          <p:cNvPr id="16608" name="Google Shape;16608;p273"/>
          <p:cNvSpPr/>
          <p:nvPr/>
        </p:nvSpPr>
        <p:spPr>
          <a:xfrm>
            <a:off x="5139065" y="-939"/>
            <a:ext cx="7052935" cy="6877026"/>
          </a:xfrm>
          <a:custGeom>
            <a:avLst/>
            <a:gdLst/>
            <a:ahLst/>
            <a:cxnLst/>
            <a:rect l="l" t="t" r="r" b="b"/>
            <a:pathLst>
              <a:path w="10579403" h="10200086" extrusionOk="0">
                <a:moveTo>
                  <a:pt x="0" y="0"/>
                </a:moveTo>
                <a:lnTo>
                  <a:pt x="10579403" y="0"/>
                </a:lnTo>
                <a:lnTo>
                  <a:pt x="10579403" y="10200086"/>
                </a:lnTo>
                <a:lnTo>
                  <a:pt x="0" y="10200086"/>
                </a:lnTo>
                <a:lnTo>
                  <a:pt x="0" y="0"/>
                </a:lnTo>
                <a:close/>
              </a:path>
            </a:pathLst>
          </a:custGeom>
          <a:blipFill rotWithShape="1">
            <a:blip r:embed="rId3" cstate="email">
              <a:alphaModFix/>
              <a:extLst>
                <a:ext uri="{28A0092B-C50C-407E-A947-70E740481C1C}">
                  <a14:useLocalDpi xmlns:a14="http://schemas.microsoft.com/office/drawing/2010/main"/>
                </a:ext>
              </a:extLst>
            </a:blip>
            <a:stretch>
              <a:fillRect/>
            </a:stretch>
          </a:bli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800"/>
              <a:buFont typeface="Arial"/>
              <a:buNone/>
            </a:pPr>
            <a:endParaRPr sz="800" b="0" i="0" u="none" strike="noStrike" cap="none">
              <a:solidFill>
                <a:schemeClr val="dk1"/>
              </a:solidFill>
              <a:latin typeface="DM Sans"/>
              <a:ea typeface="DM Sans"/>
              <a:cs typeface="DM Sans"/>
              <a:sym typeface="DM Sans"/>
            </a:endParaRPr>
          </a:p>
        </p:txBody>
      </p:sp>
      <p:grpSp>
        <p:nvGrpSpPr>
          <p:cNvPr id="16609" name="Google Shape;16609;p273"/>
          <p:cNvGrpSpPr/>
          <p:nvPr/>
        </p:nvGrpSpPr>
        <p:grpSpPr>
          <a:xfrm>
            <a:off x="419772" y="1045564"/>
            <a:ext cx="5892435" cy="3016446"/>
            <a:chOff x="204257" y="1715200"/>
            <a:chExt cx="5892435" cy="3016446"/>
          </a:xfrm>
        </p:grpSpPr>
        <p:sp>
          <p:nvSpPr>
            <p:cNvPr id="16610" name="Google Shape;16610;p273"/>
            <p:cNvSpPr txBox="1"/>
            <p:nvPr/>
          </p:nvSpPr>
          <p:spPr>
            <a:xfrm>
              <a:off x="204257" y="1715200"/>
              <a:ext cx="3329344" cy="446276"/>
            </a:xfrm>
            <a:prstGeom prst="rect">
              <a:avLst/>
            </a:prstGeom>
            <a:noFill/>
            <a:ln>
              <a:noFill/>
            </a:ln>
          </p:spPr>
          <p:txBody>
            <a:bodyPr spcFirstLastPara="1" wrap="square" lIns="0" tIns="0" rIns="0" bIns="0" anchor="t" anchorCtr="0">
              <a:spAutoFit/>
            </a:bodyPr>
            <a:lstStyle/>
            <a:p>
              <a:pPr marL="0" marR="0" lvl="0" indent="0" algn="l" rtl="0">
                <a:lnSpc>
                  <a:spcPct val="116200"/>
                </a:lnSpc>
                <a:spcBef>
                  <a:spcPts val="0"/>
                </a:spcBef>
                <a:spcAft>
                  <a:spcPts val="0"/>
                </a:spcAft>
                <a:buClr>
                  <a:srgbClr val="000000"/>
                </a:buClr>
                <a:buSzPts val="2500"/>
                <a:buFont typeface="Arial"/>
                <a:buNone/>
              </a:pPr>
              <a:r>
                <a:rPr lang="en-US" sz="2500" b="1" i="0" u="none" strike="noStrike" cap="none">
                  <a:solidFill>
                    <a:srgbClr val="C02246"/>
                  </a:solidFill>
                  <a:latin typeface="DM Sans"/>
                  <a:ea typeface="DM Sans"/>
                  <a:cs typeface="DM Sans"/>
                  <a:sym typeface="DM Sans"/>
                </a:rPr>
                <a:t>Additional Spaces</a:t>
              </a:r>
              <a:endParaRPr lang="en-US" sz="1400" b="0" i="0" u="none" strike="noStrike" cap="none">
                <a:solidFill>
                  <a:srgbClr val="C02246"/>
                </a:solidFill>
                <a:latin typeface="Arial"/>
                <a:ea typeface="Arial"/>
                <a:cs typeface="Arial"/>
              </a:endParaRPr>
            </a:p>
          </p:txBody>
        </p:sp>
        <p:sp>
          <p:nvSpPr>
            <p:cNvPr id="16611" name="Google Shape;16611;p273"/>
            <p:cNvSpPr txBox="1"/>
            <p:nvPr/>
          </p:nvSpPr>
          <p:spPr>
            <a:xfrm>
              <a:off x="2744257" y="2423322"/>
              <a:ext cx="3352435" cy="230832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2500"/>
                <a:buFont typeface="Arial"/>
                <a:buNone/>
              </a:pPr>
              <a:r>
                <a:rPr lang="en-US" sz="2500" b="1" dirty="0">
                  <a:solidFill>
                    <a:srgbClr val="7B8B34"/>
                  </a:solidFill>
                  <a:latin typeface="DM Sans"/>
                  <a:ea typeface="DM Sans"/>
                  <a:cs typeface="DM Sans"/>
                  <a:sym typeface="DM Sans"/>
                </a:rPr>
                <a:t>Lactation</a:t>
              </a:r>
              <a:r>
                <a:rPr lang="en-US" sz="2500" b="1" i="0" u="none" strike="noStrike" cap="none" dirty="0">
                  <a:solidFill>
                    <a:srgbClr val="7B8B34"/>
                  </a:solidFill>
                  <a:latin typeface="DM Sans"/>
                  <a:ea typeface="DM Sans"/>
                  <a:cs typeface="DM Sans"/>
                  <a:sym typeface="DM Sans"/>
                </a:rPr>
                <a:t> Room</a:t>
              </a:r>
              <a:endParaRPr sz="2500" b="0" i="0" u="none" strike="noStrike" cap="none" dirty="0">
                <a:solidFill>
                  <a:srgbClr val="7B8B34"/>
                </a:solidFill>
                <a:latin typeface="DM Sans"/>
                <a:ea typeface="DM Sans"/>
                <a:cs typeface="DM Sans"/>
                <a:sym typeface="DM Sans"/>
              </a:endParaRPr>
            </a:p>
            <a:p>
              <a:pPr marL="0" marR="0" lvl="0" indent="0" algn="l" rtl="0">
                <a:lnSpc>
                  <a:spcPct val="100000"/>
                </a:lnSpc>
                <a:spcBef>
                  <a:spcPts val="0"/>
                </a:spcBef>
                <a:spcAft>
                  <a:spcPts val="0"/>
                </a:spcAft>
                <a:buClr>
                  <a:srgbClr val="000000"/>
                </a:buClr>
                <a:buSzPts val="2500"/>
                <a:buFont typeface="Arial"/>
                <a:buNone/>
              </a:pPr>
              <a:endParaRPr sz="2500" b="0" i="0" u="none" strike="noStrike" cap="none" dirty="0">
                <a:solidFill>
                  <a:srgbClr val="444C55"/>
                </a:solidFill>
                <a:latin typeface="DM Sans"/>
                <a:ea typeface="DM Sans"/>
                <a:cs typeface="DM Sans"/>
                <a:sym typeface="DM Sans"/>
              </a:endParaRPr>
            </a:p>
            <a:p>
              <a:pPr marL="0" marR="0" lvl="0" indent="0" algn="l" rtl="0">
                <a:lnSpc>
                  <a:spcPct val="100000"/>
                </a:lnSpc>
                <a:spcBef>
                  <a:spcPts val="0"/>
                </a:spcBef>
                <a:spcAft>
                  <a:spcPts val="0"/>
                </a:spcAft>
                <a:buClr>
                  <a:srgbClr val="000000"/>
                </a:buClr>
                <a:buSzPts val="2500"/>
                <a:buFont typeface="Arial"/>
                <a:buNone/>
              </a:pPr>
              <a:endParaRPr sz="2500" b="0" i="0" u="none" strike="noStrike" cap="none" dirty="0">
                <a:solidFill>
                  <a:srgbClr val="444C55"/>
                </a:solidFill>
                <a:latin typeface="DM Sans"/>
                <a:ea typeface="DM Sans"/>
                <a:cs typeface="DM Sans"/>
                <a:sym typeface="DM Sans"/>
              </a:endParaRPr>
            </a:p>
            <a:p>
              <a:pPr>
                <a:buClr>
                  <a:srgbClr val="000000"/>
                </a:buClr>
                <a:buSzPts val="2500"/>
              </a:pPr>
              <a:r>
                <a:rPr lang="en-US" sz="2500" b="1" dirty="0">
                  <a:solidFill>
                    <a:srgbClr val="7B8B34"/>
                  </a:solidFill>
                  <a:latin typeface="DM Sans"/>
                  <a:ea typeface="Arial"/>
                  <a:cs typeface="Arial"/>
                  <a:sym typeface="DM Sans"/>
                </a:rPr>
                <a:t>Quiet Room</a:t>
              </a:r>
              <a:endParaRPr sz="1200" b="1" i="0" u="none" strike="noStrike" cap="none" dirty="0">
                <a:solidFill>
                  <a:srgbClr val="7B8B34"/>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2500"/>
                <a:buFont typeface="Arial"/>
                <a:buNone/>
              </a:pPr>
              <a:endParaRPr sz="2500" b="1" i="0" u="none" strike="noStrike" cap="none" dirty="0">
                <a:solidFill>
                  <a:srgbClr val="000000"/>
                </a:solidFill>
                <a:latin typeface="DM Sans"/>
                <a:ea typeface="DM Sans"/>
                <a:cs typeface="DM Sans"/>
                <a:sym typeface="DM Sans"/>
              </a:endParaRPr>
            </a:p>
            <a:p>
              <a:pPr marL="0" marR="0" lvl="0" indent="0" algn="l" rtl="0">
                <a:lnSpc>
                  <a:spcPct val="100000"/>
                </a:lnSpc>
                <a:spcBef>
                  <a:spcPts val="0"/>
                </a:spcBef>
                <a:spcAft>
                  <a:spcPts val="0"/>
                </a:spcAft>
                <a:buClr>
                  <a:srgbClr val="000000"/>
                </a:buClr>
                <a:buSzPts val="2500"/>
                <a:buFont typeface="Arial"/>
                <a:buNone/>
              </a:pPr>
              <a:endParaRPr sz="2500" b="1" i="0" u="none" strike="noStrike" cap="none" dirty="0">
                <a:solidFill>
                  <a:schemeClr val="dk1"/>
                </a:solidFill>
                <a:latin typeface="DM Sans"/>
                <a:ea typeface="DM Sans"/>
                <a:cs typeface="DM Sans"/>
                <a:sym typeface="DM Sans"/>
              </a:endParaRPr>
            </a:p>
          </p:txBody>
        </p:sp>
        <p:sp>
          <p:nvSpPr>
            <p:cNvPr id="16612" name="Google Shape;16612;p273"/>
            <p:cNvSpPr txBox="1"/>
            <p:nvPr/>
          </p:nvSpPr>
          <p:spPr>
            <a:xfrm>
              <a:off x="211953" y="2407927"/>
              <a:ext cx="2282558" cy="192360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2500"/>
                <a:buFont typeface="Arial"/>
                <a:buNone/>
              </a:pPr>
              <a:r>
                <a:rPr lang="en-US" sz="2500" b="0" i="0" u="none" strike="noStrike" cap="none">
                  <a:solidFill>
                    <a:srgbClr val="000000"/>
                  </a:solidFill>
                  <a:latin typeface="DM Sans"/>
                  <a:ea typeface="DM Sans"/>
                  <a:cs typeface="DM Sans"/>
                  <a:sym typeface="DM Sans"/>
                </a:rPr>
                <a:t>Governor Horner</a:t>
              </a:r>
              <a:endParaRPr sz="2500" b="0" i="0" u="none" strike="noStrike" cap="none">
                <a:solidFill>
                  <a:srgbClr val="000000"/>
                </a:solidFill>
                <a:latin typeface="DM Sans"/>
                <a:ea typeface="DM Sans"/>
                <a:cs typeface="DM Sans"/>
                <a:sym typeface="DM Sans"/>
              </a:endParaRPr>
            </a:p>
            <a:p>
              <a:pPr marL="0" marR="0" lvl="0" indent="0" algn="l" rtl="0">
                <a:lnSpc>
                  <a:spcPct val="100000"/>
                </a:lnSpc>
                <a:spcBef>
                  <a:spcPts val="0"/>
                </a:spcBef>
                <a:spcAft>
                  <a:spcPts val="0"/>
                </a:spcAft>
                <a:buClr>
                  <a:srgbClr val="000000"/>
                </a:buClr>
                <a:buSzPts val="2500"/>
                <a:buFont typeface="Arial"/>
                <a:buNone/>
              </a:pPr>
              <a:endParaRPr sz="2500" b="0" i="0" u="none" strike="noStrike" cap="none">
                <a:solidFill>
                  <a:srgbClr val="000000"/>
                </a:solidFill>
                <a:latin typeface="DM Sans"/>
                <a:ea typeface="DM Sans"/>
                <a:cs typeface="DM Sans"/>
                <a:sym typeface="DM Sans"/>
              </a:endParaRPr>
            </a:p>
            <a:p>
              <a:pPr marL="0" marR="0" lvl="0" indent="0" algn="l" rtl="0">
                <a:lnSpc>
                  <a:spcPct val="100000"/>
                </a:lnSpc>
                <a:spcBef>
                  <a:spcPts val="0"/>
                </a:spcBef>
                <a:spcAft>
                  <a:spcPts val="0"/>
                </a:spcAft>
                <a:buClr>
                  <a:srgbClr val="000000"/>
                </a:buClr>
                <a:buSzPts val="2500"/>
                <a:buFont typeface="Arial"/>
                <a:buNone/>
              </a:pPr>
              <a:r>
                <a:rPr lang="en-US" sz="2500" b="0" i="0" u="none" strike="noStrike" cap="none">
                  <a:solidFill>
                    <a:srgbClr val="000000"/>
                  </a:solidFill>
                  <a:latin typeface="DM Sans"/>
                  <a:ea typeface="DM Sans"/>
                  <a:cs typeface="DM Sans"/>
                  <a:sym typeface="DM Sans"/>
                </a:rPr>
                <a:t>Governor Yate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2500"/>
                <a:buFont typeface="Arial"/>
                <a:buNone/>
              </a:pPr>
              <a:endParaRPr sz="2500" b="1" i="0" u="none" strike="noStrike" cap="none">
                <a:solidFill>
                  <a:schemeClr val="dk1"/>
                </a:solidFill>
                <a:latin typeface="DM Sans"/>
                <a:ea typeface="DM Sans"/>
                <a:cs typeface="DM Sans"/>
                <a:sym typeface="DM Sans"/>
              </a:endParaRPr>
            </a:p>
          </p:txBody>
        </p:sp>
      </p:grpSp>
      <p:sp>
        <p:nvSpPr>
          <p:cNvPr id="16613" name="Google Shape;16613;p273"/>
          <p:cNvSpPr/>
          <p:nvPr/>
        </p:nvSpPr>
        <p:spPr>
          <a:xfrm>
            <a:off x="9055248" y="5894872"/>
            <a:ext cx="839839" cy="689113"/>
          </a:xfrm>
          <a:prstGeom prst="rect">
            <a:avLst/>
          </a:prstGeom>
          <a:noFill/>
          <a:ln w="57150"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500"/>
              <a:buFont typeface="Arial"/>
              <a:buNone/>
            </a:pPr>
            <a:endParaRPr sz="2500" b="0" i="0" u="none" strike="noStrike" cap="none">
              <a:solidFill>
                <a:schemeClr val="lt1"/>
              </a:solidFill>
              <a:latin typeface="DM Sans"/>
              <a:ea typeface="DM Sans"/>
              <a:cs typeface="DM Sans"/>
              <a:sym typeface="DM Sans"/>
            </a:endParaRPr>
          </a:p>
        </p:txBody>
      </p:sp>
      <p:sp>
        <p:nvSpPr>
          <p:cNvPr id="16614" name="Google Shape;16614;p273"/>
          <p:cNvSpPr txBox="1"/>
          <p:nvPr/>
        </p:nvSpPr>
        <p:spPr>
          <a:xfrm>
            <a:off x="493517" y="3759782"/>
            <a:ext cx="2997300" cy="7080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000"/>
              <a:buFont typeface="Arial"/>
              <a:buNone/>
            </a:pPr>
            <a:r>
              <a:rPr lang="en-US" sz="2000" b="0" i="1" u="none" strike="noStrike" cap="none">
                <a:solidFill>
                  <a:srgbClr val="000000"/>
                </a:solidFill>
                <a:latin typeface="DM Sans"/>
                <a:ea typeface="DM Sans"/>
                <a:cs typeface="DM Sans"/>
                <a:sym typeface="DM Sans"/>
              </a:rPr>
              <a:t>Rooms are located on the</a:t>
            </a:r>
            <a:r>
              <a:rPr lang="en-US" sz="2000" b="0" i="1" u="none" strike="noStrike" cap="none">
                <a:solidFill>
                  <a:srgbClr val="000000"/>
                </a:solidFill>
                <a:highlight>
                  <a:srgbClr val="FFFF00"/>
                </a:highlight>
                <a:latin typeface="DM Sans"/>
                <a:ea typeface="DM Sans"/>
                <a:cs typeface="DM Sans"/>
                <a:sym typeface="DM Sans"/>
              </a:rPr>
              <a:t> second floor.</a:t>
            </a:r>
            <a:endParaRPr sz="1400" b="0" i="0" u="none" strike="noStrike" cap="none">
              <a:solidFill>
                <a:srgbClr val="000000"/>
              </a:solidFill>
              <a:latin typeface="Arial"/>
              <a:ea typeface="Arial"/>
              <a:cs typeface="Arial"/>
              <a:sym typeface="Arial"/>
            </a:endParaRPr>
          </a:p>
        </p:txBody>
      </p:sp>
      <p:sp>
        <p:nvSpPr>
          <p:cNvPr id="16615" name="Google Shape;16615;p273"/>
          <p:cNvSpPr/>
          <p:nvPr/>
        </p:nvSpPr>
        <p:spPr>
          <a:xfrm>
            <a:off x="10132823" y="5894872"/>
            <a:ext cx="839839" cy="689113"/>
          </a:xfrm>
          <a:prstGeom prst="rect">
            <a:avLst/>
          </a:prstGeom>
          <a:noFill/>
          <a:ln w="57150"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500"/>
              <a:buFont typeface="Arial"/>
              <a:buNone/>
            </a:pPr>
            <a:endParaRPr sz="2500" b="0" i="0" u="none" strike="noStrike" cap="none">
              <a:solidFill>
                <a:schemeClr val="lt1"/>
              </a:solidFill>
              <a:latin typeface="DM Sans"/>
              <a:ea typeface="DM Sans"/>
              <a:cs typeface="DM Sans"/>
              <a:sym typeface="DM Sans"/>
            </a:endParaRPr>
          </a:p>
        </p:txBody>
      </p:sp>
      <p:sp>
        <p:nvSpPr>
          <p:cNvPr id="4" name="Freeform 14" descr="A close-up of flowers in grass&#10;&#10;AI-generated content may be incorrect.">
            <a:extLst>
              <a:ext uri="{FF2B5EF4-FFF2-40B4-BE49-F238E27FC236}">
                <a16:creationId xmlns:a16="http://schemas.microsoft.com/office/drawing/2014/main" id="{EEB38819-71BA-F34A-E474-56531D9A120D}"/>
              </a:ext>
            </a:extLst>
          </p:cNvPr>
          <p:cNvSpPr/>
          <p:nvPr/>
        </p:nvSpPr>
        <p:spPr>
          <a:xfrm>
            <a:off x="-1241927" y="5314442"/>
            <a:ext cx="7848600" cy="1543558"/>
          </a:xfrm>
          <a:custGeom>
            <a:avLst/>
            <a:gdLst/>
            <a:ahLst/>
            <a:cxnLst/>
            <a:rect l="l" t="t" r="r" b="b"/>
            <a:pathLst>
              <a:path w="11772900" h="2315337">
                <a:moveTo>
                  <a:pt x="0" y="0"/>
                </a:moveTo>
                <a:lnTo>
                  <a:pt x="11772900" y="0"/>
                </a:lnTo>
                <a:lnTo>
                  <a:pt x="11772900" y="2315337"/>
                </a:lnTo>
                <a:lnTo>
                  <a:pt x="0" y="2315337"/>
                </a:lnTo>
                <a:lnTo>
                  <a:pt x="0" y="0"/>
                </a:lnTo>
                <a:close/>
              </a:path>
            </a:pathLst>
          </a:custGeom>
          <a:blipFill>
            <a:blip r:embed="rId4"/>
            <a:stretch>
              <a:fillRect/>
            </a:stretch>
          </a:blipFill>
        </p:spPr>
        <p:txBody>
          <a:bodyPr/>
          <a:lstStyle/>
          <a:p>
            <a:endParaRPr lang="en-US"/>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9" name="Rectangle 28">
            <a:extLst>
              <a:ext uri="{FF2B5EF4-FFF2-40B4-BE49-F238E27FC236}">
                <a16:creationId xmlns:a16="http://schemas.microsoft.com/office/drawing/2014/main" id="{ECC07320-C2CA-4E29-8481-9D9E143C778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Wi-Fi logo art">
            <a:extLst>
              <a:ext uri="{FF2B5EF4-FFF2-40B4-BE49-F238E27FC236}">
                <a16:creationId xmlns:a16="http://schemas.microsoft.com/office/drawing/2014/main" id="{98892A0E-6ECE-707B-D2FE-1922F98645CD}"/>
              </a:ext>
            </a:extLst>
          </p:cNvPr>
          <p:cNvPicPr>
            <a:picLocks noChangeAspect="1"/>
          </p:cNvPicPr>
          <p:nvPr/>
        </p:nvPicPr>
        <p:blipFill>
          <a:blip r:embed="rId2"/>
          <a:srcRect r="1302" b="1"/>
          <a:stretch>
            <a:fillRect/>
          </a:stretch>
        </p:blipFill>
        <p:spPr>
          <a:xfrm>
            <a:off x="2522358" y="10"/>
            <a:ext cx="9669642" cy="6857990"/>
          </a:xfrm>
          <a:prstGeom prst="rect">
            <a:avLst/>
          </a:prstGeom>
        </p:spPr>
      </p:pic>
      <p:sp>
        <p:nvSpPr>
          <p:cNvPr id="31" name="Rectangle 30">
            <a:extLst>
              <a:ext uri="{FF2B5EF4-FFF2-40B4-BE49-F238E27FC236}">
                <a16:creationId xmlns:a16="http://schemas.microsoft.com/office/drawing/2014/main" id="{178FB36B-5BFE-42CA-BC60-1115E0D95E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7066978"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42ED925-54FE-3686-F33C-012F89F1613A}"/>
              </a:ext>
            </a:extLst>
          </p:cNvPr>
          <p:cNvSpPr>
            <a:spLocks noGrp="1"/>
          </p:cNvSpPr>
          <p:nvPr>
            <p:ph type="title"/>
          </p:nvPr>
        </p:nvSpPr>
        <p:spPr>
          <a:xfrm>
            <a:off x="952228" y="457697"/>
            <a:ext cx="3973385" cy="2792445"/>
          </a:xfrm>
          <a:noFill/>
        </p:spPr>
        <p:txBody>
          <a:bodyPr vert="horz" lIns="91440" tIns="45720" rIns="91440" bIns="45720" rtlCol="0" anchor="b">
            <a:normAutofit/>
          </a:bodyPr>
          <a:lstStyle/>
          <a:p>
            <a:pPr>
              <a:lnSpc>
                <a:spcPct val="90000"/>
              </a:lnSpc>
            </a:pPr>
            <a:r>
              <a:rPr lang="en-US" sz="4400">
                <a:solidFill>
                  <a:schemeClr val="tx1"/>
                </a:solidFill>
                <a:ea typeface="+mj-ea"/>
                <a:cs typeface="+mj-cs"/>
              </a:rPr>
              <a:t>Complimentary Wi-Fi</a:t>
            </a:r>
          </a:p>
        </p:txBody>
      </p:sp>
      <p:sp>
        <p:nvSpPr>
          <p:cNvPr id="5" name="Content Placeholder 4">
            <a:extLst>
              <a:ext uri="{FF2B5EF4-FFF2-40B4-BE49-F238E27FC236}">
                <a16:creationId xmlns:a16="http://schemas.microsoft.com/office/drawing/2014/main" id="{47C26F3B-CB23-A0F8-73E7-E592A12B5805}"/>
              </a:ext>
            </a:extLst>
          </p:cNvPr>
          <p:cNvSpPr>
            <a:spLocks noGrp="1"/>
          </p:cNvSpPr>
          <p:nvPr>
            <p:ph idx="1"/>
          </p:nvPr>
        </p:nvSpPr>
        <p:spPr>
          <a:xfrm>
            <a:off x="634729" y="3433318"/>
            <a:ext cx="4290886" cy="2681235"/>
          </a:xfrm>
          <a:noFill/>
        </p:spPr>
        <p:txBody>
          <a:bodyPr vert="horz" lIns="91440" tIns="45720" rIns="91440" bIns="45720" rtlCol="0" anchor="t">
            <a:normAutofit fontScale="92500" lnSpcReduction="10000"/>
          </a:bodyPr>
          <a:lstStyle/>
          <a:p>
            <a:pPr marL="457200" indent="-457200">
              <a:lnSpc>
                <a:spcPct val="120000"/>
              </a:lnSpc>
              <a:spcBef>
                <a:spcPts val="0"/>
              </a:spcBef>
              <a:spcAft>
                <a:spcPts val="0"/>
              </a:spcAft>
              <a:buAutoNum type="arabicPeriod"/>
            </a:pPr>
            <a:r>
              <a:rPr lang="en-US">
                <a:ea typeface="+mn-ea"/>
                <a:cs typeface="+mn-cs"/>
              </a:rPr>
              <a:t>Choose Hilton Honors as your Wi-Fi network</a:t>
            </a:r>
            <a:endParaRPr lang="en-US"/>
          </a:p>
          <a:p>
            <a:pPr marL="457200" indent="-457200">
              <a:lnSpc>
                <a:spcPct val="120000"/>
              </a:lnSpc>
              <a:spcBef>
                <a:spcPts val="0"/>
              </a:spcBef>
              <a:spcAft>
                <a:spcPts val="0"/>
              </a:spcAft>
              <a:buAutoNum type="arabicPeriod"/>
            </a:pPr>
            <a:r>
              <a:rPr lang="en-US">
                <a:ea typeface="+mn-ea"/>
                <a:cs typeface="+mn-cs"/>
              </a:rPr>
              <a:t>Click </a:t>
            </a:r>
            <a:r>
              <a:rPr lang="en-US">
                <a:ea typeface="+mn-lt"/>
                <a:cs typeface="+mn-lt"/>
              </a:rPr>
              <a:t>on "I have a coupon code/ promotional code"</a:t>
            </a:r>
            <a:endParaRPr lang="en-US"/>
          </a:p>
          <a:p>
            <a:pPr marL="457200" indent="-457200">
              <a:lnSpc>
                <a:spcPct val="120000"/>
              </a:lnSpc>
              <a:spcBef>
                <a:spcPts val="0"/>
              </a:spcBef>
              <a:spcAft>
                <a:spcPts val="0"/>
              </a:spcAft>
              <a:buAutoNum type="arabicPeriod"/>
            </a:pPr>
            <a:r>
              <a:rPr lang="en-US">
                <a:ea typeface="+mn-lt"/>
                <a:cs typeface="+mn-lt"/>
              </a:rPr>
              <a:t>Click on Next</a:t>
            </a:r>
            <a:endParaRPr lang="en-US"/>
          </a:p>
          <a:p>
            <a:pPr marL="457200" indent="-457200">
              <a:lnSpc>
                <a:spcPct val="120000"/>
              </a:lnSpc>
              <a:spcBef>
                <a:spcPts val="0"/>
              </a:spcBef>
              <a:spcAft>
                <a:spcPts val="0"/>
              </a:spcAft>
              <a:buAutoNum type="arabicPeriod"/>
            </a:pPr>
            <a:r>
              <a:rPr lang="en-US">
                <a:ea typeface="+mn-lt"/>
                <a:cs typeface="+mn-lt"/>
              </a:rPr>
              <a:t>Enter </a:t>
            </a:r>
            <a:r>
              <a:rPr lang="en-US" b="1">
                <a:ea typeface="+mn-lt"/>
                <a:cs typeface="+mn-lt"/>
              </a:rPr>
              <a:t>ILPQC2026</a:t>
            </a:r>
          </a:p>
          <a:p>
            <a:pPr marL="457200" indent="-457200">
              <a:lnSpc>
                <a:spcPct val="120000"/>
              </a:lnSpc>
              <a:spcBef>
                <a:spcPts val="0"/>
              </a:spcBef>
              <a:spcAft>
                <a:spcPts val="0"/>
              </a:spcAft>
              <a:buAutoNum type="arabicPeriod"/>
            </a:pPr>
            <a:r>
              <a:rPr lang="en-US">
                <a:ea typeface="+mn-lt"/>
                <a:cs typeface="+mn-lt"/>
              </a:rPr>
              <a:t>Click on Connect</a:t>
            </a:r>
            <a:endParaRPr lang="en-US">
              <a:ea typeface="Calibri" panose="020F0502020204030204"/>
              <a:cs typeface="Calibri" panose="020F0502020204030204"/>
            </a:endParaRPr>
          </a:p>
          <a:p>
            <a:pPr marL="0" indent="0">
              <a:lnSpc>
                <a:spcPct val="90000"/>
              </a:lnSpc>
              <a:buNone/>
            </a:pPr>
            <a:endParaRPr lang="en-US">
              <a:ea typeface="Calibri" panose="020F0502020204030204"/>
              <a:cs typeface="Calibri" panose="020F0502020204030204"/>
            </a:endParaRPr>
          </a:p>
        </p:txBody>
      </p:sp>
      <p:sp>
        <p:nvSpPr>
          <p:cNvPr id="4" name="Footer Placeholder 3">
            <a:extLst>
              <a:ext uri="{FF2B5EF4-FFF2-40B4-BE49-F238E27FC236}">
                <a16:creationId xmlns:a16="http://schemas.microsoft.com/office/drawing/2014/main" id="{43DFA4E0-293D-B52A-727B-12C449FB0EB8}"/>
              </a:ext>
            </a:extLst>
          </p:cNvPr>
          <p:cNvSpPr>
            <a:spLocks noGrp="1"/>
          </p:cNvSpPr>
          <p:nvPr>
            <p:ph type="ftr" sz="quarter" idx="11"/>
          </p:nvPr>
        </p:nvSpPr>
        <p:spPr>
          <a:xfrm>
            <a:off x="3187673" y="6356350"/>
            <a:ext cx="3615866" cy="365125"/>
          </a:xfrm>
        </p:spPr>
        <p:txBody>
          <a:bodyPr vert="horz" lIns="91440" tIns="45720" rIns="91440" bIns="45720" rtlCol="0" anchor="ctr">
            <a:normAutofit/>
          </a:bodyPr>
          <a:lstStyle/>
          <a:p>
            <a:pPr algn="r">
              <a:spcAft>
                <a:spcPts val="600"/>
              </a:spcAft>
              <a:defRPr/>
            </a:pPr>
            <a:r>
              <a:rPr lang="en-US" kern="1200">
                <a:solidFill>
                  <a:srgbClr val="FFFFFF"/>
                </a:solidFill>
                <a:latin typeface="Calibri" panose="020F0502020204030204"/>
                <a:ea typeface="+mn-ea"/>
                <a:cs typeface="+mn-cs"/>
              </a:rPr>
              <a:t>Illinois Perinatal Quality Collaborative</a:t>
            </a:r>
          </a:p>
        </p:txBody>
      </p:sp>
      <p:sp>
        <p:nvSpPr>
          <p:cNvPr id="3" name="Slide Number Placeholder 2">
            <a:extLst>
              <a:ext uri="{FF2B5EF4-FFF2-40B4-BE49-F238E27FC236}">
                <a16:creationId xmlns:a16="http://schemas.microsoft.com/office/drawing/2014/main" id="{6DCA02D0-DAAC-8472-BFC5-6DE2C1F763F5}"/>
              </a:ext>
            </a:extLst>
          </p:cNvPr>
          <p:cNvSpPr>
            <a:spLocks noGrp="1"/>
          </p:cNvSpPr>
          <p:nvPr>
            <p:ph type="sldNum" sz="quarter" idx="10"/>
          </p:nvPr>
        </p:nvSpPr>
        <p:spPr>
          <a:xfrm>
            <a:off x="8610600" y="6356350"/>
            <a:ext cx="2743200" cy="365125"/>
          </a:xfrm>
        </p:spPr>
        <p:txBody>
          <a:bodyPr vert="horz" lIns="91440" tIns="45720" rIns="91440" bIns="45720" rtlCol="0" anchor="ctr">
            <a:normAutofit/>
          </a:bodyPr>
          <a:lstStyle/>
          <a:p>
            <a:pPr>
              <a:spcAft>
                <a:spcPts val="600"/>
              </a:spcAft>
              <a:defRPr/>
            </a:pPr>
            <a:fld id="{97033E4B-E3EB-3D46-B2D8-3159663620FA}" type="slidenum">
              <a:rPr lang="en-US">
                <a:solidFill>
                  <a:srgbClr val="FFFFFF"/>
                </a:solidFill>
                <a:latin typeface="Calibri" panose="020F0502020204030204"/>
              </a:rPr>
              <a:pPr>
                <a:spcAft>
                  <a:spcPts val="600"/>
                </a:spcAft>
                <a:defRPr/>
              </a:pPr>
              <a:t>23</a:t>
            </a:fld>
            <a:endParaRPr lang="en-US">
              <a:solidFill>
                <a:srgbClr val="FFFFFF"/>
              </a:solidFill>
              <a:latin typeface="Calibri" panose="020F0502020204030204"/>
            </a:endParaRPr>
          </a:p>
        </p:txBody>
      </p:sp>
    </p:spTree>
    <p:extLst>
      <p:ext uri="{BB962C8B-B14F-4D97-AF65-F5344CB8AC3E}">
        <p14:creationId xmlns:p14="http://schemas.microsoft.com/office/powerpoint/2010/main" val="922281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70005A-105A-FFC5-ED06-B3B302882D3B}"/>
            </a:ext>
          </a:extLst>
        </p:cNvPr>
        <p:cNvGrpSpPr/>
        <p:nvPr/>
      </p:nvGrpSpPr>
      <p:grpSpPr>
        <a:xfrm>
          <a:off x="0" y="0"/>
          <a:ext cx="0" cy="0"/>
          <a:chOff x="0" y="0"/>
          <a:chExt cx="0" cy="0"/>
        </a:xfrm>
      </p:grpSpPr>
      <p:sp>
        <p:nvSpPr>
          <p:cNvPr id="193" name="Freeform 6">
            <a:extLst>
              <a:ext uri="{FF2B5EF4-FFF2-40B4-BE49-F238E27FC236}">
                <a16:creationId xmlns:a16="http://schemas.microsoft.com/office/drawing/2014/main" id="{2D1A0B84-8ABE-C9A5-7FD9-8282110C29C2}"/>
              </a:ext>
            </a:extLst>
          </p:cNvPr>
          <p:cNvSpPr/>
          <p:nvPr/>
        </p:nvSpPr>
        <p:spPr>
          <a:xfrm rot="3827022">
            <a:off x="7149138" y="889667"/>
            <a:ext cx="7531599" cy="3587780"/>
          </a:xfrm>
          <a:custGeom>
            <a:avLst/>
            <a:gdLst/>
            <a:ahLst/>
            <a:cxnLst/>
            <a:rect l="l" t="t" r="r" b="b"/>
            <a:pathLst>
              <a:path w="11297399" h="5381670">
                <a:moveTo>
                  <a:pt x="0" y="0"/>
                </a:moveTo>
                <a:lnTo>
                  <a:pt x="11297400" y="0"/>
                </a:lnTo>
                <a:lnTo>
                  <a:pt x="11297400" y="5381670"/>
                </a:lnTo>
                <a:lnTo>
                  <a:pt x="0" y="5381670"/>
                </a:lnTo>
                <a:lnTo>
                  <a:pt x="0" y="0"/>
                </a:lnTo>
                <a:close/>
              </a:path>
            </a:pathLst>
          </a:custGeom>
          <a:blipFill>
            <a:blip>
              <a:extLst>
                <a:ext uri="{96DAC541-7B7A-43D3-8B79-37D633B846F1}">
                  <asvg:svgBlip xmlns:asvg="http://schemas.microsoft.com/office/drawing/2016/SVG/main" r:embed="rId3"/>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92" name="Freeform 5">
            <a:extLst>
              <a:ext uri="{FF2B5EF4-FFF2-40B4-BE49-F238E27FC236}">
                <a16:creationId xmlns:a16="http://schemas.microsoft.com/office/drawing/2014/main" id="{C98DD67F-4314-8DAB-4FC2-B59022B4938D}"/>
              </a:ext>
            </a:extLst>
          </p:cNvPr>
          <p:cNvSpPr/>
          <p:nvPr/>
        </p:nvSpPr>
        <p:spPr>
          <a:xfrm rot="3945137">
            <a:off x="-2472989" y="2004548"/>
            <a:ext cx="7501581" cy="3573481"/>
          </a:xfrm>
          <a:custGeom>
            <a:avLst/>
            <a:gdLst/>
            <a:ahLst/>
            <a:cxnLst/>
            <a:rect l="l" t="t" r="r" b="b"/>
            <a:pathLst>
              <a:path w="11252372" h="5360221">
                <a:moveTo>
                  <a:pt x="0" y="0"/>
                </a:moveTo>
                <a:lnTo>
                  <a:pt x="11252372" y="0"/>
                </a:lnTo>
                <a:lnTo>
                  <a:pt x="11252372" y="5360221"/>
                </a:lnTo>
                <a:lnTo>
                  <a:pt x="0" y="5360221"/>
                </a:lnTo>
                <a:lnTo>
                  <a:pt x="0" y="0"/>
                </a:lnTo>
                <a:close/>
              </a:path>
            </a:pathLst>
          </a:custGeom>
          <a:blipFill>
            <a:blip>
              <a:extLst>
                <a:ext uri="{96DAC541-7B7A-43D3-8B79-37D633B846F1}">
                  <asvg:svgBlip xmlns:asvg="http://schemas.microsoft.com/office/drawing/2016/SVG/main" r:embed="rId3"/>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7" name="TextBox 7">
            <a:extLst>
              <a:ext uri="{FF2B5EF4-FFF2-40B4-BE49-F238E27FC236}">
                <a16:creationId xmlns:a16="http://schemas.microsoft.com/office/drawing/2014/main" id="{20BFE414-F9A6-49A0-3F08-479C06E4EF6B}"/>
              </a:ext>
            </a:extLst>
          </p:cNvPr>
          <p:cNvSpPr txBox="1"/>
          <p:nvPr/>
        </p:nvSpPr>
        <p:spPr>
          <a:xfrm>
            <a:off x="310389" y="127810"/>
            <a:ext cx="9574753" cy="1358642"/>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lnSpc>
                <a:spcPts val="5413"/>
              </a:lnSpc>
              <a:buClrTx/>
            </a:pPr>
            <a:r>
              <a:rPr lang="en-US" sz="5000" b="1">
                <a:solidFill>
                  <a:srgbClr val="1C498B"/>
                </a:solidFill>
                <a:latin typeface="Calibri"/>
                <a:ea typeface="Calibri"/>
                <a:cs typeface="Calibri"/>
                <a:sym typeface="The Seasons Bold"/>
              </a:rPr>
              <a:t>ILPQC QI Summer Series is Back!</a:t>
            </a:r>
          </a:p>
          <a:p>
            <a:pPr defTabSz="609570">
              <a:lnSpc>
                <a:spcPts val="5413"/>
              </a:lnSpc>
              <a:buClrTx/>
            </a:pPr>
            <a:r>
              <a:rPr lang="en-US" sz="4334" b="1" i="1">
                <a:solidFill>
                  <a:srgbClr val="1C498B"/>
                </a:solidFill>
                <a:latin typeface="Calibri"/>
                <a:ea typeface="Calibri"/>
                <a:cs typeface="Calibri"/>
                <a:sym typeface="The Seasons Bold"/>
              </a:rPr>
              <a:t>Small Steps, Big Impact</a:t>
            </a:r>
            <a:endParaRPr lang="en-US" sz="4334" b="1" i="1">
              <a:solidFill>
                <a:srgbClr val="1C498B"/>
              </a:solidFill>
              <a:latin typeface="Calibri"/>
              <a:ea typeface="Calibri"/>
              <a:cs typeface="Calibri"/>
            </a:endParaRPr>
          </a:p>
        </p:txBody>
      </p:sp>
      <p:pic>
        <p:nvPicPr>
          <p:cNvPr id="9" name="Picture 8" descr="A blue and red curved line&#10;&#10;AI-generated content may be incorrect.">
            <a:extLst>
              <a:ext uri="{FF2B5EF4-FFF2-40B4-BE49-F238E27FC236}">
                <a16:creationId xmlns:a16="http://schemas.microsoft.com/office/drawing/2014/main" id="{B96F0841-164C-C224-F0CA-05824871EFD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671867" y="-1176"/>
            <a:ext cx="3531305" cy="952500"/>
          </a:xfrm>
          <a:prstGeom prst="rect">
            <a:avLst/>
          </a:prstGeom>
        </p:spPr>
      </p:pic>
      <p:pic>
        <p:nvPicPr>
          <p:cNvPr id="12" name="Picture 11" descr="A logo with a map and text&#10;&#10;AI-generated content may be incorrect.">
            <a:extLst>
              <a:ext uri="{FF2B5EF4-FFF2-40B4-BE49-F238E27FC236}">
                <a16:creationId xmlns:a16="http://schemas.microsoft.com/office/drawing/2014/main" id="{5B55F263-D216-CFF0-F786-286676EEC200}"/>
              </a:ext>
            </a:extLst>
          </p:cNvPr>
          <p:cNvPicPr>
            <a:picLocks noChangeAspect="1"/>
          </p:cNvPicPr>
          <p:nvPr/>
        </p:nvPicPr>
        <p:blipFill>
          <a:blip r:embed="rId5" cstate="email">
            <a:extLst>
              <a:ext uri="{28A0092B-C50C-407E-A947-70E740481C1C}">
                <a14:useLocalDpi xmlns:a14="http://schemas.microsoft.com/office/drawing/2010/main"/>
              </a:ext>
            </a:extLst>
          </a:blip>
          <a:srcRect r="-244"/>
          <a:stretch>
            <a:fillRect/>
          </a:stretch>
        </p:blipFill>
        <p:spPr>
          <a:xfrm>
            <a:off x="10339919" y="3551"/>
            <a:ext cx="1446409" cy="719901"/>
          </a:xfrm>
          <a:prstGeom prst="rect">
            <a:avLst/>
          </a:prstGeom>
        </p:spPr>
      </p:pic>
      <p:grpSp>
        <p:nvGrpSpPr>
          <p:cNvPr id="25" name="Group 24">
            <a:extLst>
              <a:ext uri="{FF2B5EF4-FFF2-40B4-BE49-F238E27FC236}">
                <a16:creationId xmlns:a16="http://schemas.microsoft.com/office/drawing/2014/main" id="{E7744AA9-2BDB-7181-F9E0-142803F807C5}"/>
              </a:ext>
            </a:extLst>
          </p:cNvPr>
          <p:cNvGrpSpPr/>
          <p:nvPr/>
        </p:nvGrpSpPr>
        <p:grpSpPr>
          <a:xfrm>
            <a:off x="8798406" y="1004644"/>
            <a:ext cx="3304322" cy="2382237"/>
            <a:chOff x="3167432" y="1736427"/>
            <a:chExt cx="5239652" cy="3980930"/>
          </a:xfrm>
        </p:grpSpPr>
        <p:sp>
          <p:nvSpPr>
            <p:cNvPr id="26" name="Freeform: Shape 25">
              <a:extLst>
                <a:ext uri="{FF2B5EF4-FFF2-40B4-BE49-F238E27FC236}">
                  <a16:creationId xmlns:a16="http://schemas.microsoft.com/office/drawing/2014/main" id="{05B56F62-E703-A4F5-C354-E46B3C5E25CF}"/>
                </a:ext>
              </a:extLst>
            </p:cNvPr>
            <p:cNvSpPr/>
            <p:nvPr/>
          </p:nvSpPr>
          <p:spPr>
            <a:xfrm>
              <a:off x="3168096" y="1834847"/>
              <a:ext cx="1065500" cy="887540"/>
            </a:xfrm>
            <a:custGeom>
              <a:avLst/>
              <a:gdLst>
                <a:gd name="csX0" fmla="*/ 1065489 w 1065500"/>
                <a:gd name="csY0" fmla="*/ -8 h 887540"/>
                <a:gd name="csX1" fmla="*/ 1065489 w 1065500"/>
                <a:gd name="csY1" fmla="*/ -8 h 887540"/>
                <a:gd name="csX2" fmla="*/ 722992 w 1065500"/>
                <a:gd name="csY2" fmla="*/ 734160 h 887540"/>
                <a:gd name="csX3" fmla="*/ -12 w 1065500"/>
                <a:gd name="csY3" fmla="*/ 887533 h 887540"/>
                <a:gd name="csX4" fmla="*/ 1065489 w 1065500"/>
                <a:gd name="csY4" fmla="*/ -8 h 887540"/>
              </a:gdLst>
              <a:ahLst/>
              <a:cxnLst>
                <a:cxn ang="0">
                  <a:pos x="csX0" y="csY0"/>
                </a:cxn>
                <a:cxn ang="0">
                  <a:pos x="csX1" y="csY1"/>
                </a:cxn>
                <a:cxn ang="0">
                  <a:pos x="csX2" y="csY2"/>
                </a:cxn>
                <a:cxn ang="0">
                  <a:pos x="csX3" y="csY3"/>
                </a:cxn>
                <a:cxn ang="0">
                  <a:pos x="csX4" y="csY4"/>
                </a:cxn>
              </a:cxnLst>
              <a:rect l="l" t="t" r="r" b="b"/>
              <a:pathLst>
                <a:path w="1065500" h="887540">
                  <a:moveTo>
                    <a:pt x="1065489" y="-8"/>
                  </a:moveTo>
                  <a:lnTo>
                    <a:pt x="1065489" y="-8"/>
                  </a:lnTo>
                  <a:cubicBezTo>
                    <a:pt x="990530" y="28965"/>
                    <a:pt x="826260" y="450142"/>
                    <a:pt x="722992" y="734160"/>
                  </a:cubicBezTo>
                  <a:cubicBezTo>
                    <a:pt x="255565" y="871451"/>
                    <a:pt x="-12" y="887533"/>
                    <a:pt x="-12" y="887533"/>
                  </a:cubicBezTo>
                  <a:cubicBezTo>
                    <a:pt x="-12" y="887533"/>
                    <a:pt x="795957" y="103126"/>
                    <a:pt x="1065489" y="-8"/>
                  </a:cubicBezTo>
                  <a:close/>
                </a:path>
              </a:pathLst>
            </a:custGeom>
            <a:solidFill>
              <a:srgbClr val="BF1F28"/>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27" name="Freeform: Shape 26">
              <a:extLst>
                <a:ext uri="{FF2B5EF4-FFF2-40B4-BE49-F238E27FC236}">
                  <a16:creationId xmlns:a16="http://schemas.microsoft.com/office/drawing/2014/main" id="{40054B2B-E99A-1B97-8659-2EE06DB8FA95}"/>
                </a:ext>
              </a:extLst>
            </p:cNvPr>
            <p:cNvSpPr/>
            <p:nvPr/>
          </p:nvSpPr>
          <p:spPr>
            <a:xfrm>
              <a:off x="3167432" y="2568484"/>
              <a:ext cx="761044" cy="361971"/>
            </a:xfrm>
            <a:custGeom>
              <a:avLst/>
              <a:gdLst>
                <a:gd name="csX0" fmla="*/ 756750 w 761044"/>
                <a:gd name="csY0" fmla="*/ 201742 h 361971"/>
                <a:gd name="csX1" fmla="*/ 430202 w 761044"/>
                <a:gd name="csY1" fmla="*/ 335976 h 361971"/>
                <a:gd name="csX2" fmla="*/ 119603 w 761044"/>
                <a:gd name="csY2" fmla="*/ 344615 h 361971"/>
                <a:gd name="csX3" fmla="*/ -12 w 761044"/>
                <a:gd name="csY3" fmla="*/ 153896 h 361971"/>
                <a:gd name="csX4" fmla="*/ 724720 w 761044"/>
                <a:gd name="csY4" fmla="*/ -8 h 361971"/>
                <a:gd name="csX5" fmla="*/ 756750 w 761044"/>
                <a:gd name="csY5" fmla="*/ 201742 h 361971"/>
              </a:gdLst>
              <a:ahLst/>
              <a:cxnLst>
                <a:cxn ang="0">
                  <a:pos x="csX0" y="csY0"/>
                </a:cxn>
                <a:cxn ang="0">
                  <a:pos x="csX1" y="csY1"/>
                </a:cxn>
                <a:cxn ang="0">
                  <a:pos x="csX2" y="csY2"/>
                </a:cxn>
                <a:cxn ang="0">
                  <a:pos x="csX3" y="csY3"/>
                </a:cxn>
                <a:cxn ang="0">
                  <a:pos x="csX4" y="csY4"/>
                </a:cxn>
                <a:cxn ang="0">
                  <a:pos x="csX5" y="csY5"/>
                </a:cxn>
              </a:cxnLst>
              <a:rect l="l" t="t" r="r" b="b"/>
              <a:pathLst>
                <a:path w="761044" h="361971">
                  <a:moveTo>
                    <a:pt x="756750" y="201742"/>
                  </a:moveTo>
                  <a:cubicBezTo>
                    <a:pt x="737612" y="244405"/>
                    <a:pt x="570683" y="302218"/>
                    <a:pt x="430202" y="335976"/>
                  </a:cubicBezTo>
                  <a:cubicBezTo>
                    <a:pt x="289722" y="369734"/>
                    <a:pt x="158146" y="368405"/>
                    <a:pt x="119603" y="344615"/>
                  </a:cubicBezTo>
                  <a:cubicBezTo>
                    <a:pt x="81061" y="320825"/>
                    <a:pt x="-12" y="153896"/>
                    <a:pt x="-12" y="153896"/>
                  </a:cubicBezTo>
                  <a:cubicBezTo>
                    <a:pt x="-12" y="153896"/>
                    <a:pt x="255831" y="137815"/>
                    <a:pt x="724720" y="-8"/>
                  </a:cubicBezTo>
                  <a:cubicBezTo>
                    <a:pt x="725385" y="-8"/>
                    <a:pt x="775756" y="159080"/>
                    <a:pt x="756750" y="201742"/>
                  </a:cubicBezTo>
                  <a:close/>
                </a:path>
              </a:pathLst>
            </a:custGeom>
            <a:solidFill>
              <a:srgbClr val="96191C"/>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grpSp>
          <p:nvGrpSpPr>
            <p:cNvPr id="28" name="Group 27">
              <a:extLst>
                <a:ext uri="{FF2B5EF4-FFF2-40B4-BE49-F238E27FC236}">
                  <a16:creationId xmlns:a16="http://schemas.microsoft.com/office/drawing/2014/main" id="{5EA0BD1A-0953-641C-E20F-2090524FFE8F}"/>
                </a:ext>
              </a:extLst>
            </p:cNvPr>
            <p:cNvGrpSpPr/>
            <p:nvPr/>
          </p:nvGrpSpPr>
          <p:grpSpPr>
            <a:xfrm>
              <a:off x="3891765" y="1736427"/>
              <a:ext cx="4515319" cy="3980930"/>
              <a:chOff x="3891765" y="1736427"/>
              <a:chExt cx="4515319" cy="3980930"/>
            </a:xfrm>
          </p:grpSpPr>
          <p:sp>
            <p:nvSpPr>
              <p:cNvPr id="29" name="Freeform: Shape 28">
                <a:extLst>
                  <a:ext uri="{FF2B5EF4-FFF2-40B4-BE49-F238E27FC236}">
                    <a16:creationId xmlns:a16="http://schemas.microsoft.com/office/drawing/2014/main" id="{E2303036-5868-255B-5AF3-0EF2CE072DE0}"/>
                  </a:ext>
                </a:extLst>
              </p:cNvPr>
              <p:cNvSpPr/>
              <p:nvPr/>
            </p:nvSpPr>
            <p:spPr>
              <a:xfrm>
                <a:off x="4363867" y="2568625"/>
                <a:ext cx="3150057" cy="3148732"/>
              </a:xfrm>
              <a:custGeom>
                <a:avLst/>
                <a:gdLst>
                  <a:gd name="csX0" fmla="*/ 2697806 w 3150057"/>
                  <a:gd name="csY0" fmla="*/ 2655960 h 3148732"/>
                  <a:gd name="csX1" fmla="*/ 2700730 w 3150057"/>
                  <a:gd name="csY1" fmla="*/ 2645460 h 3148732"/>
                  <a:gd name="csX2" fmla="*/ 2697939 w 3150057"/>
                  <a:gd name="csY2" fmla="*/ 2640410 h 3148732"/>
                  <a:gd name="csX3" fmla="*/ 2687439 w 3150057"/>
                  <a:gd name="csY3" fmla="*/ 2480924 h 3148732"/>
                  <a:gd name="csX4" fmla="*/ 2783131 w 3150057"/>
                  <a:gd name="csY4" fmla="*/ 2281566 h 3148732"/>
                  <a:gd name="csX5" fmla="*/ 2964015 w 3150057"/>
                  <a:gd name="csY5" fmla="*/ 2129921 h 3148732"/>
                  <a:gd name="csX6" fmla="*/ 3100774 w 3150057"/>
                  <a:gd name="csY6" fmla="*/ 2074899 h 3148732"/>
                  <a:gd name="csX7" fmla="*/ 3116856 w 3150057"/>
                  <a:gd name="csY7" fmla="*/ 2079949 h 3148732"/>
                  <a:gd name="csX8" fmla="*/ 3127621 w 3150057"/>
                  <a:gd name="csY8" fmla="*/ 2076759 h 3148732"/>
                  <a:gd name="csX9" fmla="*/ 3129788 w 3150057"/>
                  <a:gd name="csY9" fmla="*/ 2067230 h 3148732"/>
                  <a:gd name="csX10" fmla="*/ 3127621 w 3150057"/>
                  <a:gd name="csY10" fmla="*/ 2065064 h 3148732"/>
                  <a:gd name="csX11" fmla="*/ 3123102 w 3150057"/>
                  <a:gd name="csY11" fmla="*/ 2060811 h 3148732"/>
                  <a:gd name="csX12" fmla="*/ 2938630 w 3150057"/>
                  <a:gd name="csY12" fmla="*/ 1934551 h 3148732"/>
                  <a:gd name="csX13" fmla="*/ 2891981 w 3150057"/>
                  <a:gd name="csY13" fmla="*/ 1721105 h 3148732"/>
                  <a:gd name="csX14" fmla="*/ 3136659 w 3150057"/>
                  <a:gd name="csY14" fmla="*/ 1390172 h 3148732"/>
                  <a:gd name="csX15" fmla="*/ 3142108 w 3150057"/>
                  <a:gd name="csY15" fmla="*/ 1366249 h 3148732"/>
                  <a:gd name="csX16" fmla="*/ 2931320 w 3150057"/>
                  <a:gd name="csY16" fmla="*/ 1282252 h 3148732"/>
                  <a:gd name="csX17" fmla="*/ 2771037 w 3150057"/>
                  <a:gd name="csY17" fmla="*/ 1124494 h 3148732"/>
                  <a:gd name="csX18" fmla="*/ 2726381 w 3150057"/>
                  <a:gd name="csY18" fmla="*/ 911181 h 3148732"/>
                  <a:gd name="csX19" fmla="*/ 2760670 w 3150057"/>
                  <a:gd name="csY19" fmla="*/ 697071 h 3148732"/>
                  <a:gd name="csX20" fmla="*/ 2752297 w 3150057"/>
                  <a:gd name="csY20" fmla="*/ 682186 h 3148732"/>
                  <a:gd name="csX21" fmla="*/ 2351323 w 3150057"/>
                  <a:gd name="csY21" fmla="*/ 648029 h 3148732"/>
                  <a:gd name="csX22" fmla="*/ 2203532 w 3150057"/>
                  <a:gd name="csY22" fmla="*/ 264864 h 3148732"/>
                  <a:gd name="csX23" fmla="*/ 2203532 w 3150057"/>
                  <a:gd name="csY23" fmla="*/ 262737 h 3148732"/>
                  <a:gd name="csX24" fmla="*/ 2204197 w 3150057"/>
                  <a:gd name="csY24" fmla="*/ 261541 h 3148732"/>
                  <a:gd name="csX25" fmla="*/ 2190906 w 3150057"/>
                  <a:gd name="csY25" fmla="*/ 250111 h 3148732"/>
                  <a:gd name="csX26" fmla="*/ 2053881 w 3150057"/>
                  <a:gd name="csY26" fmla="*/ 344740 h 3148732"/>
                  <a:gd name="csX27" fmla="*/ 1896521 w 3150057"/>
                  <a:gd name="csY27" fmla="*/ 332645 h 3148732"/>
                  <a:gd name="csX28" fmla="*/ 1774647 w 3150057"/>
                  <a:gd name="csY28" fmla="*/ 228182 h 3148732"/>
                  <a:gd name="csX29" fmla="*/ 1754579 w 3150057"/>
                  <a:gd name="csY29" fmla="*/ 58728 h 3148732"/>
                  <a:gd name="csX30" fmla="*/ 1750578 w 3150057"/>
                  <a:gd name="csY30" fmla="*/ 53987 h 3148732"/>
                  <a:gd name="csX31" fmla="*/ 1747933 w 3150057"/>
                  <a:gd name="csY31" fmla="*/ 54608 h 3148732"/>
                  <a:gd name="csX32" fmla="*/ 1739467 w 3150057"/>
                  <a:gd name="csY32" fmla="*/ 56334 h 3148732"/>
                  <a:gd name="csX33" fmla="*/ 1739294 w 3150057"/>
                  <a:gd name="csY33" fmla="*/ 56601 h 3148732"/>
                  <a:gd name="csX34" fmla="*/ 1635230 w 3150057"/>
                  <a:gd name="csY34" fmla="*/ 220872 h 3148732"/>
                  <a:gd name="csX35" fmla="*/ 1409291 w 3150057"/>
                  <a:gd name="csY35" fmla="*/ 260744 h 3148732"/>
                  <a:gd name="csX36" fmla="*/ 1241831 w 3150057"/>
                  <a:gd name="csY36" fmla="*/ 141129 h 3148732"/>
                  <a:gd name="csX37" fmla="*/ 1123013 w 3150057"/>
                  <a:gd name="csY37" fmla="*/ 1180 h 3148732"/>
                  <a:gd name="csX38" fmla="*/ 1105417 w 3150057"/>
                  <a:gd name="csY38" fmla="*/ 7800 h 3148732"/>
                  <a:gd name="csX39" fmla="*/ 1104805 w 3150057"/>
                  <a:gd name="csY39" fmla="*/ 17129 h 3148732"/>
                  <a:gd name="csX40" fmla="*/ 1107862 w 3150057"/>
                  <a:gd name="csY40" fmla="*/ 24970 h 3148732"/>
                  <a:gd name="csX41" fmla="*/ 928174 w 3150057"/>
                  <a:gd name="csY41" fmla="*/ 364277 h 3148732"/>
                  <a:gd name="csX42" fmla="*/ 762840 w 3150057"/>
                  <a:gd name="csY42" fmla="*/ 352847 h 3148732"/>
                  <a:gd name="csX43" fmla="*/ 602424 w 3150057"/>
                  <a:gd name="csY43" fmla="*/ 258883 h 3148732"/>
                  <a:gd name="csX44" fmla="*/ 601494 w 3150057"/>
                  <a:gd name="csY44" fmla="*/ 258883 h 3148732"/>
                  <a:gd name="csX45" fmla="*/ 575976 w 3150057"/>
                  <a:gd name="csY45" fmla="*/ 267256 h 3148732"/>
                  <a:gd name="csX46" fmla="*/ 594317 w 3150057"/>
                  <a:gd name="csY46" fmla="*/ 479904 h 3148732"/>
                  <a:gd name="csX47" fmla="*/ 540357 w 3150057"/>
                  <a:gd name="csY47" fmla="*/ 717406 h 3148732"/>
                  <a:gd name="csX48" fmla="*/ 367581 w 3150057"/>
                  <a:gd name="csY48" fmla="*/ 841805 h 3148732"/>
                  <a:gd name="csX49" fmla="*/ 179919 w 3150057"/>
                  <a:gd name="csY49" fmla="*/ 813496 h 3148732"/>
                  <a:gd name="csX50" fmla="*/ 175533 w 3150057"/>
                  <a:gd name="csY50" fmla="*/ 811503 h 3148732"/>
                  <a:gd name="csX51" fmla="*/ 166894 w 3150057"/>
                  <a:gd name="csY51" fmla="*/ 836223 h 3148732"/>
                  <a:gd name="csX52" fmla="*/ 285312 w 3150057"/>
                  <a:gd name="csY52" fmla="*/ 986140 h 3148732"/>
                  <a:gd name="csX53" fmla="*/ 301261 w 3150057"/>
                  <a:gd name="csY53" fmla="*/ 1171410 h 3148732"/>
                  <a:gd name="csX54" fmla="*/ 25217 w 3150057"/>
                  <a:gd name="csY54" fmla="*/ 1395621 h 3148732"/>
                  <a:gd name="csX55" fmla="*/ 16977 w 3150057"/>
                  <a:gd name="csY55" fmla="*/ 1401336 h 3148732"/>
                  <a:gd name="csX56" fmla="*/ 12724 w 3150057"/>
                  <a:gd name="csY56" fmla="*/ 1412500 h 3148732"/>
                  <a:gd name="csX57" fmla="*/ 189754 w 3150057"/>
                  <a:gd name="csY57" fmla="*/ 1513508 h 3148732"/>
                  <a:gd name="csX58" fmla="*/ 241454 w 3150057"/>
                  <a:gd name="csY58" fmla="*/ 1697714 h 3148732"/>
                  <a:gd name="csX59" fmla="*/ 13654 w 3150057"/>
                  <a:gd name="csY59" fmla="*/ 2008446 h 3148732"/>
                  <a:gd name="csX60" fmla="*/ 11129 w 3150057"/>
                  <a:gd name="csY60" fmla="*/ 2011370 h 3148732"/>
                  <a:gd name="csX61" fmla="*/ 164 w 3150057"/>
                  <a:gd name="csY61" fmla="*/ 2026641 h 3148732"/>
                  <a:gd name="csX62" fmla="*/ 8870 w 3150057"/>
                  <a:gd name="csY62" fmla="*/ 2037021 h 3148732"/>
                  <a:gd name="csX63" fmla="*/ 56848 w 3150057"/>
                  <a:gd name="csY63" fmla="*/ 2025591 h 3148732"/>
                  <a:gd name="csX64" fmla="*/ 171413 w 3150057"/>
                  <a:gd name="csY64" fmla="*/ 2015091 h 3148732"/>
                  <a:gd name="csX65" fmla="*/ 395757 w 3150057"/>
                  <a:gd name="csY65" fmla="*/ 2110650 h 3148732"/>
                  <a:gd name="csX66" fmla="*/ 391637 w 3150057"/>
                  <a:gd name="csY66" fmla="*/ 2508303 h 3148732"/>
                  <a:gd name="csX67" fmla="*/ 388048 w 3150057"/>
                  <a:gd name="csY67" fmla="*/ 2510429 h 3148732"/>
                  <a:gd name="csX68" fmla="*/ 394029 w 3150057"/>
                  <a:gd name="csY68" fmla="*/ 2528770 h 3148732"/>
                  <a:gd name="csX69" fmla="*/ 622626 w 3150057"/>
                  <a:gd name="csY69" fmla="*/ 2506442 h 3148732"/>
                  <a:gd name="csX70" fmla="*/ 792080 w 3150057"/>
                  <a:gd name="csY70" fmla="*/ 2616620 h 3148732"/>
                  <a:gd name="csX71" fmla="*/ 847235 w 3150057"/>
                  <a:gd name="csY71" fmla="*/ 2804814 h 3148732"/>
                  <a:gd name="csX72" fmla="*/ 799655 w 3150057"/>
                  <a:gd name="csY72" fmla="*/ 2886816 h 3148732"/>
                  <a:gd name="csX73" fmla="*/ 797927 w 3150057"/>
                  <a:gd name="csY73" fmla="*/ 2888544 h 3148732"/>
                  <a:gd name="csX74" fmla="*/ 797130 w 3150057"/>
                  <a:gd name="csY74" fmla="*/ 2902632 h 3148732"/>
                  <a:gd name="csX75" fmla="*/ 811218 w 3150057"/>
                  <a:gd name="csY75" fmla="*/ 2903429 h 3148732"/>
                  <a:gd name="csX76" fmla="*/ 812281 w 3150057"/>
                  <a:gd name="csY76" fmla="*/ 2902632 h 3148732"/>
                  <a:gd name="csX77" fmla="*/ 815338 w 3150057"/>
                  <a:gd name="csY77" fmla="*/ 2900240 h 3148732"/>
                  <a:gd name="csX78" fmla="*/ 969508 w 3150057"/>
                  <a:gd name="csY78" fmla="*/ 2796308 h 3148732"/>
                  <a:gd name="csX79" fmla="*/ 1203288 w 3150057"/>
                  <a:gd name="csY79" fmla="*/ 2779562 h 3148732"/>
                  <a:gd name="csX80" fmla="*/ 1388824 w 3150057"/>
                  <a:gd name="csY80" fmla="*/ 2918979 h 3148732"/>
                  <a:gd name="csX81" fmla="*/ 1418993 w 3150057"/>
                  <a:gd name="csY81" fmla="*/ 3115280 h 3148732"/>
                  <a:gd name="csX82" fmla="*/ 1411683 w 3150057"/>
                  <a:gd name="csY82" fmla="*/ 3136013 h 3148732"/>
                  <a:gd name="csX83" fmla="*/ 1428429 w 3150057"/>
                  <a:gd name="csY83" fmla="*/ 3144386 h 3148732"/>
                  <a:gd name="csX84" fmla="*/ 1696632 w 3150057"/>
                  <a:gd name="csY84" fmla="*/ 2885354 h 3148732"/>
                  <a:gd name="csX85" fmla="*/ 2103720 w 3150057"/>
                  <a:gd name="csY85" fmla="*/ 2976527 h 3148732"/>
                  <a:gd name="csX86" fmla="*/ 2118739 w 3150057"/>
                  <a:gd name="csY86" fmla="*/ 2960313 h 3148732"/>
                  <a:gd name="csX87" fmla="*/ 2164724 w 3150057"/>
                  <a:gd name="csY87" fmla="*/ 2773182 h 3148732"/>
                  <a:gd name="csX88" fmla="*/ 2314375 w 3150057"/>
                  <a:gd name="csY88" fmla="*/ 2634429 h 3148732"/>
                  <a:gd name="csX89" fmla="*/ 2519713 w 3150057"/>
                  <a:gd name="csY89" fmla="*/ 2597216 h 3148732"/>
                  <a:gd name="csX90" fmla="*/ 2683187 w 3150057"/>
                  <a:gd name="csY90" fmla="*/ 2650378 h 3148732"/>
                  <a:gd name="csX91" fmla="*/ 2685978 w 3150057"/>
                  <a:gd name="csY91" fmla="*/ 2656757 h 3148732"/>
                  <a:gd name="csX92" fmla="*/ 2695347 w 3150057"/>
                  <a:gd name="csY92" fmla="*/ 2658778 h 3148732"/>
                  <a:gd name="csX93" fmla="*/ 2697806 w 3150057"/>
                  <a:gd name="csY93" fmla="*/ 2655960 h 314873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Lst>
                <a:rect l="l" t="t" r="r" b="b"/>
                <a:pathLst>
                  <a:path w="3150057" h="3148732">
                    <a:moveTo>
                      <a:pt x="2697806" y="2655960"/>
                    </a:moveTo>
                    <a:cubicBezTo>
                      <a:pt x="2701102" y="2653568"/>
                      <a:pt x="2702312" y="2649209"/>
                      <a:pt x="2700730" y="2645460"/>
                    </a:cubicBezTo>
                    <a:cubicBezTo>
                      <a:pt x="2699933" y="2643733"/>
                      <a:pt x="2698869" y="2642005"/>
                      <a:pt x="2697939" y="2640410"/>
                    </a:cubicBezTo>
                    <a:cubicBezTo>
                      <a:pt x="2696211" y="2587248"/>
                      <a:pt x="2682788" y="2535415"/>
                      <a:pt x="2687439" y="2480924"/>
                    </a:cubicBezTo>
                    <a:cubicBezTo>
                      <a:pt x="2693952" y="2405700"/>
                      <a:pt x="2737279" y="2339114"/>
                      <a:pt x="2783131" y="2281566"/>
                    </a:cubicBezTo>
                    <a:cubicBezTo>
                      <a:pt x="2833210" y="2219951"/>
                      <a:pt x="2894599" y="2168477"/>
                      <a:pt x="2964015" y="2129921"/>
                    </a:cubicBezTo>
                    <a:cubicBezTo>
                      <a:pt x="2999501" y="2109853"/>
                      <a:pt x="3055188" y="2074101"/>
                      <a:pt x="3100774" y="2074899"/>
                    </a:cubicBezTo>
                    <a:cubicBezTo>
                      <a:pt x="3106224" y="2076759"/>
                      <a:pt x="3111407" y="2078487"/>
                      <a:pt x="3116856" y="2079949"/>
                    </a:cubicBezTo>
                    <a:cubicBezTo>
                      <a:pt x="3120750" y="2081371"/>
                      <a:pt x="3125123" y="2080069"/>
                      <a:pt x="3127621" y="2076759"/>
                    </a:cubicBezTo>
                    <a:cubicBezTo>
                      <a:pt x="3130851" y="2074726"/>
                      <a:pt x="3131821" y="2070460"/>
                      <a:pt x="3129788" y="2067230"/>
                    </a:cubicBezTo>
                    <a:cubicBezTo>
                      <a:pt x="3129229" y="2066353"/>
                      <a:pt x="3128498" y="2065609"/>
                      <a:pt x="3127621" y="2065064"/>
                    </a:cubicBezTo>
                    <a:cubicBezTo>
                      <a:pt x="3126571" y="2063230"/>
                      <a:pt x="3124990" y="2061754"/>
                      <a:pt x="3123102" y="2060811"/>
                    </a:cubicBezTo>
                    <a:cubicBezTo>
                      <a:pt x="3053195" y="2026388"/>
                      <a:pt x="2989400" y="1995820"/>
                      <a:pt x="2938630" y="1934551"/>
                    </a:cubicBezTo>
                    <a:cubicBezTo>
                      <a:pt x="2889601" y="1875076"/>
                      <a:pt x="2872231" y="1795612"/>
                      <a:pt x="2891981" y="1721105"/>
                    </a:cubicBezTo>
                    <a:cubicBezTo>
                      <a:pt x="2925207" y="1584080"/>
                      <a:pt x="3023557" y="1469250"/>
                      <a:pt x="3136659" y="1390172"/>
                    </a:cubicBezTo>
                    <a:cubicBezTo>
                      <a:pt x="3149949" y="1392830"/>
                      <a:pt x="3156063" y="1371698"/>
                      <a:pt x="3142108" y="1366249"/>
                    </a:cubicBezTo>
                    <a:cubicBezTo>
                      <a:pt x="3070738" y="1337674"/>
                      <a:pt x="2998437" y="1321459"/>
                      <a:pt x="2931320" y="1282252"/>
                    </a:cubicBezTo>
                    <a:cubicBezTo>
                      <a:pt x="2865386" y="1244109"/>
                      <a:pt x="2810231" y="1189817"/>
                      <a:pt x="2771037" y="1124494"/>
                    </a:cubicBezTo>
                    <a:cubicBezTo>
                      <a:pt x="2734926" y="1059544"/>
                      <a:pt x="2719363" y="985170"/>
                      <a:pt x="2726381" y="911181"/>
                    </a:cubicBezTo>
                    <a:cubicBezTo>
                      <a:pt x="2731298" y="838881"/>
                      <a:pt x="2754689" y="768973"/>
                      <a:pt x="2760670" y="697071"/>
                    </a:cubicBezTo>
                    <a:cubicBezTo>
                      <a:pt x="2769309" y="691888"/>
                      <a:pt x="2762132" y="678996"/>
                      <a:pt x="2752297" y="682186"/>
                    </a:cubicBezTo>
                    <a:cubicBezTo>
                      <a:pt x="2615671" y="727639"/>
                      <a:pt x="2474659" y="729899"/>
                      <a:pt x="2351323" y="648029"/>
                    </a:cubicBezTo>
                    <a:cubicBezTo>
                      <a:pt x="2227987" y="566160"/>
                      <a:pt x="2146383" y="409332"/>
                      <a:pt x="2203532" y="264864"/>
                    </a:cubicBezTo>
                    <a:cubicBezTo>
                      <a:pt x="2203731" y="264169"/>
                      <a:pt x="2203731" y="263432"/>
                      <a:pt x="2203532" y="262737"/>
                    </a:cubicBezTo>
                    <a:cubicBezTo>
                      <a:pt x="2203705" y="262312"/>
                      <a:pt x="2203931" y="261911"/>
                      <a:pt x="2204197" y="261541"/>
                    </a:cubicBezTo>
                    <a:cubicBezTo>
                      <a:pt x="2208317" y="253567"/>
                      <a:pt x="2198482" y="242137"/>
                      <a:pt x="2190906" y="250111"/>
                    </a:cubicBezTo>
                    <a:cubicBezTo>
                      <a:pt x="2150370" y="293970"/>
                      <a:pt x="2113290" y="329057"/>
                      <a:pt x="2053881" y="344740"/>
                    </a:cubicBezTo>
                    <a:cubicBezTo>
                      <a:pt x="2001450" y="357148"/>
                      <a:pt x="1946440" y="352921"/>
                      <a:pt x="1896521" y="332645"/>
                    </a:cubicBezTo>
                    <a:cubicBezTo>
                      <a:pt x="1845113" y="312842"/>
                      <a:pt x="1802079" y="275957"/>
                      <a:pt x="1774647" y="228182"/>
                    </a:cubicBezTo>
                    <a:cubicBezTo>
                      <a:pt x="1744079" y="175020"/>
                      <a:pt x="1748066" y="117605"/>
                      <a:pt x="1754579" y="58728"/>
                    </a:cubicBezTo>
                    <a:cubicBezTo>
                      <a:pt x="1754778" y="56314"/>
                      <a:pt x="1752997" y="54192"/>
                      <a:pt x="1750578" y="53987"/>
                    </a:cubicBezTo>
                    <a:cubicBezTo>
                      <a:pt x="1749648" y="53909"/>
                      <a:pt x="1748731" y="54127"/>
                      <a:pt x="1747933" y="54608"/>
                    </a:cubicBezTo>
                    <a:cubicBezTo>
                      <a:pt x="1745116" y="52744"/>
                      <a:pt x="1741328" y="53518"/>
                      <a:pt x="1739467" y="56334"/>
                    </a:cubicBezTo>
                    <a:cubicBezTo>
                      <a:pt x="1739401" y="56422"/>
                      <a:pt x="1739347" y="56511"/>
                      <a:pt x="1739294" y="56601"/>
                    </a:cubicBezTo>
                    <a:cubicBezTo>
                      <a:pt x="1707397" y="115877"/>
                      <a:pt x="1686132" y="174089"/>
                      <a:pt x="1635230" y="220872"/>
                    </a:cubicBezTo>
                    <a:cubicBezTo>
                      <a:pt x="1574359" y="276426"/>
                      <a:pt x="1484914" y="281344"/>
                      <a:pt x="1409291" y="260744"/>
                    </a:cubicBezTo>
                    <a:cubicBezTo>
                      <a:pt x="1341642" y="241871"/>
                      <a:pt x="1287550" y="191899"/>
                      <a:pt x="1241831" y="141129"/>
                    </a:cubicBezTo>
                    <a:cubicBezTo>
                      <a:pt x="1202756" y="96340"/>
                      <a:pt x="1173783" y="33210"/>
                      <a:pt x="1123013" y="1180"/>
                    </a:cubicBezTo>
                    <a:cubicBezTo>
                      <a:pt x="1116328" y="-1849"/>
                      <a:pt x="1108447" y="1115"/>
                      <a:pt x="1105417" y="7800"/>
                    </a:cubicBezTo>
                    <a:cubicBezTo>
                      <a:pt x="1104088" y="10733"/>
                      <a:pt x="1103875" y="14046"/>
                      <a:pt x="1104805" y="17129"/>
                    </a:cubicBezTo>
                    <a:cubicBezTo>
                      <a:pt x="1105736" y="19787"/>
                      <a:pt x="1106799" y="22312"/>
                      <a:pt x="1107862" y="24970"/>
                    </a:cubicBezTo>
                    <a:cubicBezTo>
                      <a:pt x="1116634" y="168375"/>
                      <a:pt x="1083541" y="317361"/>
                      <a:pt x="928174" y="364277"/>
                    </a:cubicBezTo>
                    <a:cubicBezTo>
                      <a:pt x="873152" y="381156"/>
                      <a:pt x="815604" y="372384"/>
                      <a:pt x="762840" y="352847"/>
                    </a:cubicBezTo>
                    <a:cubicBezTo>
                      <a:pt x="703166" y="330785"/>
                      <a:pt x="658111" y="287458"/>
                      <a:pt x="602424" y="258883"/>
                    </a:cubicBezTo>
                    <a:lnTo>
                      <a:pt x="601494" y="258883"/>
                    </a:lnTo>
                    <a:cubicBezTo>
                      <a:pt x="594051" y="245593"/>
                      <a:pt x="571324" y="251573"/>
                      <a:pt x="575976" y="267256"/>
                    </a:cubicBezTo>
                    <a:cubicBezTo>
                      <a:pt x="595779" y="333709"/>
                      <a:pt x="595114" y="411591"/>
                      <a:pt x="594317" y="479904"/>
                    </a:cubicBezTo>
                    <a:cubicBezTo>
                      <a:pt x="595659" y="562252"/>
                      <a:pt x="577145" y="643723"/>
                      <a:pt x="540357" y="717406"/>
                    </a:cubicBezTo>
                    <a:cubicBezTo>
                      <a:pt x="506679" y="784722"/>
                      <a:pt x="442101" y="831212"/>
                      <a:pt x="367581" y="841805"/>
                    </a:cubicBezTo>
                    <a:cubicBezTo>
                      <a:pt x="302590" y="850178"/>
                      <a:pt x="242118" y="826654"/>
                      <a:pt x="179919" y="813496"/>
                    </a:cubicBezTo>
                    <a:lnTo>
                      <a:pt x="175533" y="811503"/>
                    </a:lnTo>
                    <a:cubicBezTo>
                      <a:pt x="159717" y="805123"/>
                      <a:pt x="151078" y="829976"/>
                      <a:pt x="166894" y="836223"/>
                    </a:cubicBezTo>
                    <a:cubicBezTo>
                      <a:pt x="222315" y="858551"/>
                      <a:pt x="262718" y="934041"/>
                      <a:pt x="285312" y="986140"/>
                    </a:cubicBezTo>
                    <a:cubicBezTo>
                      <a:pt x="309966" y="1044685"/>
                      <a:pt x="315548" y="1109516"/>
                      <a:pt x="301261" y="1171410"/>
                    </a:cubicBezTo>
                    <a:cubicBezTo>
                      <a:pt x="274680" y="1291024"/>
                      <a:pt x="147224" y="1394557"/>
                      <a:pt x="25217" y="1395621"/>
                    </a:cubicBezTo>
                    <a:cubicBezTo>
                      <a:pt x="21482" y="1395395"/>
                      <a:pt x="18080" y="1397760"/>
                      <a:pt x="16977" y="1401336"/>
                    </a:cubicBezTo>
                    <a:cubicBezTo>
                      <a:pt x="11129" y="1400538"/>
                      <a:pt x="7009" y="1409310"/>
                      <a:pt x="12724" y="1412500"/>
                    </a:cubicBezTo>
                    <a:cubicBezTo>
                      <a:pt x="73462" y="1444397"/>
                      <a:pt x="138851" y="1465662"/>
                      <a:pt x="189754" y="1513508"/>
                    </a:cubicBezTo>
                    <a:cubicBezTo>
                      <a:pt x="240656" y="1561353"/>
                      <a:pt x="246105" y="1633122"/>
                      <a:pt x="241454" y="1697714"/>
                    </a:cubicBezTo>
                    <a:cubicBezTo>
                      <a:pt x="230555" y="1846966"/>
                      <a:pt x="121839" y="1923653"/>
                      <a:pt x="13654" y="2008446"/>
                    </a:cubicBezTo>
                    <a:cubicBezTo>
                      <a:pt x="12671" y="2009283"/>
                      <a:pt x="11807" y="2010267"/>
                      <a:pt x="11129" y="2011370"/>
                    </a:cubicBezTo>
                    <a:cubicBezTo>
                      <a:pt x="3886" y="2012566"/>
                      <a:pt x="-1018" y="2019398"/>
                      <a:pt x="164" y="2026641"/>
                    </a:cubicBezTo>
                    <a:cubicBezTo>
                      <a:pt x="962" y="2031425"/>
                      <a:pt x="4298" y="2035413"/>
                      <a:pt x="8870" y="2037021"/>
                    </a:cubicBezTo>
                    <a:cubicBezTo>
                      <a:pt x="23755" y="2042071"/>
                      <a:pt x="43026" y="2029445"/>
                      <a:pt x="56848" y="2025591"/>
                    </a:cubicBezTo>
                    <a:cubicBezTo>
                      <a:pt x="94301" y="2016394"/>
                      <a:pt x="132910" y="2012859"/>
                      <a:pt x="171413" y="2015091"/>
                    </a:cubicBezTo>
                    <a:cubicBezTo>
                      <a:pt x="255369" y="2018387"/>
                      <a:pt x="335205" y="2052398"/>
                      <a:pt x="395757" y="2110650"/>
                    </a:cubicBezTo>
                    <a:cubicBezTo>
                      <a:pt x="507131" y="2216044"/>
                      <a:pt x="500751" y="2403839"/>
                      <a:pt x="391637" y="2508303"/>
                    </a:cubicBezTo>
                    <a:lnTo>
                      <a:pt x="388048" y="2510429"/>
                    </a:lnTo>
                    <a:cubicBezTo>
                      <a:pt x="379542" y="2515745"/>
                      <a:pt x="382599" y="2531960"/>
                      <a:pt x="394029" y="2528770"/>
                    </a:cubicBezTo>
                    <a:cubicBezTo>
                      <a:pt x="471380" y="2506840"/>
                      <a:pt x="541686" y="2487835"/>
                      <a:pt x="622626" y="2506442"/>
                    </a:cubicBezTo>
                    <a:cubicBezTo>
                      <a:pt x="689078" y="2521726"/>
                      <a:pt x="747158" y="2567711"/>
                      <a:pt x="792080" y="2616620"/>
                    </a:cubicBezTo>
                    <a:cubicBezTo>
                      <a:pt x="839660" y="2668187"/>
                      <a:pt x="867171" y="2735304"/>
                      <a:pt x="847235" y="2804814"/>
                    </a:cubicBezTo>
                    <a:cubicBezTo>
                      <a:pt x="842185" y="2822357"/>
                      <a:pt x="803642" y="2862096"/>
                      <a:pt x="799655" y="2886816"/>
                    </a:cubicBezTo>
                    <a:lnTo>
                      <a:pt x="797927" y="2888544"/>
                    </a:lnTo>
                    <a:cubicBezTo>
                      <a:pt x="793821" y="2892212"/>
                      <a:pt x="793462" y="2898525"/>
                      <a:pt x="797130" y="2902632"/>
                    </a:cubicBezTo>
                    <a:cubicBezTo>
                      <a:pt x="800798" y="2906739"/>
                      <a:pt x="807111" y="2907098"/>
                      <a:pt x="811218" y="2903429"/>
                    </a:cubicBezTo>
                    <a:lnTo>
                      <a:pt x="812281" y="2902632"/>
                    </a:lnTo>
                    <a:cubicBezTo>
                      <a:pt x="813491" y="2902114"/>
                      <a:pt x="814540" y="2901290"/>
                      <a:pt x="815338" y="2900240"/>
                    </a:cubicBezTo>
                    <a:cubicBezTo>
                      <a:pt x="865310" y="2863026"/>
                      <a:pt x="912757" y="2823421"/>
                      <a:pt x="969508" y="2796308"/>
                    </a:cubicBezTo>
                    <a:cubicBezTo>
                      <a:pt x="1042872" y="2761354"/>
                      <a:pt x="1125273" y="2762151"/>
                      <a:pt x="1203288" y="2779562"/>
                    </a:cubicBezTo>
                    <a:cubicBezTo>
                      <a:pt x="1282739" y="2796241"/>
                      <a:pt x="1350693" y="2847304"/>
                      <a:pt x="1388824" y="2918979"/>
                    </a:cubicBezTo>
                    <a:cubicBezTo>
                      <a:pt x="1422462" y="2978547"/>
                      <a:pt x="1433201" y="3048362"/>
                      <a:pt x="1418993" y="3115280"/>
                    </a:cubicBezTo>
                    <a:cubicBezTo>
                      <a:pt x="1416335" y="3122191"/>
                      <a:pt x="1413810" y="3128571"/>
                      <a:pt x="1411683" y="3136013"/>
                    </a:cubicBezTo>
                    <a:cubicBezTo>
                      <a:pt x="1408494" y="3145849"/>
                      <a:pt x="1423246" y="3154089"/>
                      <a:pt x="1428429" y="3144386"/>
                    </a:cubicBezTo>
                    <a:cubicBezTo>
                      <a:pt x="1489300" y="3026898"/>
                      <a:pt x="1565454" y="2926954"/>
                      <a:pt x="1696632" y="2885354"/>
                    </a:cubicBezTo>
                    <a:cubicBezTo>
                      <a:pt x="1841897" y="2839369"/>
                      <a:pt x="1985302" y="2891601"/>
                      <a:pt x="2103720" y="2976527"/>
                    </a:cubicBezTo>
                    <a:cubicBezTo>
                      <a:pt x="2114884" y="2984502"/>
                      <a:pt x="2125118" y="2970015"/>
                      <a:pt x="2118739" y="2960313"/>
                    </a:cubicBezTo>
                    <a:cubicBezTo>
                      <a:pt x="2127643" y="2895056"/>
                      <a:pt x="2132694" y="2833123"/>
                      <a:pt x="2164724" y="2773182"/>
                    </a:cubicBezTo>
                    <a:cubicBezTo>
                      <a:pt x="2199319" y="2712777"/>
                      <a:pt x="2251524" y="2664359"/>
                      <a:pt x="2314375" y="2634429"/>
                    </a:cubicBezTo>
                    <a:cubicBezTo>
                      <a:pt x="2376043" y="2603330"/>
                      <a:pt x="2451533" y="2595621"/>
                      <a:pt x="2519713" y="2597216"/>
                    </a:cubicBezTo>
                    <a:cubicBezTo>
                      <a:pt x="2564635" y="2598146"/>
                      <a:pt x="2649960" y="2612367"/>
                      <a:pt x="2683187" y="2650378"/>
                    </a:cubicBezTo>
                    <a:lnTo>
                      <a:pt x="2685978" y="2656757"/>
                    </a:lnTo>
                    <a:cubicBezTo>
                      <a:pt x="2688011" y="2659907"/>
                      <a:pt x="2692211" y="2660798"/>
                      <a:pt x="2695347" y="2658778"/>
                    </a:cubicBezTo>
                    <a:cubicBezTo>
                      <a:pt x="2696411" y="2658087"/>
                      <a:pt x="2697261" y="2657103"/>
                      <a:pt x="2697806" y="2655960"/>
                    </a:cubicBezTo>
                    <a:close/>
                  </a:path>
                </a:pathLst>
              </a:custGeom>
              <a:solidFill>
                <a:srgbClr val="FF9602"/>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30" name="Freeform: Shape 29">
                <a:extLst>
                  <a:ext uri="{FF2B5EF4-FFF2-40B4-BE49-F238E27FC236}">
                    <a16:creationId xmlns:a16="http://schemas.microsoft.com/office/drawing/2014/main" id="{E215E6EA-4EA1-ABAC-131E-294F57E0242B}"/>
                  </a:ext>
                </a:extLst>
              </p:cNvPr>
              <p:cNvSpPr/>
              <p:nvPr/>
            </p:nvSpPr>
            <p:spPr>
              <a:xfrm>
                <a:off x="4593041" y="2848299"/>
                <a:ext cx="2618226" cy="2618141"/>
              </a:xfrm>
              <a:custGeom>
                <a:avLst/>
                <a:gdLst>
                  <a:gd name="csX0" fmla="*/ 2242561 w 2618226"/>
                  <a:gd name="csY0" fmla="*/ 2209092 h 2618141"/>
                  <a:gd name="csX1" fmla="*/ 2245086 w 2618226"/>
                  <a:gd name="csY1" fmla="*/ 2200453 h 2618141"/>
                  <a:gd name="csX2" fmla="*/ 2242561 w 2618226"/>
                  <a:gd name="csY2" fmla="*/ 2196200 h 2618141"/>
                  <a:gd name="csX3" fmla="*/ 2234054 w 2618226"/>
                  <a:gd name="csY3" fmla="*/ 2063294 h 2618141"/>
                  <a:gd name="csX4" fmla="*/ 2313798 w 2618226"/>
                  <a:gd name="csY4" fmla="*/ 1897828 h 2618141"/>
                  <a:gd name="csX5" fmla="*/ 2464113 w 2618226"/>
                  <a:gd name="csY5" fmla="*/ 1771701 h 2618141"/>
                  <a:gd name="csX6" fmla="*/ 2577880 w 2618226"/>
                  <a:gd name="csY6" fmla="*/ 1725981 h 2618141"/>
                  <a:gd name="csX7" fmla="*/ 2591170 w 2618226"/>
                  <a:gd name="csY7" fmla="*/ 1730234 h 2618141"/>
                  <a:gd name="csX8" fmla="*/ 2600208 w 2618226"/>
                  <a:gd name="csY8" fmla="*/ 1727576 h 2618141"/>
                  <a:gd name="csX9" fmla="*/ 2602042 w 2618226"/>
                  <a:gd name="csY9" fmla="*/ 1719708 h 2618141"/>
                  <a:gd name="csX10" fmla="*/ 2600208 w 2618226"/>
                  <a:gd name="csY10" fmla="*/ 1717874 h 2618141"/>
                  <a:gd name="csX11" fmla="*/ 2596354 w 2618226"/>
                  <a:gd name="csY11" fmla="*/ 1714418 h 2618141"/>
                  <a:gd name="csX12" fmla="*/ 2442981 w 2618226"/>
                  <a:gd name="csY12" fmla="*/ 1609424 h 2618141"/>
                  <a:gd name="csX13" fmla="*/ 2403907 w 2618226"/>
                  <a:gd name="csY13" fmla="*/ 1431862 h 2618141"/>
                  <a:gd name="csX14" fmla="*/ 2607119 w 2618226"/>
                  <a:gd name="csY14" fmla="*/ 1156749 h 2618141"/>
                  <a:gd name="csX15" fmla="*/ 2618190 w 2618226"/>
                  <a:gd name="csY15" fmla="*/ 1147140 h 2618141"/>
                  <a:gd name="csX16" fmla="*/ 2611771 w 2618226"/>
                  <a:gd name="csY16" fmla="*/ 1136813 h 2618141"/>
                  <a:gd name="csX17" fmla="*/ 2436469 w 2618226"/>
                  <a:gd name="csY17" fmla="*/ 1067038 h 2618141"/>
                  <a:gd name="csX18" fmla="*/ 2303564 w 2618226"/>
                  <a:gd name="csY18" fmla="*/ 935727 h 2618141"/>
                  <a:gd name="csX19" fmla="*/ 2266350 w 2618226"/>
                  <a:gd name="csY19" fmla="*/ 758432 h 2618141"/>
                  <a:gd name="csX20" fmla="*/ 2294925 w 2618226"/>
                  <a:gd name="csY20" fmla="*/ 580472 h 2618141"/>
                  <a:gd name="csX21" fmla="*/ 2287881 w 2618226"/>
                  <a:gd name="csY21" fmla="*/ 568112 h 2618141"/>
                  <a:gd name="csX22" fmla="*/ 1954688 w 2618226"/>
                  <a:gd name="csY22" fmla="*/ 539803 h 2618141"/>
                  <a:gd name="csX23" fmla="*/ 1831883 w 2618226"/>
                  <a:gd name="csY23" fmla="*/ 220831 h 2618141"/>
                  <a:gd name="csX24" fmla="*/ 1831883 w 2618226"/>
                  <a:gd name="csY24" fmla="*/ 218970 h 2618141"/>
                  <a:gd name="csX25" fmla="*/ 1831883 w 2618226"/>
                  <a:gd name="csY25" fmla="*/ 217907 h 2618141"/>
                  <a:gd name="csX26" fmla="*/ 1821118 w 2618226"/>
                  <a:gd name="csY26" fmla="*/ 208470 h 2618141"/>
                  <a:gd name="csX27" fmla="*/ 1707219 w 2618226"/>
                  <a:gd name="csY27" fmla="*/ 287150 h 2618141"/>
                  <a:gd name="csX28" fmla="*/ 1576440 w 2618226"/>
                  <a:gd name="csY28" fmla="*/ 277049 h 2618141"/>
                  <a:gd name="csX29" fmla="*/ 1475166 w 2618226"/>
                  <a:gd name="csY29" fmla="*/ 190262 h 2618141"/>
                  <a:gd name="csX30" fmla="*/ 1458420 w 2618226"/>
                  <a:gd name="csY30" fmla="*/ 49383 h 2618141"/>
                  <a:gd name="csX31" fmla="*/ 1455536 w 2618226"/>
                  <a:gd name="csY31" fmla="*/ 45438 h 2618141"/>
                  <a:gd name="csX32" fmla="*/ 1452971 w 2618226"/>
                  <a:gd name="csY32" fmla="*/ 46060 h 2618141"/>
                  <a:gd name="csX33" fmla="*/ 1446100 w 2618226"/>
                  <a:gd name="csY33" fmla="*/ 47166 h 2618141"/>
                  <a:gd name="csX34" fmla="*/ 1445794 w 2618226"/>
                  <a:gd name="csY34" fmla="*/ 47655 h 2618141"/>
                  <a:gd name="csX35" fmla="*/ 1359273 w 2618226"/>
                  <a:gd name="csY35" fmla="*/ 184149 h 2618141"/>
                  <a:gd name="csX36" fmla="*/ 1171079 w 2618226"/>
                  <a:gd name="csY36" fmla="*/ 216843 h 2618141"/>
                  <a:gd name="csX37" fmla="*/ 1031928 w 2618226"/>
                  <a:gd name="csY37" fmla="*/ 117165 h 2618141"/>
                  <a:gd name="csX38" fmla="*/ 933312 w 2618226"/>
                  <a:gd name="csY38" fmla="*/ 1537 h 2618141"/>
                  <a:gd name="csX39" fmla="*/ 918706 w 2618226"/>
                  <a:gd name="csY39" fmla="*/ 5110 h 2618141"/>
                  <a:gd name="csX40" fmla="*/ 918028 w 2618226"/>
                  <a:gd name="csY40" fmla="*/ 14828 h 2618141"/>
                  <a:gd name="csX41" fmla="*/ 920686 w 2618226"/>
                  <a:gd name="csY41" fmla="*/ 21340 h 2618141"/>
                  <a:gd name="csX42" fmla="*/ 771301 w 2618226"/>
                  <a:gd name="csY42" fmla="*/ 303365 h 2618141"/>
                  <a:gd name="csX43" fmla="*/ 633877 w 2618226"/>
                  <a:gd name="csY43" fmla="*/ 293929 h 2618141"/>
                  <a:gd name="csX44" fmla="*/ 500972 w 2618226"/>
                  <a:gd name="csY44" fmla="*/ 215647 h 2618141"/>
                  <a:gd name="csX45" fmla="*/ 500174 w 2618226"/>
                  <a:gd name="csY45" fmla="*/ 215647 h 2618141"/>
                  <a:gd name="csX46" fmla="*/ 478909 w 2618226"/>
                  <a:gd name="csY46" fmla="*/ 222558 h 2618141"/>
                  <a:gd name="csX47" fmla="*/ 494327 w 2618226"/>
                  <a:gd name="csY47" fmla="*/ 399987 h 2618141"/>
                  <a:gd name="csX48" fmla="*/ 449405 w 2618226"/>
                  <a:gd name="csY48" fmla="*/ 597351 h 2618141"/>
                  <a:gd name="csX49" fmla="*/ 305335 w 2618226"/>
                  <a:gd name="csY49" fmla="*/ 700751 h 2618141"/>
                  <a:gd name="csX50" fmla="*/ 149305 w 2618226"/>
                  <a:gd name="csY50" fmla="*/ 677360 h 2618141"/>
                  <a:gd name="csX51" fmla="*/ 145583 w 2618226"/>
                  <a:gd name="csY51" fmla="*/ 675632 h 2618141"/>
                  <a:gd name="csX52" fmla="*/ 138407 w 2618226"/>
                  <a:gd name="csY52" fmla="*/ 696232 h 2618141"/>
                  <a:gd name="csX53" fmla="*/ 236889 w 2618226"/>
                  <a:gd name="csY53" fmla="*/ 820764 h 2618141"/>
                  <a:gd name="csX54" fmla="*/ 250180 w 2618226"/>
                  <a:gd name="csY54" fmla="*/ 974801 h 2618141"/>
                  <a:gd name="csX55" fmla="*/ 20653 w 2618226"/>
                  <a:gd name="csY55" fmla="*/ 1160869 h 2618141"/>
                  <a:gd name="csX56" fmla="*/ 13874 w 2618226"/>
                  <a:gd name="csY56" fmla="*/ 1165653 h 2618141"/>
                  <a:gd name="csX57" fmla="*/ 10419 w 2618226"/>
                  <a:gd name="csY57" fmla="*/ 1174824 h 2618141"/>
                  <a:gd name="csX58" fmla="*/ 157545 w 2618226"/>
                  <a:gd name="csY58" fmla="*/ 1258820 h 2618141"/>
                  <a:gd name="csX59" fmla="*/ 200473 w 2618226"/>
                  <a:gd name="csY59" fmla="*/ 1412059 h 2618141"/>
                  <a:gd name="csX60" fmla="*/ 11083 w 2618226"/>
                  <a:gd name="csY60" fmla="*/ 1670294 h 2618141"/>
                  <a:gd name="csX61" fmla="*/ 8957 w 2618226"/>
                  <a:gd name="csY61" fmla="*/ 1672686 h 2618141"/>
                  <a:gd name="csX62" fmla="*/ 212 w 2618226"/>
                  <a:gd name="csY62" fmla="*/ 1685831 h 2618141"/>
                  <a:gd name="csX63" fmla="*/ 7229 w 2618226"/>
                  <a:gd name="csY63" fmla="*/ 1694084 h 2618141"/>
                  <a:gd name="csX64" fmla="*/ 47101 w 2618226"/>
                  <a:gd name="csY64" fmla="*/ 1684382 h 2618141"/>
                  <a:gd name="csX65" fmla="*/ 142128 w 2618226"/>
                  <a:gd name="csY65" fmla="*/ 1675743 h 2618141"/>
                  <a:gd name="csX66" fmla="*/ 328195 w 2618226"/>
                  <a:gd name="csY66" fmla="*/ 1755486 h 2618141"/>
                  <a:gd name="csX67" fmla="*/ 324739 w 2618226"/>
                  <a:gd name="csY67" fmla="*/ 2085888 h 2618141"/>
                  <a:gd name="csX68" fmla="*/ 321816 w 2618226"/>
                  <a:gd name="csY68" fmla="*/ 2087749 h 2618141"/>
                  <a:gd name="csX69" fmla="*/ 326866 w 2618226"/>
                  <a:gd name="csY69" fmla="*/ 2103033 h 2618141"/>
                  <a:gd name="csX70" fmla="*/ 516654 w 2618226"/>
                  <a:gd name="csY70" fmla="*/ 2084427 h 2618141"/>
                  <a:gd name="csX71" fmla="*/ 657667 w 2618226"/>
                  <a:gd name="csY71" fmla="*/ 2175998 h 2618141"/>
                  <a:gd name="csX72" fmla="*/ 703519 w 2618226"/>
                  <a:gd name="csY72" fmla="*/ 2332428 h 2618141"/>
                  <a:gd name="csX73" fmla="*/ 663648 w 2618226"/>
                  <a:gd name="csY73" fmla="*/ 2400608 h 2618141"/>
                  <a:gd name="csX74" fmla="*/ 662319 w 2618226"/>
                  <a:gd name="csY74" fmla="*/ 2402070 h 2618141"/>
                  <a:gd name="csX75" fmla="*/ 661747 w 2618226"/>
                  <a:gd name="csY75" fmla="*/ 2413712 h 2618141"/>
                  <a:gd name="csX76" fmla="*/ 673217 w 2618226"/>
                  <a:gd name="csY76" fmla="*/ 2414430 h 2618141"/>
                  <a:gd name="csX77" fmla="*/ 674014 w 2618226"/>
                  <a:gd name="csY77" fmla="*/ 2413765 h 2618141"/>
                  <a:gd name="csX78" fmla="*/ 676672 w 2618226"/>
                  <a:gd name="csY78" fmla="*/ 2411772 h 2618141"/>
                  <a:gd name="csX79" fmla="*/ 804793 w 2618226"/>
                  <a:gd name="csY79" fmla="*/ 2325384 h 2618141"/>
                  <a:gd name="csX80" fmla="*/ 999100 w 2618226"/>
                  <a:gd name="csY80" fmla="*/ 2311428 h 2618141"/>
                  <a:gd name="csX81" fmla="*/ 1153004 w 2618226"/>
                  <a:gd name="csY81" fmla="*/ 2427189 h 2618141"/>
                  <a:gd name="csX82" fmla="*/ 1177990 w 2618226"/>
                  <a:gd name="csY82" fmla="*/ 2590263 h 2618141"/>
                  <a:gd name="csX83" fmla="*/ 1171877 w 2618226"/>
                  <a:gd name="csY83" fmla="*/ 2607541 h 2618141"/>
                  <a:gd name="csX84" fmla="*/ 1185832 w 2618226"/>
                  <a:gd name="csY84" fmla="*/ 2614452 h 2618141"/>
                  <a:gd name="csX85" fmla="*/ 1408714 w 2618226"/>
                  <a:gd name="csY85" fmla="*/ 2399146 h 2618141"/>
                  <a:gd name="csX86" fmla="*/ 1747223 w 2618226"/>
                  <a:gd name="csY86" fmla="*/ 2474902 h 2618141"/>
                  <a:gd name="csX87" fmla="*/ 1759716 w 2618226"/>
                  <a:gd name="csY87" fmla="*/ 2461611 h 2618141"/>
                  <a:gd name="csX88" fmla="*/ 1797860 w 2618226"/>
                  <a:gd name="csY88" fmla="*/ 2306112 h 2618141"/>
                  <a:gd name="csX89" fmla="*/ 1922259 w 2618226"/>
                  <a:gd name="csY89" fmla="*/ 2190751 h 2618141"/>
                  <a:gd name="csX90" fmla="*/ 2092909 w 2618226"/>
                  <a:gd name="csY90" fmla="*/ 2159784 h 2618141"/>
                  <a:gd name="csX91" fmla="*/ 2228871 w 2618226"/>
                  <a:gd name="csY91" fmla="*/ 2204041 h 2618141"/>
                  <a:gd name="csX92" fmla="*/ 2231131 w 2618226"/>
                  <a:gd name="csY92" fmla="*/ 2209357 h 2618141"/>
                  <a:gd name="csX93" fmla="*/ 2236978 w 2618226"/>
                  <a:gd name="csY93" fmla="*/ 2214940 h 2618141"/>
                  <a:gd name="csX94" fmla="*/ 2242561 w 2618226"/>
                  <a:gd name="csY94" fmla="*/ 2209092 h 261814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Lst>
                <a:rect l="l" t="t" r="r" b="b"/>
                <a:pathLst>
                  <a:path w="2618226" h="2618141">
                    <a:moveTo>
                      <a:pt x="2242561" y="2209092"/>
                    </a:moveTo>
                    <a:cubicBezTo>
                      <a:pt x="2245325" y="2207164"/>
                      <a:pt x="2246375" y="2203563"/>
                      <a:pt x="2245086" y="2200453"/>
                    </a:cubicBezTo>
                    <a:cubicBezTo>
                      <a:pt x="2244342" y="2198977"/>
                      <a:pt x="2243504" y="2197555"/>
                      <a:pt x="2242561" y="2196200"/>
                    </a:cubicBezTo>
                    <a:cubicBezTo>
                      <a:pt x="2241231" y="2151942"/>
                      <a:pt x="2230067" y="2109014"/>
                      <a:pt x="2234054" y="2063294"/>
                    </a:cubicBezTo>
                    <a:cubicBezTo>
                      <a:pt x="2239504" y="2000829"/>
                      <a:pt x="2275388" y="1945540"/>
                      <a:pt x="2313798" y="1897828"/>
                    </a:cubicBezTo>
                    <a:cubicBezTo>
                      <a:pt x="2355437" y="1846619"/>
                      <a:pt x="2406459" y="1803824"/>
                      <a:pt x="2464113" y="1771701"/>
                    </a:cubicBezTo>
                    <a:cubicBezTo>
                      <a:pt x="2493618" y="1755088"/>
                      <a:pt x="2540002" y="1725317"/>
                      <a:pt x="2577880" y="1725981"/>
                    </a:cubicBezTo>
                    <a:cubicBezTo>
                      <a:pt x="2582266" y="1727576"/>
                      <a:pt x="2586652" y="1728905"/>
                      <a:pt x="2591170" y="1730234"/>
                    </a:cubicBezTo>
                    <a:cubicBezTo>
                      <a:pt x="2594440" y="1731417"/>
                      <a:pt x="2598095" y="1730341"/>
                      <a:pt x="2600208" y="1727576"/>
                    </a:cubicBezTo>
                    <a:cubicBezTo>
                      <a:pt x="2602893" y="1725902"/>
                      <a:pt x="2603704" y="1722380"/>
                      <a:pt x="2602042" y="1719708"/>
                    </a:cubicBezTo>
                    <a:cubicBezTo>
                      <a:pt x="2601577" y="1718964"/>
                      <a:pt x="2600953" y="1718339"/>
                      <a:pt x="2600208" y="1717874"/>
                    </a:cubicBezTo>
                    <a:cubicBezTo>
                      <a:pt x="2599291" y="1716372"/>
                      <a:pt x="2597949" y="1715163"/>
                      <a:pt x="2596354" y="1714418"/>
                    </a:cubicBezTo>
                    <a:cubicBezTo>
                      <a:pt x="2538141" y="1685711"/>
                      <a:pt x="2485245" y="1660326"/>
                      <a:pt x="2442981" y="1609424"/>
                    </a:cubicBezTo>
                    <a:cubicBezTo>
                      <a:pt x="2402153" y="1559970"/>
                      <a:pt x="2387613" y="1493889"/>
                      <a:pt x="2403907" y="1431862"/>
                    </a:cubicBezTo>
                    <a:cubicBezTo>
                      <a:pt x="2431552" y="1317963"/>
                      <a:pt x="2513288" y="1222537"/>
                      <a:pt x="2607119" y="1156749"/>
                    </a:cubicBezTo>
                    <a:cubicBezTo>
                      <a:pt x="2612834" y="1157147"/>
                      <a:pt x="2617792" y="1152841"/>
                      <a:pt x="2618190" y="1147140"/>
                    </a:cubicBezTo>
                    <a:cubicBezTo>
                      <a:pt x="2618496" y="1142674"/>
                      <a:pt x="2615917" y="1138514"/>
                      <a:pt x="2611771" y="1136813"/>
                    </a:cubicBezTo>
                    <a:cubicBezTo>
                      <a:pt x="2552495" y="1113023"/>
                      <a:pt x="2492156" y="1099732"/>
                      <a:pt x="2436469" y="1067038"/>
                    </a:cubicBezTo>
                    <a:cubicBezTo>
                      <a:pt x="2381765" y="1035220"/>
                      <a:pt x="2336033" y="990046"/>
                      <a:pt x="2303564" y="935727"/>
                    </a:cubicBezTo>
                    <a:cubicBezTo>
                      <a:pt x="2273461" y="881768"/>
                      <a:pt x="2260476" y="819940"/>
                      <a:pt x="2266350" y="758432"/>
                    </a:cubicBezTo>
                    <a:cubicBezTo>
                      <a:pt x="2270470" y="698359"/>
                      <a:pt x="2289875" y="640412"/>
                      <a:pt x="2294925" y="580472"/>
                    </a:cubicBezTo>
                    <a:cubicBezTo>
                      <a:pt x="2302102" y="576219"/>
                      <a:pt x="2295988" y="565454"/>
                      <a:pt x="2287881" y="568112"/>
                    </a:cubicBezTo>
                    <a:cubicBezTo>
                      <a:pt x="2174380" y="605990"/>
                      <a:pt x="2057291" y="607983"/>
                      <a:pt x="1954688" y="539803"/>
                    </a:cubicBezTo>
                    <a:cubicBezTo>
                      <a:pt x="1852085" y="471623"/>
                      <a:pt x="1783772" y="341376"/>
                      <a:pt x="1831883" y="220831"/>
                    </a:cubicBezTo>
                    <a:cubicBezTo>
                      <a:pt x="1832070" y="220219"/>
                      <a:pt x="1832070" y="219581"/>
                      <a:pt x="1831883" y="218970"/>
                    </a:cubicBezTo>
                    <a:cubicBezTo>
                      <a:pt x="1831883" y="218970"/>
                      <a:pt x="1831883" y="218970"/>
                      <a:pt x="1831883" y="217907"/>
                    </a:cubicBezTo>
                    <a:cubicBezTo>
                      <a:pt x="1835472" y="211261"/>
                      <a:pt x="1827232" y="201825"/>
                      <a:pt x="1821118" y="208470"/>
                    </a:cubicBezTo>
                    <a:cubicBezTo>
                      <a:pt x="1787360" y="244886"/>
                      <a:pt x="1756659" y="274126"/>
                      <a:pt x="1707219" y="287150"/>
                    </a:cubicBezTo>
                    <a:cubicBezTo>
                      <a:pt x="1663639" y="297490"/>
                      <a:pt x="1617920" y="293955"/>
                      <a:pt x="1576440" y="277049"/>
                    </a:cubicBezTo>
                    <a:cubicBezTo>
                      <a:pt x="1533724" y="260609"/>
                      <a:pt x="1497960" y="229961"/>
                      <a:pt x="1475166" y="190262"/>
                    </a:cubicBezTo>
                    <a:cubicBezTo>
                      <a:pt x="1449649" y="145739"/>
                      <a:pt x="1452572" y="98292"/>
                      <a:pt x="1458420" y="49383"/>
                    </a:cubicBezTo>
                    <a:cubicBezTo>
                      <a:pt x="1458713" y="47497"/>
                      <a:pt x="1457423" y="45731"/>
                      <a:pt x="1455536" y="45438"/>
                    </a:cubicBezTo>
                    <a:cubicBezTo>
                      <a:pt x="1454633" y="45299"/>
                      <a:pt x="1453715" y="45522"/>
                      <a:pt x="1452971" y="46060"/>
                    </a:cubicBezTo>
                    <a:cubicBezTo>
                      <a:pt x="1450765" y="44469"/>
                      <a:pt x="1447695" y="44965"/>
                      <a:pt x="1446100" y="47166"/>
                    </a:cubicBezTo>
                    <a:cubicBezTo>
                      <a:pt x="1445994" y="47323"/>
                      <a:pt x="1445887" y="47486"/>
                      <a:pt x="1445794" y="47655"/>
                    </a:cubicBezTo>
                    <a:cubicBezTo>
                      <a:pt x="1419213" y="96963"/>
                      <a:pt x="1401935" y="145208"/>
                      <a:pt x="1359273" y="184149"/>
                    </a:cubicBezTo>
                    <a:cubicBezTo>
                      <a:pt x="1308636" y="230400"/>
                      <a:pt x="1234342" y="234520"/>
                      <a:pt x="1171079" y="216843"/>
                    </a:cubicBezTo>
                    <a:cubicBezTo>
                      <a:pt x="1114728" y="201161"/>
                      <a:pt x="1069806" y="159694"/>
                      <a:pt x="1031928" y="117165"/>
                    </a:cubicBezTo>
                    <a:cubicBezTo>
                      <a:pt x="999499" y="80616"/>
                      <a:pt x="974911" y="27985"/>
                      <a:pt x="933312" y="1537"/>
                    </a:cubicBezTo>
                    <a:cubicBezTo>
                      <a:pt x="928288" y="-1510"/>
                      <a:pt x="921749" y="90"/>
                      <a:pt x="918706" y="5110"/>
                    </a:cubicBezTo>
                    <a:cubicBezTo>
                      <a:pt x="916925" y="8048"/>
                      <a:pt x="916672" y="11669"/>
                      <a:pt x="918028" y="14828"/>
                    </a:cubicBezTo>
                    <a:cubicBezTo>
                      <a:pt x="918825" y="16954"/>
                      <a:pt x="919756" y="19214"/>
                      <a:pt x="920686" y="21340"/>
                    </a:cubicBezTo>
                    <a:cubicBezTo>
                      <a:pt x="927996" y="140955"/>
                      <a:pt x="900617" y="263892"/>
                      <a:pt x="771301" y="303365"/>
                    </a:cubicBezTo>
                    <a:cubicBezTo>
                      <a:pt x="725701" y="315379"/>
                      <a:pt x="677403" y="312070"/>
                      <a:pt x="633877" y="293929"/>
                    </a:cubicBezTo>
                    <a:cubicBezTo>
                      <a:pt x="584303" y="275455"/>
                      <a:pt x="546824" y="239437"/>
                      <a:pt x="500972" y="215647"/>
                    </a:cubicBezTo>
                    <a:lnTo>
                      <a:pt x="500174" y="215647"/>
                    </a:lnTo>
                    <a:cubicBezTo>
                      <a:pt x="493928" y="205281"/>
                      <a:pt x="475055" y="209667"/>
                      <a:pt x="478909" y="222558"/>
                    </a:cubicBezTo>
                    <a:cubicBezTo>
                      <a:pt x="495390" y="277980"/>
                      <a:pt x="494991" y="342173"/>
                      <a:pt x="494327" y="399987"/>
                    </a:cubicBezTo>
                    <a:cubicBezTo>
                      <a:pt x="495430" y="468433"/>
                      <a:pt x="480013" y="536121"/>
                      <a:pt x="449405" y="597351"/>
                    </a:cubicBezTo>
                    <a:cubicBezTo>
                      <a:pt x="421335" y="653437"/>
                      <a:pt x="367455" y="692112"/>
                      <a:pt x="305335" y="700751"/>
                    </a:cubicBezTo>
                    <a:cubicBezTo>
                      <a:pt x="251243" y="707795"/>
                      <a:pt x="201005" y="688125"/>
                      <a:pt x="149305" y="677360"/>
                    </a:cubicBezTo>
                    <a:cubicBezTo>
                      <a:pt x="148135" y="676655"/>
                      <a:pt x="146886" y="676071"/>
                      <a:pt x="145583" y="675632"/>
                    </a:cubicBezTo>
                    <a:cubicBezTo>
                      <a:pt x="132293" y="670316"/>
                      <a:pt x="125382" y="690916"/>
                      <a:pt x="138407" y="696232"/>
                    </a:cubicBezTo>
                    <a:cubicBezTo>
                      <a:pt x="184658" y="714706"/>
                      <a:pt x="218150" y="777437"/>
                      <a:pt x="236889" y="820764"/>
                    </a:cubicBezTo>
                    <a:cubicBezTo>
                      <a:pt x="257423" y="869434"/>
                      <a:pt x="262075" y="923341"/>
                      <a:pt x="250180" y="974801"/>
                    </a:cubicBezTo>
                    <a:cubicBezTo>
                      <a:pt x="227586" y="1074214"/>
                      <a:pt x="122192" y="1160204"/>
                      <a:pt x="20653" y="1160869"/>
                    </a:cubicBezTo>
                    <a:cubicBezTo>
                      <a:pt x="17556" y="1160683"/>
                      <a:pt x="14738" y="1162676"/>
                      <a:pt x="13874" y="1165653"/>
                    </a:cubicBezTo>
                    <a:cubicBezTo>
                      <a:pt x="9090" y="1165653"/>
                      <a:pt x="5501" y="1172299"/>
                      <a:pt x="10419" y="1174824"/>
                    </a:cubicBezTo>
                    <a:cubicBezTo>
                      <a:pt x="60923" y="1201405"/>
                      <a:pt x="115281" y="1218815"/>
                      <a:pt x="157545" y="1258820"/>
                    </a:cubicBezTo>
                    <a:cubicBezTo>
                      <a:pt x="199809" y="1298824"/>
                      <a:pt x="204327" y="1358499"/>
                      <a:pt x="200473" y="1412059"/>
                    </a:cubicBezTo>
                    <a:cubicBezTo>
                      <a:pt x="191436" y="1535927"/>
                      <a:pt x="100529" y="1599854"/>
                      <a:pt x="11083" y="1670294"/>
                    </a:cubicBezTo>
                    <a:cubicBezTo>
                      <a:pt x="10233" y="1670959"/>
                      <a:pt x="9515" y="1671769"/>
                      <a:pt x="8957" y="1672686"/>
                    </a:cubicBezTo>
                    <a:cubicBezTo>
                      <a:pt x="2910" y="1673896"/>
                      <a:pt x="-1011" y="1679784"/>
                      <a:pt x="212" y="1685831"/>
                    </a:cubicBezTo>
                    <a:cubicBezTo>
                      <a:pt x="969" y="1689605"/>
                      <a:pt x="3614" y="1692729"/>
                      <a:pt x="7229" y="1694084"/>
                    </a:cubicBezTo>
                    <a:cubicBezTo>
                      <a:pt x="19456" y="1698204"/>
                      <a:pt x="35538" y="1687705"/>
                      <a:pt x="47101" y="1684382"/>
                    </a:cubicBezTo>
                    <a:cubicBezTo>
                      <a:pt x="78174" y="1676793"/>
                      <a:pt x="110204" y="1673883"/>
                      <a:pt x="142128" y="1675743"/>
                    </a:cubicBezTo>
                    <a:cubicBezTo>
                      <a:pt x="211837" y="1678601"/>
                      <a:pt x="278050" y="1706989"/>
                      <a:pt x="328195" y="1755486"/>
                    </a:cubicBezTo>
                    <a:cubicBezTo>
                      <a:pt x="421229" y="1843071"/>
                      <a:pt x="415514" y="1999101"/>
                      <a:pt x="324739" y="2085888"/>
                    </a:cubicBezTo>
                    <a:cubicBezTo>
                      <a:pt x="323809" y="2086580"/>
                      <a:pt x="322839" y="2087204"/>
                      <a:pt x="321816" y="2087749"/>
                    </a:cubicBezTo>
                    <a:cubicBezTo>
                      <a:pt x="314639" y="2092268"/>
                      <a:pt x="317297" y="2105691"/>
                      <a:pt x="326866" y="2103033"/>
                    </a:cubicBezTo>
                    <a:cubicBezTo>
                      <a:pt x="391059" y="2084825"/>
                      <a:pt x="449538" y="2069009"/>
                      <a:pt x="516654" y="2084427"/>
                    </a:cubicBezTo>
                    <a:cubicBezTo>
                      <a:pt x="571544" y="2097717"/>
                      <a:pt x="620188" y="2135462"/>
                      <a:pt x="657667" y="2175998"/>
                    </a:cubicBezTo>
                    <a:cubicBezTo>
                      <a:pt x="697538" y="2218927"/>
                      <a:pt x="720132" y="2274614"/>
                      <a:pt x="703519" y="2332428"/>
                    </a:cubicBezTo>
                    <a:cubicBezTo>
                      <a:pt x="699266" y="2347047"/>
                      <a:pt x="667236" y="2380007"/>
                      <a:pt x="663648" y="2400608"/>
                    </a:cubicBezTo>
                    <a:lnTo>
                      <a:pt x="662319" y="2402070"/>
                    </a:lnTo>
                    <a:cubicBezTo>
                      <a:pt x="658943" y="2405127"/>
                      <a:pt x="658690" y="2410337"/>
                      <a:pt x="661747" y="2413712"/>
                    </a:cubicBezTo>
                    <a:cubicBezTo>
                      <a:pt x="664751" y="2417008"/>
                      <a:pt x="669828" y="2417327"/>
                      <a:pt x="673217" y="2414430"/>
                    </a:cubicBezTo>
                    <a:lnTo>
                      <a:pt x="674014" y="2413765"/>
                    </a:lnTo>
                    <a:cubicBezTo>
                      <a:pt x="675064" y="2413353"/>
                      <a:pt x="675981" y="2412662"/>
                      <a:pt x="676672" y="2411772"/>
                    </a:cubicBezTo>
                    <a:cubicBezTo>
                      <a:pt x="718272" y="2380938"/>
                      <a:pt x="757612" y="2347977"/>
                      <a:pt x="804793" y="2325384"/>
                    </a:cubicBezTo>
                    <a:cubicBezTo>
                      <a:pt x="865796" y="2296277"/>
                      <a:pt x="934242" y="2297075"/>
                      <a:pt x="999100" y="2311428"/>
                    </a:cubicBezTo>
                    <a:cubicBezTo>
                      <a:pt x="1064955" y="2325450"/>
                      <a:pt x="1121267" y="2367807"/>
                      <a:pt x="1153004" y="2427189"/>
                    </a:cubicBezTo>
                    <a:cubicBezTo>
                      <a:pt x="1180954" y="2476670"/>
                      <a:pt x="1189846" y="2534682"/>
                      <a:pt x="1177990" y="2590263"/>
                    </a:cubicBezTo>
                    <a:cubicBezTo>
                      <a:pt x="1175864" y="2595978"/>
                      <a:pt x="1173737" y="2601693"/>
                      <a:pt x="1171877" y="2607541"/>
                    </a:cubicBezTo>
                    <a:cubicBezTo>
                      <a:pt x="1169352" y="2615648"/>
                      <a:pt x="1181579" y="2622692"/>
                      <a:pt x="1185832" y="2614452"/>
                    </a:cubicBezTo>
                    <a:cubicBezTo>
                      <a:pt x="1236469" y="2516900"/>
                      <a:pt x="1299731" y="2433701"/>
                      <a:pt x="1408714" y="2399146"/>
                    </a:cubicBezTo>
                    <a:cubicBezTo>
                      <a:pt x="1529524" y="2360869"/>
                      <a:pt x="1648873" y="2404329"/>
                      <a:pt x="1747223" y="2474902"/>
                    </a:cubicBezTo>
                    <a:cubicBezTo>
                      <a:pt x="1756526" y="2481547"/>
                      <a:pt x="1764899" y="2469585"/>
                      <a:pt x="1759716" y="2461611"/>
                    </a:cubicBezTo>
                    <a:cubicBezTo>
                      <a:pt x="1767026" y="2407386"/>
                      <a:pt x="1771412" y="2355287"/>
                      <a:pt x="1797860" y="2306112"/>
                    </a:cubicBezTo>
                    <a:cubicBezTo>
                      <a:pt x="1826594" y="2255874"/>
                      <a:pt x="1870001" y="2215617"/>
                      <a:pt x="1922259" y="2190751"/>
                    </a:cubicBezTo>
                    <a:cubicBezTo>
                      <a:pt x="1973560" y="2164967"/>
                      <a:pt x="2036292" y="2158455"/>
                      <a:pt x="2092909" y="2159784"/>
                    </a:cubicBezTo>
                    <a:cubicBezTo>
                      <a:pt x="2130389" y="2160714"/>
                      <a:pt x="2201227" y="2172410"/>
                      <a:pt x="2228871" y="2204041"/>
                    </a:cubicBezTo>
                    <a:cubicBezTo>
                      <a:pt x="2229669" y="2205769"/>
                      <a:pt x="2230333" y="2207630"/>
                      <a:pt x="2231131" y="2209357"/>
                    </a:cubicBezTo>
                    <a:cubicBezTo>
                      <a:pt x="2231210" y="2212507"/>
                      <a:pt x="2233829" y="2215019"/>
                      <a:pt x="2236978" y="2214940"/>
                    </a:cubicBezTo>
                    <a:cubicBezTo>
                      <a:pt x="2240128" y="2214860"/>
                      <a:pt x="2242640" y="2212242"/>
                      <a:pt x="2242561" y="2209092"/>
                    </a:cubicBezTo>
                    <a:close/>
                  </a:path>
                </a:pathLst>
              </a:custGeom>
              <a:solidFill>
                <a:srgbClr val="FADD00"/>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31" name="Freeform: Shape 30">
                <a:extLst>
                  <a:ext uri="{FF2B5EF4-FFF2-40B4-BE49-F238E27FC236}">
                    <a16:creationId xmlns:a16="http://schemas.microsoft.com/office/drawing/2014/main" id="{DFE901F0-9041-13B4-BAF5-548508AEF643}"/>
                  </a:ext>
                </a:extLst>
              </p:cNvPr>
              <p:cNvSpPr/>
              <p:nvPr/>
            </p:nvSpPr>
            <p:spPr>
              <a:xfrm>
                <a:off x="4839456" y="3110769"/>
                <a:ext cx="2119680" cy="2115149"/>
              </a:xfrm>
              <a:custGeom>
                <a:avLst/>
                <a:gdLst>
                  <a:gd name="csX0" fmla="*/ 193819 w 2119680"/>
                  <a:gd name="csY0" fmla="*/ 1672704 h 2115149"/>
                  <a:gd name="csX1" fmla="*/ 1670661 w 2119680"/>
                  <a:gd name="csY1" fmla="*/ 1917781 h 2115149"/>
                  <a:gd name="csX2" fmla="*/ 1925839 w 2119680"/>
                  <a:gd name="csY2" fmla="*/ 442534 h 2115149"/>
                  <a:gd name="csX3" fmla="*/ 448997 w 2119680"/>
                  <a:gd name="csY3" fmla="*/ 197324 h 2115149"/>
                  <a:gd name="csX4" fmla="*/ 193819 w 2119680"/>
                  <a:gd name="csY4" fmla="*/ 1672704 h 2115149"/>
                </a:gdLst>
                <a:ahLst/>
                <a:cxnLst>
                  <a:cxn ang="0">
                    <a:pos x="csX0" y="csY0"/>
                  </a:cxn>
                  <a:cxn ang="0">
                    <a:pos x="csX1" y="csY1"/>
                  </a:cxn>
                  <a:cxn ang="0">
                    <a:pos x="csX2" y="csY2"/>
                  </a:cxn>
                  <a:cxn ang="0">
                    <a:pos x="csX3" y="csY3"/>
                  </a:cxn>
                  <a:cxn ang="0">
                    <a:pos x="csX4" y="csY4"/>
                  </a:cxn>
                </a:cxnLst>
                <a:rect l="l" t="t" r="r" b="b"/>
                <a:pathLst>
                  <a:path w="2119680" h="2115149">
                    <a:moveTo>
                      <a:pt x="193819" y="1672704"/>
                    </a:moveTo>
                    <a:cubicBezTo>
                      <a:pt x="531132" y="2147707"/>
                      <a:pt x="1192335" y="2257487"/>
                      <a:pt x="1670661" y="1917781"/>
                    </a:cubicBezTo>
                    <a:cubicBezTo>
                      <a:pt x="2148987" y="1578075"/>
                      <a:pt x="2263152" y="917803"/>
                      <a:pt x="1925839" y="442534"/>
                    </a:cubicBezTo>
                    <a:cubicBezTo>
                      <a:pt x="1588526" y="-32735"/>
                      <a:pt x="927323" y="-142249"/>
                      <a:pt x="448997" y="197324"/>
                    </a:cubicBezTo>
                    <a:cubicBezTo>
                      <a:pt x="-29328" y="536897"/>
                      <a:pt x="-143494" y="1197701"/>
                      <a:pt x="193819" y="1672704"/>
                    </a:cubicBezTo>
                    <a:close/>
                  </a:path>
                </a:pathLst>
              </a:custGeom>
              <a:gradFill>
                <a:gsLst>
                  <a:gs pos="3000">
                    <a:srgbClr val="FF7000"/>
                  </a:gs>
                  <a:gs pos="89000">
                    <a:srgbClr val="CF4300"/>
                  </a:gs>
                </a:gsLst>
                <a:lin ang="2903171" scaled="1"/>
              </a:gra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32" name="Freeform: Shape 31">
                <a:extLst>
                  <a:ext uri="{FF2B5EF4-FFF2-40B4-BE49-F238E27FC236}">
                    <a16:creationId xmlns:a16="http://schemas.microsoft.com/office/drawing/2014/main" id="{6C7FE2D2-841D-9AFD-B237-F791D1DA110A}"/>
                  </a:ext>
                </a:extLst>
              </p:cNvPr>
              <p:cNvSpPr/>
              <p:nvPr/>
            </p:nvSpPr>
            <p:spPr>
              <a:xfrm>
                <a:off x="4909842" y="3211662"/>
                <a:ext cx="1887398" cy="1887401"/>
              </a:xfrm>
              <a:custGeom>
                <a:avLst/>
                <a:gdLst>
                  <a:gd name="csX0" fmla="*/ 174336 w 1887398"/>
                  <a:gd name="csY0" fmla="*/ 1490074 h 1887401"/>
                  <a:gd name="csX1" fmla="*/ 1490070 w 1887398"/>
                  <a:gd name="csY1" fmla="*/ 1713049 h 1887401"/>
                  <a:gd name="csX2" fmla="*/ 1713031 w 1887398"/>
                  <a:gd name="csY2" fmla="*/ 397315 h 1887401"/>
                  <a:gd name="csX3" fmla="*/ 397350 w 1887398"/>
                  <a:gd name="csY3" fmla="*/ 174313 h 1887401"/>
                  <a:gd name="csX4" fmla="*/ 174309 w 1887398"/>
                  <a:gd name="csY4" fmla="*/ 1490034 h 1887401"/>
                  <a:gd name="csX5" fmla="*/ 174336 w 1887398"/>
                  <a:gd name="csY5" fmla="*/ 1490074 h 1887401"/>
                </a:gdLst>
                <a:ahLst/>
                <a:cxnLst>
                  <a:cxn ang="0">
                    <a:pos x="csX0" y="csY0"/>
                  </a:cxn>
                  <a:cxn ang="0">
                    <a:pos x="csX1" y="csY1"/>
                  </a:cxn>
                  <a:cxn ang="0">
                    <a:pos x="csX2" y="csY2"/>
                  </a:cxn>
                  <a:cxn ang="0">
                    <a:pos x="csX3" y="csY3"/>
                  </a:cxn>
                  <a:cxn ang="0">
                    <a:pos x="csX4" y="csY4"/>
                  </a:cxn>
                  <a:cxn ang="0">
                    <a:pos x="csX5" y="csY5"/>
                  </a:cxn>
                </a:cxnLst>
                <a:rect l="l" t="t" r="r" b="b"/>
                <a:pathLst>
                  <a:path w="1887398" h="1887401">
                    <a:moveTo>
                      <a:pt x="174336" y="1490074"/>
                    </a:moveTo>
                    <a:cubicBezTo>
                      <a:pt x="476097" y="1914972"/>
                      <a:pt x="1065159" y="2014797"/>
                      <a:pt x="1490070" y="1713049"/>
                    </a:cubicBezTo>
                    <a:cubicBezTo>
                      <a:pt x="1914967" y="1411288"/>
                      <a:pt x="2014792" y="822212"/>
                      <a:pt x="1713031" y="397315"/>
                    </a:cubicBezTo>
                    <a:cubicBezTo>
                      <a:pt x="1411297" y="-27570"/>
                      <a:pt x="822248" y="-127408"/>
                      <a:pt x="397350" y="174313"/>
                    </a:cubicBezTo>
                    <a:cubicBezTo>
                      <a:pt x="-27560" y="476048"/>
                      <a:pt x="-127425" y="1065110"/>
                      <a:pt x="174309" y="1490034"/>
                    </a:cubicBezTo>
                    <a:cubicBezTo>
                      <a:pt x="174309" y="1490047"/>
                      <a:pt x="174323" y="1490061"/>
                      <a:pt x="174336" y="1490074"/>
                    </a:cubicBezTo>
                    <a:close/>
                  </a:path>
                </a:pathLst>
              </a:custGeom>
              <a:solidFill>
                <a:srgbClr val="FFE129"/>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33" name="Freeform: Shape 32">
                <a:extLst>
                  <a:ext uri="{FF2B5EF4-FFF2-40B4-BE49-F238E27FC236}">
                    <a16:creationId xmlns:a16="http://schemas.microsoft.com/office/drawing/2014/main" id="{5F9658AF-9423-DF88-CADA-5D00741A67C8}"/>
                  </a:ext>
                </a:extLst>
              </p:cNvPr>
              <p:cNvSpPr/>
              <p:nvPr/>
            </p:nvSpPr>
            <p:spPr>
              <a:xfrm>
                <a:off x="5240089" y="3174682"/>
                <a:ext cx="1080887" cy="296438"/>
              </a:xfrm>
              <a:custGeom>
                <a:avLst/>
                <a:gdLst>
                  <a:gd name="csX0" fmla="*/ 12081 w 1080887"/>
                  <a:gd name="csY0" fmla="*/ 237874 h 296438"/>
                  <a:gd name="csX1" fmla="*/ 1079176 w 1080887"/>
                  <a:gd name="csY1" fmla="*/ 128227 h 296438"/>
                  <a:gd name="csX2" fmla="*/ 1074790 w 1080887"/>
                  <a:gd name="csY2" fmla="*/ 135138 h 296438"/>
                  <a:gd name="csX3" fmla="*/ 48629 w 1080887"/>
                  <a:gd name="csY3" fmla="*/ 289707 h 296438"/>
                  <a:gd name="csX4" fmla="*/ 12081 w 1080887"/>
                  <a:gd name="csY4" fmla="*/ 237874 h 296438"/>
                </a:gdLst>
                <a:ahLst/>
                <a:cxnLst>
                  <a:cxn ang="0">
                    <a:pos x="csX0" y="csY0"/>
                  </a:cxn>
                  <a:cxn ang="0">
                    <a:pos x="csX1" y="csY1"/>
                  </a:cxn>
                  <a:cxn ang="0">
                    <a:pos x="csX2" y="csY2"/>
                  </a:cxn>
                  <a:cxn ang="0">
                    <a:pos x="csX3" y="csY3"/>
                  </a:cxn>
                  <a:cxn ang="0">
                    <a:pos x="csX4" y="csY4"/>
                  </a:cxn>
                </a:cxnLst>
                <a:rect l="l" t="t" r="r" b="b"/>
                <a:pathLst>
                  <a:path w="1080887" h="296438">
                    <a:moveTo>
                      <a:pt x="12081" y="237874"/>
                    </a:moveTo>
                    <a:cubicBezTo>
                      <a:pt x="308193" y="-7469"/>
                      <a:pt x="745584" y="-94389"/>
                      <a:pt x="1079176" y="128227"/>
                    </a:cubicBezTo>
                    <a:cubicBezTo>
                      <a:pt x="1083296" y="130886"/>
                      <a:pt x="1079176" y="136733"/>
                      <a:pt x="1074790" y="135138"/>
                    </a:cubicBezTo>
                    <a:cubicBezTo>
                      <a:pt x="709035" y="-1355"/>
                      <a:pt x="360558" y="51807"/>
                      <a:pt x="48629" y="289707"/>
                    </a:cubicBezTo>
                    <a:cubicBezTo>
                      <a:pt x="15935" y="314561"/>
                      <a:pt x="-19019" y="264455"/>
                      <a:pt x="12081" y="237874"/>
                    </a:cubicBezTo>
                    <a:close/>
                  </a:path>
                </a:pathLst>
              </a:custGeom>
              <a:solidFill>
                <a:srgbClr val="FFFFFF"/>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34" name="Freeform: Shape 33">
                <a:extLst>
                  <a:ext uri="{FF2B5EF4-FFF2-40B4-BE49-F238E27FC236}">
                    <a16:creationId xmlns:a16="http://schemas.microsoft.com/office/drawing/2014/main" id="{729BAD91-666D-2FFB-32D6-8C9A56E8731C}"/>
                  </a:ext>
                </a:extLst>
              </p:cNvPr>
              <p:cNvSpPr/>
              <p:nvPr/>
            </p:nvSpPr>
            <p:spPr>
              <a:xfrm>
                <a:off x="5162358" y="3492718"/>
                <a:ext cx="51507" cy="47054"/>
              </a:xfrm>
              <a:custGeom>
                <a:avLst/>
                <a:gdLst>
                  <a:gd name="csX0" fmla="*/ 12860 w 51507"/>
                  <a:gd name="csY0" fmla="*/ 3302 h 47054"/>
                  <a:gd name="csX1" fmla="*/ 19505 w 51507"/>
                  <a:gd name="csY1" fmla="*/ 1575 h 47054"/>
                  <a:gd name="csX2" fmla="*/ 49914 w 51507"/>
                  <a:gd name="csY2" fmla="*/ 15064 h 47054"/>
                  <a:gd name="csX3" fmla="*/ 36424 w 51507"/>
                  <a:gd name="csY3" fmla="*/ 45473 h 47054"/>
                  <a:gd name="csX4" fmla="*/ 12727 w 51507"/>
                  <a:gd name="csY4" fmla="*/ 41446 h 47054"/>
                  <a:gd name="csX5" fmla="*/ 7012 w 51507"/>
                  <a:gd name="csY5" fmla="*/ 37592 h 47054"/>
                  <a:gd name="csX6" fmla="*/ 4952 w 51507"/>
                  <a:gd name="csY6" fmla="*/ 8911 h 47054"/>
                  <a:gd name="csX7" fmla="*/ 12860 w 51507"/>
                  <a:gd name="csY7" fmla="*/ 3302 h 4705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51507" h="47054">
                    <a:moveTo>
                      <a:pt x="12860" y="3302"/>
                    </a:moveTo>
                    <a:lnTo>
                      <a:pt x="19505" y="1575"/>
                    </a:lnTo>
                    <a:cubicBezTo>
                      <a:pt x="31626" y="-3104"/>
                      <a:pt x="45249" y="2944"/>
                      <a:pt x="49914" y="15064"/>
                    </a:cubicBezTo>
                    <a:cubicBezTo>
                      <a:pt x="54592" y="27185"/>
                      <a:pt x="48545" y="40808"/>
                      <a:pt x="36424" y="45473"/>
                    </a:cubicBezTo>
                    <a:cubicBezTo>
                      <a:pt x="28383" y="48570"/>
                      <a:pt x="19292" y="47028"/>
                      <a:pt x="12727" y="41446"/>
                    </a:cubicBezTo>
                    <a:lnTo>
                      <a:pt x="7012" y="37592"/>
                    </a:lnTo>
                    <a:cubicBezTo>
                      <a:pt x="-1481" y="30242"/>
                      <a:pt x="-2398" y="17404"/>
                      <a:pt x="4952" y="8911"/>
                    </a:cubicBezTo>
                    <a:cubicBezTo>
                      <a:pt x="7091" y="6426"/>
                      <a:pt x="9803" y="4512"/>
                      <a:pt x="12860" y="3302"/>
                    </a:cubicBezTo>
                    <a:close/>
                  </a:path>
                </a:pathLst>
              </a:custGeom>
              <a:solidFill>
                <a:srgbClr val="FFFFFF"/>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35" name="Freeform: Shape 34">
                <a:extLst>
                  <a:ext uri="{FF2B5EF4-FFF2-40B4-BE49-F238E27FC236}">
                    <a16:creationId xmlns:a16="http://schemas.microsoft.com/office/drawing/2014/main" id="{9FF5690B-072D-FAE5-A9B7-DCB10861DA99}"/>
                  </a:ext>
                </a:extLst>
              </p:cNvPr>
              <p:cNvSpPr/>
              <p:nvPr/>
            </p:nvSpPr>
            <p:spPr>
              <a:xfrm>
                <a:off x="5491012" y="1985474"/>
                <a:ext cx="2161410" cy="1250193"/>
              </a:xfrm>
              <a:custGeom>
                <a:avLst/>
                <a:gdLst>
                  <a:gd name="csX0" fmla="*/ 7564 w 2161410"/>
                  <a:gd name="csY0" fmla="*/ 439995 h 1250193"/>
                  <a:gd name="csX1" fmla="*/ 111895 w 2161410"/>
                  <a:gd name="csY1" fmla="*/ 326760 h 1250193"/>
                  <a:gd name="csX2" fmla="*/ 142064 w 2161410"/>
                  <a:gd name="csY2" fmla="*/ 299515 h 1250193"/>
                  <a:gd name="csX3" fmla="*/ 157481 w 2161410"/>
                  <a:gd name="csY3" fmla="*/ 286224 h 1250193"/>
                  <a:gd name="csX4" fmla="*/ 173430 w 2161410"/>
                  <a:gd name="csY4" fmla="*/ 273731 h 1250193"/>
                  <a:gd name="csX5" fmla="*/ 239085 w 2161410"/>
                  <a:gd name="csY5" fmla="*/ 223360 h 1250193"/>
                  <a:gd name="csX6" fmla="*/ 545564 w 2161410"/>
                  <a:gd name="csY6" fmla="*/ 69190 h 1250193"/>
                  <a:gd name="csX7" fmla="*/ 1263916 w 2161410"/>
                  <a:gd name="csY7" fmla="*/ 34369 h 1250193"/>
                  <a:gd name="csX8" fmla="*/ 1612527 w 2161410"/>
                  <a:gd name="csY8" fmla="*/ 175381 h 1250193"/>
                  <a:gd name="csX9" fmla="*/ 1899203 w 2161410"/>
                  <a:gd name="csY9" fmla="*/ 424180 h 1250193"/>
                  <a:gd name="csX10" fmla="*/ 2078359 w 2161410"/>
                  <a:gd name="csY10" fmla="*/ 734247 h 1250193"/>
                  <a:gd name="csX11" fmla="*/ 2127667 w 2161410"/>
                  <a:gd name="csY11" fmla="*/ 892936 h 1250193"/>
                  <a:gd name="csX12" fmla="*/ 2159431 w 2161410"/>
                  <a:gd name="csY12" fmla="*/ 1250185 h 1250193"/>
                  <a:gd name="csX13" fmla="*/ 2068258 w 2161410"/>
                  <a:gd name="csY13" fmla="*/ 1242344 h 1250193"/>
                  <a:gd name="csX14" fmla="*/ 2038886 w 2161410"/>
                  <a:gd name="csY14" fmla="*/ 915929 h 1250193"/>
                  <a:gd name="csX15" fmla="*/ 1829959 w 2161410"/>
                  <a:gd name="csY15" fmla="*/ 485050 h 1250193"/>
                  <a:gd name="csX16" fmla="*/ 1566674 w 2161410"/>
                  <a:gd name="csY16" fmla="*/ 257517 h 1250193"/>
                  <a:gd name="csX17" fmla="*/ 1243582 w 2161410"/>
                  <a:gd name="csY17" fmla="*/ 126871 h 1250193"/>
                  <a:gd name="csX18" fmla="*/ 574006 w 2161410"/>
                  <a:gd name="csY18" fmla="*/ 159300 h 1250193"/>
                  <a:gd name="csX19" fmla="*/ 290253 w 2161410"/>
                  <a:gd name="csY19" fmla="*/ 301774 h 1250193"/>
                  <a:gd name="csX20" fmla="*/ 229914 w 2161410"/>
                  <a:gd name="csY20" fmla="*/ 348291 h 1250193"/>
                  <a:gd name="csX21" fmla="*/ 215162 w 2161410"/>
                  <a:gd name="csY21" fmla="*/ 359721 h 1250193"/>
                  <a:gd name="csX22" fmla="*/ 201074 w 2161410"/>
                  <a:gd name="csY22" fmla="*/ 372214 h 1250193"/>
                  <a:gd name="csX23" fmla="*/ 173563 w 2161410"/>
                  <a:gd name="csY23" fmla="*/ 397067 h 1250193"/>
                  <a:gd name="csX24" fmla="*/ 82390 w 2161410"/>
                  <a:gd name="csY24" fmla="*/ 495550 h 1250193"/>
                  <a:gd name="csX25" fmla="*/ -12 w 2161410"/>
                  <a:gd name="csY25" fmla="*/ 450096 h 125019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Lst>
                <a:rect l="l" t="t" r="r" b="b"/>
                <a:pathLst>
                  <a:path w="2161410" h="1250193">
                    <a:moveTo>
                      <a:pt x="7564" y="439995"/>
                    </a:moveTo>
                    <a:cubicBezTo>
                      <a:pt x="39927" y="400092"/>
                      <a:pt x="74774" y="362271"/>
                      <a:pt x="111895" y="326760"/>
                    </a:cubicBezTo>
                    <a:cubicBezTo>
                      <a:pt x="121464" y="317457"/>
                      <a:pt x="131963" y="308552"/>
                      <a:pt x="142064" y="299515"/>
                    </a:cubicBezTo>
                    <a:lnTo>
                      <a:pt x="157481" y="286224"/>
                    </a:lnTo>
                    <a:lnTo>
                      <a:pt x="173430" y="273731"/>
                    </a:lnTo>
                    <a:cubicBezTo>
                      <a:pt x="194827" y="256985"/>
                      <a:pt x="216624" y="239973"/>
                      <a:pt x="239085" y="223360"/>
                    </a:cubicBezTo>
                    <a:cubicBezTo>
                      <a:pt x="333540" y="157903"/>
                      <a:pt x="436702" y="106008"/>
                      <a:pt x="545564" y="69190"/>
                    </a:cubicBezTo>
                    <a:cubicBezTo>
                      <a:pt x="777085" y="-9191"/>
                      <a:pt x="1025910" y="-21252"/>
                      <a:pt x="1263916" y="34369"/>
                    </a:cubicBezTo>
                    <a:cubicBezTo>
                      <a:pt x="1386681" y="63159"/>
                      <a:pt x="1504275" y="110723"/>
                      <a:pt x="1612527" y="175381"/>
                    </a:cubicBezTo>
                    <a:cubicBezTo>
                      <a:pt x="1722093" y="240640"/>
                      <a:pt x="1819167" y="324888"/>
                      <a:pt x="1899203" y="424180"/>
                    </a:cubicBezTo>
                    <a:cubicBezTo>
                      <a:pt x="1974719" y="517568"/>
                      <a:pt x="2035165" y="622187"/>
                      <a:pt x="2078359" y="734247"/>
                    </a:cubicBezTo>
                    <a:cubicBezTo>
                      <a:pt x="2098521" y="785913"/>
                      <a:pt x="2115001" y="838942"/>
                      <a:pt x="2127667" y="892936"/>
                    </a:cubicBezTo>
                    <a:cubicBezTo>
                      <a:pt x="2155497" y="1009853"/>
                      <a:pt x="2166196" y="1130198"/>
                      <a:pt x="2159431" y="1250185"/>
                    </a:cubicBezTo>
                    <a:cubicBezTo>
                      <a:pt x="2129487" y="1243766"/>
                      <a:pt x="2098853" y="1241121"/>
                      <a:pt x="2068258" y="1242344"/>
                    </a:cubicBezTo>
                    <a:cubicBezTo>
                      <a:pt x="2074186" y="1132697"/>
                      <a:pt x="2064297" y="1022758"/>
                      <a:pt x="2038886" y="915929"/>
                    </a:cubicBezTo>
                    <a:cubicBezTo>
                      <a:pt x="2002084" y="758576"/>
                      <a:pt x="1930714" y="611390"/>
                      <a:pt x="1829959" y="485050"/>
                    </a:cubicBezTo>
                    <a:cubicBezTo>
                      <a:pt x="1756463" y="394122"/>
                      <a:pt x="1667296" y="317065"/>
                      <a:pt x="1566674" y="257517"/>
                    </a:cubicBezTo>
                    <a:cubicBezTo>
                      <a:pt x="1466357" y="197583"/>
                      <a:pt x="1357362" y="153514"/>
                      <a:pt x="1243582" y="126871"/>
                    </a:cubicBezTo>
                    <a:cubicBezTo>
                      <a:pt x="1021723" y="75092"/>
                      <a:pt x="789817" y="86324"/>
                      <a:pt x="574006" y="159300"/>
                    </a:cubicBezTo>
                    <a:cubicBezTo>
                      <a:pt x="473277" y="193407"/>
                      <a:pt x="377771" y="241357"/>
                      <a:pt x="290253" y="301774"/>
                    </a:cubicBezTo>
                    <a:cubicBezTo>
                      <a:pt x="269653" y="317191"/>
                      <a:pt x="249584" y="332874"/>
                      <a:pt x="229914" y="348291"/>
                    </a:cubicBezTo>
                    <a:lnTo>
                      <a:pt x="215162" y="359721"/>
                    </a:lnTo>
                    <a:lnTo>
                      <a:pt x="201074" y="372214"/>
                    </a:lnTo>
                    <a:cubicBezTo>
                      <a:pt x="191771" y="380587"/>
                      <a:pt x="182334" y="388561"/>
                      <a:pt x="173563" y="397067"/>
                    </a:cubicBezTo>
                    <a:cubicBezTo>
                      <a:pt x="141253" y="428063"/>
                      <a:pt x="110805" y="460948"/>
                      <a:pt x="82390" y="495550"/>
                    </a:cubicBezTo>
                    <a:cubicBezTo>
                      <a:pt x="55184" y="480133"/>
                      <a:pt x="27726" y="464982"/>
                      <a:pt x="-12" y="450096"/>
                    </a:cubicBezTo>
                    <a:close/>
                  </a:path>
                </a:pathLst>
              </a:custGeom>
              <a:solidFill>
                <a:srgbClr val="9665AA"/>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36" name="Freeform: Shape 35">
                <a:extLst>
                  <a:ext uri="{FF2B5EF4-FFF2-40B4-BE49-F238E27FC236}">
                    <a16:creationId xmlns:a16="http://schemas.microsoft.com/office/drawing/2014/main" id="{69387CB5-5AE6-8AF3-A109-1E09BDD6047D}"/>
                  </a:ext>
                </a:extLst>
              </p:cNvPr>
              <p:cNvSpPr/>
              <p:nvPr/>
            </p:nvSpPr>
            <p:spPr>
              <a:xfrm>
                <a:off x="5548161" y="2050373"/>
                <a:ext cx="2041226" cy="1182104"/>
              </a:xfrm>
              <a:custGeom>
                <a:avLst/>
                <a:gdLst>
                  <a:gd name="csX0" fmla="*/ 97275 w 2041226"/>
                  <a:gd name="csY0" fmla="*/ 310107 h 1182104"/>
                  <a:gd name="csX1" fmla="*/ 125451 w 2041226"/>
                  <a:gd name="csY1" fmla="*/ 284456 h 1182104"/>
                  <a:gd name="csX2" fmla="*/ 140070 w 2041226"/>
                  <a:gd name="csY2" fmla="*/ 271165 h 1182104"/>
                  <a:gd name="csX3" fmla="*/ 155089 w 2041226"/>
                  <a:gd name="csY3" fmla="*/ 259337 h 1182104"/>
                  <a:gd name="csX4" fmla="*/ 217155 w 2041226"/>
                  <a:gd name="csY4" fmla="*/ 211624 h 1182104"/>
                  <a:gd name="csX5" fmla="*/ 507952 w 2041226"/>
                  <a:gd name="csY5" fmla="*/ 65428 h 1182104"/>
                  <a:gd name="csX6" fmla="*/ 1192812 w 2041226"/>
                  <a:gd name="csY6" fmla="*/ 33132 h 1182104"/>
                  <a:gd name="csX7" fmla="*/ 1523746 w 2041226"/>
                  <a:gd name="csY7" fmla="*/ 167101 h 1182104"/>
                  <a:gd name="csX8" fmla="*/ 1793809 w 2041226"/>
                  <a:gd name="csY8" fmla="*/ 401412 h 1182104"/>
                  <a:gd name="csX9" fmla="*/ 1962731 w 2041226"/>
                  <a:gd name="csY9" fmla="*/ 693804 h 1182104"/>
                  <a:gd name="csX10" fmla="*/ 2009381 w 2041226"/>
                  <a:gd name="csY10" fmla="*/ 843854 h 1182104"/>
                  <a:gd name="csX11" fmla="*/ 2039551 w 2041226"/>
                  <a:gd name="csY11" fmla="*/ 1177445 h 1182104"/>
                  <a:gd name="csX12" fmla="*/ 1982667 w 2041226"/>
                  <a:gd name="csY12" fmla="*/ 1179705 h 1182104"/>
                  <a:gd name="csX13" fmla="*/ 1947846 w 2041226"/>
                  <a:gd name="csY13" fmla="*/ 1182097 h 1182104"/>
                  <a:gd name="csX14" fmla="*/ 1943460 w 2041226"/>
                  <a:gd name="csY14" fmla="*/ 999353 h 1182104"/>
                  <a:gd name="csX15" fmla="*/ 1920600 w 2041226"/>
                  <a:gd name="csY15" fmla="*/ 866447 h 1182104"/>
                  <a:gd name="csX16" fmla="*/ 1723901 w 2041226"/>
                  <a:gd name="csY16" fmla="*/ 462416 h 1182104"/>
                  <a:gd name="csX17" fmla="*/ 1477893 w 2041226"/>
                  <a:gd name="csY17" fmla="*/ 249103 h 1182104"/>
                  <a:gd name="csX18" fmla="*/ 1172212 w 2041226"/>
                  <a:gd name="csY18" fmla="*/ 125634 h 1182104"/>
                  <a:gd name="csX19" fmla="*/ 536792 w 2041226"/>
                  <a:gd name="csY19" fmla="*/ 156335 h 1182104"/>
                  <a:gd name="csX20" fmla="*/ 268324 w 2041226"/>
                  <a:gd name="csY20" fmla="*/ 290835 h 1182104"/>
                  <a:gd name="csX21" fmla="*/ 211573 w 2041226"/>
                  <a:gd name="csY21" fmla="*/ 334428 h 1182104"/>
                  <a:gd name="csX22" fmla="*/ 198283 w 2041226"/>
                  <a:gd name="csY22" fmla="*/ 345193 h 1182104"/>
                  <a:gd name="csX23" fmla="*/ 184992 w 2041226"/>
                  <a:gd name="csY23" fmla="*/ 356889 h 1182104"/>
                  <a:gd name="csX24" fmla="*/ 159209 w 2041226"/>
                  <a:gd name="csY24" fmla="*/ 380280 h 1182104"/>
                  <a:gd name="csX25" fmla="*/ 81991 w 2041226"/>
                  <a:gd name="csY25" fmla="*/ 462815 h 1182104"/>
                  <a:gd name="csX26" fmla="*/ -12 w 2041226"/>
                  <a:gd name="csY26" fmla="*/ 416032 h 1182104"/>
                  <a:gd name="csX27" fmla="*/ 97275 w 2041226"/>
                  <a:gd name="csY27" fmla="*/ 310107 h 118210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Lst>
                <a:rect l="l" t="t" r="r" b="b"/>
                <a:pathLst>
                  <a:path w="2041226" h="1182104">
                    <a:moveTo>
                      <a:pt x="97275" y="310107"/>
                    </a:moveTo>
                    <a:cubicBezTo>
                      <a:pt x="106180" y="301335"/>
                      <a:pt x="116015" y="293095"/>
                      <a:pt x="125451" y="284456"/>
                    </a:cubicBezTo>
                    <a:lnTo>
                      <a:pt x="140070" y="271165"/>
                    </a:lnTo>
                    <a:lnTo>
                      <a:pt x="155089" y="259337"/>
                    </a:lnTo>
                    <a:cubicBezTo>
                      <a:pt x="175423" y="243521"/>
                      <a:pt x="196024" y="227440"/>
                      <a:pt x="217155" y="211624"/>
                    </a:cubicBezTo>
                    <a:cubicBezTo>
                      <a:pt x="306827" y="149626"/>
                      <a:pt x="404698" y="100421"/>
                      <a:pt x="507952" y="65428"/>
                    </a:cubicBezTo>
                    <a:cubicBezTo>
                      <a:pt x="728760" y="-8995"/>
                      <a:pt x="965983" y="-20181"/>
                      <a:pt x="1192812" y="33132"/>
                    </a:cubicBezTo>
                    <a:cubicBezTo>
                      <a:pt x="1309396" y="60398"/>
                      <a:pt x="1421023" y="105592"/>
                      <a:pt x="1523746" y="167101"/>
                    </a:cubicBezTo>
                    <a:cubicBezTo>
                      <a:pt x="1627066" y="228407"/>
                      <a:pt x="1718545" y="307771"/>
                      <a:pt x="1793809" y="401412"/>
                    </a:cubicBezTo>
                    <a:cubicBezTo>
                      <a:pt x="1865099" y="489415"/>
                      <a:pt x="1922102" y="588086"/>
                      <a:pt x="1962731" y="693804"/>
                    </a:cubicBezTo>
                    <a:cubicBezTo>
                      <a:pt x="1981856" y="742640"/>
                      <a:pt x="1997446" y="792785"/>
                      <a:pt x="2009381" y="843854"/>
                    </a:cubicBezTo>
                    <a:cubicBezTo>
                      <a:pt x="2035377" y="953035"/>
                      <a:pt x="2045531" y="1065380"/>
                      <a:pt x="2039551" y="1177445"/>
                    </a:cubicBezTo>
                    <a:cubicBezTo>
                      <a:pt x="2020558" y="1176595"/>
                      <a:pt x="2001526" y="1177352"/>
                      <a:pt x="1982667" y="1179705"/>
                    </a:cubicBezTo>
                    <a:cubicBezTo>
                      <a:pt x="1971503" y="1181167"/>
                      <a:pt x="1959674" y="1181566"/>
                      <a:pt x="1947846" y="1182097"/>
                    </a:cubicBezTo>
                    <a:cubicBezTo>
                      <a:pt x="1951740" y="1121173"/>
                      <a:pt x="1950265" y="1060024"/>
                      <a:pt x="1943460" y="999353"/>
                    </a:cubicBezTo>
                    <a:cubicBezTo>
                      <a:pt x="1938835" y="954590"/>
                      <a:pt x="1931193" y="910185"/>
                      <a:pt x="1920600" y="866447"/>
                    </a:cubicBezTo>
                    <a:cubicBezTo>
                      <a:pt x="1885859" y="718832"/>
                      <a:pt x="1818662" y="580812"/>
                      <a:pt x="1723901" y="462416"/>
                    </a:cubicBezTo>
                    <a:cubicBezTo>
                      <a:pt x="1655282" y="377206"/>
                      <a:pt x="1571964" y="304963"/>
                      <a:pt x="1477893" y="249103"/>
                    </a:cubicBezTo>
                    <a:cubicBezTo>
                      <a:pt x="1382973" y="192438"/>
                      <a:pt x="1279865" y="150789"/>
                      <a:pt x="1172212" y="125634"/>
                    </a:cubicBezTo>
                    <a:cubicBezTo>
                      <a:pt x="961677" y="76554"/>
                      <a:pt x="741612" y="87186"/>
                      <a:pt x="536792" y="156335"/>
                    </a:cubicBezTo>
                    <a:cubicBezTo>
                      <a:pt x="441512" y="188522"/>
                      <a:pt x="351150" y="233788"/>
                      <a:pt x="268324" y="290835"/>
                    </a:cubicBezTo>
                    <a:lnTo>
                      <a:pt x="211573" y="334428"/>
                    </a:lnTo>
                    <a:lnTo>
                      <a:pt x="198283" y="345193"/>
                    </a:lnTo>
                    <a:lnTo>
                      <a:pt x="184992" y="356889"/>
                    </a:lnTo>
                    <a:cubicBezTo>
                      <a:pt x="176354" y="364731"/>
                      <a:pt x="167449" y="372173"/>
                      <a:pt x="159209" y="380280"/>
                    </a:cubicBezTo>
                    <a:cubicBezTo>
                      <a:pt x="131910" y="406297"/>
                      <a:pt x="106140" y="433853"/>
                      <a:pt x="81991" y="462815"/>
                    </a:cubicBezTo>
                    <a:cubicBezTo>
                      <a:pt x="54706" y="447043"/>
                      <a:pt x="27367" y="431449"/>
                      <a:pt x="-12" y="416032"/>
                    </a:cubicBezTo>
                    <a:cubicBezTo>
                      <a:pt x="30145" y="378704"/>
                      <a:pt x="62640" y="343325"/>
                      <a:pt x="97275" y="310107"/>
                    </a:cubicBezTo>
                    <a:close/>
                  </a:path>
                </a:pathLst>
              </a:custGeom>
              <a:solidFill>
                <a:srgbClr val="1B77AE"/>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37" name="Freeform: Shape 36">
                <a:extLst>
                  <a:ext uri="{FF2B5EF4-FFF2-40B4-BE49-F238E27FC236}">
                    <a16:creationId xmlns:a16="http://schemas.microsoft.com/office/drawing/2014/main" id="{4B4D0371-BC6F-249B-9F48-A866E92B975A}"/>
                  </a:ext>
                </a:extLst>
              </p:cNvPr>
              <p:cNvSpPr/>
              <p:nvPr/>
            </p:nvSpPr>
            <p:spPr>
              <a:xfrm>
                <a:off x="5603583" y="2116006"/>
                <a:ext cx="1923387" cy="1118066"/>
              </a:xfrm>
              <a:custGeom>
                <a:avLst/>
                <a:gdLst>
                  <a:gd name="csX0" fmla="*/ 84250 w 1923387"/>
                  <a:gd name="csY0" fmla="*/ 292851 h 1118066"/>
                  <a:gd name="csX1" fmla="*/ 110831 w 1923387"/>
                  <a:gd name="csY1" fmla="*/ 268795 h 1118066"/>
                  <a:gd name="csX2" fmla="*/ 124122 w 1923387"/>
                  <a:gd name="csY2" fmla="*/ 256700 h 1118066"/>
                  <a:gd name="csX3" fmla="*/ 138343 w 1923387"/>
                  <a:gd name="csY3" fmla="*/ 245669 h 1118066"/>
                  <a:gd name="csX4" fmla="*/ 196688 w 1923387"/>
                  <a:gd name="csY4" fmla="*/ 200747 h 1118066"/>
                  <a:gd name="csX5" fmla="*/ 471802 w 1923387"/>
                  <a:gd name="csY5" fmla="*/ 62659 h 1118066"/>
                  <a:gd name="csX6" fmla="*/ 1123037 w 1923387"/>
                  <a:gd name="csY6" fmla="*/ 31028 h 1118066"/>
                  <a:gd name="csX7" fmla="*/ 1436427 w 1923387"/>
                  <a:gd name="csY7" fmla="*/ 157819 h 1118066"/>
                  <a:gd name="csX8" fmla="*/ 1690807 w 1923387"/>
                  <a:gd name="csY8" fmla="*/ 377644 h 1118066"/>
                  <a:gd name="csX9" fmla="*/ 1893355 w 1923387"/>
                  <a:gd name="csY9" fmla="*/ 793637 h 1118066"/>
                  <a:gd name="csX10" fmla="*/ 1916746 w 1923387"/>
                  <a:gd name="csY10" fmla="*/ 929865 h 1118066"/>
                  <a:gd name="csX11" fmla="*/ 1921398 w 1923387"/>
                  <a:gd name="csY11" fmla="*/ 1114337 h 1118066"/>
                  <a:gd name="csX12" fmla="*/ 1865578 w 1923387"/>
                  <a:gd name="csY12" fmla="*/ 1118059 h 1118066"/>
                  <a:gd name="csX13" fmla="*/ 1829693 w 1923387"/>
                  <a:gd name="csY13" fmla="*/ 1115002 h 1118066"/>
                  <a:gd name="csX14" fmla="*/ 1825839 w 1923387"/>
                  <a:gd name="csY14" fmla="*/ 940763 h 1118066"/>
                  <a:gd name="csX15" fmla="*/ 1804441 w 1923387"/>
                  <a:gd name="csY15" fmla="*/ 816497 h 1118066"/>
                  <a:gd name="csX16" fmla="*/ 1764570 w 1923387"/>
                  <a:gd name="csY16" fmla="*/ 687978 h 1118066"/>
                  <a:gd name="csX17" fmla="*/ 1620767 w 1923387"/>
                  <a:gd name="csY17" fmla="*/ 438913 h 1118066"/>
                  <a:gd name="csX18" fmla="*/ 1391372 w 1923387"/>
                  <a:gd name="csY18" fmla="*/ 239556 h 1118066"/>
                  <a:gd name="csX19" fmla="*/ 1103633 w 1923387"/>
                  <a:gd name="csY19" fmla="*/ 123131 h 1118066"/>
                  <a:gd name="csX20" fmla="*/ 500376 w 1923387"/>
                  <a:gd name="csY20" fmla="*/ 153566 h 1118066"/>
                  <a:gd name="csX21" fmla="*/ 247856 w 1923387"/>
                  <a:gd name="csY21" fmla="*/ 280092 h 1118066"/>
                  <a:gd name="csX22" fmla="*/ 194694 w 1923387"/>
                  <a:gd name="csY22" fmla="*/ 320894 h 1118066"/>
                  <a:gd name="csX23" fmla="*/ 181404 w 1923387"/>
                  <a:gd name="csY23" fmla="*/ 330994 h 1118066"/>
                  <a:gd name="csX24" fmla="*/ 169177 w 1923387"/>
                  <a:gd name="csY24" fmla="*/ 341893 h 1118066"/>
                  <a:gd name="csX25" fmla="*/ 145121 w 1923387"/>
                  <a:gd name="csY25" fmla="*/ 363556 h 1118066"/>
                  <a:gd name="csX26" fmla="*/ 81326 w 1923387"/>
                  <a:gd name="csY26" fmla="*/ 430806 h 1118066"/>
                  <a:gd name="csX27" fmla="*/ -12 w 1923387"/>
                  <a:gd name="csY27" fmla="*/ 383226 h 1118066"/>
                  <a:gd name="csX28" fmla="*/ 84250 w 1923387"/>
                  <a:gd name="csY28" fmla="*/ 292851 h 111806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Lst>
                <a:rect l="l" t="t" r="r" b="b"/>
                <a:pathLst>
                  <a:path w="1923387" h="1118066">
                    <a:moveTo>
                      <a:pt x="84250" y="292851"/>
                    </a:moveTo>
                    <a:cubicBezTo>
                      <a:pt x="92623" y="284478"/>
                      <a:pt x="101927" y="276902"/>
                      <a:pt x="110831" y="268795"/>
                    </a:cubicBezTo>
                    <a:lnTo>
                      <a:pt x="124122" y="256700"/>
                    </a:lnTo>
                    <a:lnTo>
                      <a:pt x="138343" y="245669"/>
                    </a:lnTo>
                    <a:cubicBezTo>
                      <a:pt x="157481" y="230784"/>
                      <a:pt x="176885" y="215633"/>
                      <a:pt x="196688" y="200747"/>
                    </a:cubicBezTo>
                    <a:cubicBezTo>
                      <a:pt x="281548" y="142184"/>
                      <a:pt x="374143" y="95709"/>
                      <a:pt x="471802" y="62659"/>
                    </a:cubicBezTo>
                    <a:cubicBezTo>
                      <a:pt x="681712" y="-8278"/>
                      <a:pt x="907239" y="-19233"/>
                      <a:pt x="1123037" y="31028"/>
                    </a:cubicBezTo>
                    <a:cubicBezTo>
                      <a:pt x="1233441" y="56806"/>
                      <a:pt x="1339167" y="99579"/>
                      <a:pt x="1436427" y="157819"/>
                    </a:cubicBezTo>
                    <a:cubicBezTo>
                      <a:pt x="1533687" y="215290"/>
                      <a:pt x="1619850" y="289745"/>
                      <a:pt x="1690807" y="377644"/>
                    </a:cubicBezTo>
                    <a:cubicBezTo>
                      <a:pt x="1788346" y="499570"/>
                      <a:pt x="1857524" y="641667"/>
                      <a:pt x="1893355" y="793637"/>
                    </a:cubicBezTo>
                    <a:cubicBezTo>
                      <a:pt x="1904107" y="838490"/>
                      <a:pt x="1911922" y="883999"/>
                      <a:pt x="1916746" y="929865"/>
                    </a:cubicBezTo>
                    <a:cubicBezTo>
                      <a:pt x="1923578" y="991108"/>
                      <a:pt x="1925133" y="1052829"/>
                      <a:pt x="1921398" y="1114337"/>
                    </a:cubicBezTo>
                    <a:cubicBezTo>
                      <a:pt x="1903190" y="1116065"/>
                      <a:pt x="1883653" y="1115666"/>
                      <a:pt x="1865578" y="1118059"/>
                    </a:cubicBezTo>
                    <a:cubicBezTo>
                      <a:pt x="1853616" y="1117261"/>
                      <a:pt x="1841655" y="1116198"/>
                      <a:pt x="1829693" y="1115002"/>
                    </a:cubicBezTo>
                    <a:cubicBezTo>
                      <a:pt x="1833441" y="1056922"/>
                      <a:pt x="1832152" y="998617"/>
                      <a:pt x="1825839" y="940763"/>
                    </a:cubicBezTo>
                    <a:cubicBezTo>
                      <a:pt x="1821440" y="898911"/>
                      <a:pt x="1814289" y="857405"/>
                      <a:pt x="1804441" y="816497"/>
                    </a:cubicBezTo>
                    <a:cubicBezTo>
                      <a:pt x="1794221" y="772763"/>
                      <a:pt x="1780904" y="729815"/>
                      <a:pt x="1764570" y="687978"/>
                    </a:cubicBezTo>
                    <a:cubicBezTo>
                      <a:pt x="1730001" y="597926"/>
                      <a:pt x="1681478" y="513876"/>
                      <a:pt x="1620767" y="438913"/>
                    </a:cubicBezTo>
                    <a:cubicBezTo>
                      <a:pt x="1556852" y="359263"/>
                      <a:pt x="1479156" y="291738"/>
                      <a:pt x="1391372" y="239556"/>
                    </a:cubicBezTo>
                    <a:cubicBezTo>
                      <a:pt x="1302073" y="186064"/>
                      <a:pt x="1204999" y="146785"/>
                      <a:pt x="1103633" y="123131"/>
                    </a:cubicBezTo>
                    <a:cubicBezTo>
                      <a:pt x="903637" y="76953"/>
                      <a:pt x="694710" y="87492"/>
                      <a:pt x="500376" y="153566"/>
                    </a:cubicBezTo>
                    <a:cubicBezTo>
                      <a:pt x="410758" y="183867"/>
                      <a:pt x="325779" y="226447"/>
                      <a:pt x="247856" y="280092"/>
                    </a:cubicBezTo>
                    <a:lnTo>
                      <a:pt x="194694" y="320894"/>
                    </a:lnTo>
                    <a:lnTo>
                      <a:pt x="181404" y="330994"/>
                    </a:lnTo>
                    <a:lnTo>
                      <a:pt x="169177" y="341893"/>
                    </a:lnTo>
                    <a:cubicBezTo>
                      <a:pt x="161069" y="349202"/>
                      <a:pt x="152829" y="356114"/>
                      <a:pt x="145121" y="363556"/>
                    </a:cubicBezTo>
                    <a:cubicBezTo>
                      <a:pt x="122128" y="385486"/>
                      <a:pt x="100996" y="408079"/>
                      <a:pt x="81326" y="430806"/>
                    </a:cubicBezTo>
                    <a:cubicBezTo>
                      <a:pt x="54745" y="414725"/>
                      <a:pt x="27234" y="398776"/>
                      <a:pt x="-12" y="383226"/>
                    </a:cubicBezTo>
                    <a:cubicBezTo>
                      <a:pt x="26304" y="351496"/>
                      <a:pt x="54440" y="321322"/>
                      <a:pt x="84250" y="292851"/>
                    </a:cubicBezTo>
                    <a:close/>
                  </a:path>
                </a:pathLst>
              </a:custGeom>
              <a:solidFill>
                <a:srgbClr val="00A6E1"/>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38" name="Freeform: Shape 37">
                <a:extLst>
                  <a:ext uri="{FF2B5EF4-FFF2-40B4-BE49-F238E27FC236}">
                    <a16:creationId xmlns:a16="http://schemas.microsoft.com/office/drawing/2014/main" id="{BCA88351-B8D6-FFB8-842D-4442635F502C}"/>
                  </a:ext>
                </a:extLst>
              </p:cNvPr>
              <p:cNvSpPr/>
              <p:nvPr/>
            </p:nvSpPr>
            <p:spPr>
              <a:xfrm>
                <a:off x="5660599" y="2181415"/>
                <a:ext cx="1802862" cy="1052125"/>
              </a:xfrm>
              <a:custGeom>
                <a:avLst/>
                <a:gdLst>
                  <a:gd name="csX0" fmla="*/ 69631 w 1802862"/>
                  <a:gd name="csY0" fmla="*/ 275686 h 1052125"/>
                  <a:gd name="csX1" fmla="*/ 94351 w 1802862"/>
                  <a:gd name="csY1" fmla="*/ 253225 h 1052125"/>
                  <a:gd name="csX2" fmla="*/ 107641 w 1802862"/>
                  <a:gd name="csY2" fmla="*/ 242061 h 1052125"/>
                  <a:gd name="csX3" fmla="*/ 120932 w 1802862"/>
                  <a:gd name="csY3" fmla="*/ 231694 h 1052125"/>
                  <a:gd name="csX4" fmla="*/ 175689 w 1802862"/>
                  <a:gd name="csY4" fmla="*/ 189564 h 1052125"/>
                  <a:gd name="csX5" fmla="*/ 435120 w 1802862"/>
                  <a:gd name="csY5" fmla="*/ 59317 h 1052125"/>
                  <a:gd name="csX6" fmla="*/ 1052863 w 1802862"/>
                  <a:gd name="csY6" fmla="*/ 29413 h 1052125"/>
                  <a:gd name="csX7" fmla="*/ 1348709 w 1802862"/>
                  <a:gd name="csY7" fmla="*/ 149028 h 1052125"/>
                  <a:gd name="csX8" fmla="*/ 1585015 w 1802862"/>
                  <a:gd name="csY8" fmla="*/ 353967 h 1052125"/>
                  <a:gd name="csX9" fmla="*/ 1774671 w 1802862"/>
                  <a:gd name="csY9" fmla="*/ 743911 h 1052125"/>
                  <a:gd name="csX10" fmla="*/ 1796733 w 1802862"/>
                  <a:gd name="csY10" fmla="*/ 871899 h 1052125"/>
                  <a:gd name="csX11" fmla="*/ 1800720 w 1802862"/>
                  <a:gd name="csY11" fmla="*/ 1052118 h 1052125"/>
                  <a:gd name="csX12" fmla="*/ 1709680 w 1802862"/>
                  <a:gd name="csY12" fmla="*/ 1042682 h 1052125"/>
                  <a:gd name="csX13" fmla="*/ 1705826 w 1802862"/>
                  <a:gd name="csY13" fmla="*/ 883195 h 1052125"/>
                  <a:gd name="csX14" fmla="*/ 1685890 w 1802862"/>
                  <a:gd name="csY14" fmla="*/ 767302 h 1052125"/>
                  <a:gd name="csX15" fmla="*/ 1648676 w 1802862"/>
                  <a:gd name="csY15" fmla="*/ 647688 h 1052125"/>
                  <a:gd name="csX16" fmla="*/ 1515107 w 1802862"/>
                  <a:gd name="csY16" fmla="*/ 416167 h 1052125"/>
                  <a:gd name="csX17" fmla="*/ 1302459 w 1802862"/>
                  <a:gd name="csY17" fmla="*/ 231827 h 1052125"/>
                  <a:gd name="csX18" fmla="*/ 1032130 w 1802862"/>
                  <a:gd name="csY18" fmla="*/ 122579 h 1052125"/>
                  <a:gd name="csX19" fmla="*/ 463163 w 1802862"/>
                  <a:gd name="csY19" fmla="*/ 150091 h 1052125"/>
                  <a:gd name="csX20" fmla="*/ 226459 w 1802862"/>
                  <a:gd name="csY20" fmla="*/ 268642 h 1052125"/>
                  <a:gd name="csX21" fmla="*/ 177018 w 1802862"/>
                  <a:gd name="csY21" fmla="*/ 306786 h 1052125"/>
                  <a:gd name="csX22" fmla="*/ 164924 w 1802862"/>
                  <a:gd name="csY22" fmla="*/ 316222 h 1052125"/>
                  <a:gd name="csX23" fmla="*/ 153627 w 1802862"/>
                  <a:gd name="csY23" fmla="*/ 326323 h 1052125"/>
                  <a:gd name="csX24" fmla="*/ 131299 w 1802862"/>
                  <a:gd name="csY24" fmla="*/ 346392 h 1052125"/>
                  <a:gd name="csX25" fmla="*/ 80795 w 1802862"/>
                  <a:gd name="csY25" fmla="*/ 399554 h 1052125"/>
                  <a:gd name="csX26" fmla="*/ -12 w 1802862"/>
                  <a:gd name="csY26" fmla="*/ 350778 h 1052125"/>
                  <a:gd name="csX27" fmla="*/ 69631 w 1802862"/>
                  <a:gd name="csY27" fmla="*/ 275686 h 105212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Lst>
                <a:rect l="l" t="t" r="r" b="b"/>
                <a:pathLst>
                  <a:path w="1802862" h="1052125">
                    <a:moveTo>
                      <a:pt x="69631" y="275686"/>
                    </a:moveTo>
                    <a:cubicBezTo>
                      <a:pt x="77605" y="267978"/>
                      <a:pt x="86111" y="260801"/>
                      <a:pt x="94351" y="253225"/>
                    </a:cubicBezTo>
                    <a:lnTo>
                      <a:pt x="107641" y="242061"/>
                    </a:lnTo>
                    <a:lnTo>
                      <a:pt x="120932" y="231694"/>
                    </a:lnTo>
                    <a:lnTo>
                      <a:pt x="175689" y="189564"/>
                    </a:lnTo>
                    <a:cubicBezTo>
                      <a:pt x="255751" y="134395"/>
                      <a:pt x="343056" y="90564"/>
                      <a:pt x="435120" y="59317"/>
                    </a:cubicBezTo>
                    <a:cubicBezTo>
                      <a:pt x="634251" y="-7858"/>
                      <a:pt x="848176" y="-18212"/>
                      <a:pt x="1052863" y="29413"/>
                    </a:cubicBezTo>
                    <a:cubicBezTo>
                      <a:pt x="1157047" y="53806"/>
                      <a:pt x="1256846" y="94155"/>
                      <a:pt x="1348709" y="149028"/>
                    </a:cubicBezTo>
                    <a:cubicBezTo>
                      <a:pt x="1439058" y="202716"/>
                      <a:pt x="1519080" y="272120"/>
                      <a:pt x="1585015" y="353967"/>
                    </a:cubicBezTo>
                    <a:cubicBezTo>
                      <a:pt x="1676414" y="468244"/>
                      <a:pt x="1741205" y="601454"/>
                      <a:pt x="1774671" y="743911"/>
                    </a:cubicBezTo>
                    <a:cubicBezTo>
                      <a:pt x="1784798" y="786042"/>
                      <a:pt x="1792174" y="828797"/>
                      <a:pt x="1796733" y="871899"/>
                    </a:cubicBezTo>
                    <a:cubicBezTo>
                      <a:pt x="1803218" y="931746"/>
                      <a:pt x="1804547" y="992045"/>
                      <a:pt x="1800720" y="1052118"/>
                    </a:cubicBezTo>
                    <a:cubicBezTo>
                      <a:pt x="1770284" y="1049726"/>
                      <a:pt x="1739982" y="1046403"/>
                      <a:pt x="1709680" y="1042682"/>
                    </a:cubicBezTo>
                    <a:cubicBezTo>
                      <a:pt x="1712870" y="989506"/>
                      <a:pt x="1711580" y="936158"/>
                      <a:pt x="1705826" y="883195"/>
                    </a:cubicBezTo>
                    <a:cubicBezTo>
                      <a:pt x="1701745" y="844161"/>
                      <a:pt x="1695087" y="805446"/>
                      <a:pt x="1685890" y="767302"/>
                    </a:cubicBezTo>
                    <a:cubicBezTo>
                      <a:pt x="1676347" y="726596"/>
                      <a:pt x="1663907" y="686622"/>
                      <a:pt x="1648676" y="647688"/>
                    </a:cubicBezTo>
                    <a:cubicBezTo>
                      <a:pt x="1616487" y="564025"/>
                      <a:pt x="1571419" y="485907"/>
                      <a:pt x="1515107" y="416167"/>
                    </a:cubicBezTo>
                    <a:cubicBezTo>
                      <a:pt x="1455844" y="342468"/>
                      <a:pt x="1383823" y="280028"/>
                      <a:pt x="1302459" y="231827"/>
                    </a:cubicBezTo>
                    <a:cubicBezTo>
                      <a:pt x="1218529" y="181680"/>
                      <a:pt x="1127343" y="144828"/>
                      <a:pt x="1032130" y="122579"/>
                    </a:cubicBezTo>
                    <a:cubicBezTo>
                      <a:pt x="843590" y="78761"/>
                      <a:pt x="646585" y="88286"/>
                      <a:pt x="463163" y="150091"/>
                    </a:cubicBezTo>
                    <a:cubicBezTo>
                      <a:pt x="379193" y="178544"/>
                      <a:pt x="299543" y="218437"/>
                      <a:pt x="226459" y="268642"/>
                    </a:cubicBezTo>
                    <a:lnTo>
                      <a:pt x="177018" y="306786"/>
                    </a:lnTo>
                    <a:lnTo>
                      <a:pt x="164924" y="316222"/>
                    </a:lnTo>
                    <a:lnTo>
                      <a:pt x="153627" y="326323"/>
                    </a:lnTo>
                    <a:cubicBezTo>
                      <a:pt x="146184" y="333101"/>
                      <a:pt x="138476" y="339613"/>
                      <a:pt x="131299" y="346392"/>
                    </a:cubicBezTo>
                    <a:cubicBezTo>
                      <a:pt x="113357" y="363403"/>
                      <a:pt x="96610" y="381080"/>
                      <a:pt x="80795" y="399554"/>
                    </a:cubicBezTo>
                    <a:cubicBezTo>
                      <a:pt x="54214" y="383073"/>
                      <a:pt x="27274" y="366815"/>
                      <a:pt x="-12" y="350778"/>
                    </a:cubicBezTo>
                    <a:cubicBezTo>
                      <a:pt x="21865" y="324545"/>
                      <a:pt x="45123" y="299479"/>
                      <a:pt x="69631" y="275686"/>
                    </a:cubicBezTo>
                    <a:close/>
                  </a:path>
                </a:pathLst>
              </a:custGeom>
              <a:solidFill>
                <a:srgbClr val="A5BF2D"/>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39" name="Freeform: Shape 38">
                <a:extLst>
                  <a:ext uri="{FF2B5EF4-FFF2-40B4-BE49-F238E27FC236}">
                    <a16:creationId xmlns:a16="http://schemas.microsoft.com/office/drawing/2014/main" id="{00834BD1-847F-D22D-FCE8-BF1BB602A5C5}"/>
                  </a:ext>
                </a:extLst>
              </p:cNvPr>
              <p:cNvSpPr/>
              <p:nvPr/>
            </p:nvSpPr>
            <p:spPr>
              <a:xfrm>
                <a:off x="5716951" y="2246356"/>
                <a:ext cx="1683554" cy="981071"/>
              </a:xfrm>
              <a:custGeom>
                <a:avLst/>
                <a:gdLst>
                  <a:gd name="csX0" fmla="*/ 55676 w 1683554"/>
                  <a:gd name="csY0" fmla="*/ 259123 h 981071"/>
                  <a:gd name="csX1" fmla="*/ 78668 w 1683554"/>
                  <a:gd name="csY1" fmla="*/ 238257 h 981071"/>
                  <a:gd name="csX2" fmla="*/ 90364 w 1683554"/>
                  <a:gd name="csY2" fmla="*/ 227757 h 981071"/>
                  <a:gd name="csX3" fmla="*/ 102990 w 1683554"/>
                  <a:gd name="csY3" fmla="*/ 218188 h 981071"/>
                  <a:gd name="csX4" fmla="*/ 154158 w 1683554"/>
                  <a:gd name="csY4" fmla="*/ 178316 h 981071"/>
                  <a:gd name="csX5" fmla="*/ 397774 w 1683554"/>
                  <a:gd name="csY5" fmla="*/ 56177 h 981071"/>
                  <a:gd name="csX6" fmla="*/ 982556 w 1683554"/>
                  <a:gd name="csY6" fmla="*/ 27868 h 981071"/>
                  <a:gd name="csX7" fmla="*/ 1480950 w 1683554"/>
                  <a:gd name="csY7" fmla="*/ 331290 h 981071"/>
                  <a:gd name="csX8" fmla="*/ 1657182 w 1683554"/>
                  <a:gd name="csY8" fmla="*/ 694786 h 981071"/>
                  <a:gd name="csX9" fmla="*/ 1677783 w 1683554"/>
                  <a:gd name="csY9" fmla="*/ 814400 h 981071"/>
                  <a:gd name="csX10" fmla="*/ 1681637 w 1683554"/>
                  <a:gd name="csY10" fmla="*/ 981064 h 981071"/>
                  <a:gd name="csX11" fmla="*/ 1630601 w 1683554"/>
                  <a:gd name="csY11" fmla="*/ 975083 h 981071"/>
                  <a:gd name="csX12" fmla="*/ 1590730 w 1683554"/>
                  <a:gd name="csY12" fmla="*/ 970564 h 981071"/>
                  <a:gd name="csX13" fmla="*/ 1587009 w 1683554"/>
                  <a:gd name="csY13" fmla="*/ 825166 h 981071"/>
                  <a:gd name="csX14" fmla="*/ 1568535 w 1683554"/>
                  <a:gd name="csY14" fmla="*/ 717646 h 981071"/>
                  <a:gd name="csX15" fmla="*/ 1533980 w 1683554"/>
                  <a:gd name="csY15" fmla="*/ 606670 h 981071"/>
                  <a:gd name="csX16" fmla="*/ 1410644 w 1683554"/>
                  <a:gd name="csY16" fmla="*/ 392825 h 981071"/>
                  <a:gd name="csX17" fmla="*/ 1214342 w 1683554"/>
                  <a:gd name="csY17" fmla="*/ 222574 h 981071"/>
                  <a:gd name="csX18" fmla="*/ 961823 w 1683554"/>
                  <a:gd name="csY18" fmla="*/ 120503 h 981071"/>
                  <a:gd name="csX19" fmla="*/ 426215 w 1683554"/>
                  <a:gd name="csY19" fmla="*/ 146419 h 981071"/>
                  <a:gd name="csX20" fmla="*/ 205460 w 1683554"/>
                  <a:gd name="csY20" fmla="*/ 256996 h 981071"/>
                  <a:gd name="csX21" fmla="*/ 159608 w 1683554"/>
                  <a:gd name="csY21" fmla="*/ 292349 h 981071"/>
                  <a:gd name="csX22" fmla="*/ 148311 w 1683554"/>
                  <a:gd name="csY22" fmla="*/ 300988 h 981071"/>
                  <a:gd name="csX23" fmla="*/ 137811 w 1683554"/>
                  <a:gd name="csY23" fmla="*/ 310291 h 981071"/>
                  <a:gd name="csX24" fmla="*/ 117477 w 1683554"/>
                  <a:gd name="csY24" fmla="*/ 328765 h 981071"/>
                  <a:gd name="csX25" fmla="*/ 79732 w 1683554"/>
                  <a:gd name="csY25" fmla="*/ 367308 h 981071"/>
                  <a:gd name="csX26" fmla="*/ -12 w 1683554"/>
                  <a:gd name="csY26" fmla="*/ 317734 h 981071"/>
                  <a:gd name="csX27" fmla="*/ 55676 w 1683554"/>
                  <a:gd name="csY27" fmla="*/ 259123 h 98107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Lst>
                <a:rect l="l" t="t" r="r" b="b"/>
                <a:pathLst>
                  <a:path w="1683554" h="981071">
                    <a:moveTo>
                      <a:pt x="55676" y="259123"/>
                    </a:moveTo>
                    <a:cubicBezTo>
                      <a:pt x="62986" y="251813"/>
                      <a:pt x="70960" y="245832"/>
                      <a:pt x="78668" y="238257"/>
                    </a:cubicBezTo>
                    <a:lnTo>
                      <a:pt x="90364" y="227757"/>
                    </a:lnTo>
                    <a:lnTo>
                      <a:pt x="102990" y="218188"/>
                    </a:lnTo>
                    <a:lnTo>
                      <a:pt x="154158" y="178316"/>
                    </a:lnTo>
                    <a:cubicBezTo>
                      <a:pt x="229329" y="126553"/>
                      <a:pt x="311319" y="85449"/>
                      <a:pt x="397774" y="56177"/>
                    </a:cubicBezTo>
                    <a:cubicBezTo>
                      <a:pt x="586273" y="-7448"/>
                      <a:pt x="788794" y="-17251"/>
                      <a:pt x="982556" y="27868"/>
                    </a:cubicBezTo>
                    <a:cubicBezTo>
                      <a:pt x="1178857" y="73986"/>
                      <a:pt x="1361867" y="180576"/>
                      <a:pt x="1480950" y="331290"/>
                    </a:cubicBezTo>
                    <a:cubicBezTo>
                      <a:pt x="1565943" y="437871"/>
                      <a:pt x="1626149" y="562042"/>
                      <a:pt x="1657182" y="694786"/>
                    </a:cubicBezTo>
                    <a:cubicBezTo>
                      <a:pt x="1666645" y="734166"/>
                      <a:pt x="1673530" y="774117"/>
                      <a:pt x="1677783" y="814400"/>
                    </a:cubicBezTo>
                    <a:cubicBezTo>
                      <a:pt x="1683830" y="869742"/>
                      <a:pt x="1685119" y="925496"/>
                      <a:pt x="1681637" y="981064"/>
                    </a:cubicBezTo>
                    <a:lnTo>
                      <a:pt x="1630601" y="975083"/>
                    </a:lnTo>
                    <a:cubicBezTo>
                      <a:pt x="1617311" y="973488"/>
                      <a:pt x="1604020" y="971893"/>
                      <a:pt x="1590730" y="970564"/>
                    </a:cubicBezTo>
                    <a:cubicBezTo>
                      <a:pt x="1593587" y="922080"/>
                      <a:pt x="1592351" y="873437"/>
                      <a:pt x="1587009" y="825166"/>
                    </a:cubicBezTo>
                    <a:cubicBezTo>
                      <a:pt x="1583221" y="788962"/>
                      <a:pt x="1577054" y="753038"/>
                      <a:pt x="1568535" y="717646"/>
                    </a:cubicBezTo>
                    <a:cubicBezTo>
                      <a:pt x="1559697" y="679870"/>
                      <a:pt x="1548147" y="642781"/>
                      <a:pt x="1533980" y="606670"/>
                    </a:cubicBezTo>
                    <a:cubicBezTo>
                      <a:pt x="1504302" y="529377"/>
                      <a:pt x="1462689" y="457219"/>
                      <a:pt x="1410644" y="392825"/>
                    </a:cubicBezTo>
                    <a:cubicBezTo>
                      <a:pt x="1355993" y="324714"/>
                      <a:pt x="1289500" y="267037"/>
                      <a:pt x="1214342" y="222574"/>
                    </a:cubicBezTo>
                    <a:cubicBezTo>
                      <a:pt x="1135915" y="175785"/>
                      <a:pt x="1050736" y="141358"/>
                      <a:pt x="961823" y="120503"/>
                    </a:cubicBezTo>
                    <a:cubicBezTo>
                      <a:pt x="784341" y="79301"/>
                      <a:pt x="598885" y="88273"/>
                      <a:pt x="426215" y="146419"/>
                    </a:cubicBezTo>
                    <a:cubicBezTo>
                      <a:pt x="347868" y="172890"/>
                      <a:pt x="273574" y="210103"/>
                      <a:pt x="205460" y="256996"/>
                    </a:cubicBezTo>
                    <a:lnTo>
                      <a:pt x="159608" y="292349"/>
                    </a:lnTo>
                    <a:lnTo>
                      <a:pt x="148311" y="300988"/>
                    </a:lnTo>
                    <a:lnTo>
                      <a:pt x="137811" y="310291"/>
                    </a:lnTo>
                    <a:cubicBezTo>
                      <a:pt x="131033" y="316538"/>
                      <a:pt x="124521" y="322386"/>
                      <a:pt x="117477" y="328765"/>
                    </a:cubicBezTo>
                    <a:cubicBezTo>
                      <a:pt x="104186" y="342056"/>
                      <a:pt x="91693" y="354283"/>
                      <a:pt x="79732" y="367308"/>
                    </a:cubicBezTo>
                    <a:cubicBezTo>
                      <a:pt x="53151" y="350694"/>
                      <a:pt x="26569" y="334081"/>
                      <a:pt x="-12" y="317734"/>
                    </a:cubicBezTo>
                    <a:cubicBezTo>
                      <a:pt x="16867" y="298064"/>
                      <a:pt x="35740" y="278261"/>
                      <a:pt x="55676" y="259123"/>
                    </a:cubicBezTo>
                    <a:close/>
                  </a:path>
                </a:pathLst>
              </a:custGeom>
              <a:solidFill>
                <a:srgbClr val="FFE57F"/>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40" name="Freeform: Shape 39">
                <a:extLst>
                  <a:ext uri="{FF2B5EF4-FFF2-40B4-BE49-F238E27FC236}">
                    <a16:creationId xmlns:a16="http://schemas.microsoft.com/office/drawing/2014/main" id="{34FD3327-6C8D-EBE7-14B5-F683B12F1DDD}"/>
                  </a:ext>
                </a:extLst>
              </p:cNvPr>
              <p:cNvSpPr/>
              <p:nvPr/>
            </p:nvSpPr>
            <p:spPr>
              <a:xfrm>
                <a:off x="5771973" y="2312275"/>
                <a:ext cx="1565522" cy="907842"/>
              </a:xfrm>
              <a:custGeom>
                <a:avLst/>
                <a:gdLst>
                  <a:gd name="csX0" fmla="*/ 43050 w 1565522"/>
                  <a:gd name="csY0" fmla="*/ 241448 h 907842"/>
                  <a:gd name="csX1" fmla="*/ 64314 w 1565522"/>
                  <a:gd name="csY1" fmla="*/ 222310 h 907842"/>
                  <a:gd name="csX2" fmla="*/ 75213 w 1565522"/>
                  <a:gd name="csY2" fmla="*/ 212608 h 907842"/>
                  <a:gd name="csX3" fmla="*/ 86775 w 1565522"/>
                  <a:gd name="csY3" fmla="*/ 203703 h 907842"/>
                  <a:gd name="csX4" fmla="*/ 134356 w 1565522"/>
                  <a:gd name="csY4" fmla="*/ 167021 h 907842"/>
                  <a:gd name="csX5" fmla="*/ 362288 w 1565522"/>
                  <a:gd name="csY5" fmla="*/ 52856 h 907842"/>
                  <a:gd name="csX6" fmla="*/ 912914 w 1565522"/>
                  <a:gd name="csY6" fmla="*/ 26275 h 907842"/>
                  <a:gd name="csX7" fmla="*/ 1173541 w 1565522"/>
                  <a:gd name="csY7" fmla="*/ 131536 h 907842"/>
                  <a:gd name="csX8" fmla="*/ 1377284 w 1565522"/>
                  <a:gd name="csY8" fmla="*/ 307901 h 907842"/>
                  <a:gd name="csX9" fmla="*/ 1505272 w 1565522"/>
                  <a:gd name="csY9" fmla="*/ 529719 h 907842"/>
                  <a:gd name="csX10" fmla="*/ 1541023 w 1565522"/>
                  <a:gd name="csY10" fmla="*/ 644682 h 907842"/>
                  <a:gd name="csX11" fmla="*/ 1560162 w 1565522"/>
                  <a:gd name="csY11" fmla="*/ 755924 h 907842"/>
                  <a:gd name="csX12" fmla="*/ 1564016 w 1565522"/>
                  <a:gd name="csY12" fmla="*/ 907834 h 907842"/>
                  <a:gd name="csX13" fmla="*/ 1472843 w 1565522"/>
                  <a:gd name="csY13" fmla="*/ 898797 h 907842"/>
                  <a:gd name="csX14" fmla="*/ 1469255 w 1565522"/>
                  <a:gd name="csY14" fmla="*/ 766689 h 907842"/>
                  <a:gd name="csX15" fmla="*/ 1452243 w 1565522"/>
                  <a:gd name="csY15" fmla="*/ 667542 h 907842"/>
                  <a:gd name="csX16" fmla="*/ 1420478 w 1565522"/>
                  <a:gd name="csY16" fmla="*/ 565338 h 907842"/>
                  <a:gd name="csX17" fmla="*/ 1307243 w 1565522"/>
                  <a:gd name="csY17" fmla="*/ 369303 h 907842"/>
                  <a:gd name="csX18" fmla="*/ 1127688 w 1565522"/>
                  <a:gd name="csY18" fmla="*/ 213804 h 907842"/>
                  <a:gd name="csX19" fmla="*/ 892712 w 1565522"/>
                  <a:gd name="csY19" fmla="*/ 118910 h 907842"/>
                  <a:gd name="csX20" fmla="*/ 390597 w 1565522"/>
                  <a:gd name="csY20" fmla="*/ 143364 h 907842"/>
                  <a:gd name="csX21" fmla="*/ 185524 w 1565522"/>
                  <a:gd name="csY21" fmla="*/ 245967 h 907842"/>
                  <a:gd name="csX22" fmla="*/ 143260 w 1565522"/>
                  <a:gd name="csY22" fmla="*/ 278529 h 907842"/>
                  <a:gd name="csX23" fmla="*/ 132894 w 1565522"/>
                  <a:gd name="csY23" fmla="*/ 286503 h 907842"/>
                  <a:gd name="csX24" fmla="*/ 123324 w 1565522"/>
                  <a:gd name="csY24" fmla="*/ 295009 h 907842"/>
                  <a:gd name="csX25" fmla="*/ 104718 w 1565522"/>
                  <a:gd name="csY25" fmla="*/ 311888 h 907842"/>
                  <a:gd name="csX26" fmla="*/ 79732 w 1565522"/>
                  <a:gd name="csY26" fmla="*/ 337007 h 907842"/>
                  <a:gd name="csX27" fmla="*/ -12 w 1565522"/>
                  <a:gd name="csY27" fmla="*/ 286503 h 907842"/>
                  <a:gd name="csX28" fmla="*/ 43050 w 1565522"/>
                  <a:gd name="csY28" fmla="*/ 241448 h 90784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Lst>
                <a:rect l="l" t="t" r="r" b="b"/>
                <a:pathLst>
                  <a:path w="1565522" h="907842">
                    <a:moveTo>
                      <a:pt x="43050" y="241448"/>
                    </a:moveTo>
                    <a:cubicBezTo>
                      <a:pt x="49828" y="234803"/>
                      <a:pt x="57271" y="228157"/>
                      <a:pt x="64314" y="222310"/>
                    </a:cubicBezTo>
                    <a:lnTo>
                      <a:pt x="75213" y="212608"/>
                    </a:lnTo>
                    <a:lnTo>
                      <a:pt x="86775" y="203703"/>
                    </a:lnTo>
                    <a:lnTo>
                      <a:pt x="134356" y="167021"/>
                    </a:lnTo>
                    <a:cubicBezTo>
                      <a:pt x="204702" y="118644"/>
                      <a:pt x="281415" y="80225"/>
                      <a:pt x="362288" y="52856"/>
                    </a:cubicBezTo>
                    <a:cubicBezTo>
                      <a:pt x="539783" y="-7034"/>
                      <a:pt x="730475" y="-16239"/>
                      <a:pt x="912914" y="26275"/>
                    </a:cubicBezTo>
                    <a:cubicBezTo>
                      <a:pt x="1004725" y="47631"/>
                      <a:pt x="1092655" y="83143"/>
                      <a:pt x="1173541" y="131536"/>
                    </a:cubicBezTo>
                    <a:cubicBezTo>
                      <a:pt x="1251516" y="177574"/>
                      <a:pt x="1320547" y="237321"/>
                      <a:pt x="1377284" y="307901"/>
                    </a:cubicBezTo>
                    <a:cubicBezTo>
                      <a:pt x="1431244" y="374719"/>
                      <a:pt x="1474425" y="449562"/>
                      <a:pt x="1505272" y="529719"/>
                    </a:cubicBezTo>
                    <a:cubicBezTo>
                      <a:pt x="1519905" y="567143"/>
                      <a:pt x="1531853" y="605560"/>
                      <a:pt x="1541023" y="644682"/>
                    </a:cubicBezTo>
                    <a:cubicBezTo>
                      <a:pt x="1549835" y="681298"/>
                      <a:pt x="1556228" y="718458"/>
                      <a:pt x="1560162" y="755924"/>
                    </a:cubicBezTo>
                    <a:cubicBezTo>
                      <a:pt x="1565611" y="806375"/>
                      <a:pt x="1566900" y="857171"/>
                      <a:pt x="1564016" y="907834"/>
                    </a:cubicBezTo>
                    <a:cubicBezTo>
                      <a:pt x="1533714" y="904286"/>
                      <a:pt x="1503318" y="901282"/>
                      <a:pt x="1472843" y="898797"/>
                    </a:cubicBezTo>
                    <a:cubicBezTo>
                      <a:pt x="1475289" y="854739"/>
                      <a:pt x="1474093" y="810548"/>
                      <a:pt x="1469255" y="766689"/>
                    </a:cubicBezTo>
                    <a:cubicBezTo>
                      <a:pt x="1465786" y="733303"/>
                      <a:pt x="1460098" y="700183"/>
                      <a:pt x="1452243" y="667542"/>
                    </a:cubicBezTo>
                    <a:cubicBezTo>
                      <a:pt x="1444122" y="632757"/>
                      <a:pt x="1433503" y="598601"/>
                      <a:pt x="1420478" y="565338"/>
                    </a:cubicBezTo>
                    <a:cubicBezTo>
                      <a:pt x="1393233" y="494469"/>
                      <a:pt x="1355023" y="428318"/>
                      <a:pt x="1307243" y="369303"/>
                    </a:cubicBezTo>
                    <a:cubicBezTo>
                      <a:pt x="1257298" y="307025"/>
                      <a:pt x="1196467" y="254337"/>
                      <a:pt x="1127688" y="213804"/>
                    </a:cubicBezTo>
                    <a:cubicBezTo>
                      <a:pt x="1054710" y="170271"/>
                      <a:pt x="975459" y="138262"/>
                      <a:pt x="892712" y="118910"/>
                    </a:cubicBezTo>
                    <a:cubicBezTo>
                      <a:pt x="726315" y="80364"/>
                      <a:pt x="552462" y="88830"/>
                      <a:pt x="390597" y="143364"/>
                    </a:cubicBezTo>
                    <a:cubicBezTo>
                      <a:pt x="317831" y="167930"/>
                      <a:pt x="248813" y="202460"/>
                      <a:pt x="185524" y="245967"/>
                    </a:cubicBezTo>
                    <a:lnTo>
                      <a:pt x="143260" y="278529"/>
                    </a:lnTo>
                    <a:lnTo>
                      <a:pt x="132894" y="286503"/>
                    </a:lnTo>
                    <a:lnTo>
                      <a:pt x="123324" y="295009"/>
                    </a:lnTo>
                    <a:cubicBezTo>
                      <a:pt x="117211" y="300724"/>
                      <a:pt x="110698" y="305907"/>
                      <a:pt x="104718" y="311888"/>
                    </a:cubicBezTo>
                    <a:cubicBezTo>
                      <a:pt x="96079" y="319995"/>
                      <a:pt x="87839" y="328501"/>
                      <a:pt x="79732" y="337007"/>
                    </a:cubicBezTo>
                    <a:cubicBezTo>
                      <a:pt x="53151" y="319995"/>
                      <a:pt x="26569" y="303160"/>
                      <a:pt x="-12" y="286503"/>
                    </a:cubicBezTo>
                    <a:cubicBezTo>
                      <a:pt x="13412" y="271086"/>
                      <a:pt x="27766" y="256068"/>
                      <a:pt x="43050" y="241448"/>
                    </a:cubicBezTo>
                    <a:close/>
                  </a:path>
                </a:pathLst>
              </a:custGeom>
              <a:solidFill>
                <a:srgbClr val="FDBC14"/>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41" name="Freeform: Shape 40">
                <a:extLst>
                  <a:ext uri="{FF2B5EF4-FFF2-40B4-BE49-F238E27FC236}">
                    <a16:creationId xmlns:a16="http://schemas.microsoft.com/office/drawing/2014/main" id="{C6996896-9509-7F8D-F2C8-CAFBA884436A}"/>
                  </a:ext>
                </a:extLst>
              </p:cNvPr>
              <p:cNvSpPr/>
              <p:nvPr/>
            </p:nvSpPr>
            <p:spPr>
              <a:xfrm>
                <a:off x="6821817" y="2952806"/>
                <a:ext cx="1080232" cy="628940"/>
              </a:xfrm>
              <a:custGeom>
                <a:avLst/>
                <a:gdLst>
                  <a:gd name="csX0" fmla="*/ 1078088 w 1080232"/>
                  <a:gd name="csY0" fmla="*/ 517830 h 628940"/>
                  <a:gd name="csX1" fmla="*/ 1024129 w 1080232"/>
                  <a:gd name="csY1" fmla="*/ 411506 h 628940"/>
                  <a:gd name="csX2" fmla="*/ 960866 w 1080232"/>
                  <a:gd name="csY2" fmla="*/ 383197 h 628940"/>
                  <a:gd name="csX3" fmla="*/ 967777 w 1080232"/>
                  <a:gd name="csY3" fmla="*/ 355685 h 628940"/>
                  <a:gd name="csX4" fmla="*/ 934285 w 1080232"/>
                  <a:gd name="csY4" fmla="*/ 268898 h 628940"/>
                  <a:gd name="csX5" fmla="*/ 853080 w 1080232"/>
                  <a:gd name="csY5" fmla="*/ 222913 h 628940"/>
                  <a:gd name="csX6" fmla="*/ 814405 w 1080232"/>
                  <a:gd name="csY6" fmla="*/ 221850 h 628940"/>
                  <a:gd name="csX7" fmla="*/ 812411 w 1080232"/>
                  <a:gd name="csY7" fmla="*/ 150081 h 628940"/>
                  <a:gd name="csX8" fmla="*/ 738915 w 1080232"/>
                  <a:gd name="csY8" fmla="*/ 97717 h 628940"/>
                  <a:gd name="csX9" fmla="*/ 653324 w 1080232"/>
                  <a:gd name="csY9" fmla="*/ 112336 h 628940"/>
                  <a:gd name="csX10" fmla="*/ 632723 w 1080232"/>
                  <a:gd name="csY10" fmla="*/ 125627 h 628940"/>
                  <a:gd name="csX11" fmla="*/ 599098 w 1080232"/>
                  <a:gd name="csY11" fmla="*/ 90141 h 628940"/>
                  <a:gd name="csX12" fmla="*/ 490382 w 1080232"/>
                  <a:gd name="csY12" fmla="*/ 60769 h 628940"/>
                  <a:gd name="csX13" fmla="*/ 394557 w 1080232"/>
                  <a:gd name="csY13" fmla="*/ 104362 h 628940"/>
                  <a:gd name="csX14" fmla="*/ 384723 w 1080232"/>
                  <a:gd name="csY14" fmla="*/ 115526 h 628940"/>
                  <a:gd name="csX15" fmla="*/ 379539 w 1080232"/>
                  <a:gd name="csY15" fmla="*/ 109279 h 628940"/>
                  <a:gd name="csX16" fmla="*/ 318934 w 1080232"/>
                  <a:gd name="csY16" fmla="*/ 62895 h 628940"/>
                  <a:gd name="csX17" fmla="*/ 212610 w 1080232"/>
                  <a:gd name="csY17" fmla="*/ 56117 h 628940"/>
                  <a:gd name="csX18" fmla="*/ 155860 w 1080232"/>
                  <a:gd name="csY18" fmla="*/ 13322 h 628940"/>
                  <a:gd name="csX19" fmla="*/ 22157 w 1080232"/>
                  <a:gd name="csY19" fmla="*/ 36713 h 628940"/>
                  <a:gd name="csX20" fmla="*/ 22157 w 1080232"/>
                  <a:gd name="csY20" fmla="*/ 151144 h 628940"/>
                  <a:gd name="csX21" fmla="*/ 112400 w 1080232"/>
                  <a:gd name="csY21" fmla="*/ 196465 h 628940"/>
                  <a:gd name="csX22" fmla="*/ 112400 w 1080232"/>
                  <a:gd name="csY22" fmla="*/ 197528 h 628940"/>
                  <a:gd name="csX23" fmla="*/ 128614 w 1080232"/>
                  <a:gd name="csY23" fmla="*/ 255209 h 628940"/>
                  <a:gd name="csX24" fmla="*/ 118513 w 1080232"/>
                  <a:gd name="csY24" fmla="*/ 270360 h 628940"/>
                  <a:gd name="csX25" fmla="*/ 126621 w 1080232"/>
                  <a:gd name="csY25" fmla="*/ 374824 h 628940"/>
                  <a:gd name="csX26" fmla="*/ 227761 w 1080232"/>
                  <a:gd name="csY26" fmla="*/ 447390 h 628940"/>
                  <a:gd name="csX27" fmla="*/ 322921 w 1080232"/>
                  <a:gd name="csY27" fmla="*/ 457491 h 628940"/>
                  <a:gd name="csX28" fmla="*/ 339402 w 1080232"/>
                  <a:gd name="csY28" fmla="*/ 509457 h 628940"/>
                  <a:gd name="csX29" fmla="*/ 447719 w 1080232"/>
                  <a:gd name="csY29" fmla="*/ 597839 h 628940"/>
                  <a:gd name="csX30" fmla="*/ 597769 w 1080232"/>
                  <a:gd name="csY30" fmla="*/ 612990 h 628940"/>
                  <a:gd name="csX31" fmla="*/ 674721 w 1080232"/>
                  <a:gd name="csY31" fmla="*/ 580561 h 628940"/>
                  <a:gd name="csX32" fmla="*/ 680303 w 1080232"/>
                  <a:gd name="csY32" fmla="*/ 587605 h 628940"/>
                  <a:gd name="csX33" fmla="*/ 766692 w 1080232"/>
                  <a:gd name="csY33" fmla="*/ 628141 h 628940"/>
                  <a:gd name="csX34" fmla="*/ 862915 w 1080232"/>
                  <a:gd name="csY34" fmla="*/ 609800 h 628940"/>
                  <a:gd name="csX35" fmla="*/ 900793 w 1080232"/>
                  <a:gd name="csY35" fmla="*/ 584149 h 628940"/>
                  <a:gd name="csX36" fmla="*/ 909299 w 1080232"/>
                  <a:gd name="csY36" fmla="*/ 573517 h 628940"/>
                  <a:gd name="csX37" fmla="*/ 976549 w 1080232"/>
                  <a:gd name="csY37" fmla="*/ 588269 h 628940"/>
                  <a:gd name="csX38" fmla="*/ 1078088 w 1080232"/>
                  <a:gd name="csY38" fmla="*/ 517830 h 62894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Lst>
                <a:rect l="l" t="t" r="r" b="b"/>
                <a:pathLst>
                  <a:path w="1080232" h="628940">
                    <a:moveTo>
                      <a:pt x="1078088" y="517830"/>
                    </a:moveTo>
                    <a:cubicBezTo>
                      <a:pt x="1088588" y="472110"/>
                      <a:pt x="1058684" y="436492"/>
                      <a:pt x="1024129" y="411506"/>
                    </a:cubicBezTo>
                    <a:cubicBezTo>
                      <a:pt x="1005124" y="397976"/>
                      <a:pt x="983619" y="388354"/>
                      <a:pt x="960866" y="383197"/>
                    </a:cubicBezTo>
                    <a:cubicBezTo>
                      <a:pt x="964149" y="374305"/>
                      <a:pt x="966462" y="365082"/>
                      <a:pt x="967777" y="355685"/>
                    </a:cubicBezTo>
                    <a:cubicBezTo>
                      <a:pt x="970249" y="323190"/>
                      <a:pt x="957955" y="291306"/>
                      <a:pt x="934285" y="268898"/>
                    </a:cubicBezTo>
                    <a:cubicBezTo>
                      <a:pt x="912741" y="245401"/>
                      <a:pt x="884313" y="229306"/>
                      <a:pt x="853080" y="222913"/>
                    </a:cubicBezTo>
                    <a:cubicBezTo>
                      <a:pt x="840334" y="220428"/>
                      <a:pt x="827270" y="220069"/>
                      <a:pt x="814405" y="221850"/>
                    </a:cubicBezTo>
                    <a:cubicBezTo>
                      <a:pt x="823881" y="198711"/>
                      <a:pt x="823150" y="172662"/>
                      <a:pt x="812411" y="150081"/>
                    </a:cubicBezTo>
                    <a:cubicBezTo>
                      <a:pt x="797725" y="121852"/>
                      <a:pt x="770386" y="102382"/>
                      <a:pt x="738915" y="97717"/>
                    </a:cubicBezTo>
                    <a:cubicBezTo>
                      <a:pt x="709556" y="91935"/>
                      <a:pt x="679094" y="97145"/>
                      <a:pt x="653324" y="112336"/>
                    </a:cubicBezTo>
                    <a:cubicBezTo>
                      <a:pt x="646147" y="116270"/>
                      <a:pt x="639262" y="120709"/>
                      <a:pt x="632723" y="125627"/>
                    </a:cubicBezTo>
                    <a:cubicBezTo>
                      <a:pt x="623128" y="112363"/>
                      <a:pt x="611831" y="100428"/>
                      <a:pt x="599098" y="90141"/>
                    </a:cubicBezTo>
                    <a:cubicBezTo>
                      <a:pt x="568583" y="65527"/>
                      <a:pt x="529137" y="54868"/>
                      <a:pt x="490382" y="60769"/>
                    </a:cubicBezTo>
                    <a:cubicBezTo>
                      <a:pt x="454617" y="64756"/>
                      <a:pt x="421059" y="80027"/>
                      <a:pt x="394557" y="104362"/>
                    </a:cubicBezTo>
                    <a:cubicBezTo>
                      <a:pt x="390996" y="107817"/>
                      <a:pt x="387700" y="111552"/>
                      <a:pt x="384723" y="115526"/>
                    </a:cubicBezTo>
                    <a:lnTo>
                      <a:pt x="379539" y="109279"/>
                    </a:lnTo>
                    <a:cubicBezTo>
                      <a:pt x="362846" y="89702"/>
                      <a:pt x="342193" y="73887"/>
                      <a:pt x="318934" y="62895"/>
                    </a:cubicBezTo>
                    <a:cubicBezTo>
                      <a:pt x="285402" y="48183"/>
                      <a:pt x="247751" y="45790"/>
                      <a:pt x="212610" y="56117"/>
                    </a:cubicBezTo>
                    <a:cubicBezTo>
                      <a:pt x="197193" y="37723"/>
                      <a:pt x="177789" y="23077"/>
                      <a:pt x="155860" y="13322"/>
                    </a:cubicBezTo>
                    <a:cubicBezTo>
                      <a:pt x="111297" y="-11025"/>
                      <a:pt x="55809" y="-1319"/>
                      <a:pt x="22157" y="36713"/>
                    </a:cubicBezTo>
                    <a:cubicBezTo>
                      <a:pt x="-7401" y="69129"/>
                      <a:pt x="-7401" y="118729"/>
                      <a:pt x="22157" y="151144"/>
                    </a:cubicBezTo>
                    <a:cubicBezTo>
                      <a:pt x="46266" y="175984"/>
                      <a:pt x="78070" y="191960"/>
                      <a:pt x="112400" y="196465"/>
                    </a:cubicBezTo>
                    <a:lnTo>
                      <a:pt x="112400" y="197528"/>
                    </a:lnTo>
                    <a:cubicBezTo>
                      <a:pt x="112068" y="217929"/>
                      <a:pt x="117703" y="237971"/>
                      <a:pt x="128614" y="255209"/>
                    </a:cubicBezTo>
                    <a:cubicBezTo>
                      <a:pt x="124879" y="260007"/>
                      <a:pt x="121504" y="265071"/>
                      <a:pt x="118513" y="270360"/>
                    </a:cubicBezTo>
                    <a:cubicBezTo>
                      <a:pt x="100864" y="303839"/>
                      <a:pt x="104014" y="344468"/>
                      <a:pt x="126621" y="374824"/>
                    </a:cubicBezTo>
                    <a:cubicBezTo>
                      <a:pt x="152736" y="408143"/>
                      <a:pt x="187824" y="433315"/>
                      <a:pt x="227761" y="447390"/>
                    </a:cubicBezTo>
                    <a:cubicBezTo>
                      <a:pt x="257891" y="459644"/>
                      <a:pt x="290878" y="463152"/>
                      <a:pt x="322921" y="457491"/>
                    </a:cubicBezTo>
                    <a:cubicBezTo>
                      <a:pt x="325633" y="475579"/>
                      <a:pt x="331188" y="493109"/>
                      <a:pt x="339402" y="509457"/>
                    </a:cubicBezTo>
                    <a:cubicBezTo>
                      <a:pt x="361065" y="551986"/>
                      <a:pt x="404658" y="580295"/>
                      <a:pt x="447719" y="597839"/>
                    </a:cubicBezTo>
                    <a:cubicBezTo>
                      <a:pt x="495326" y="616871"/>
                      <a:pt x="547318" y="622120"/>
                      <a:pt x="597769" y="612990"/>
                    </a:cubicBezTo>
                    <a:cubicBezTo>
                      <a:pt x="625626" y="608444"/>
                      <a:pt x="652008" y="597320"/>
                      <a:pt x="674721" y="580561"/>
                    </a:cubicBezTo>
                    <a:cubicBezTo>
                      <a:pt x="676449" y="582953"/>
                      <a:pt x="678310" y="585345"/>
                      <a:pt x="680303" y="587605"/>
                    </a:cubicBezTo>
                    <a:cubicBezTo>
                      <a:pt x="703362" y="610970"/>
                      <a:pt x="733984" y="625337"/>
                      <a:pt x="766692" y="628141"/>
                    </a:cubicBezTo>
                    <a:cubicBezTo>
                      <a:pt x="799852" y="631304"/>
                      <a:pt x="833237" y="624951"/>
                      <a:pt x="862915" y="609800"/>
                    </a:cubicBezTo>
                    <a:cubicBezTo>
                      <a:pt x="876710" y="603115"/>
                      <a:pt x="889470" y="594476"/>
                      <a:pt x="900793" y="584149"/>
                    </a:cubicBezTo>
                    <a:cubicBezTo>
                      <a:pt x="904142" y="581039"/>
                      <a:pt x="907000" y="577464"/>
                      <a:pt x="909299" y="573517"/>
                    </a:cubicBezTo>
                    <a:cubicBezTo>
                      <a:pt x="930125" y="583990"/>
                      <a:pt x="953251" y="589067"/>
                      <a:pt x="976549" y="588269"/>
                    </a:cubicBezTo>
                    <a:cubicBezTo>
                      <a:pt x="1021471" y="586276"/>
                      <a:pt x="1067323" y="565277"/>
                      <a:pt x="1078088" y="517830"/>
                    </a:cubicBezTo>
                    <a:close/>
                  </a:path>
                </a:pathLst>
              </a:custGeom>
              <a:solidFill>
                <a:srgbClr val="A2B9B9"/>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42" name="Freeform: Shape 41">
                <a:extLst>
                  <a:ext uri="{FF2B5EF4-FFF2-40B4-BE49-F238E27FC236}">
                    <a16:creationId xmlns:a16="http://schemas.microsoft.com/office/drawing/2014/main" id="{EBDAF196-A6DC-8271-956D-9B8CAC4D3DF1}"/>
                  </a:ext>
                </a:extLst>
              </p:cNvPr>
              <p:cNvSpPr/>
              <p:nvPr/>
            </p:nvSpPr>
            <p:spPr>
              <a:xfrm>
                <a:off x="6850858" y="2972116"/>
                <a:ext cx="1051226" cy="599885"/>
              </a:xfrm>
              <a:custGeom>
                <a:avLst/>
                <a:gdLst>
                  <a:gd name="csX0" fmla="*/ 959336 w 1051226"/>
                  <a:gd name="csY0" fmla="*/ 568959 h 599885"/>
                  <a:gd name="csX1" fmla="*/ 908700 w 1051226"/>
                  <a:gd name="csY1" fmla="*/ 560055 h 599885"/>
                  <a:gd name="csX2" fmla="*/ 880922 w 1051226"/>
                  <a:gd name="csY2" fmla="*/ 548758 h 599885"/>
                  <a:gd name="csX3" fmla="*/ 860189 w 1051226"/>
                  <a:gd name="csY3" fmla="*/ 538790 h 599885"/>
                  <a:gd name="csX4" fmla="*/ 883448 w 1051226"/>
                  <a:gd name="csY4" fmla="*/ 555802 h 599885"/>
                  <a:gd name="csX5" fmla="*/ 878663 w 1051226"/>
                  <a:gd name="csY5" fmla="*/ 561251 h 599885"/>
                  <a:gd name="csX6" fmla="*/ 845968 w 1051226"/>
                  <a:gd name="csY6" fmla="*/ 582782 h 599885"/>
                  <a:gd name="csX7" fmla="*/ 763966 w 1051226"/>
                  <a:gd name="csY7" fmla="*/ 599793 h 599885"/>
                  <a:gd name="csX8" fmla="*/ 684223 w 1051226"/>
                  <a:gd name="csY8" fmla="*/ 574276 h 599885"/>
                  <a:gd name="csX9" fmla="*/ 670932 w 1051226"/>
                  <a:gd name="csY9" fmla="*/ 562846 h 599885"/>
                  <a:gd name="csX10" fmla="*/ 692862 w 1051226"/>
                  <a:gd name="csY10" fmla="*/ 532809 h 599885"/>
                  <a:gd name="csX11" fmla="*/ 692862 w 1051226"/>
                  <a:gd name="csY11" fmla="*/ 532012 h 599885"/>
                  <a:gd name="csX12" fmla="*/ 660433 w 1051226"/>
                  <a:gd name="csY12" fmla="*/ 561384 h 599885"/>
                  <a:gd name="csX13" fmla="*/ 634915 w 1051226"/>
                  <a:gd name="csY13" fmla="*/ 574674 h 599885"/>
                  <a:gd name="csX14" fmla="*/ 581753 w 1051226"/>
                  <a:gd name="csY14" fmla="*/ 589028 h 599885"/>
                  <a:gd name="csX15" fmla="*/ 443532 w 1051226"/>
                  <a:gd name="csY15" fmla="*/ 572548 h 599885"/>
                  <a:gd name="csX16" fmla="*/ 344118 w 1051226"/>
                  <a:gd name="csY16" fmla="*/ 500779 h 599885"/>
                  <a:gd name="csX17" fmla="*/ 319265 w 1051226"/>
                  <a:gd name="csY17" fmla="*/ 450142 h 599885"/>
                  <a:gd name="csX18" fmla="*/ 313019 w 1051226"/>
                  <a:gd name="csY18" fmla="*/ 424890 h 599885"/>
                  <a:gd name="csX19" fmla="*/ 321924 w 1051226"/>
                  <a:gd name="csY19" fmla="*/ 374918 h 599885"/>
                  <a:gd name="csX20" fmla="*/ 308633 w 1051226"/>
                  <a:gd name="csY20" fmla="*/ 433795 h 599885"/>
                  <a:gd name="csX21" fmla="*/ 147286 w 1051226"/>
                  <a:gd name="csY21" fmla="*/ 373987 h 599885"/>
                  <a:gd name="csX22" fmla="*/ 110073 w 1051226"/>
                  <a:gd name="csY22" fmla="*/ 287599 h 599885"/>
                  <a:gd name="csX23" fmla="*/ 116718 w 1051226"/>
                  <a:gd name="csY23" fmla="*/ 262613 h 599885"/>
                  <a:gd name="csX24" fmla="*/ 136255 w 1051226"/>
                  <a:gd name="csY24" fmla="*/ 231247 h 599885"/>
                  <a:gd name="csX25" fmla="*/ 180645 w 1051226"/>
                  <a:gd name="csY25" fmla="*/ 220216 h 599885"/>
                  <a:gd name="csX26" fmla="*/ 140774 w 1051226"/>
                  <a:gd name="csY26" fmla="*/ 224203 h 599885"/>
                  <a:gd name="csX27" fmla="*/ 128945 w 1051226"/>
                  <a:gd name="csY27" fmla="*/ 231513 h 599885"/>
                  <a:gd name="csX28" fmla="*/ 119775 w 1051226"/>
                  <a:gd name="csY28" fmla="*/ 210913 h 599885"/>
                  <a:gd name="csX29" fmla="*/ 109408 w 1051226"/>
                  <a:gd name="csY29" fmla="*/ 165326 h 599885"/>
                  <a:gd name="csX30" fmla="*/ 111801 w 1051226"/>
                  <a:gd name="csY30" fmla="*/ 132632 h 599885"/>
                  <a:gd name="csX31" fmla="*/ 113528 w 1051226"/>
                  <a:gd name="csY31" fmla="*/ 123594 h 599885"/>
                  <a:gd name="csX32" fmla="*/ 100238 w 1051226"/>
                  <a:gd name="csY32" fmla="*/ 176756 h 599885"/>
                  <a:gd name="csX33" fmla="*/ 33785 w 1051226"/>
                  <a:gd name="csY33" fmla="*/ 144593 h 599885"/>
                  <a:gd name="csX34" fmla="*/ 8267 w 1051226"/>
                  <a:gd name="csY34" fmla="*/ 45579 h 599885"/>
                  <a:gd name="csX35" fmla="*/ 124559 w 1051226"/>
                  <a:gd name="csY35" fmla="*/ 6505 h 599885"/>
                  <a:gd name="csX36" fmla="*/ 183038 w 1051226"/>
                  <a:gd name="csY36" fmla="*/ 40396 h 599885"/>
                  <a:gd name="csX37" fmla="*/ 190879 w 1051226"/>
                  <a:gd name="csY37" fmla="*/ 47705 h 599885"/>
                  <a:gd name="csX38" fmla="*/ 165760 w 1051226"/>
                  <a:gd name="csY38" fmla="*/ 60066 h 599885"/>
                  <a:gd name="csX39" fmla="*/ 157520 w 1051226"/>
                  <a:gd name="csY39" fmla="*/ 67508 h 599885"/>
                  <a:gd name="csX40" fmla="*/ 206828 w 1051226"/>
                  <a:gd name="csY40" fmla="*/ 49965 h 599885"/>
                  <a:gd name="csX41" fmla="*/ 314348 w 1051226"/>
                  <a:gd name="csY41" fmla="*/ 61129 h 599885"/>
                  <a:gd name="csX42" fmla="*/ 370301 w 1051226"/>
                  <a:gd name="csY42" fmla="*/ 106715 h 599885"/>
                  <a:gd name="csX43" fmla="*/ 358738 w 1051226"/>
                  <a:gd name="csY43" fmla="*/ 134360 h 599885"/>
                  <a:gd name="csX44" fmla="*/ 391167 w 1051226"/>
                  <a:gd name="csY44" fmla="*/ 96349 h 599885"/>
                  <a:gd name="csX45" fmla="*/ 400337 w 1051226"/>
                  <a:gd name="csY45" fmla="*/ 89438 h 599885"/>
                  <a:gd name="csX46" fmla="*/ 500149 w 1051226"/>
                  <a:gd name="csY46" fmla="*/ 58471 h 599885"/>
                  <a:gd name="csX47" fmla="*/ 601024 w 1051226"/>
                  <a:gd name="csY47" fmla="*/ 102728 h 599885"/>
                  <a:gd name="csX48" fmla="*/ 615378 w 1051226"/>
                  <a:gd name="csY48" fmla="*/ 118278 h 599885"/>
                  <a:gd name="csX49" fmla="*/ 615378 w 1051226"/>
                  <a:gd name="csY49" fmla="*/ 118278 h 599885"/>
                  <a:gd name="csX50" fmla="*/ 617770 w 1051226"/>
                  <a:gd name="csY50" fmla="*/ 120803 h 599885"/>
                  <a:gd name="csX51" fmla="*/ 617770 w 1051226"/>
                  <a:gd name="csY51" fmla="*/ 120803 h 599885"/>
                  <a:gd name="csX52" fmla="*/ 617770 w 1051226"/>
                  <a:gd name="csY52" fmla="*/ 120803 h 599885"/>
                  <a:gd name="csX53" fmla="*/ 621093 w 1051226"/>
                  <a:gd name="csY53" fmla="*/ 124790 h 599885"/>
                  <a:gd name="csX54" fmla="*/ 634383 w 1051226"/>
                  <a:gd name="csY54" fmla="*/ 142201 h 599885"/>
                  <a:gd name="csX55" fmla="*/ 624283 w 1051226"/>
                  <a:gd name="csY55" fmla="*/ 119740 h 599885"/>
                  <a:gd name="csX56" fmla="*/ 622422 w 1051226"/>
                  <a:gd name="csY56" fmla="*/ 116816 h 599885"/>
                  <a:gd name="csX57" fmla="*/ 639567 w 1051226"/>
                  <a:gd name="csY57" fmla="*/ 105652 h 599885"/>
                  <a:gd name="csX58" fmla="*/ 719310 w 1051226"/>
                  <a:gd name="csY58" fmla="*/ 93292 h 599885"/>
                  <a:gd name="csX59" fmla="*/ 759181 w 1051226"/>
                  <a:gd name="csY59" fmla="*/ 108177 h 599885"/>
                  <a:gd name="csX60" fmla="*/ 785762 w 1051226"/>
                  <a:gd name="csY60" fmla="*/ 136752 h 599885"/>
                  <a:gd name="csX61" fmla="*/ 797059 w 1051226"/>
                  <a:gd name="csY61" fmla="*/ 197888 h 599885"/>
                  <a:gd name="csX62" fmla="*/ 796395 w 1051226"/>
                  <a:gd name="csY62" fmla="*/ 206261 h 599885"/>
                  <a:gd name="csX63" fmla="*/ 793072 w 1051226"/>
                  <a:gd name="csY63" fmla="*/ 228058 h 599885"/>
                  <a:gd name="csX64" fmla="*/ 795465 w 1051226"/>
                  <a:gd name="csY64" fmla="*/ 226463 h 599885"/>
                  <a:gd name="csX65" fmla="*/ 799452 w 1051226"/>
                  <a:gd name="csY65" fmla="*/ 216628 h 599885"/>
                  <a:gd name="csX66" fmla="*/ 821248 w 1051226"/>
                  <a:gd name="csY66" fmla="*/ 217691 h 599885"/>
                  <a:gd name="csX67" fmla="*/ 903383 w 1051226"/>
                  <a:gd name="csY67" fmla="*/ 257563 h 599885"/>
                  <a:gd name="csX68" fmla="*/ 943255 w 1051226"/>
                  <a:gd name="csY68" fmla="*/ 332920 h 599885"/>
                  <a:gd name="csX69" fmla="*/ 939002 w 1051226"/>
                  <a:gd name="csY69" fmla="*/ 368405 h 599885"/>
                  <a:gd name="csX70" fmla="*/ 893548 w 1051226"/>
                  <a:gd name="csY70" fmla="*/ 373057 h 599885"/>
                  <a:gd name="csX71" fmla="*/ 960931 w 1051226"/>
                  <a:gd name="csY71" fmla="*/ 382759 h 599885"/>
                  <a:gd name="csX72" fmla="*/ 1002397 w 1051226"/>
                  <a:gd name="csY72" fmla="*/ 409340 h 599885"/>
                  <a:gd name="csX73" fmla="*/ 1049978 w 1051226"/>
                  <a:gd name="csY73" fmla="*/ 504102 h 599885"/>
                  <a:gd name="csX74" fmla="*/ 959336 w 1051226"/>
                  <a:gd name="csY74" fmla="*/ 568959 h 59988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Lst>
                <a:rect l="l" t="t" r="r" b="b"/>
                <a:pathLst>
                  <a:path w="1051226" h="599885">
                    <a:moveTo>
                      <a:pt x="959336" y="568959"/>
                    </a:moveTo>
                    <a:cubicBezTo>
                      <a:pt x="942006" y="569810"/>
                      <a:pt x="924701" y="566766"/>
                      <a:pt x="908700" y="560055"/>
                    </a:cubicBezTo>
                    <a:cubicBezTo>
                      <a:pt x="899237" y="556799"/>
                      <a:pt x="889973" y="553024"/>
                      <a:pt x="880922" y="548758"/>
                    </a:cubicBezTo>
                    <a:cubicBezTo>
                      <a:pt x="873852" y="545794"/>
                      <a:pt x="866927" y="542458"/>
                      <a:pt x="860189" y="538790"/>
                    </a:cubicBezTo>
                    <a:cubicBezTo>
                      <a:pt x="867432" y="545129"/>
                      <a:pt x="875221" y="550818"/>
                      <a:pt x="883448" y="555802"/>
                    </a:cubicBezTo>
                    <a:cubicBezTo>
                      <a:pt x="881999" y="557742"/>
                      <a:pt x="880404" y="559563"/>
                      <a:pt x="878663" y="561251"/>
                    </a:cubicBezTo>
                    <a:cubicBezTo>
                      <a:pt x="869028" y="570169"/>
                      <a:pt x="857970" y="577452"/>
                      <a:pt x="845968" y="582782"/>
                    </a:cubicBezTo>
                    <a:cubicBezTo>
                      <a:pt x="820357" y="594836"/>
                      <a:pt x="792262" y="600657"/>
                      <a:pt x="763966" y="599793"/>
                    </a:cubicBezTo>
                    <a:cubicBezTo>
                      <a:pt x="735551" y="598717"/>
                      <a:pt x="707986" y="589892"/>
                      <a:pt x="684223" y="574276"/>
                    </a:cubicBezTo>
                    <a:cubicBezTo>
                      <a:pt x="679452" y="570886"/>
                      <a:pt x="674999" y="567059"/>
                      <a:pt x="670932" y="562846"/>
                    </a:cubicBezTo>
                    <a:cubicBezTo>
                      <a:pt x="680036" y="554273"/>
                      <a:pt x="687466" y="544093"/>
                      <a:pt x="692862" y="532809"/>
                    </a:cubicBezTo>
                    <a:cubicBezTo>
                      <a:pt x="692862" y="532809"/>
                      <a:pt x="692862" y="532809"/>
                      <a:pt x="692862" y="532012"/>
                    </a:cubicBezTo>
                    <a:cubicBezTo>
                      <a:pt x="684608" y="544305"/>
                      <a:pt x="673484" y="554393"/>
                      <a:pt x="660433" y="561384"/>
                    </a:cubicBezTo>
                    <a:cubicBezTo>
                      <a:pt x="652419" y="566700"/>
                      <a:pt x="643873" y="571166"/>
                      <a:pt x="634915" y="574674"/>
                    </a:cubicBezTo>
                    <a:cubicBezTo>
                      <a:pt x="617930" y="581851"/>
                      <a:pt x="600041" y="586689"/>
                      <a:pt x="581753" y="589028"/>
                    </a:cubicBezTo>
                    <a:cubicBezTo>
                      <a:pt x="535024" y="595102"/>
                      <a:pt x="487523" y="589440"/>
                      <a:pt x="443532" y="572548"/>
                    </a:cubicBezTo>
                    <a:cubicBezTo>
                      <a:pt x="404245" y="558553"/>
                      <a:pt x="369769" y="533660"/>
                      <a:pt x="344118" y="500779"/>
                    </a:cubicBezTo>
                    <a:cubicBezTo>
                      <a:pt x="332835" y="485548"/>
                      <a:pt x="324422" y="468390"/>
                      <a:pt x="319265" y="450142"/>
                    </a:cubicBezTo>
                    <a:cubicBezTo>
                      <a:pt x="315850" y="442115"/>
                      <a:pt x="313737" y="433582"/>
                      <a:pt x="313019" y="424890"/>
                    </a:cubicBezTo>
                    <a:cubicBezTo>
                      <a:pt x="312753" y="407812"/>
                      <a:pt x="315770" y="390853"/>
                      <a:pt x="321924" y="374918"/>
                    </a:cubicBezTo>
                    <a:cubicBezTo>
                      <a:pt x="311730" y="392780"/>
                      <a:pt x="307104" y="413288"/>
                      <a:pt x="308633" y="433795"/>
                    </a:cubicBezTo>
                    <a:cubicBezTo>
                      <a:pt x="249065" y="435921"/>
                      <a:pt x="191078" y="414430"/>
                      <a:pt x="147286" y="373987"/>
                    </a:cubicBezTo>
                    <a:cubicBezTo>
                      <a:pt x="121596" y="352935"/>
                      <a:pt x="107720" y="320732"/>
                      <a:pt x="110073" y="287599"/>
                    </a:cubicBezTo>
                    <a:cubicBezTo>
                      <a:pt x="111016" y="278987"/>
                      <a:pt x="113249" y="270561"/>
                      <a:pt x="116718" y="262613"/>
                    </a:cubicBezTo>
                    <a:cubicBezTo>
                      <a:pt x="118964" y="250040"/>
                      <a:pt x="125968" y="238810"/>
                      <a:pt x="136255" y="231247"/>
                    </a:cubicBezTo>
                    <a:cubicBezTo>
                      <a:pt x="149399" y="222715"/>
                      <a:pt x="165029" y="218834"/>
                      <a:pt x="180645" y="220216"/>
                    </a:cubicBezTo>
                    <a:cubicBezTo>
                      <a:pt x="167435" y="215418"/>
                      <a:pt x="152775" y="216894"/>
                      <a:pt x="140774" y="224203"/>
                    </a:cubicBezTo>
                    <a:cubicBezTo>
                      <a:pt x="136587" y="226224"/>
                      <a:pt x="132627" y="228682"/>
                      <a:pt x="128945" y="231513"/>
                    </a:cubicBezTo>
                    <a:cubicBezTo>
                      <a:pt x="125224" y="224961"/>
                      <a:pt x="122140" y="218063"/>
                      <a:pt x="119775" y="210913"/>
                    </a:cubicBezTo>
                    <a:cubicBezTo>
                      <a:pt x="112810" y="196732"/>
                      <a:pt x="109262" y="181116"/>
                      <a:pt x="109408" y="165326"/>
                    </a:cubicBezTo>
                    <a:cubicBezTo>
                      <a:pt x="109142" y="154375"/>
                      <a:pt x="109940" y="143424"/>
                      <a:pt x="111801" y="132632"/>
                    </a:cubicBezTo>
                    <a:cubicBezTo>
                      <a:pt x="111801" y="129575"/>
                      <a:pt x="112864" y="126518"/>
                      <a:pt x="113528" y="123594"/>
                    </a:cubicBezTo>
                    <a:cubicBezTo>
                      <a:pt x="106232" y="140473"/>
                      <a:pt x="101739" y="158429"/>
                      <a:pt x="100238" y="176756"/>
                    </a:cubicBezTo>
                    <a:cubicBezTo>
                      <a:pt x="76381" y="169991"/>
                      <a:pt x="53894" y="159106"/>
                      <a:pt x="33785" y="144593"/>
                    </a:cubicBezTo>
                    <a:cubicBezTo>
                      <a:pt x="1715" y="122611"/>
                      <a:pt x="-9183" y="80320"/>
                      <a:pt x="8267" y="45579"/>
                    </a:cubicBezTo>
                    <a:cubicBezTo>
                      <a:pt x="32523" y="6199"/>
                      <a:pt x="81445" y="-10241"/>
                      <a:pt x="124559" y="6505"/>
                    </a:cubicBezTo>
                    <a:cubicBezTo>
                      <a:pt x="145705" y="14665"/>
                      <a:pt x="165441" y="26095"/>
                      <a:pt x="183038" y="40396"/>
                    </a:cubicBezTo>
                    <a:cubicBezTo>
                      <a:pt x="185775" y="42695"/>
                      <a:pt x="188394" y="45127"/>
                      <a:pt x="190879" y="47705"/>
                    </a:cubicBezTo>
                    <a:cubicBezTo>
                      <a:pt x="182067" y="50882"/>
                      <a:pt x="173641" y="55028"/>
                      <a:pt x="165760" y="60066"/>
                    </a:cubicBezTo>
                    <a:cubicBezTo>
                      <a:pt x="162969" y="62458"/>
                      <a:pt x="160178" y="64850"/>
                      <a:pt x="157520" y="67508"/>
                    </a:cubicBezTo>
                    <a:cubicBezTo>
                      <a:pt x="172286" y="57726"/>
                      <a:pt x="189205" y="51706"/>
                      <a:pt x="206828" y="49965"/>
                    </a:cubicBezTo>
                    <a:cubicBezTo>
                      <a:pt x="242872" y="40967"/>
                      <a:pt x="280922" y="44914"/>
                      <a:pt x="314348" y="61129"/>
                    </a:cubicBezTo>
                    <a:cubicBezTo>
                      <a:pt x="335839" y="72466"/>
                      <a:pt x="354857" y="87962"/>
                      <a:pt x="370301" y="106715"/>
                    </a:cubicBezTo>
                    <a:cubicBezTo>
                      <a:pt x="364706" y="115102"/>
                      <a:pt x="360785" y="124485"/>
                      <a:pt x="358738" y="134360"/>
                    </a:cubicBezTo>
                    <a:cubicBezTo>
                      <a:pt x="365144" y="118517"/>
                      <a:pt x="376521" y="105174"/>
                      <a:pt x="391167" y="96349"/>
                    </a:cubicBezTo>
                    <a:cubicBezTo>
                      <a:pt x="394224" y="93823"/>
                      <a:pt x="397281" y="91564"/>
                      <a:pt x="400337" y="89438"/>
                    </a:cubicBezTo>
                    <a:cubicBezTo>
                      <a:pt x="429750" y="69329"/>
                      <a:pt x="464530" y="58537"/>
                      <a:pt x="500149" y="58471"/>
                    </a:cubicBezTo>
                    <a:cubicBezTo>
                      <a:pt x="538333" y="59188"/>
                      <a:pt x="574642" y="75124"/>
                      <a:pt x="601024" y="102728"/>
                    </a:cubicBezTo>
                    <a:cubicBezTo>
                      <a:pt x="606075" y="107911"/>
                      <a:pt x="610859" y="112962"/>
                      <a:pt x="615378" y="118278"/>
                    </a:cubicBezTo>
                    <a:lnTo>
                      <a:pt x="615378" y="118278"/>
                    </a:lnTo>
                    <a:lnTo>
                      <a:pt x="617770" y="120803"/>
                    </a:lnTo>
                    <a:lnTo>
                      <a:pt x="617770" y="120803"/>
                    </a:lnTo>
                    <a:lnTo>
                      <a:pt x="617770" y="120803"/>
                    </a:lnTo>
                    <a:lnTo>
                      <a:pt x="621093" y="124790"/>
                    </a:lnTo>
                    <a:cubicBezTo>
                      <a:pt x="625479" y="130372"/>
                      <a:pt x="630131" y="136087"/>
                      <a:pt x="634383" y="142201"/>
                    </a:cubicBezTo>
                    <a:cubicBezTo>
                      <a:pt x="632177" y="134240"/>
                      <a:pt x="628775" y="126678"/>
                      <a:pt x="624283" y="119740"/>
                    </a:cubicBezTo>
                    <a:lnTo>
                      <a:pt x="622422" y="116816"/>
                    </a:lnTo>
                    <a:cubicBezTo>
                      <a:pt x="628004" y="112829"/>
                      <a:pt x="633852" y="109108"/>
                      <a:pt x="639567" y="105652"/>
                    </a:cubicBezTo>
                    <a:cubicBezTo>
                      <a:pt x="663609" y="91551"/>
                      <a:pt x="692118" y="87125"/>
                      <a:pt x="719310" y="93292"/>
                    </a:cubicBezTo>
                    <a:cubicBezTo>
                      <a:pt x="733331" y="96016"/>
                      <a:pt x="746808" y="101053"/>
                      <a:pt x="759181" y="108177"/>
                    </a:cubicBezTo>
                    <a:cubicBezTo>
                      <a:pt x="770039" y="115633"/>
                      <a:pt x="779104" y="125388"/>
                      <a:pt x="785762" y="136752"/>
                    </a:cubicBezTo>
                    <a:cubicBezTo>
                      <a:pt x="797458" y="154840"/>
                      <a:pt x="801525" y="176823"/>
                      <a:pt x="797059" y="197888"/>
                    </a:cubicBezTo>
                    <a:cubicBezTo>
                      <a:pt x="797099" y="200692"/>
                      <a:pt x="796873" y="203497"/>
                      <a:pt x="796395" y="206261"/>
                    </a:cubicBezTo>
                    <a:cubicBezTo>
                      <a:pt x="796076" y="213624"/>
                      <a:pt x="794959" y="220934"/>
                      <a:pt x="793072" y="228058"/>
                    </a:cubicBezTo>
                    <a:cubicBezTo>
                      <a:pt x="794029" y="227818"/>
                      <a:pt x="794880" y="227260"/>
                      <a:pt x="795465" y="226463"/>
                    </a:cubicBezTo>
                    <a:lnTo>
                      <a:pt x="799452" y="216628"/>
                    </a:lnTo>
                    <a:cubicBezTo>
                      <a:pt x="806735" y="216561"/>
                      <a:pt x="814005" y="216920"/>
                      <a:pt x="821248" y="217691"/>
                    </a:cubicBezTo>
                    <a:cubicBezTo>
                      <a:pt x="852201" y="221811"/>
                      <a:pt x="881002" y="235793"/>
                      <a:pt x="903383" y="257563"/>
                    </a:cubicBezTo>
                    <a:cubicBezTo>
                      <a:pt x="925645" y="276807"/>
                      <a:pt x="939866" y="303694"/>
                      <a:pt x="943255" y="332920"/>
                    </a:cubicBezTo>
                    <a:cubicBezTo>
                      <a:pt x="943946" y="344908"/>
                      <a:pt x="942511" y="356923"/>
                      <a:pt x="939002" y="368405"/>
                    </a:cubicBezTo>
                    <a:cubicBezTo>
                      <a:pt x="923744" y="365069"/>
                      <a:pt x="907822" y="366704"/>
                      <a:pt x="893548" y="373057"/>
                    </a:cubicBezTo>
                    <a:cubicBezTo>
                      <a:pt x="916435" y="367767"/>
                      <a:pt x="940464" y="371223"/>
                      <a:pt x="960931" y="382759"/>
                    </a:cubicBezTo>
                    <a:cubicBezTo>
                      <a:pt x="975803" y="389870"/>
                      <a:pt x="989732" y="398788"/>
                      <a:pt x="1002397" y="409340"/>
                    </a:cubicBezTo>
                    <a:cubicBezTo>
                      <a:pt x="1032035" y="433396"/>
                      <a:pt x="1057155" y="463433"/>
                      <a:pt x="1049978" y="504102"/>
                    </a:cubicBezTo>
                    <a:cubicBezTo>
                      <a:pt x="1042801" y="544771"/>
                      <a:pt x="997746" y="566567"/>
                      <a:pt x="959336" y="568959"/>
                    </a:cubicBezTo>
                    <a:close/>
                  </a:path>
                </a:pathLst>
              </a:custGeom>
              <a:solidFill>
                <a:srgbClr val="FFFFFF"/>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43" name="Freeform: Shape 42">
                <a:extLst>
                  <a:ext uri="{FF2B5EF4-FFF2-40B4-BE49-F238E27FC236}">
                    <a16:creationId xmlns:a16="http://schemas.microsoft.com/office/drawing/2014/main" id="{20143270-ABF4-22DF-278D-BFBD3EB286CC}"/>
                  </a:ext>
                </a:extLst>
              </p:cNvPr>
              <p:cNvSpPr/>
              <p:nvPr/>
            </p:nvSpPr>
            <p:spPr>
              <a:xfrm>
                <a:off x="6850991" y="3009330"/>
                <a:ext cx="1039489" cy="562804"/>
              </a:xfrm>
              <a:custGeom>
                <a:avLst/>
                <a:gdLst>
                  <a:gd name="csX0" fmla="*/ 815533 w 1039489"/>
                  <a:gd name="csY0" fmla="*/ 398973 h 562804"/>
                  <a:gd name="csX1" fmla="*/ 831881 w 1039489"/>
                  <a:gd name="csY1" fmla="*/ 485495 h 562804"/>
                  <a:gd name="csX2" fmla="*/ 743366 w 1039489"/>
                  <a:gd name="csY2" fmla="*/ 465692 h 562804"/>
                  <a:gd name="csX3" fmla="*/ 730075 w 1039489"/>
                  <a:gd name="csY3" fmla="*/ 399239 h 562804"/>
                  <a:gd name="csX4" fmla="*/ 600227 w 1039489"/>
                  <a:gd name="csY4" fmla="*/ 485362 h 562804"/>
                  <a:gd name="csX5" fmla="*/ 349833 w 1039489"/>
                  <a:gd name="csY5" fmla="*/ 330926 h 562804"/>
                  <a:gd name="csX6" fmla="*/ 368972 w 1039489"/>
                  <a:gd name="csY6" fmla="*/ 263277 h 562804"/>
                  <a:gd name="csX7" fmla="*/ 310361 w 1039489"/>
                  <a:gd name="csY7" fmla="*/ 331325 h 562804"/>
                  <a:gd name="csX8" fmla="*/ 224903 w 1039489"/>
                  <a:gd name="csY8" fmla="*/ 297168 h 562804"/>
                  <a:gd name="csX9" fmla="*/ 183171 w 1039489"/>
                  <a:gd name="csY9" fmla="*/ 190844 h 562804"/>
                  <a:gd name="csX10" fmla="*/ 232877 w 1039489"/>
                  <a:gd name="csY10" fmla="*/ 167054 h 562804"/>
                  <a:gd name="csX11" fmla="*/ 137185 w 1039489"/>
                  <a:gd name="csY11" fmla="*/ 164396 h 562804"/>
                  <a:gd name="csX12" fmla="*/ 141571 w 1039489"/>
                  <a:gd name="csY12" fmla="*/ 41458 h 562804"/>
                  <a:gd name="csX13" fmla="*/ 84688 w 1039489"/>
                  <a:gd name="csY13" fmla="*/ 103259 h 562804"/>
                  <a:gd name="csX14" fmla="*/ 13849 w 1039489"/>
                  <a:gd name="csY14" fmla="*/ -8 h 562804"/>
                  <a:gd name="csX15" fmla="*/ 8268 w 1039489"/>
                  <a:gd name="csY15" fmla="*/ 8764 h 562804"/>
                  <a:gd name="csX16" fmla="*/ 33785 w 1039489"/>
                  <a:gd name="csY16" fmla="*/ 107778 h 562804"/>
                  <a:gd name="csX17" fmla="*/ 100238 w 1039489"/>
                  <a:gd name="csY17" fmla="*/ 139941 h 562804"/>
                  <a:gd name="csX18" fmla="*/ 113528 w 1039489"/>
                  <a:gd name="csY18" fmla="*/ 86779 h 562804"/>
                  <a:gd name="csX19" fmla="*/ 111800 w 1039489"/>
                  <a:gd name="csY19" fmla="*/ 95817 h 562804"/>
                  <a:gd name="csX20" fmla="*/ 109408 w 1039489"/>
                  <a:gd name="csY20" fmla="*/ 128511 h 562804"/>
                  <a:gd name="csX21" fmla="*/ 119775 w 1039489"/>
                  <a:gd name="csY21" fmla="*/ 174098 h 562804"/>
                  <a:gd name="csX22" fmla="*/ 128945 w 1039489"/>
                  <a:gd name="csY22" fmla="*/ 194698 h 562804"/>
                  <a:gd name="csX23" fmla="*/ 140774 w 1039489"/>
                  <a:gd name="csY23" fmla="*/ 187388 h 562804"/>
                  <a:gd name="csX24" fmla="*/ 180646 w 1039489"/>
                  <a:gd name="csY24" fmla="*/ 183401 h 562804"/>
                  <a:gd name="csX25" fmla="*/ 136255 w 1039489"/>
                  <a:gd name="csY25" fmla="*/ 194432 h 562804"/>
                  <a:gd name="csX26" fmla="*/ 116718 w 1039489"/>
                  <a:gd name="csY26" fmla="*/ 225798 h 562804"/>
                  <a:gd name="csX27" fmla="*/ 110073 w 1039489"/>
                  <a:gd name="csY27" fmla="*/ 250784 h 562804"/>
                  <a:gd name="csX28" fmla="*/ 147286 w 1039489"/>
                  <a:gd name="csY28" fmla="*/ 337172 h 562804"/>
                  <a:gd name="csX29" fmla="*/ 308633 w 1039489"/>
                  <a:gd name="csY29" fmla="*/ 397511 h 562804"/>
                  <a:gd name="csX30" fmla="*/ 321923 w 1039489"/>
                  <a:gd name="csY30" fmla="*/ 338634 h 562804"/>
                  <a:gd name="csX31" fmla="*/ 313019 w 1039489"/>
                  <a:gd name="csY31" fmla="*/ 388607 h 562804"/>
                  <a:gd name="csX32" fmla="*/ 319265 w 1039489"/>
                  <a:gd name="csY32" fmla="*/ 413859 h 562804"/>
                  <a:gd name="csX33" fmla="*/ 344119 w 1039489"/>
                  <a:gd name="csY33" fmla="*/ 464496 h 562804"/>
                  <a:gd name="csX34" fmla="*/ 443532 w 1039489"/>
                  <a:gd name="csY34" fmla="*/ 536264 h 562804"/>
                  <a:gd name="csX35" fmla="*/ 581886 w 1039489"/>
                  <a:gd name="csY35" fmla="*/ 551947 h 562804"/>
                  <a:gd name="csX36" fmla="*/ 635048 w 1039489"/>
                  <a:gd name="csY36" fmla="*/ 537593 h 562804"/>
                  <a:gd name="csX37" fmla="*/ 660566 w 1039489"/>
                  <a:gd name="csY37" fmla="*/ 524303 h 562804"/>
                  <a:gd name="csX38" fmla="*/ 692995 w 1039489"/>
                  <a:gd name="csY38" fmla="*/ 494931 h 562804"/>
                  <a:gd name="csX39" fmla="*/ 692995 w 1039489"/>
                  <a:gd name="csY39" fmla="*/ 495728 h 562804"/>
                  <a:gd name="csX40" fmla="*/ 671065 w 1039489"/>
                  <a:gd name="csY40" fmla="*/ 525765 h 562804"/>
                  <a:gd name="csX41" fmla="*/ 684356 w 1039489"/>
                  <a:gd name="csY41" fmla="*/ 537195 h 562804"/>
                  <a:gd name="csX42" fmla="*/ 764099 w 1039489"/>
                  <a:gd name="csY42" fmla="*/ 562712 h 562804"/>
                  <a:gd name="csX43" fmla="*/ 846101 w 1039489"/>
                  <a:gd name="csY43" fmla="*/ 545701 h 562804"/>
                  <a:gd name="csX44" fmla="*/ 878796 w 1039489"/>
                  <a:gd name="csY44" fmla="*/ 524170 h 562804"/>
                  <a:gd name="csX45" fmla="*/ 883580 w 1039489"/>
                  <a:gd name="csY45" fmla="*/ 518721 h 562804"/>
                  <a:gd name="csX46" fmla="*/ 860322 w 1039489"/>
                  <a:gd name="csY46" fmla="*/ 501709 h 562804"/>
                  <a:gd name="csX47" fmla="*/ 881055 w 1039489"/>
                  <a:gd name="csY47" fmla="*/ 511677 h 562804"/>
                  <a:gd name="csX48" fmla="*/ 908567 w 1039489"/>
                  <a:gd name="csY48" fmla="*/ 522841 h 562804"/>
                  <a:gd name="csX49" fmla="*/ 959735 w 1039489"/>
                  <a:gd name="csY49" fmla="*/ 532277 h 562804"/>
                  <a:gd name="csX50" fmla="*/ 1039478 w 1039489"/>
                  <a:gd name="csY50" fmla="*/ 492406 h 562804"/>
                  <a:gd name="csX51" fmla="*/ 815533 w 1039489"/>
                  <a:gd name="csY51" fmla="*/ 398973 h 56280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Lst>
                <a:rect l="l" t="t" r="r" b="b"/>
                <a:pathLst>
                  <a:path w="1039489" h="562804">
                    <a:moveTo>
                      <a:pt x="815533" y="398973"/>
                    </a:moveTo>
                    <a:cubicBezTo>
                      <a:pt x="820451" y="428877"/>
                      <a:pt x="804901" y="460508"/>
                      <a:pt x="831881" y="485495"/>
                    </a:cubicBezTo>
                    <a:cubicBezTo>
                      <a:pt x="803572" y="503171"/>
                      <a:pt x="757852" y="492406"/>
                      <a:pt x="743366" y="465692"/>
                    </a:cubicBezTo>
                    <a:cubicBezTo>
                      <a:pt x="730075" y="444427"/>
                      <a:pt x="733132" y="422099"/>
                      <a:pt x="730075" y="399239"/>
                    </a:cubicBezTo>
                    <a:cubicBezTo>
                      <a:pt x="706551" y="450806"/>
                      <a:pt x="654319" y="493602"/>
                      <a:pt x="600227" y="485362"/>
                    </a:cubicBezTo>
                    <a:cubicBezTo>
                      <a:pt x="499219" y="474995"/>
                      <a:pt x="389971" y="425289"/>
                      <a:pt x="349833" y="330926"/>
                    </a:cubicBezTo>
                    <a:cubicBezTo>
                      <a:pt x="342258" y="308731"/>
                      <a:pt x="353289" y="284808"/>
                      <a:pt x="368972" y="263277"/>
                    </a:cubicBezTo>
                    <a:cubicBezTo>
                      <a:pt x="340982" y="277020"/>
                      <a:pt x="319810" y="301607"/>
                      <a:pt x="310361" y="331325"/>
                    </a:cubicBezTo>
                    <a:cubicBezTo>
                      <a:pt x="280324" y="320426"/>
                      <a:pt x="251882" y="314313"/>
                      <a:pt x="224903" y="297168"/>
                    </a:cubicBezTo>
                    <a:cubicBezTo>
                      <a:pt x="193271" y="273777"/>
                      <a:pt x="151805" y="229918"/>
                      <a:pt x="183171" y="190844"/>
                    </a:cubicBezTo>
                    <a:cubicBezTo>
                      <a:pt x="196647" y="177620"/>
                      <a:pt x="214124" y="169260"/>
                      <a:pt x="232877" y="167054"/>
                    </a:cubicBezTo>
                    <a:cubicBezTo>
                      <a:pt x="200847" y="155624"/>
                      <a:pt x="164431" y="146719"/>
                      <a:pt x="137185" y="164396"/>
                    </a:cubicBezTo>
                    <a:cubicBezTo>
                      <a:pt x="117595" y="125348"/>
                      <a:pt x="119243" y="79004"/>
                      <a:pt x="141571" y="41458"/>
                    </a:cubicBezTo>
                    <a:cubicBezTo>
                      <a:pt x="113116" y="50695"/>
                      <a:pt x="91546" y="74127"/>
                      <a:pt x="84688" y="103259"/>
                    </a:cubicBezTo>
                    <a:cubicBezTo>
                      <a:pt x="35114" y="89969"/>
                      <a:pt x="1091" y="41857"/>
                      <a:pt x="13849" y="-8"/>
                    </a:cubicBezTo>
                    <a:cubicBezTo>
                      <a:pt x="11829" y="2810"/>
                      <a:pt x="9969" y="5747"/>
                      <a:pt x="8268" y="8764"/>
                    </a:cubicBezTo>
                    <a:cubicBezTo>
                      <a:pt x="-9183" y="43505"/>
                      <a:pt x="1715" y="85796"/>
                      <a:pt x="33785" y="107778"/>
                    </a:cubicBezTo>
                    <a:cubicBezTo>
                      <a:pt x="53894" y="122291"/>
                      <a:pt x="76381" y="133176"/>
                      <a:pt x="100238" y="139941"/>
                    </a:cubicBezTo>
                    <a:cubicBezTo>
                      <a:pt x="101740" y="121614"/>
                      <a:pt x="106219" y="103658"/>
                      <a:pt x="113528" y="86779"/>
                    </a:cubicBezTo>
                    <a:cubicBezTo>
                      <a:pt x="113528" y="89703"/>
                      <a:pt x="112332" y="92760"/>
                      <a:pt x="111800" y="95817"/>
                    </a:cubicBezTo>
                    <a:cubicBezTo>
                      <a:pt x="109940" y="106609"/>
                      <a:pt x="109142" y="117560"/>
                      <a:pt x="109408" y="128511"/>
                    </a:cubicBezTo>
                    <a:cubicBezTo>
                      <a:pt x="109262" y="144300"/>
                      <a:pt x="112811" y="159917"/>
                      <a:pt x="119775" y="174098"/>
                    </a:cubicBezTo>
                    <a:cubicBezTo>
                      <a:pt x="122141" y="181248"/>
                      <a:pt x="125224" y="188146"/>
                      <a:pt x="128945" y="194698"/>
                    </a:cubicBezTo>
                    <a:cubicBezTo>
                      <a:pt x="132627" y="191867"/>
                      <a:pt x="136587" y="189409"/>
                      <a:pt x="140774" y="187388"/>
                    </a:cubicBezTo>
                    <a:cubicBezTo>
                      <a:pt x="152775" y="180079"/>
                      <a:pt x="167435" y="178603"/>
                      <a:pt x="180646" y="183401"/>
                    </a:cubicBezTo>
                    <a:cubicBezTo>
                      <a:pt x="165029" y="182019"/>
                      <a:pt x="149399" y="185900"/>
                      <a:pt x="136255" y="194432"/>
                    </a:cubicBezTo>
                    <a:cubicBezTo>
                      <a:pt x="125968" y="201995"/>
                      <a:pt x="118977" y="213225"/>
                      <a:pt x="116718" y="225798"/>
                    </a:cubicBezTo>
                    <a:cubicBezTo>
                      <a:pt x="113249" y="233746"/>
                      <a:pt x="111016" y="242172"/>
                      <a:pt x="110073" y="250784"/>
                    </a:cubicBezTo>
                    <a:cubicBezTo>
                      <a:pt x="107720" y="283917"/>
                      <a:pt x="121595" y="316120"/>
                      <a:pt x="147286" y="337172"/>
                    </a:cubicBezTo>
                    <a:cubicBezTo>
                      <a:pt x="190985" y="377802"/>
                      <a:pt x="248998" y="399492"/>
                      <a:pt x="308633" y="397511"/>
                    </a:cubicBezTo>
                    <a:cubicBezTo>
                      <a:pt x="307105" y="377004"/>
                      <a:pt x="311730" y="356497"/>
                      <a:pt x="321923" y="338634"/>
                    </a:cubicBezTo>
                    <a:cubicBezTo>
                      <a:pt x="315770" y="354570"/>
                      <a:pt x="312753" y="371528"/>
                      <a:pt x="313019" y="388607"/>
                    </a:cubicBezTo>
                    <a:cubicBezTo>
                      <a:pt x="313736" y="397299"/>
                      <a:pt x="315850" y="405831"/>
                      <a:pt x="319265" y="413859"/>
                    </a:cubicBezTo>
                    <a:cubicBezTo>
                      <a:pt x="324422" y="432107"/>
                      <a:pt x="332835" y="449265"/>
                      <a:pt x="344119" y="464496"/>
                    </a:cubicBezTo>
                    <a:cubicBezTo>
                      <a:pt x="369769" y="497376"/>
                      <a:pt x="404245" y="522269"/>
                      <a:pt x="443532" y="536264"/>
                    </a:cubicBezTo>
                    <a:cubicBezTo>
                      <a:pt x="487630" y="552904"/>
                      <a:pt x="535183" y="558300"/>
                      <a:pt x="581886" y="551947"/>
                    </a:cubicBezTo>
                    <a:cubicBezTo>
                      <a:pt x="600174" y="549608"/>
                      <a:pt x="618063" y="544770"/>
                      <a:pt x="635048" y="537593"/>
                    </a:cubicBezTo>
                    <a:cubicBezTo>
                      <a:pt x="644006" y="534085"/>
                      <a:pt x="652552" y="529619"/>
                      <a:pt x="660566" y="524303"/>
                    </a:cubicBezTo>
                    <a:cubicBezTo>
                      <a:pt x="673617" y="517312"/>
                      <a:pt x="684741" y="507224"/>
                      <a:pt x="692995" y="494931"/>
                    </a:cubicBezTo>
                    <a:cubicBezTo>
                      <a:pt x="692995" y="494931"/>
                      <a:pt x="692995" y="494931"/>
                      <a:pt x="692995" y="495728"/>
                    </a:cubicBezTo>
                    <a:cubicBezTo>
                      <a:pt x="687599" y="507012"/>
                      <a:pt x="680169" y="517192"/>
                      <a:pt x="671065" y="525765"/>
                    </a:cubicBezTo>
                    <a:cubicBezTo>
                      <a:pt x="675132" y="529978"/>
                      <a:pt x="679584" y="533806"/>
                      <a:pt x="684356" y="537195"/>
                    </a:cubicBezTo>
                    <a:cubicBezTo>
                      <a:pt x="708119" y="552811"/>
                      <a:pt x="735684" y="561636"/>
                      <a:pt x="764099" y="562712"/>
                    </a:cubicBezTo>
                    <a:cubicBezTo>
                      <a:pt x="792394" y="563576"/>
                      <a:pt x="820490" y="557755"/>
                      <a:pt x="846101" y="545701"/>
                    </a:cubicBezTo>
                    <a:cubicBezTo>
                      <a:pt x="858103" y="540371"/>
                      <a:pt x="869160" y="533088"/>
                      <a:pt x="878796" y="524170"/>
                    </a:cubicBezTo>
                    <a:cubicBezTo>
                      <a:pt x="880537" y="522482"/>
                      <a:pt x="882132" y="520661"/>
                      <a:pt x="883580" y="518721"/>
                    </a:cubicBezTo>
                    <a:cubicBezTo>
                      <a:pt x="875354" y="513737"/>
                      <a:pt x="867566" y="508048"/>
                      <a:pt x="860322" y="501709"/>
                    </a:cubicBezTo>
                    <a:cubicBezTo>
                      <a:pt x="867061" y="505377"/>
                      <a:pt x="873985" y="508713"/>
                      <a:pt x="881055" y="511677"/>
                    </a:cubicBezTo>
                    <a:cubicBezTo>
                      <a:pt x="890013" y="515890"/>
                      <a:pt x="899197" y="519611"/>
                      <a:pt x="908567" y="522841"/>
                    </a:cubicBezTo>
                    <a:cubicBezTo>
                      <a:pt x="924688" y="529818"/>
                      <a:pt x="942178" y="533048"/>
                      <a:pt x="959735" y="532277"/>
                    </a:cubicBezTo>
                    <a:cubicBezTo>
                      <a:pt x="989639" y="530417"/>
                      <a:pt x="1022998" y="518056"/>
                      <a:pt x="1039478" y="492406"/>
                    </a:cubicBezTo>
                    <a:cubicBezTo>
                      <a:pt x="957874" y="532676"/>
                      <a:pt x="842114" y="492140"/>
                      <a:pt x="815533" y="398973"/>
                    </a:cubicBezTo>
                    <a:close/>
                  </a:path>
                </a:pathLst>
              </a:custGeom>
              <a:solidFill>
                <a:srgbClr val="BCE8E5">
                  <a:alpha val="40000"/>
                </a:srgbClr>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44" name="Freeform: Shape 43">
                <a:extLst>
                  <a:ext uri="{FF2B5EF4-FFF2-40B4-BE49-F238E27FC236}">
                    <a16:creationId xmlns:a16="http://schemas.microsoft.com/office/drawing/2014/main" id="{61C70A71-483F-BBF9-3470-054055A40673}"/>
                  </a:ext>
                </a:extLst>
              </p:cNvPr>
              <p:cNvSpPr/>
              <p:nvPr/>
            </p:nvSpPr>
            <p:spPr>
              <a:xfrm>
                <a:off x="4992376" y="2320453"/>
                <a:ext cx="1276978" cy="620350"/>
              </a:xfrm>
              <a:custGeom>
                <a:avLst/>
                <a:gdLst>
                  <a:gd name="csX0" fmla="*/ 1276917 w 1276978"/>
                  <a:gd name="csY0" fmla="*/ 351955 h 620350"/>
                  <a:gd name="csX1" fmla="*/ 1188668 w 1276978"/>
                  <a:gd name="csY1" fmla="*/ 253738 h 620350"/>
                  <a:gd name="csX2" fmla="*/ 1112912 w 1276978"/>
                  <a:gd name="csY2" fmla="*/ 241643 h 620350"/>
                  <a:gd name="csX3" fmla="*/ 1112912 w 1276978"/>
                  <a:gd name="csY3" fmla="*/ 210411 h 620350"/>
                  <a:gd name="csX4" fmla="*/ 1052307 w 1276978"/>
                  <a:gd name="csY4" fmla="*/ 127345 h 620350"/>
                  <a:gd name="csX5" fmla="*/ 952230 w 1276978"/>
                  <a:gd name="csY5" fmla="*/ 101561 h 620350"/>
                  <a:gd name="csX6" fmla="*/ 910763 w 1276978"/>
                  <a:gd name="csY6" fmla="*/ 111529 h 620350"/>
                  <a:gd name="csX7" fmla="*/ 888036 w 1276978"/>
                  <a:gd name="csY7" fmla="*/ 35508 h 620350"/>
                  <a:gd name="csX8" fmla="*/ 795003 w 1276978"/>
                  <a:gd name="csY8" fmla="*/ 686 h 620350"/>
                  <a:gd name="csX9" fmla="*/ 707684 w 1276978"/>
                  <a:gd name="csY9" fmla="*/ 40558 h 620350"/>
                  <a:gd name="csX10" fmla="*/ 689742 w 1276978"/>
                  <a:gd name="csY10" fmla="*/ 61158 h 620350"/>
                  <a:gd name="csX11" fmla="*/ 643624 w 1276978"/>
                  <a:gd name="csY11" fmla="*/ 32717 h 620350"/>
                  <a:gd name="csX12" fmla="*/ 519092 w 1276978"/>
                  <a:gd name="csY12" fmla="*/ 32717 h 620350"/>
                  <a:gd name="csX13" fmla="*/ 428052 w 1276978"/>
                  <a:gd name="csY13" fmla="*/ 107010 h 620350"/>
                  <a:gd name="csX14" fmla="*/ 420742 w 1276978"/>
                  <a:gd name="csY14" fmla="*/ 121763 h 620350"/>
                  <a:gd name="csX15" fmla="*/ 413299 w 1276978"/>
                  <a:gd name="csY15" fmla="*/ 116580 h 620350"/>
                  <a:gd name="csX16" fmla="*/ 335284 w 1276978"/>
                  <a:gd name="csY16" fmla="*/ 84284 h 620350"/>
                  <a:gd name="csX17" fmla="*/ 219258 w 1276978"/>
                  <a:gd name="csY17" fmla="*/ 107808 h 620350"/>
                  <a:gd name="csX18" fmla="*/ 146293 w 1276978"/>
                  <a:gd name="csY18" fmla="*/ 78436 h 620350"/>
                  <a:gd name="csX19" fmla="*/ 10331 w 1276978"/>
                  <a:gd name="csY19" fmla="*/ 141699 h 620350"/>
                  <a:gd name="csX20" fmla="*/ 43557 w 1276978"/>
                  <a:gd name="csY20" fmla="*/ 263839 h 620350"/>
                  <a:gd name="csX21" fmla="*/ 152938 w 1276978"/>
                  <a:gd name="csY21" fmla="*/ 286300 h 620350"/>
                  <a:gd name="csX22" fmla="*/ 152938 w 1276978"/>
                  <a:gd name="csY22" fmla="*/ 287496 h 620350"/>
                  <a:gd name="csX23" fmla="*/ 186829 w 1276978"/>
                  <a:gd name="csY23" fmla="*/ 344512 h 620350"/>
                  <a:gd name="csX24" fmla="*/ 180450 w 1276978"/>
                  <a:gd name="csY24" fmla="*/ 363517 h 620350"/>
                  <a:gd name="csX25" fmla="*/ 218992 w 1276978"/>
                  <a:gd name="csY25" fmla="*/ 472765 h 620350"/>
                  <a:gd name="csX26" fmla="*/ 348309 w 1276978"/>
                  <a:gd name="csY26" fmla="*/ 520611 h 620350"/>
                  <a:gd name="csX27" fmla="*/ 452772 w 1276978"/>
                  <a:gd name="csY27" fmla="*/ 504131 h 620350"/>
                  <a:gd name="csX28" fmla="*/ 485334 w 1276978"/>
                  <a:gd name="csY28" fmla="*/ 554901 h 620350"/>
                  <a:gd name="csX29" fmla="*/ 626213 w 1276978"/>
                  <a:gd name="csY29" fmla="*/ 618164 h 620350"/>
                  <a:gd name="csX30" fmla="*/ 790883 w 1276978"/>
                  <a:gd name="csY30" fmla="*/ 591583 h 620350"/>
                  <a:gd name="csX31" fmla="*/ 863715 w 1276978"/>
                  <a:gd name="csY31" fmla="*/ 534965 h 620350"/>
                  <a:gd name="csX32" fmla="*/ 871822 w 1276978"/>
                  <a:gd name="csY32" fmla="*/ 540813 h 620350"/>
                  <a:gd name="csX33" fmla="*/ 975621 w 1276978"/>
                  <a:gd name="csY33" fmla="*/ 559420 h 620350"/>
                  <a:gd name="csX34" fmla="*/ 1073173 w 1276978"/>
                  <a:gd name="csY34" fmla="*/ 512105 h 620350"/>
                  <a:gd name="csX35" fmla="*/ 1105868 w 1276978"/>
                  <a:gd name="csY35" fmla="*/ 474094 h 620350"/>
                  <a:gd name="csX36" fmla="*/ 1111982 w 1276978"/>
                  <a:gd name="csY36" fmla="*/ 460804 h 620350"/>
                  <a:gd name="csX37" fmla="*/ 1188003 w 1276978"/>
                  <a:gd name="csY37" fmla="*/ 457216 h 620350"/>
                  <a:gd name="csX38" fmla="*/ 1276917 w 1276978"/>
                  <a:gd name="csY38" fmla="*/ 351955 h 62035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Lst>
                <a:rect l="l" t="t" r="r" b="b"/>
                <a:pathLst>
                  <a:path w="1276978" h="620350">
                    <a:moveTo>
                      <a:pt x="1276917" y="351955"/>
                    </a:moveTo>
                    <a:cubicBezTo>
                      <a:pt x="1274923" y="300122"/>
                      <a:pt x="1232792" y="270750"/>
                      <a:pt x="1188668" y="253738"/>
                    </a:cubicBezTo>
                    <a:cubicBezTo>
                      <a:pt x="1164426" y="244878"/>
                      <a:pt x="1138709" y="240773"/>
                      <a:pt x="1112912" y="241643"/>
                    </a:cubicBezTo>
                    <a:cubicBezTo>
                      <a:pt x="1113975" y="231259"/>
                      <a:pt x="1113975" y="220795"/>
                      <a:pt x="1112912" y="210411"/>
                    </a:cubicBezTo>
                    <a:cubicBezTo>
                      <a:pt x="1108393" y="173995"/>
                      <a:pt x="1082078" y="146218"/>
                      <a:pt x="1052307" y="127345"/>
                    </a:cubicBezTo>
                    <a:cubicBezTo>
                      <a:pt x="1022510" y="108398"/>
                      <a:pt x="987476" y="99371"/>
                      <a:pt x="952230" y="101561"/>
                    </a:cubicBezTo>
                    <a:cubicBezTo>
                      <a:pt x="937956" y="102557"/>
                      <a:pt x="923934" y="105925"/>
                      <a:pt x="910763" y="111529"/>
                    </a:cubicBezTo>
                    <a:cubicBezTo>
                      <a:pt x="914179" y="84123"/>
                      <a:pt x="905939" y="56540"/>
                      <a:pt x="888036" y="35508"/>
                    </a:cubicBezTo>
                    <a:cubicBezTo>
                      <a:pt x="864379" y="9695"/>
                      <a:pt x="829797" y="-3248"/>
                      <a:pt x="795003" y="686"/>
                    </a:cubicBezTo>
                    <a:cubicBezTo>
                      <a:pt x="761989" y="2834"/>
                      <a:pt x="730929" y="17022"/>
                      <a:pt x="707684" y="40558"/>
                    </a:cubicBezTo>
                    <a:cubicBezTo>
                      <a:pt x="701238" y="47002"/>
                      <a:pt x="695244" y="53886"/>
                      <a:pt x="689742" y="61158"/>
                    </a:cubicBezTo>
                    <a:cubicBezTo>
                      <a:pt x="675694" y="49674"/>
                      <a:pt x="660184" y="40110"/>
                      <a:pt x="643624" y="32717"/>
                    </a:cubicBezTo>
                    <a:cubicBezTo>
                      <a:pt x="603925" y="15368"/>
                      <a:pt x="558791" y="15368"/>
                      <a:pt x="519092" y="32717"/>
                    </a:cubicBezTo>
                    <a:cubicBezTo>
                      <a:pt x="481559" y="47080"/>
                      <a:pt x="449649" y="73126"/>
                      <a:pt x="428052" y="107010"/>
                    </a:cubicBezTo>
                    <a:cubicBezTo>
                      <a:pt x="425115" y="111662"/>
                      <a:pt x="422669" y="116606"/>
                      <a:pt x="420742" y="121763"/>
                    </a:cubicBezTo>
                    <a:lnTo>
                      <a:pt x="413299" y="116580"/>
                    </a:lnTo>
                    <a:cubicBezTo>
                      <a:pt x="389855" y="100450"/>
                      <a:pt x="363274" y="89444"/>
                      <a:pt x="335284" y="84284"/>
                    </a:cubicBezTo>
                    <a:cubicBezTo>
                      <a:pt x="295040" y="78217"/>
                      <a:pt x="253959" y="86547"/>
                      <a:pt x="219258" y="107808"/>
                    </a:cubicBezTo>
                    <a:cubicBezTo>
                      <a:pt x="197488" y="92592"/>
                      <a:pt x="172528" y="82547"/>
                      <a:pt x="146293" y="78436"/>
                    </a:cubicBezTo>
                    <a:cubicBezTo>
                      <a:pt x="91775" y="65337"/>
                      <a:pt x="35423" y="91558"/>
                      <a:pt x="10331" y="141699"/>
                    </a:cubicBezTo>
                    <a:cubicBezTo>
                      <a:pt x="-11784" y="184884"/>
                      <a:pt x="2609" y="237810"/>
                      <a:pt x="43557" y="263839"/>
                    </a:cubicBezTo>
                    <a:cubicBezTo>
                      <a:pt x="76412" y="283509"/>
                      <a:pt x="114981" y="291428"/>
                      <a:pt x="152938" y="286300"/>
                    </a:cubicBezTo>
                    <a:cubicBezTo>
                      <a:pt x="153005" y="286696"/>
                      <a:pt x="153005" y="287100"/>
                      <a:pt x="152938" y="287496"/>
                    </a:cubicBezTo>
                    <a:cubicBezTo>
                      <a:pt x="158467" y="309388"/>
                      <a:pt x="170243" y="329200"/>
                      <a:pt x="186829" y="344512"/>
                    </a:cubicBezTo>
                    <a:cubicBezTo>
                      <a:pt x="184184" y="350663"/>
                      <a:pt x="182058" y="357018"/>
                      <a:pt x="180450" y="363517"/>
                    </a:cubicBezTo>
                    <a:cubicBezTo>
                      <a:pt x="171146" y="404319"/>
                      <a:pt x="186138" y="446837"/>
                      <a:pt x="218992" y="472765"/>
                    </a:cubicBezTo>
                    <a:cubicBezTo>
                      <a:pt x="256671" y="500695"/>
                      <a:pt x="301526" y="517294"/>
                      <a:pt x="348309" y="520611"/>
                    </a:cubicBezTo>
                    <a:cubicBezTo>
                      <a:pt x="383994" y="525082"/>
                      <a:pt x="420197" y="519369"/>
                      <a:pt x="452772" y="504131"/>
                    </a:cubicBezTo>
                    <a:cubicBezTo>
                      <a:pt x="460839" y="522690"/>
                      <a:pt x="471831" y="539832"/>
                      <a:pt x="485334" y="554901"/>
                    </a:cubicBezTo>
                    <a:cubicBezTo>
                      <a:pt x="520687" y="594108"/>
                      <a:pt x="575311" y="611917"/>
                      <a:pt x="626213" y="618164"/>
                    </a:cubicBezTo>
                    <a:cubicBezTo>
                      <a:pt x="682512" y="624970"/>
                      <a:pt x="739581" y="615755"/>
                      <a:pt x="790883" y="591583"/>
                    </a:cubicBezTo>
                    <a:cubicBezTo>
                      <a:pt x="819325" y="578785"/>
                      <a:pt x="844297" y="559373"/>
                      <a:pt x="863715" y="534965"/>
                    </a:cubicBezTo>
                    <a:cubicBezTo>
                      <a:pt x="866373" y="536959"/>
                      <a:pt x="869031" y="538952"/>
                      <a:pt x="871822" y="540813"/>
                    </a:cubicBezTo>
                    <a:cubicBezTo>
                      <a:pt x="903081" y="559233"/>
                      <a:pt x="939909" y="565835"/>
                      <a:pt x="975621" y="559420"/>
                    </a:cubicBezTo>
                    <a:cubicBezTo>
                      <a:pt x="1011970" y="553223"/>
                      <a:pt x="1045808" y="536814"/>
                      <a:pt x="1073173" y="512105"/>
                    </a:cubicBezTo>
                    <a:cubicBezTo>
                      <a:pt x="1085826" y="501052"/>
                      <a:pt x="1096830" y="488253"/>
                      <a:pt x="1105868" y="474094"/>
                    </a:cubicBezTo>
                    <a:cubicBezTo>
                      <a:pt x="1108539" y="469981"/>
                      <a:pt x="1110586" y="465505"/>
                      <a:pt x="1111982" y="460804"/>
                    </a:cubicBezTo>
                    <a:cubicBezTo>
                      <a:pt x="1137220" y="465962"/>
                      <a:pt x="1163363" y="464729"/>
                      <a:pt x="1188003" y="457216"/>
                    </a:cubicBezTo>
                    <a:cubicBezTo>
                      <a:pt x="1235982" y="440868"/>
                      <a:pt x="1278645" y="405781"/>
                      <a:pt x="1276917" y="351955"/>
                    </a:cubicBezTo>
                    <a:close/>
                  </a:path>
                </a:pathLst>
              </a:custGeom>
              <a:solidFill>
                <a:srgbClr val="A2B9B9"/>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45" name="Freeform: Shape 44">
                <a:extLst>
                  <a:ext uri="{FF2B5EF4-FFF2-40B4-BE49-F238E27FC236}">
                    <a16:creationId xmlns:a16="http://schemas.microsoft.com/office/drawing/2014/main" id="{BAC8E368-6D0A-B75F-EF48-5EC597A2C74A}"/>
                  </a:ext>
                </a:extLst>
              </p:cNvPr>
              <p:cNvSpPr/>
              <p:nvPr/>
            </p:nvSpPr>
            <p:spPr>
              <a:xfrm>
                <a:off x="5026616" y="2335684"/>
                <a:ext cx="1245097" cy="591270"/>
              </a:xfrm>
              <a:custGeom>
                <a:avLst/>
                <a:gdLst>
                  <a:gd name="csX0" fmla="*/ 1167054 w 1245097"/>
                  <a:gd name="csY0" fmla="*/ 437731 h 591270"/>
                  <a:gd name="csX1" fmla="*/ 1109772 w 1245097"/>
                  <a:gd name="csY1" fmla="*/ 442383 h 591270"/>
                  <a:gd name="csX2" fmla="*/ 1076811 w 1245097"/>
                  <a:gd name="csY2" fmla="*/ 438396 h 591270"/>
                  <a:gd name="csX3" fmla="*/ 1051692 w 1245097"/>
                  <a:gd name="csY3" fmla="*/ 433611 h 591270"/>
                  <a:gd name="csX4" fmla="*/ 1081463 w 1245097"/>
                  <a:gd name="csY4" fmla="*/ 445041 h 591270"/>
                  <a:gd name="csX5" fmla="*/ 1078007 w 1245097"/>
                  <a:gd name="csY5" fmla="*/ 452351 h 591270"/>
                  <a:gd name="csX6" fmla="*/ 1049167 w 1245097"/>
                  <a:gd name="csY6" fmla="*/ 484514 h 591270"/>
                  <a:gd name="csX7" fmla="*/ 966500 w 1245097"/>
                  <a:gd name="csY7" fmla="*/ 526246 h 591270"/>
                  <a:gd name="csX8" fmla="*/ 874264 w 1245097"/>
                  <a:gd name="csY8" fmla="*/ 521993 h 591270"/>
                  <a:gd name="csX9" fmla="*/ 856189 w 1245097"/>
                  <a:gd name="csY9" fmla="*/ 513753 h 591270"/>
                  <a:gd name="csX10" fmla="*/ 870941 w 1245097"/>
                  <a:gd name="csY10" fmla="*/ 475210 h 591270"/>
                  <a:gd name="csX11" fmla="*/ 870941 w 1245097"/>
                  <a:gd name="csY11" fmla="*/ 474413 h 591270"/>
                  <a:gd name="csX12" fmla="*/ 844360 w 1245097"/>
                  <a:gd name="csY12" fmla="*/ 515082 h 591270"/>
                  <a:gd name="csX13" fmla="*/ 820836 w 1245097"/>
                  <a:gd name="csY13" fmla="*/ 536347 h 591270"/>
                  <a:gd name="csX14" fmla="*/ 768604 w 1245097"/>
                  <a:gd name="csY14" fmla="*/ 566915 h 591270"/>
                  <a:gd name="csX15" fmla="*/ 616295 w 1245097"/>
                  <a:gd name="csY15" fmla="*/ 589775 h 591270"/>
                  <a:gd name="csX16" fmla="*/ 489503 w 1245097"/>
                  <a:gd name="csY16" fmla="*/ 541663 h 591270"/>
                  <a:gd name="csX17" fmla="*/ 448436 w 1245097"/>
                  <a:gd name="csY17" fmla="*/ 494747 h 591270"/>
                  <a:gd name="csX18" fmla="*/ 435145 w 1245097"/>
                  <a:gd name="csY18" fmla="*/ 469628 h 591270"/>
                  <a:gd name="csX19" fmla="*/ 430494 w 1245097"/>
                  <a:gd name="csY19" fmla="*/ 413675 h 591270"/>
                  <a:gd name="csX20" fmla="*/ 433683 w 1245097"/>
                  <a:gd name="csY20" fmla="*/ 480128 h 591270"/>
                  <a:gd name="csX21" fmla="*/ 244028 w 1245097"/>
                  <a:gd name="csY21" fmla="*/ 462053 h 591270"/>
                  <a:gd name="csX22" fmla="*/ 179569 w 1245097"/>
                  <a:gd name="csY22" fmla="*/ 380449 h 591270"/>
                  <a:gd name="csX23" fmla="*/ 179569 w 1245097"/>
                  <a:gd name="csY23" fmla="*/ 351874 h 591270"/>
                  <a:gd name="csX24" fmla="*/ 191397 w 1245097"/>
                  <a:gd name="csY24" fmla="*/ 312800 h 591270"/>
                  <a:gd name="csX25" fmla="*/ 235655 w 1245097"/>
                  <a:gd name="csY25" fmla="*/ 288346 h 591270"/>
                  <a:gd name="csX26" fmla="*/ 193923 w 1245097"/>
                  <a:gd name="csY26" fmla="*/ 304029 h 591270"/>
                  <a:gd name="csX27" fmla="*/ 183423 w 1245097"/>
                  <a:gd name="csY27" fmla="*/ 315325 h 591270"/>
                  <a:gd name="csX28" fmla="*/ 167873 w 1245097"/>
                  <a:gd name="csY28" fmla="*/ 295921 h 591270"/>
                  <a:gd name="csX29" fmla="*/ 143684 w 1245097"/>
                  <a:gd name="csY29" fmla="*/ 250202 h 591270"/>
                  <a:gd name="csX30" fmla="*/ 136906 w 1245097"/>
                  <a:gd name="csY30" fmla="*/ 214583 h 591270"/>
                  <a:gd name="csX31" fmla="*/ 136109 w 1245097"/>
                  <a:gd name="csY31" fmla="*/ 204350 h 591270"/>
                  <a:gd name="csX32" fmla="*/ 137305 w 1245097"/>
                  <a:gd name="csY32" fmla="*/ 265752 h 591270"/>
                  <a:gd name="csX33" fmla="*/ 57562 w 1245097"/>
                  <a:gd name="csY33" fmla="*/ 250468 h 591270"/>
                  <a:gd name="csX34" fmla="*/ 1742 w 1245097"/>
                  <a:gd name="csY34" fmla="*/ 151985 h 591270"/>
                  <a:gd name="csX35" fmla="*/ 114711 w 1245097"/>
                  <a:gd name="csY35" fmla="*/ 76894 h 591270"/>
                  <a:gd name="csX36" fmla="*/ 186878 w 1245097"/>
                  <a:gd name="csY36" fmla="*/ 96298 h 591270"/>
                  <a:gd name="csX37" fmla="*/ 197378 w 1245097"/>
                  <a:gd name="csY37" fmla="*/ 101880 h 591270"/>
                  <a:gd name="csX38" fmla="*/ 174120 w 1245097"/>
                  <a:gd name="csY38" fmla="*/ 122214 h 591270"/>
                  <a:gd name="csX39" fmla="*/ 167474 w 1245097"/>
                  <a:gd name="csY39" fmla="*/ 132581 h 591270"/>
                  <a:gd name="csX40" fmla="*/ 215054 w 1245097"/>
                  <a:gd name="csY40" fmla="*/ 99753 h 591270"/>
                  <a:gd name="csX41" fmla="*/ 333074 w 1245097"/>
                  <a:gd name="csY41" fmla="*/ 80748 h 591270"/>
                  <a:gd name="csX42" fmla="*/ 405906 w 1245097"/>
                  <a:gd name="csY42" fmla="*/ 113443 h 591270"/>
                  <a:gd name="csX43" fmla="*/ 401520 w 1245097"/>
                  <a:gd name="csY43" fmla="*/ 146270 h 591270"/>
                  <a:gd name="csX44" fmla="*/ 425310 w 1245097"/>
                  <a:gd name="csY44" fmla="*/ 96431 h 591270"/>
                  <a:gd name="csX45" fmla="*/ 433019 w 1245097"/>
                  <a:gd name="csY45" fmla="*/ 86330 h 591270"/>
                  <a:gd name="csX46" fmla="*/ 530704 w 1245097"/>
                  <a:gd name="csY46" fmla="*/ 24662 h 591270"/>
                  <a:gd name="csX47" fmla="*/ 651116 w 1245097"/>
                  <a:gd name="csY47" fmla="*/ 43003 h 591270"/>
                  <a:gd name="csX48" fmla="*/ 670919 w 1245097"/>
                  <a:gd name="csY48" fmla="*/ 55496 h 591270"/>
                  <a:gd name="csX49" fmla="*/ 670919 w 1245097"/>
                  <a:gd name="csY49" fmla="*/ 55496 h 591270"/>
                  <a:gd name="csX50" fmla="*/ 674242 w 1245097"/>
                  <a:gd name="csY50" fmla="*/ 57622 h 591270"/>
                  <a:gd name="csX51" fmla="*/ 674242 w 1245097"/>
                  <a:gd name="csY51" fmla="*/ 57622 h 591270"/>
                  <a:gd name="csX52" fmla="*/ 674906 w 1245097"/>
                  <a:gd name="csY52" fmla="*/ 57622 h 591270"/>
                  <a:gd name="csX53" fmla="*/ 679425 w 1245097"/>
                  <a:gd name="csY53" fmla="*/ 60945 h 591270"/>
                  <a:gd name="csX54" fmla="*/ 698430 w 1245097"/>
                  <a:gd name="csY54" fmla="*/ 75830 h 591270"/>
                  <a:gd name="csX55" fmla="*/ 681153 w 1245097"/>
                  <a:gd name="csY55" fmla="*/ 54831 h 591270"/>
                  <a:gd name="csX56" fmla="*/ 678362 w 1245097"/>
                  <a:gd name="csY56" fmla="*/ 52173 h 591270"/>
                  <a:gd name="csX57" fmla="*/ 693513 w 1245097"/>
                  <a:gd name="csY57" fmla="*/ 35294 h 591270"/>
                  <a:gd name="csX58" fmla="*/ 774452 w 1245097"/>
                  <a:gd name="csY58" fmla="*/ 340 h 591270"/>
                  <a:gd name="csX59" fmla="*/ 820703 w 1245097"/>
                  <a:gd name="csY59" fmla="*/ 4859 h 591270"/>
                  <a:gd name="csX60" fmla="*/ 857252 w 1245097"/>
                  <a:gd name="csY60" fmla="*/ 26921 h 591270"/>
                  <a:gd name="csX61" fmla="*/ 887023 w 1245097"/>
                  <a:gd name="csY61" fmla="*/ 88988 h 591270"/>
                  <a:gd name="csX62" fmla="*/ 888617 w 1245097"/>
                  <a:gd name="csY62" fmla="*/ 98159 h 591270"/>
                  <a:gd name="csX63" fmla="*/ 891276 w 1245097"/>
                  <a:gd name="csY63" fmla="*/ 122347 h 591270"/>
                  <a:gd name="csX64" fmla="*/ 893402 w 1245097"/>
                  <a:gd name="csY64" fmla="*/ 119955 h 591270"/>
                  <a:gd name="csX65" fmla="*/ 894864 w 1245097"/>
                  <a:gd name="csY65" fmla="*/ 108392 h 591270"/>
                  <a:gd name="csX66" fmla="*/ 918388 w 1245097"/>
                  <a:gd name="csY66" fmla="*/ 103076 h 591270"/>
                  <a:gd name="csX67" fmla="*/ 1017535 w 1245097"/>
                  <a:gd name="csY67" fmla="*/ 122480 h 591270"/>
                  <a:gd name="csX68" fmla="*/ 1081862 w 1245097"/>
                  <a:gd name="csY68" fmla="*/ 191458 h 591270"/>
                  <a:gd name="csX69" fmla="*/ 1087576 w 1245097"/>
                  <a:gd name="csY69" fmla="*/ 230665 h 591270"/>
                  <a:gd name="csX70" fmla="*/ 1040262 w 1245097"/>
                  <a:gd name="csY70" fmla="*/ 248607 h 591270"/>
                  <a:gd name="csX71" fmla="*/ 1115088 w 1245097"/>
                  <a:gd name="csY71" fmla="*/ 239703 h 591270"/>
                  <a:gd name="csX72" fmla="*/ 1166788 w 1245097"/>
                  <a:gd name="csY72" fmla="*/ 255651 h 591270"/>
                  <a:gd name="csX73" fmla="*/ 1244803 w 1245097"/>
                  <a:gd name="csY73" fmla="*/ 343103 h 591270"/>
                  <a:gd name="csX74" fmla="*/ 1167054 w 1245097"/>
                  <a:gd name="csY74" fmla="*/ 437731 h 59127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Lst>
                <a:rect l="l" t="t" r="r" b="b"/>
                <a:pathLst>
                  <a:path w="1245097" h="591270">
                    <a:moveTo>
                      <a:pt x="1167054" y="437731"/>
                    </a:moveTo>
                    <a:cubicBezTo>
                      <a:pt x="1148567" y="443660"/>
                      <a:pt x="1128963" y="445251"/>
                      <a:pt x="1109772" y="442383"/>
                    </a:cubicBezTo>
                    <a:cubicBezTo>
                      <a:pt x="1098740" y="441585"/>
                      <a:pt x="1087710" y="440123"/>
                      <a:pt x="1076811" y="438396"/>
                    </a:cubicBezTo>
                    <a:cubicBezTo>
                      <a:pt x="1069103" y="437067"/>
                      <a:pt x="1060198" y="435870"/>
                      <a:pt x="1051692" y="433611"/>
                    </a:cubicBezTo>
                    <a:cubicBezTo>
                      <a:pt x="1061248" y="438321"/>
                      <a:pt x="1071216" y="442148"/>
                      <a:pt x="1081463" y="445041"/>
                    </a:cubicBezTo>
                    <a:cubicBezTo>
                      <a:pt x="1080453" y="447540"/>
                      <a:pt x="1079296" y="449980"/>
                      <a:pt x="1078007" y="452351"/>
                    </a:cubicBezTo>
                    <a:cubicBezTo>
                      <a:pt x="1070179" y="464543"/>
                      <a:pt x="1060437" y="475402"/>
                      <a:pt x="1049167" y="484514"/>
                    </a:cubicBezTo>
                    <a:cubicBezTo>
                      <a:pt x="1025324" y="504806"/>
                      <a:pt x="996988" y="519112"/>
                      <a:pt x="966500" y="526246"/>
                    </a:cubicBezTo>
                    <a:cubicBezTo>
                      <a:pt x="935945" y="533297"/>
                      <a:pt x="904035" y="531825"/>
                      <a:pt x="874264" y="521993"/>
                    </a:cubicBezTo>
                    <a:cubicBezTo>
                      <a:pt x="867977" y="519848"/>
                      <a:pt x="861930" y="517089"/>
                      <a:pt x="856189" y="513753"/>
                    </a:cubicBezTo>
                    <a:cubicBezTo>
                      <a:pt x="863432" y="501922"/>
                      <a:pt x="868429" y="488856"/>
                      <a:pt x="870941" y="475210"/>
                    </a:cubicBezTo>
                    <a:cubicBezTo>
                      <a:pt x="871087" y="474963"/>
                      <a:pt x="871087" y="474660"/>
                      <a:pt x="870941" y="474413"/>
                    </a:cubicBezTo>
                    <a:cubicBezTo>
                      <a:pt x="865572" y="489952"/>
                      <a:pt x="856441" y="503922"/>
                      <a:pt x="844360" y="515082"/>
                    </a:cubicBezTo>
                    <a:cubicBezTo>
                      <a:pt x="837263" y="522951"/>
                      <a:pt x="829382" y="530076"/>
                      <a:pt x="820836" y="536347"/>
                    </a:cubicBezTo>
                    <a:cubicBezTo>
                      <a:pt x="804847" y="548783"/>
                      <a:pt x="787277" y="559060"/>
                      <a:pt x="768604" y="566915"/>
                    </a:cubicBezTo>
                    <a:cubicBezTo>
                      <a:pt x="720493" y="586973"/>
                      <a:pt x="668168" y="594825"/>
                      <a:pt x="616295" y="589775"/>
                    </a:cubicBezTo>
                    <a:cubicBezTo>
                      <a:pt x="570323" y="586061"/>
                      <a:pt x="526358" y="569378"/>
                      <a:pt x="489503" y="541663"/>
                    </a:cubicBezTo>
                    <a:cubicBezTo>
                      <a:pt x="473076" y="528645"/>
                      <a:pt x="459161" y="512747"/>
                      <a:pt x="448436" y="494747"/>
                    </a:cubicBezTo>
                    <a:cubicBezTo>
                      <a:pt x="442748" y="487104"/>
                      <a:pt x="438269" y="478633"/>
                      <a:pt x="435145" y="469628"/>
                    </a:cubicBezTo>
                    <a:cubicBezTo>
                      <a:pt x="429962" y="451459"/>
                      <a:pt x="428380" y="432451"/>
                      <a:pt x="430494" y="413675"/>
                    </a:cubicBezTo>
                    <a:cubicBezTo>
                      <a:pt x="424832" y="435642"/>
                      <a:pt x="425948" y="458805"/>
                      <a:pt x="433683" y="480128"/>
                    </a:cubicBezTo>
                    <a:cubicBezTo>
                      <a:pt x="370567" y="499446"/>
                      <a:pt x="302360" y="492945"/>
                      <a:pt x="244028" y="462053"/>
                    </a:cubicBezTo>
                    <a:cubicBezTo>
                      <a:pt x="210801" y="444376"/>
                      <a:pt x="185948" y="418859"/>
                      <a:pt x="179569" y="380449"/>
                    </a:cubicBezTo>
                    <a:cubicBezTo>
                      <a:pt x="178040" y="370985"/>
                      <a:pt x="178040" y="361337"/>
                      <a:pt x="179569" y="351874"/>
                    </a:cubicBezTo>
                    <a:cubicBezTo>
                      <a:pt x="178412" y="337821"/>
                      <a:pt x="182639" y="323851"/>
                      <a:pt x="191397" y="312800"/>
                    </a:cubicBezTo>
                    <a:cubicBezTo>
                      <a:pt x="203013" y="299946"/>
                      <a:pt x="218590" y="291339"/>
                      <a:pt x="235655" y="288346"/>
                    </a:cubicBezTo>
                    <a:cubicBezTo>
                      <a:pt x="220078" y="286920"/>
                      <a:pt x="204701" y="292697"/>
                      <a:pt x="193923" y="304029"/>
                    </a:cubicBezTo>
                    <a:cubicBezTo>
                      <a:pt x="190015" y="307396"/>
                      <a:pt x="186493" y="311185"/>
                      <a:pt x="183423" y="315325"/>
                    </a:cubicBezTo>
                    <a:cubicBezTo>
                      <a:pt x="177562" y="309430"/>
                      <a:pt x="172352" y="302925"/>
                      <a:pt x="167873" y="295921"/>
                    </a:cubicBezTo>
                    <a:cubicBezTo>
                      <a:pt x="156324" y="282802"/>
                      <a:pt x="148030" y="267137"/>
                      <a:pt x="143684" y="250202"/>
                    </a:cubicBezTo>
                    <a:cubicBezTo>
                      <a:pt x="140242" y="238586"/>
                      <a:pt x="137969" y="226653"/>
                      <a:pt x="136906" y="214583"/>
                    </a:cubicBezTo>
                    <a:cubicBezTo>
                      <a:pt x="136906" y="211128"/>
                      <a:pt x="136906" y="207805"/>
                      <a:pt x="136109" y="204350"/>
                    </a:cubicBezTo>
                    <a:cubicBezTo>
                      <a:pt x="133185" y="224747"/>
                      <a:pt x="133584" y="245484"/>
                      <a:pt x="137305" y="265752"/>
                    </a:cubicBezTo>
                    <a:cubicBezTo>
                      <a:pt x="110033" y="265353"/>
                      <a:pt x="83040" y="260180"/>
                      <a:pt x="57562" y="250468"/>
                    </a:cubicBezTo>
                    <a:cubicBezTo>
                      <a:pt x="16959" y="236196"/>
                      <a:pt x="-6871" y="194148"/>
                      <a:pt x="1742" y="151985"/>
                    </a:cubicBezTo>
                    <a:cubicBezTo>
                      <a:pt x="16468" y="103064"/>
                      <a:pt x="63901" y="71532"/>
                      <a:pt x="114711" y="76894"/>
                    </a:cubicBezTo>
                    <a:cubicBezTo>
                      <a:pt x="139631" y="79586"/>
                      <a:pt x="163979" y="86132"/>
                      <a:pt x="186878" y="96298"/>
                    </a:cubicBezTo>
                    <a:cubicBezTo>
                      <a:pt x="190467" y="98026"/>
                      <a:pt x="193923" y="99886"/>
                      <a:pt x="197378" y="101880"/>
                    </a:cubicBezTo>
                    <a:cubicBezTo>
                      <a:pt x="188912" y="107790"/>
                      <a:pt x="181110" y="114610"/>
                      <a:pt x="174120" y="122214"/>
                    </a:cubicBezTo>
                    <a:cubicBezTo>
                      <a:pt x="171727" y="125670"/>
                      <a:pt x="169601" y="128993"/>
                      <a:pt x="167474" y="132581"/>
                    </a:cubicBezTo>
                    <a:cubicBezTo>
                      <a:pt x="180499" y="118004"/>
                      <a:pt x="196807" y="106750"/>
                      <a:pt x="215054" y="99753"/>
                    </a:cubicBezTo>
                    <a:cubicBezTo>
                      <a:pt x="250965" y="79808"/>
                      <a:pt x="292724" y="73083"/>
                      <a:pt x="333074" y="80748"/>
                    </a:cubicBezTo>
                    <a:cubicBezTo>
                      <a:pt x="359283" y="86699"/>
                      <a:pt x="384043" y="97814"/>
                      <a:pt x="405906" y="113443"/>
                    </a:cubicBezTo>
                    <a:cubicBezTo>
                      <a:pt x="402358" y="124005"/>
                      <a:pt x="400869" y="135147"/>
                      <a:pt x="401520" y="146270"/>
                    </a:cubicBezTo>
                    <a:cubicBezTo>
                      <a:pt x="403766" y="127496"/>
                      <a:pt x="412126" y="109982"/>
                      <a:pt x="425310" y="96431"/>
                    </a:cubicBezTo>
                    <a:cubicBezTo>
                      <a:pt x="427703" y="92937"/>
                      <a:pt x="430281" y="89565"/>
                      <a:pt x="433019" y="86330"/>
                    </a:cubicBezTo>
                    <a:cubicBezTo>
                      <a:pt x="458643" y="56422"/>
                      <a:pt x="492680" y="34932"/>
                      <a:pt x="530704" y="24662"/>
                    </a:cubicBezTo>
                    <a:cubicBezTo>
                      <a:pt x="571679" y="14471"/>
                      <a:pt x="615032" y="21074"/>
                      <a:pt x="651116" y="43003"/>
                    </a:cubicBezTo>
                    <a:cubicBezTo>
                      <a:pt x="657921" y="46824"/>
                      <a:pt x="664539" y="50994"/>
                      <a:pt x="670919" y="55496"/>
                    </a:cubicBezTo>
                    <a:lnTo>
                      <a:pt x="670919" y="55496"/>
                    </a:lnTo>
                    <a:lnTo>
                      <a:pt x="674242" y="57622"/>
                    </a:lnTo>
                    <a:lnTo>
                      <a:pt x="674242" y="57622"/>
                    </a:lnTo>
                    <a:lnTo>
                      <a:pt x="674906" y="57622"/>
                    </a:lnTo>
                    <a:lnTo>
                      <a:pt x="679425" y="60945"/>
                    </a:lnTo>
                    <a:cubicBezTo>
                      <a:pt x="685804" y="65730"/>
                      <a:pt x="692715" y="70381"/>
                      <a:pt x="698430" y="75830"/>
                    </a:cubicBezTo>
                    <a:cubicBezTo>
                      <a:pt x="693765" y="68001"/>
                      <a:pt x="687931" y="60921"/>
                      <a:pt x="681153" y="54831"/>
                    </a:cubicBezTo>
                    <a:cubicBezTo>
                      <a:pt x="680222" y="53901"/>
                      <a:pt x="679159" y="53104"/>
                      <a:pt x="678362" y="52173"/>
                    </a:cubicBezTo>
                    <a:cubicBezTo>
                      <a:pt x="683146" y="46326"/>
                      <a:pt x="688330" y="40611"/>
                      <a:pt x="693513" y="35294"/>
                    </a:cubicBezTo>
                    <a:cubicBezTo>
                      <a:pt x="715150" y="13897"/>
                      <a:pt x="744043" y="1418"/>
                      <a:pt x="774452" y="340"/>
                    </a:cubicBezTo>
                    <a:cubicBezTo>
                      <a:pt x="790015" y="-764"/>
                      <a:pt x="805645" y="763"/>
                      <a:pt x="820703" y="4859"/>
                    </a:cubicBezTo>
                    <a:cubicBezTo>
                      <a:pt x="834352" y="9464"/>
                      <a:pt x="846819" y="16993"/>
                      <a:pt x="857252" y="26921"/>
                    </a:cubicBezTo>
                    <a:cubicBezTo>
                      <a:pt x="874968" y="42882"/>
                      <a:pt x="885667" y="65186"/>
                      <a:pt x="887023" y="88988"/>
                    </a:cubicBezTo>
                    <a:cubicBezTo>
                      <a:pt x="887767" y="92004"/>
                      <a:pt x="888298" y="95068"/>
                      <a:pt x="888617" y="98159"/>
                    </a:cubicBezTo>
                    <a:cubicBezTo>
                      <a:pt x="890372" y="106101"/>
                      <a:pt x="891262" y="114212"/>
                      <a:pt x="891276" y="122347"/>
                    </a:cubicBezTo>
                    <a:cubicBezTo>
                      <a:pt x="892312" y="121911"/>
                      <a:pt x="893083" y="121032"/>
                      <a:pt x="893402" y="119955"/>
                    </a:cubicBezTo>
                    <a:cubicBezTo>
                      <a:pt x="893402" y="116101"/>
                      <a:pt x="894465" y="112246"/>
                      <a:pt x="894864" y="108392"/>
                    </a:cubicBezTo>
                    <a:cubicBezTo>
                      <a:pt x="902586" y="106138"/>
                      <a:pt x="910440" y="104363"/>
                      <a:pt x="918388" y="103076"/>
                    </a:cubicBezTo>
                    <a:cubicBezTo>
                      <a:pt x="952664" y="98697"/>
                      <a:pt x="987432" y="105503"/>
                      <a:pt x="1017535" y="122480"/>
                    </a:cubicBezTo>
                    <a:cubicBezTo>
                      <a:pt x="1046908" y="136534"/>
                      <a:pt x="1069887" y="161173"/>
                      <a:pt x="1081862" y="191458"/>
                    </a:cubicBezTo>
                    <a:cubicBezTo>
                      <a:pt x="1086035" y="204096"/>
                      <a:pt x="1087962" y="217364"/>
                      <a:pt x="1087576" y="230665"/>
                    </a:cubicBezTo>
                    <a:cubicBezTo>
                      <a:pt x="1070286" y="231407"/>
                      <a:pt x="1053699" y="237698"/>
                      <a:pt x="1040262" y="248607"/>
                    </a:cubicBezTo>
                    <a:cubicBezTo>
                      <a:pt x="1063202" y="236332"/>
                      <a:pt x="1089916" y="233153"/>
                      <a:pt x="1115088" y="239703"/>
                    </a:cubicBezTo>
                    <a:cubicBezTo>
                      <a:pt x="1132924" y="242813"/>
                      <a:pt x="1150295" y="248171"/>
                      <a:pt x="1166788" y="255651"/>
                    </a:cubicBezTo>
                    <a:cubicBezTo>
                      <a:pt x="1205330" y="272663"/>
                      <a:pt x="1240683" y="297649"/>
                      <a:pt x="1244803" y="343103"/>
                    </a:cubicBezTo>
                    <a:cubicBezTo>
                      <a:pt x="1248923" y="388556"/>
                      <a:pt x="1207324" y="424175"/>
                      <a:pt x="1167054" y="437731"/>
                    </a:cubicBezTo>
                    <a:close/>
                  </a:path>
                </a:pathLst>
              </a:custGeom>
              <a:solidFill>
                <a:srgbClr val="FFFFFF"/>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46" name="Freeform: Shape 45">
                <a:extLst>
                  <a:ext uri="{FF2B5EF4-FFF2-40B4-BE49-F238E27FC236}">
                    <a16:creationId xmlns:a16="http://schemas.microsoft.com/office/drawing/2014/main" id="{29CA2095-8E5C-5E63-089F-1A3586CBE2B6}"/>
                  </a:ext>
                </a:extLst>
              </p:cNvPr>
              <p:cNvSpPr/>
              <p:nvPr/>
            </p:nvSpPr>
            <p:spPr>
              <a:xfrm>
                <a:off x="5025952" y="2476513"/>
                <a:ext cx="1242023" cy="450441"/>
              </a:xfrm>
              <a:custGeom>
                <a:avLst/>
                <a:gdLst>
                  <a:gd name="csX0" fmla="*/ 976069 w 1242023"/>
                  <a:gd name="csY0" fmla="*/ 196293 h 450441"/>
                  <a:gd name="csX1" fmla="*/ 1018466 w 1242023"/>
                  <a:gd name="csY1" fmla="*/ 284143 h 450441"/>
                  <a:gd name="csX2" fmla="*/ 918255 w 1242023"/>
                  <a:gd name="csY2" fmla="*/ 288396 h 450441"/>
                  <a:gd name="csX3" fmla="*/ 884763 w 1242023"/>
                  <a:gd name="csY3" fmla="*/ 221944 h 450441"/>
                  <a:gd name="csX4" fmla="*/ 770864 w 1242023"/>
                  <a:gd name="csY4" fmla="*/ 351127 h 450441"/>
                  <a:gd name="csX5" fmla="*/ 459201 w 1242023"/>
                  <a:gd name="csY5" fmla="*/ 258094 h 450441"/>
                  <a:gd name="csX6" fmla="*/ 460131 w 1242023"/>
                  <a:gd name="csY6" fmla="*/ 180344 h 450441"/>
                  <a:gd name="csX7" fmla="*/ 417203 w 1242023"/>
                  <a:gd name="csY7" fmla="*/ 269657 h 450441"/>
                  <a:gd name="csX8" fmla="*/ 316195 w 1242023"/>
                  <a:gd name="csY8" fmla="*/ 257828 h 450441"/>
                  <a:gd name="csX9" fmla="*/ 240838 w 1242023"/>
                  <a:gd name="csY9" fmla="*/ 155624 h 450441"/>
                  <a:gd name="csX10" fmla="*/ 287089 w 1242023"/>
                  <a:gd name="csY10" fmla="*/ 115752 h 450441"/>
                  <a:gd name="csX11" fmla="*/ 184088 w 1242023"/>
                  <a:gd name="csY11" fmla="*/ 140473 h 450441"/>
                  <a:gd name="csX12" fmla="*/ 153519 w 1242023"/>
                  <a:gd name="csY12" fmla="*/ 7568 h 450441"/>
                  <a:gd name="csX13" fmla="*/ 110458 w 1242023"/>
                  <a:gd name="csY13" fmla="*/ 89969 h 450441"/>
                  <a:gd name="csX14" fmla="*/ 5330 w 1242023"/>
                  <a:gd name="csY14" fmla="*/ -8 h 450441"/>
                  <a:gd name="csX15" fmla="*/ 1742 w 1242023"/>
                  <a:gd name="csY15" fmla="*/ 10890 h 450441"/>
                  <a:gd name="csX16" fmla="*/ 57562 w 1242023"/>
                  <a:gd name="csY16" fmla="*/ 109373 h 450441"/>
                  <a:gd name="csX17" fmla="*/ 137305 w 1242023"/>
                  <a:gd name="csY17" fmla="*/ 124657 h 450441"/>
                  <a:gd name="csX18" fmla="*/ 136109 w 1242023"/>
                  <a:gd name="csY18" fmla="*/ 63255 h 450441"/>
                  <a:gd name="csX19" fmla="*/ 136906 w 1242023"/>
                  <a:gd name="csY19" fmla="*/ 73489 h 450441"/>
                  <a:gd name="csX20" fmla="*/ 143684 w 1242023"/>
                  <a:gd name="csY20" fmla="*/ 109107 h 450441"/>
                  <a:gd name="csX21" fmla="*/ 168538 w 1242023"/>
                  <a:gd name="csY21" fmla="*/ 155092 h 450441"/>
                  <a:gd name="csX22" fmla="*/ 184220 w 1242023"/>
                  <a:gd name="csY22" fmla="*/ 174497 h 450441"/>
                  <a:gd name="csX23" fmla="*/ 194720 w 1242023"/>
                  <a:gd name="csY23" fmla="*/ 163200 h 450441"/>
                  <a:gd name="csX24" fmla="*/ 236452 w 1242023"/>
                  <a:gd name="csY24" fmla="*/ 147517 h 450441"/>
                  <a:gd name="csX25" fmla="*/ 192195 w 1242023"/>
                  <a:gd name="csY25" fmla="*/ 171971 h 450441"/>
                  <a:gd name="csX26" fmla="*/ 180366 w 1242023"/>
                  <a:gd name="csY26" fmla="*/ 211045 h 450441"/>
                  <a:gd name="csX27" fmla="*/ 180366 w 1242023"/>
                  <a:gd name="csY27" fmla="*/ 239620 h 450441"/>
                  <a:gd name="csX28" fmla="*/ 244825 w 1242023"/>
                  <a:gd name="csY28" fmla="*/ 321224 h 450441"/>
                  <a:gd name="csX29" fmla="*/ 434348 w 1242023"/>
                  <a:gd name="csY29" fmla="*/ 339299 h 450441"/>
                  <a:gd name="csX30" fmla="*/ 431158 w 1242023"/>
                  <a:gd name="csY30" fmla="*/ 272846 h 450441"/>
                  <a:gd name="csX31" fmla="*/ 435810 w 1242023"/>
                  <a:gd name="csY31" fmla="*/ 328799 h 450441"/>
                  <a:gd name="csX32" fmla="*/ 449100 w 1242023"/>
                  <a:gd name="csY32" fmla="*/ 353918 h 450441"/>
                  <a:gd name="csX33" fmla="*/ 490168 w 1242023"/>
                  <a:gd name="csY33" fmla="*/ 400834 h 450441"/>
                  <a:gd name="csX34" fmla="*/ 616960 w 1242023"/>
                  <a:gd name="csY34" fmla="*/ 448946 h 450441"/>
                  <a:gd name="csX35" fmla="*/ 769269 w 1242023"/>
                  <a:gd name="csY35" fmla="*/ 426086 h 450441"/>
                  <a:gd name="csX36" fmla="*/ 821501 w 1242023"/>
                  <a:gd name="csY36" fmla="*/ 395518 h 450441"/>
                  <a:gd name="csX37" fmla="*/ 845025 w 1242023"/>
                  <a:gd name="csY37" fmla="*/ 374253 h 450441"/>
                  <a:gd name="csX38" fmla="*/ 871606 w 1242023"/>
                  <a:gd name="csY38" fmla="*/ 333584 h 450441"/>
                  <a:gd name="csX39" fmla="*/ 871606 w 1242023"/>
                  <a:gd name="csY39" fmla="*/ 334381 h 450441"/>
                  <a:gd name="csX40" fmla="*/ 856853 w 1242023"/>
                  <a:gd name="csY40" fmla="*/ 372924 h 450441"/>
                  <a:gd name="csX41" fmla="*/ 874928 w 1242023"/>
                  <a:gd name="csY41" fmla="*/ 381164 h 450441"/>
                  <a:gd name="csX42" fmla="*/ 967164 w 1242023"/>
                  <a:gd name="csY42" fmla="*/ 385417 h 450441"/>
                  <a:gd name="csX43" fmla="*/ 1049831 w 1242023"/>
                  <a:gd name="csY43" fmla="*/ 343685 h 450441"/>
                  <a:gd name="csX44" fmla="*/ 1078672 w 1242023"/>
                  <a:gd name="csY44" fmla="*/ 311389 h 450441"/>
                  <a:gd name="csX45" fmla="*/ 1082128 w 1242023"/>
                  <a:gd name="csY45" fmla="*/ 304079 h 450441"/>
                  <a:gd name="csX46" fmla="*/ 1052357 w 1242023"/>
                  <a:gd name="csY46" fmla="*/ 292649 h 450441"/>
                  <a:gd name="csX47" fmla="*/ 1077476 w 1242023"/>
                  <a:gd name="csY47" fmla="*/ 297434 h 450441"/>
                  <a:gd name="csX48" fmla="*/ 1110436 w 1242023"/>
                  <a:gd name="csY48" fmla="*/ 301421 h 450441"/>
                  <a:gd name="csX49" fmla="*/ 1167718 w 1242023"/>
                  <a:gd name="csY49" fmla="*/ 296769 h 450441"/>
                  <a:gd name="csX50" fmla="*/ 1242012 w 1242023"/>
                  <a:gd name="csY50" fmla="*/ 231779 h 450441"/>
                  <a:gd name="csX51" fmla="*/ 976069 w 1242023"/>
                  <a:gd name="csY51" fmla="*/ 196293 h 45044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Lst>
                <a:rect l="l" t="t" r="r" b="b"/>
                <a:pathLst>
                  <a:path w="1242023" h="450441">
                    <a:moveTo>
                      <a:pt x="976069" y="196293"/>
                    </a:moveTo>
                    <a:cubicBezTo>
                      <a:pt x="990024" y="226861"/>
                      <a:pt x="982449" y="265138"/>
                      <a:pt x="1018466" y="284143"/>
                    </a:cubicBezTo>
                    <a:cubicBezTo>
                      <a:pt x="993347" y="310724"/>
                      <a:pt x="941381" y="312718"/>
                      <a:pt x="918255" y="288396"/>
                    </a:cubicBezTo>
                    <a:cubicBezTo>
                      <a:pt x="898054" y="269391"/>
                      <a:pt x="894731" y="244671"/>
                      <a:pt x="884763" y="221944"/>
                    </a:cubicBezTo>
                    <a:cubicBezTo>
                      <a:pt x="874530" y="283745"/>
                      <a:pt x="831601" y="344482"/>
                      <a:pt x="770864" y="351127"/>
                    </a:cubicBezTo>
                    <a:cubicBezTo>
                      <a:pt x="660021" y="369203"/>
                      <a:pt x="529109" y="347406"/>
                      <a:pt x="459201" y="258094"/>
                    </a:cubicBezTo>
                    <a:cubicBezTo>
                      <a:pt x="444714" y="236430"/>
                      <a:pt x="449632" y="207723"/>
                      <a:pt x="460131" y="180344"/>
                    </a:cubicBezTo>
                    <a:cubicBezTo>
                      <a:pt x="434228" y="203002"/>
                      <a:pt x="418718" y="235273"/>
                      <a:pt x="417203" y="269657"/>
                    </a:cubicBezTo>
                    <a:cubicBezTo>
                      <a:pt x="381983" y="266733"/>
                      <a:pt x="349820" y="268460"/>
                      <a:pt x="316195" y="257828"/>
                    </a:cubicBezTo>
                    <a:cubicBezTo>
                      <a:pt x="275526" y="242012"/>
                      <a:pt x="218776" y="206925"/>
                      <a:pt x="240838" y="155624"/>
                    </a:cubicBezTo>
                    <a:cubicBezTo>
                      <a:pt x="251404" y="137574"/>
                      <a:pt x="267685" y="123550"/>
                      <a:pt x="287089" y="115752"/>
                    </a:cubicBezTo>
                    <a:cubicBezTo>
                      <a:pt x="249610" y="112829"/>
                      <a:pt x="208143" y="113626"/>
                      <a:pt x="184088" y="140473"/>
                    </a:cubicBezTo>
                    <a:cubicBezTo>
                      <a:pt x="151845" y="104312"/>
                      <a:pt x="140309" y="54182"/>
                      <a:pt x="153519" y="7568"/>
                    </a:cubicBezTo>
                    <a:cubicBezTo>
                      <a:pt x="128135" y="26573"/>
                      <a:pt x="107136" y="55945"/>
                      <a:pt x="110458" y="89969"/>
                    </a:cubicBezTo>
                    <a:cubicBezTo>
                      <a:pt x="53973" y="90766"/>
                      <a:pt x="4134" y="48370"/>
                      <a:pt x="5330" y="-8"/>
                    </a:cubicBezTo>
                    <a:cubicBezTo>
                      <a:pt x="3868" y="3534"/>
                      <a:pt x="2672" y="7176"/>
                      <a:pt x="1742" y="10890"/>
                    </a:cubicBezTo>
                    <a:cubicBezTo>
                      <a:pt x="-6871" y="53053"/>
                      <a:pt x="16959" y="95102"/>
                      <a:pt x="57562" y="109373"/>
                    </a:cubicBezTo>
                    <a:cubicBezTo>
                      <a:pt x="83040" y="119086"/>
                      <a:pt x="110033" y="124258"/>
                      <a:pt x="137305" y="124657"/>
                    </a:cubicBezTo>
                    <a:cubicBezTo>
                      <a:pt x="133584" y="104389"/>
                      <a:pt x="133185" y="83652"/>
                      <a:pt x="136109" y="63255"/>
                    </a:cubicBezTo>
                    <a:cubicBezTo>
                      <a:pt x="136109" y="66710"/>
                      <a:pt x="136109" y="70033"/>
                      <a:pt x="136906" y="73489"/>
                    </a:cubicBezTo>
                    <a:cubicBezTo>
                      <a:pt x="137969" y="85558"/>
                      <a:pt x="140242" y="97491"/>
                      <a:pt x="143684" y="109107"/>
                    </a:cubicBezTo>
                    <a:cubicBezTo>
                      <a:pt x="148190" y="126198"/>
                      <a:pt x="156709" y="141964"/>
                      <a:pt x="168538" y="155092"/>
                    </a:cubicBezTo>
                    <a:cubicBezTo>
                      <a:pt x="173056" y="162103"/>
                      <a:pt x="178319" y="168609"/>
                      <a:pt x="184220" y="174497"/>
                    </a:cubicBezTo>
                    <a:cubicBezTo>
                      <a:pt x="187290" y="170357"/>
                      <a:pt x="190812" y="166567"/>
                      <a:pt x="194720" y="163200"/>
                    </a:cubicBezTo>
                    <a:cubicBezTo>
                      <a:pt x="205499" y="151868"/>
                      <a:pt x="220876" y="146091"/>
                      <a:pt x="236452" y="147517"/>
                    </a:cubicBezTo>
                    <a:cubicBezTo>
                      <a:pt x="219387" y="150510"/>
                      <a:pt x="203811" y="159117"/>
                      <a:pt x="192195" y="171971"/>
                    </a:cubicBezTo>
                    <a:cubicBezTo>
                      <a:pt x="183436" y="183022"/>
                      <a:pt x="179210" y="196992"/>
                      <a:pt x="180366" y="211045"/>
                    </a:cubicBezTo>
                    <a:cubicBezTo>
                      <a:pt x="178838" y="220508"/>
                      <a:pt x="178838" y="230156"/>
                      <a:pt x="180366" y="239620"/>
                    </a:cubicBezTo>
                    <a:cubicBezTo>
                      <a:pt x="186746" y="278030"/>
                      <a:pt x="211599" y="303548"/>
                      <a:pt x="244825" y="321224"/>
                    </a:cubicBezTo>
                    <a:cubicBezTo>
                      <a:pt x="303117" y="352080"/>
                      <a:pt x="371271" y="358579"/>
                      <a:pt x="434348" y="339299"/>
                    </a:cubicBezTo>
                    <a:cubicBezTo>
                      <a:pt x="426613" y="317976"/>
                      <a:pt x="425496" y="294813"/>
                      <a:pt x="431158" y="272846"/>
                    </a:cubicBezTo>
                    <a:cubicBezTo>
                      <a:pt x="429045" y="291622"/>
                      <a:pt x="430627" y="310630"/>
                      <a:pt x="435810" y="328799"/>
                    </a:cubicBezTo>
                    <a:cubicBezTo>
                      <a:pt x="438933" y="337804"/>
                      <a:pt x="443412" y="346275"/>
                      <a:pt x="449100" y="353918"/>
                    </a:cubicBezTo>
                    <a:cubicBezTo>
                      <a:pt x="459826" y="371918"/>
                      <a:pt x="473741" y="387816"/>
                      <a:pt x="490168" y="400834"/>
                    </a:cubicBezTo>
                    <a:cubicBezTo>
                      <a:pt x="527023" y="428549"/>
                      <a:pt x="570988" y="445232"/>
                      <a:pt x="616960" y="448946"/>
                    </a:cubicBezTo>
                    <a:cubicBezTo>
                      <a:pt x="668832" y="453996"/>
                      <a:pt x="721157" y="446144"/>
                      <a:pt x="769269" y="426086"/>
                    </a:cubicBezTo>
                    <a:cubicBezTo>
                      <a:pt x="787942" y="418231"/>
                      <a:pt x="805512" y="407954"/>
                      <a:pt x="821501" y="395518"/>
                    </a:cubicBezTo>
                    <a:cubicBezTo>
                      <a:pt x="830046" y="389247"/>
                      <a:pt x="837928" y="382122"/>
                      <a:pt x="845025" y="374253"/>
                    </a:cubicBezTo>
                    <a:cubicBezTo>
                      <a:pt x="857106" y="363093"/>
                      <a:pt x="866236" y="349123"/>
                      <a:pt x="871606" y="333584"/>
                    </a:cubicBezTo>
                    <a:cubicBezTo>
                      <a:pt x="871752" y="333831"/>
                      <a:pt x="871752" y="334134"/>
                      <a:pt x="871606" y="334381"/>
                    </a:cubicBezTo>
                    <a:cubicBezTo>
                      <a:pt x="869094" y="348027"/>
                      <a:pt x="864097" y="361093"/>
                      <a:pt x="856853" y="372924"/>
                    </a:cubicBezTo>
                    <a:cubicBezTo>
                      <a:pt x="862595" y="376260"/>
                      <a:pt x="868642" y="379019"/>
                      <a:pt x="874928" y="381164"/>
                    </a:cubicBezTo>
                    <a:cubicBezTo>
                      <a:pt x="904699" y="390996"/>
                      <a:pt x="936610" y="392468"/>
                      <a:pt x="967164" y="385417"/>
                    </a:cubicBezTo>
                    <a:cubicBezTo>
                      <a:pt x="997653" y="378283"/>
                      <a:pt x="1025988" y="363977"/>
                      <a:pt x="1049831" y="343685"/>
                    </a:cubicBezTo>
                    <a:cubicBezTo>
                      <a:pt x="1061115" y="334533"/>
                      <a:pt x="1070844" y="323628"/>
                      <a:pt x="1078672" y="311389"/>
                    </a:cubicBezTo>
                    <a:cubicBezTo>
                      <a:pt x="1079961" y="309018"/>
                      <a:pt x="1081104" y="306578"/>
                      <a:pt x="1082128" y="304079"/>
                    </a:cubicBezTo>
                    <a:cubicBezTo>
                      <a:pt x="1071880" y="301186"/>
                      <a:pt x="1061912" y="297359"/>
                      <a:pt x="1052357" y="292649"/>
                    </a:cubicBezTo>
                    <a:cubicBezTo>
                      <a:pt x="1060863" y="294909"/>
                      <a:pt x="1069767" y="296105"/>
                      <a:pt x="1077476" y="297434"/>
                    </a:cubicBezTo>
                    <a:cubicBezTo>
                      <a:pt x="1088374" y="299162"/>
                      <a:pt x="1099405" y="300624"/>
                      <a:pt x="1110436" y="301421"/>
                    </a:cubicBezTo>
                    <a:cubicBezTo>
                      <a:pt x="1129628" y="304289"/>
                      <a:pt x="1149231" y="302698"/>
                      <a:pt x="1167718" y="296769"/>
                    </a:cubicBezTo>
                    <a:cubicBezTo>
                      <a:pt x="1199084" y="286270"/>
                      <a:pt x="1231114" y="263543"/>
                      <a:pt x="1242012" y="231779"/>
                    </a:cubicBezTo>
                    <a:cubicBezTo>
                      <a:pt x="1166522" y="298098"/>
                      <a:pt x="1031358" y="288263"/>
                      <a:pt x="976069" y="196293"/>
                    </a:cubicBezTo>
                    <a:close/>
                  </a:path>
                </a:pathLst>
              </a:custGeom>
              <a:solidFill>
                <a:srgbClr val="BCE8E5">
                  <a:alpha val="40000"/>
                </a:srgbClr>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47" name="Rectangle 46">
                <a:extLst>
                  <a:ext uri="{FF2B5EF4-FFF2-40B4-BE49-F238E27FC236}">
                    <a16:creationId xmlns:a16="http://schemas.microsoft.com/office/drawing/2014/main" id="{1AB57D69-4FE9-FE11-DD7F-CDF7FEBFC56C}"/>
                  </a:ext>
                </a:extLst>
              </p:cNvPr>
              <p:cNvSpPr/>
              <p:nvPr/>
            </p:nvSpPr>
            <p:spPr>
              <a:xfrm rot="20617198">
                <a:off x="4727858" y="2029729"/>
                <a:ext cx="60205" cy="2720832"/>
              </a:xfrm>
              <a:prstGeom prst="rect">
                <a:avLst/>
              </a:prstGeom>
              <a:solidFill>
                <a:srgbClr val="7B7C7F"/>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48" name="Freeform: Shape 47">
                <a:extLst>
                  <a:ext uri="{FF2B5EF4-FFF2-40B4-BE49-F238E27FC236}">
                    <a16:creationId xmlns:a16="http://schemas.microsoft.com/office/drawing/2014/main" id="{53786F4E-970B-DD17-A0C9-5BD5F93677FB}"/>
                  </a:ext>
                </a:extLst>
              </p:cNvPr>
              <p:cNvSpPr/>
              <p:nvPr/>
            </p:nvSpPr>
            <p:spPr>
              <a:xfrm>
                <a:off x="4345503" y="2069691"/>
                <a:ext cx="798095" cy="2634046"/>
              </a:xfrm>
              <a:custGeom>
                <a:avLst/>
                <a:gdLst>
                  <a:gd name="csX0" fmla="*/ 767261 w 798095"/>
                  <a:gd name="csY0" fmla="*/ 2634047 h 2634046"/>
                  <a:gd name="csX1" fmla="*/ 798095 w 798095"/>
                  <a:gd name="csY1" fmla="*/ 2620225 h 2634046"/>
                  <a:gd name="csX2" fmla="*/ 23258 w 798095"/>
                  <a:gd name="csY2" fmla="*/ 0 h 2634046"/>
                  <a:gd name="csX3" fmla="*/ 0 w 798095"/>
                  <a:gd name="csY3" fmla="*/ 23657 h 2634046"/>
                  <a:gd name="csX4" fmla="*/ 767261 w 798095"/>
                  <a:gd name="csY4" fmla="*/ 2634047 h 2634046"/>
                </a:gdLst>
                <a:ahLst/>
                <a:cxnLst>
                  <a:cxn ang="0">
                    <a:pos x="csX0" y="csY0"/>
                  </a:cxn>
                  <a:cxn ang="0">
                    <a:pos x="csX1" y="csY1"/>
                  </a:cxn>
                  <a:cxn ang="0">
                    <a:pos x="csX2" y="csY2"/>
                  </a:cxn>
                  <a:cxn ang="0">
                    <a:pos x="csX3" y="csY3"/>
                  </a:cxn>
                  <a:cxn ang="0">
                    <a:pos x="csX4" y="csY4"/>
                  </a:cxn>
                </a:cxnLst>
                <a:rect l="l" t="t" r="r" b="b"/>
                <a:pathLst>
                  <a:path w="798095" h="2634046">
                    <a:moveTo>
                      <a:pt x="767261" y="2634047"/>
                    </a:moveTo>
                    <a:lnTo>
                      <a:pt x="798095" y="2620225"/>
                    </a:lnTo>
                    <a:lnTo>
                      <a:pt x="23258" y="0"/>
                    </a:lnTo>
                    <a:lnTo>
                      <a:pt x="0" y="23657"/>
                    </a:lnTo>
                    <a:lnTo>
                      <a:pt x="767261" y="2634047"/>
                    </a:lnTo>
                    <a:close/>
                  </a:path>
                </a:pathLst>
              </a:custGeom>
              <a:solidFill>
                <a:srgbClr val="363436"/>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49" name="Freeform: Shape 48">
                <a:extLst>
                  <a:ext uri="{FF2B5EF4-FFF2-40B4-BE49-F238E27FC236}">
                    <a16:creationId xmlns:a16="http://schemas.microsoft.com/office/drawing/2014/main" id="{9D9F91FD-81CD-824D-3925-4A3383374FBC}"/>
                  </a:ext>
                </a:extLst>
              </p:cNvPr>
              <p:cNvSpPr/>
              <p:nvPr/>
            </p:nvSpPr>
            <p:spPr>
              <a:xfrm>
                <a:off x="4345503" y="2076469"/>
                <a:ext cx="318041" cy="908007"/>
              </a:xfrm>
              <a:custGeom>
                <a:avLst/>
                <a:gdLst>
                  <a:gd name="csX0" fmla="*/ 261944 w 318041"/>
                  <a:gd name="csY0" fmla="*/ 908000 h 908007"/>
                  <a:gd name="csX1" fmla="*/ -12 w 318041"/>
                  <a:gd name="csY1" fmla="*/ 16871 h 908007"/>
                  <a:gd name="csX2" fmla="*/ 57669 w 318041"/>
                  <a:gd name="csY2" fmla="*/ -8 h 908007"/>
                  <a:gd name="csX3" fmla="*/ 318030 w 318041"/>
                  <a:gd name="csY3" fmla="*/ 885672 h 908007"/>
                  <a:gd name="csX4" fmla="*/ 261944 w 318041"/>
                  <a:gd name="csY4" fmla="*/ 908000 h 908007"/>
                </a:gdLst>
                <a:ahLst/>
                <a:cxnLst>
                  <a:cxn ang="0">
                    <a:pos x="csX0" y="csY0"/>
                  </a:cxn>
                  <a:cxn ang="0">
                    <a:pos x="csX1" y="csY1"/>
                  </a:cxn>
                  <a:cxn ang="0">
                    <a:pos x="csX2" y="csY2"/>
                  </a:cxn>
                  <a:cxn ang="0">
                    <a:pos x="csX3" y="csY3"/>
                  </a:cxn>
                  <a:cxn ang="0">
                    <a:pos x="csX4" y="csY4"/>
                  </a:cxn>
                </a:cxnLst>
                <a:rect l="l" t="t" r="r" b="b"/>
                <a:pathLst>
                  <a:path w="318041" h="908007">
                    <a:moveTo>
                      <a:pt x="261944" y="908000"/>
                    </a:moveTo>
                    <a:lnTo>
                      <a:pt x="-12" y="16871"/>
                    </a:lnTo>
                    <a:lnTo>
                      <a:pt x="57669" y="-8"/>
                    </a:lnTo>
                    <a:lnTo>
                      <a:pt x="318030" y="885672"/>
                    </a:lnTo>
                    <a:cubicBezTo>
                      <a:pt x="300128" y="894975"/>
                      <a:pt x="281335" y="902458"/>
                      <a:pt x="261944" y="908000"/>
                    </a:cubicBezTo>
                    <a:close/>
                  </a:path>
                </a:pathLst>
              </a:custGeom>
              <a:solidFill>
                <a:srgbClr val="363436"/>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50" name="Freeform: Shape 49">
                <a:extLst>
                  <a:ext uri="{FF2B5EF4-FFF2-40B4-BE49-F238E27FC236}">
                    <a16:creationId xmlns:a16="http://schemas.microsoft.com/office/drawing/2014/main" id="{69A1C416-6DC3-208A-E98D-1E712008B133}"/>
                  </a:ext>
                </a:extLst>
              </p:cNvPr>
              <p:cNvSpPr/>
              <p:nvPr/>
            </p:nvSpPr>
            <p:spPr>
              <a:xfrm>
                <a:off x="4234261" y="1834581"/>
                <a:ext cx="13290" cy="13290"/>
              </a:xfrm>
              <a:custGeom>
                <a:avLst/>
                <a:gdLst>
                  <a:gd name="csX0" fmla="*/ -12 w 13290"/>
                  <a:gd name="csY0" fmla="*/ -8 h 13290"/>
                  <a:gd name="csX1" fmla="*/ -12 w 13290"/>
                  <a:gd name="csY1" fmla="*/ -8 h 13290"/>
                </a:gdLst>
                <a:ahLst/>
                <a:cxnLst>
                  <a:cxn ang="0">
                    <a:pos x="csX0" y="csY0"/>
                  </a:cxn>
                  <a:cxn ang="0">
                    <a:pos x="csX1" y="csY1"/>
                  </a:cxn>
                </a:cxnLst>
                <a:rect l="l" t="t" r="r" b="b"/>
                <a:pathLst>
                  <a:path w="13290" h="13290">
                    <a:moveTo>
                      <a:pt x="-12" y="-8"/>
                    </a:moveTo>
                    <a:lnTo>
                      <a:pt x="-12" y="-8"/>
                    </a:lnTo>
                    <a:close/>
                  </a:path>
                </a:pathLst>
              </a:custGeom>
              <a:no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51" name="Freeform: Shape 50">
                <a:extLst>
                  <a:ext uri="{FF2B5EF4-FFF2-40B4-BE49-F238E27FC236}">
                    <a16:creationId xmlns:a16="http://schemas.microsoft.com/office/drawing/2014/main" id="{78AAC2AD-4B95-2C9C-3511-AD998E0E8EA5}"/>
                  </a:ext>
                </a:extLst>
              </p:cNvPr>
              <p:cNvSpPr/>
              <p:nvPr/>
            </p:nvSpPr>
            <p:spPr>
              <a:xfrm>
                <a:off x="4234394" y="1770072"/>
                <a:ext cx="1386466" cy="382418"/>
              </a:xfrm>
              <a:custGeom>
                <a:avLst/>
                <a:gdLst>
                  <a:gd name="csX0" fmla="*/ -12 w 1386466"/>
                  <a:gd name="csY0" fmla="*/ 64368 h 382418"/>
                  <a:gd name="csX1" fmla="*/ 1386455 w 1386466"/>
                  <a:gd name="csY1" fmla="*/ 12668 h 382418"/>
                  <a:gd name="csX2" fmla="*/ 744390 w 1386466"/>
                  <a:gd name="csY2" fmla="*/ 382410 h 382418"/>
                  <a:gd name="csX3" fmla="*/ -12 w 1386466"/>
                  <a:gd name="csY3" fmla="*/ 64368 h 382418"/>
                </a:gdLst>
                <a:ahLst/>
                <a:cxnLst>
                  <a:cxn ang="0">
                    <a:pos x="csX0" y="csY0"/>
                  </a:cxn>
                  <a:cxn ang="0">
                    <a:pos x="csX1" y="csY1"/>
                  </a:cxn>
                  <a:cxn ang="0">
                    <a:pos x="csX2" y="csY2"/>
                  </a:cxn>
                  <a:cxn ang="0">
                    <a:pos x="csX3" y="csY3"/>
                  </a:cxn>
                </a:cxnLst>
                <a:rect l="l" t="t" r="r" b="b"/>
                <a:pathLst>
                  <a:path w="1386466" h="382418">
                    <a:moveTo>
                      <a:pt x="-12" y="64368"/>
                    </a:moveTo>
                    <a:cubicBezTo>
                      <a:pt x="270982" y="-38367"/>
                      <a:pt x="1386455" y="12668"/>
                      <a:pt x="1386455" y="12668"/>
                    </a:cubicBezTo>
                    <a:cubicBezTo>
                      <a:pt x="1386455" y="12668"/>
                      <a:pt x="1185236" y="172155"/>
                      <a:pt x="744390" y="382410"/>
                    </a:cubicBezTo>
                    <a:cubicBezTo>
                      <a:pt x="478181" y="239936"/>
                      <a:pt x="75213" y="35927"/>
                      <a:pt x="-12" y="64368"/>
                    </a:cubicBezTo>
                    <a:close/>
                  </a:path>
                </a:pathLst>
              </a:custGeom>
              <a:solidFill>
                <a:srgbClr val="FD2A2D"/>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52" name="Freeform: Shape 51">
                <a:extLst>
                  <a:ext uri="{FF2B5EF4-FFF2-40B4-BE49-F238E27FC236}">
                    <a16:creationId xmlns:a16="http://schemas.microsoft.com/office/drawing/2014/main" id="{7418BC94-010D-7E6D-9831-39CFF8AF064E}"/>
                  </a:ext>
                </a:extLst>
              </p:cNvPr>
              <p:cNvSpPr/>
              <p:nvPr/>
            </p:nvSpPr>
            <p:spPr>
              <a:xfrm>
                <a:off x="3892031" y="1831900"/>
                <a:ext cx="1086499" cy="736849"/>
              </a:xfrm>
              <a:custGeom>
                <a:avLst/>
                <a:gdLst>
                  <a:gd name="csX0" fmla="*/ 342219 w 1086499"/>
                  <a:gd name="csY0" fmla="*/ 2674 h 736849"/>
                  <a:gd name="csX1" fmla="*/ 342219 w 1086499"/>
                  <a:gd name="csY1" fmla="*/ 2674 h 736849"/>
                  <a:gd name="csX2" fmla="*/ 1086488 w 1086499"/>
                  <a:gd name="csY2" fmla="*/ 320716 h 736849"/>
                  <a:gd name="csX3" fmla="*/ 551412 w 1086499"/>
                  <a:gd name="csY3" fmla="*/ 549313 h 736849"/>
                  <a:gd name="csX4" fmla="*/ -12 w 1086499"/>
                  <a:gd name="csY4" fmla="*/ 736842 h 736849"/>
                  <a:gd name="csX5" fmla="*/ 342219 w 1086499"/>
                  <a:gd name="csY5" fmla="*/ 2674 h 736849"/>
                </a:gdLst>
                <a:ahLst/>
                <a:cxnLst>
                  <a:cxn ang="0">
                    <a:pos x="csX0" y="csY0"/>
                  </a:cxn>
                  <a:cxn ang="0">
                    <a:pos x="csX1" y="csY1"/>
                  </a:cxn>
                  <a:cxn ang="0">
                    <a:pos x="csX2" y="csY2"/>
                  </a:cxn>
                  <a:cxn ang="0">
                    <a:pos x="csX3" y="csY3"/>
                  </a:cxn>
                  <a:cxn ang="0">
                    <a:pos x="csX4" y="csY4"/>
                  </a:cxn>
                  <a:cxn ang="0">
                    <a:pos x="csX5" y="csY5"/>
                  </a:cxn>
                </a:cxnLst>
                <a:rect l="l" t="t" r="r" b="b"/>
                <a:pathLst>
                  <a:path w="1086499" h="736849">
                    <a:moveTo>
                      <a:pt x="342219" y="2674"/>
                    </a:moveTo>
                    <a:lnTo>
                      <a:pt x="342219" y="2674"/>
                    </a:lnTo>
                    <a:cubicBezTo>
                      <a:pt x="417443" y="-25768"/>
                      <a:pt x="820678" y="178241"/>
                      <a:pt x="1086488" y="320716"/>
                    </a:cubicBezTo>
                    <a:cubicBezTo>
                      <a:pt x="936305" y="392352"/>
                      <a:pt x="758611" y="469968"/>
                      <a:pt x="551412" y="549313"/>
                    </a:cubicBezTo>
                    <a:cubicBezTo>
                      <a:pt x="344213" y="628657"/>
                      <a:pt x="159475" y="690192"/>
                      <a:pt x="-12" y="736842"/>
                    </a:cubicBezTo>
                    <a:cubicBezTo>
                      <a:pt x="102990" y="452823"/>
                      <a:pt x="267261" y="31647"/>
                      <a:pt x="342219" y="2674"/>
                    </a:cubicBezTo>
                    <a:close/>
                  </a:path>
                </a:pathLst>
              </a:custGeom>
              <a:solidFill>
                <a:srgbClr val="FFFBE5"/>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53" name="Freeform: Shape 52">
                <a:extLst>
                  <a:ext uri="{FF2B5EF4-FFF2-40B4-BE49-F238E27FC236}">
                    <a16:creationId xmlns:a16="http://schemas.microsoft.com/office/drawing/2014/main" id="{BACB0384-531A-4A74-99EC-E767AF390D83}"/>
                  </a:ext>
                </a:extLst>
              </p:cNvPr>
              <p:cNvSpPr/>
              <p:nvPr/>
            </p:nvSpPr>
            <p:spPr>
              <a:xfrm>
                <a:off x="3892031" y="2152490"/>
                <a:ext cx="1117551" cy="597720"/>
              </a:xfrm>
              <a:custGeom>
                <a:avLst/>
                <a:gdLst>
                  <a:gd name="csX0" fmla="*/ -12 w 1117551"/>
                  <a:gd name="csY0" fmla="*/ 416251 h 597720"/>
                  <a:gd name="csX1" fmla="*/ 551943 w 1117551"/>
                  <a:gd name="csY1" fmla="*/ 228589 h 597720"/>
                  <a:gd name="csX2" fmla="*/ 1087019 w 1117551"/>
                  <a:gd name="csY2" fmla="*/ -8 h 597720"/>
                  <a:gd name="csX3" fmla="*/ 1113600 w 1117551"/>
                  <a:gd name="csY3" fmla="*/ 212640 h 597720"/>
                  <a:gd name="csX4" fmla="*/ 646572 w 1117551"/>
                  <a:gd name="csY4" fmla="*/ 475925 h 597720"/>
                  <a:gd name="csX5" fmla="*/ 122660 w 1117551"/>
                  <a:gd name="csY5" fmla="*/ 592217 h 597720"/>
                  <a:gd name="csX6" fmla="*/ -12 w 1117551"/>
                  <a:gd name="csY6" fmla="*/ 416251 h 597720"/>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117551" h="597720">
                    <a:moveTo>
                      <a:pt x="-12" y="416251"/>
                    </a:moveTo>
                    <a:cubicBezTo>
                      <a:pt x="159475" y="369203"/>
                      <a:pt x="344213" y="308066"/>
                      <a:pt x="551943" y="228589"/>
                    </a:cubicBezTo>
                    <a:cubicBezTo>
                      <a:pt x="759674" y="149112"/>
                      <a:pt x="937368" y="71628"/>
                      <a:pt x="1087019" y="-8"/>
                    </a:cubicBezTo>
                    <a:cubicBezTo>
                      <a:pt x="1087019" y="-8"/>
                      <a:pt x="1130612" y="175294"/>
                      <a:pt x="1113600" y="212640"/>
                    </a:cubicBezTo>
                    <a:cubicBezTo>
                      <a:pt x="1096589" y="249987"/>
                      <a:pt x="898959" y="379171"/>
                      <a:pt x="646572" y="475925"/>
                    </a:cubicBezTo>
                    <a:cubicBezTo>
                      <a:pt x="394185" y="572680"/>
                      <a:pt x="172765" y="613482"/>
                      <a:pt x="122660" y="592217"/>
                    </a:cubicBezTo>
                    <a:cubicBezTo>
                      <a:pt x="72555" y="570953"/>
                      <a:pt x="-12" y="416251"/>
                      <a:pt x="-12" y="416251"/>
                    </a:cubicBezTo>
                    <a:close/>
                  </a:path>
                </a:pathLst>
              </a:custGeom>
              <a:solidFill>
                <a:srgbClr val="D5D4C2"/>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54" name="Freeform: Shape 53">
                <a:extLst>
                  <a:ext uri="{FF2B5EF4-FFF2-40B4-BE49-F238E27FC236}">
                    <a16:creationId xmlns:a16="http://schemas.microsoft.com/office/drawing/2014/main" id="{130852FC-0181-951D-F0A2-E2AC38858FA2}"/>
                  </a:ext>
                </a:extLst>
              </p:cNvPr>
              <p:cNvSpPr/>
              <p:nvPr/>
            </p:nvSpPr>
            <p:spPr>
              <a:xfrm>
                <a:off x="4978796" y="1782217"/>
                <a:ext cx="682867" cy="544532"/>
              </a:xfrm>
              <a:custGeom>
                <a:avLst/>
                <a:gdLst>
                  <a:gd name="csX0" fmla="*/ 111363 w 682867"/>
                  <a:gd name="csY0" fmla="*/ 541315 h 544532"/>
                  <a:gd name="csX1" fmla="*/ 443626 w 682867"/>
                  <a:gd name="csY1" fmla="*/ 423029 h 544532"/>
                  <a:gd name="csX2" fmla="*/ 680861 w 682867"/>
                  <a:gd name="csY2" fmla="*/ 221545 h 544532"/>
                  <a:gd name="csX3" fmla="*/ 642053 w 682867"/>
                  <a:gd name="csY3" fmla="*/ -8 h 544532"/>
                  <a:gd name="csX4" fmla="*/ -12 w 682867"/>
                  <a:gd name="csY4" fmla="*/ 369734 h 544532"/>
                  <a:gd name="csX5" fmla="*/ 111363 w 682867"/>
                  <a:gd name="csY5" fmla="*/ 541315 h 544532"/>
                </a:gdLst>
                <a:ahLst/>
                <a:cxnLst>
                  <a:cxn ang="0">
                    <a:pos x="csX0" y="csY0"/>
                  </a:cxn>
                  <a:cxn ang="0">
                    <a:pos x="csX1" y="csY1"/>
                  </a:cxn>
                  <a:cxn ang="0">
                    <a:pos x="csX2" y="csY2"/>
                  </a:cxn>
                  <a:cxn ang="0">
                    <a:pos x="csX3" y="csY3"/>
                  </a:cxn>
                  <a:cxn ang="0">
                    <a:pos x="csX4" y="csY4"/>
                  </a:cxn>
                  <a:cxn ang="0">
                    <a:pos x="csX5" y="csY5"/>
                  </a:cxn>
                </a:cxnLst>
                <a:rect l="l" t="t" r="r" b="b"/>
                <a:pathLst>
                  <a:path w="682867" h="544532">
                    <a:moveTo>
                      <a:pt x="111363" y="541315"/>
                    </a:moveTo>
                    <a:cubicBezTo>
                      <a:pt x="154025" y="560320"/>
                      <a:pt x="317366" y="491608"/>
                      <a:pt x="443626" y="423029"/>
                    </a:cubicBezTo>
                    <a:cubicBezTo>
                      <a:pt x="569885" y="354450"/>
                      <a:pt x="668235" y="265404"/>
                      <a:pt x="680861" y="221545"/>
                    </a:cubicBezTo>
                    <a:cubicBezTo>
                      <a:pt x="693487" y="177686"/>
                      <a:pt x="642053" y="-8"/>
                      <a:pt x="642053" y="-8"/>
                    </a:cubicBezTo>
                    <a:cubicBezTo>
                      <a:pt x="642053" y="-8"/>
                      <a:pt x="440835" y="159478"/>
                      <a:pt x="-12" y="369734"/>
                    </a:cubicBezTo>
                    <a:cubicBezTo>
                      <a:pt x="-12" y="370266"/>
                      <a:pt x="68700" y="522309"/>
                      <a:pt x="111363" y="541315"/>
                    </a:cubicBezTo>
                    <a:close/>
                  </a:path>
                </a:pathLst>
              </a:custGeom>
              <a:solidFill>
                <a:srgbClr val="FFEF2F"/>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55" name="Freeform: Shape 54">
                <a:extLst>
                  <a:ext uri="{FF2B5EF4-FFF2-40B4-BE49-F238E27FC236}">
                    <a16:creationId xmlns:a16="http://schemas.microsoft.com/office/drawing/2014/main" id="{D66EF3EE-CDA0-3C4B-0AA8-8997666A27E9}"/>
                  </a:ext>
                </a:extLst>
              </p:cNvPr>
              <p:cNvSpPr/>
              <p:nvPr/>
            </p:nvSpPr>
            <p:spPr>
              <a:xfrm>
                <a:off x="4978796" y="1782217"/>
                <a:ext cx="682867" cy="544532"/>
              </a:xfrm>
              <a:custGeom>
                <a:avLst/>
                <a:gdLst>
                  <a:gd name="csX0" fmla="*/ 111363 w 682867"/>
                  <a:gd name="csY0" fmla="*/ 541315 h 544532"/>
                  <a:gd name="csX1" fmla="*/ 443626 w 682867"/>
                  <a:gd name="csY1" fmla="*/ 423029 h 544532"/>
                  <a:gd name="csX2" fmla="*/ 680861 w 682867"/>
                  <a:gd name="csY2" fmla="*/ 221545 h 544532"/>
                  <a:gd name="csX3" fmla="*/ 642053 w 682867"/>
                  <a:gd name="csY3" fmla="*/ -8 h 544532"/>
                  <a:gd name="csX4" fmla="*/ -12 w 682867"/>
                  <a:gd name="csY4" fmla="*/ 369734 h 544532"/>
                  <a:gd name="csX5" fmla="*/ 111363 w 682867"/>
                  <a:gd name="csY5" fmla="*/ 541315 h 544532"/>
                </a:gdLst>
                <a:ahLst/>
                <a:cxnLst>
                  <a:cxn ang="0">
                    <a:pos x="csX0" y="csY0"/>
                  </a:cxn>
                  <a:cxn ang="0">
                    <a:pos x="csX1" y="csY1"/>
                  </a:cxn>
                  <a:cxn ang="0">
                    <a:pos x="csX2" y="csY2"/>
                  </a:cxn>
                  <a:cxn ang="0">
                    <a:pos x="csX3" y="csY3"/>
                  </a:cxn>
                  <a:cxn ang="0">
                    <a:pos x="csX4" y="csY4"/>
                  </a:cxn>
                  <a:cxn ang="0">
                    <a:pos x="csX5" y="csY5"/>
                  </a:cxn>
                </a:cxnLst>
                <a:rect l="l" t="t" r="r" b="b"/>
                <a:pathLst>
                  <a:path w="682867" h="544532">
                    <a:moveTo>
                      <a:pt x="111363" y="541315"/>
                    </a:moveTo>
                    <a:cubicBezTo>
                      <a:pt x="154025" y="560320"/>
                      <a:pt x="317366" y="491608"/>
                      <a:pt x="443626" y="423029"/>
                    </a:cubicBezTo>
                    <a:cubicBezTo>
                      <a:pt x="569885" y="354450"/>
                      <a:pt x="668235" y="265404"/>
                      <a:pt x="680861" y="221545"/>
                    </a:cubicBezTo>
                    <a:cubicBezTo>
                      <a:pt x="693487" y="177686"/>
                      <a:pt x="642053" y="-8"/>
                      <a:pt x="642053" y="-8"/>
                    </a:cubicBezTo>
                    <a:cubicBezTo>
                      <a:pt x="642053" y="-8"/>
                      <a:pt x="440835" y="159478"/>
                      <a:pt x="-12" y="369734"/>
                    </a:cubicBezTo>
                    <a:cubicBezTo>
                      <a:pt x="-12" y="370266"/>
                      <a:pt x="68700" y="522309"/>
                      <a:pt x="111363" y="541315"/>
                    </a:cubicBezTo>
                    <a:close/>
                  </a:path>
                </a:pathLst>
              </a:custGeom>
              <a:solidFill>
                <a:srgbClr val="A91A20"/>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56" name="Freeform: Shape 55">
                <a:extLst>
                  <a:ext uri="{FF2B5EF4-FFF2-40B4-BE49-F238E27FC236}">
                    <a16:creationId xmlns:a16="http://schemas.microsoft.com/office/drawing/2014/main" id="{4FD122A6-AA78-0545-1A7E-10F2E25C707E}"/>
                  </a:ext>
                </a:extLst>
              </p:cNvPr>
              <p:cNvSpPr/>
              <p:nvPr/>
            </p:nvSpPr>
            <p:spPr>
              <a:xfrm>
                <a:off x="4197609" y="1823529"/>
                <a:ext cx="81597" cy="34405"/>
              </a:xfrm>
              <a:custGeom>
                <a:avLst/>
                <a:gdLst>
                  <a:gd name="csX0" fmla="*/ 92 w 81597"/>
                  <a:gd name="csY0" fmla="*/ 32841 h 34405"/>
                  <a:gd name="csX1" fmla="*/ 43552 w 81597"/>
                  <a:gd name="csY1" fmla="*/ 24468 h 34405"/>
                  <a:gd name="csX2" fmla="*/ 81430 w 81597"/>
                  <a:gd name="csY2" fmla="*/ 1608 h 34405"/>
                  <a:gd name="csX3" fmla="*/ 37970 w 81597"/>
                  <a:gd name="csY3" fmla="*/ 9849 h 34405"/>
                  <a:gd name="csX4" fmla="*/ 92 w 81597"/>
                  <a:gd name="csY4" fmla="*/ 32841 h 34405"/>
                </a:gdLst>
                <a:ahLst/>
                <a:cxnLst>
                  <a:cxn ang="0">
                    <a:pos x="csX0" y="csY0"/>
                  </a:cxn>
                  <a:cxn ang="0">
                    <a:pos x="csX1" y="csY1"/>
                  </a:cxn>
                  <a:cxn ang="0">
                    <a:pos x="csX2" y="csY2"/>
                  </a:cxn>
                  <a:cxn ang="0">
                    <a:pos x="csX3" y="csY3"/>
                  </a:cxn>
                  <a:cxn ang="0">
                    <a:pos x="csX4" y="csY4"/>
                  </a:cxn>
                </a:cxnLst>
                <a:rect l="l" t="t" r="r" b="b"/>
                <a:pathLst>
                  <a:path w="81597" h="34405">
                    <a:moveTo>
                      <a:pt x="92" y="32841"/>
                    </a:moveTo>
                    <a:cubicBezTo>
                      <a:pt x="1687" y="36828"/>
                      <a:pt x="21091" y="32841"/>
                      <a:pt x="43552" y="24468"/>
                    </a:cubicBezTo>
                    <a:cubicBezTo>
                      <a:pt x="66013" y="16095"/>
                      <a:pt x="83424" y="5728"/>
                      <a:pt x="81430" y="1608"/>
                    </a:cubicBezTo>
                    <a:cubicBezTo>
                      <a:pt x="79436" y="-2512"/>
                      <a:pt x="60431" y="1608"/>
                      <a:pt x="37970" y="9849"/>
                    </a:cubicBezTo>
                    <a:cubicBezTo>
                      <a:pt x="15509" y="18089"/>
                      <a:pt x="-1503" y="28721"/>
                      <a:pt x="92" y="32841"/>
                    </a:cubicBezTo>
                    <a:close/>
                  </a:path>
                </a:pathLst>
              </a:custGeom>
              <a:solidFill>
                <a:srgbClr val="875345"/>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57" name="Freeform: Shape 56">
                <a:extLst>
                  <a:ext uri="{FF2B5EF4-FFF2-40B4-BE49-F238E27FC236}">
                    <a16:creationId xmlns:a16="http://schemas.microsoft.com/office/drawing/2014/main" id="{CE6BA25C-1EBD-4ED5-9FE2-24D43D2A6FC1}"/>
                  </a:ext>
                </a:extLst>
              </p:cNvPr>
              <p:cNvSpPr/>
              <p:nvPr/>
            </p:nvSpPr>
            <p:spPr>
              <a:xfrm>
                <a:off x="4978796" y="1782748"/>
                <a:ext cx="683042" cy="543504"/>
              </a:xfrm>
              <a:custGeom>
                <a:avLst/>
                <a:gdLst>
                  <a:gd name="csX0" fmla="*/ 101528 w 683042"/>
                  <a:gd name="csY0" fmla="*/ 514867 h 543504"/>
                  <a:gd name="csX1" fmla="*/ 433791 w 683042"/>
                  <a:gd name="csY1" fmla="*/ 396714 h 543504"/>
                  <a:gd name="csX2" fmla="*/ 670628 w 683042"/>
                  <a:gd name="csY2" fmla="*/ 195628 h 543504"/>
                  <a:gd name="csX3" fmla="*/ 639661 w 683042"/>
                  <a:gd name="csY3" fmla="*/ 1853 h 543504"/>
                  <a:gd name="csX4" fmla="*/ 642053 w 683042"/>
                  <a:gd name="csY4" fmla="*/ -8 h 543504"/>
                  <a:gd name="csX5" fmla="*/ 680861 w 683042"/>
                  <a:gd name="csY5" fmla="*/ 221013 h 543504"/>
                  <a:gd name="csX6" fmla="*/ 444423 w 683042"/>
                  <a:gd name="csY6" fmla="*/ 423029 h 543504"/>
                  <a:gd name="csX7" fmla="*/ 111363 w 683042"/>
                  <a:gd name="csY7" fmla="*/ 540252 h 543504"/>
                  <a:gd name="csX8" fmla="*/ -12 w 683042"/>
                  <a:gd name="csY8" fmla="*/ 369203 h 543504"/>
                  <a:gd name="csX9" fmla="*/ 1849 w 683042"/>
                  <a:gd name="csY9" fmla="*/ 368272 h 543504"/>
                  <a:gd name="csX10" fmla="*/ 101528 w 683042"/>
                  <a:gd name="csY10" fmla="*/ 514867 h 54350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683042" h="543504">
                    <a:moveTo>
                      <a:pt x="101528" y="514867"/>
                    </a:moveTo>
                    <a:cubicBezTo>
                      <a:pt x="144190" y="533872"/>
                      <a:pt x="307398" y="465160"/>
                      <a:pt x="433791" y="396714"/>
                    </a:cubicBezTo>
                    <a:cubicBezTo>
                      <a:pt x="560183" y="328268"/>
                      <a:pt x="657869" y="239088"/>
                      <a:pt x="670628" y="195628"/>
                    </a:cubicBezTo>
                    <a:cubicBezTo>
                      <a:pt x="680861" y="162934"/>
                      <a:pt x="654280" y="53553"/>
                      <a:pt x="639661" y="1853"/>
                    </a:cubicBezTo>
                    <a:lnTo>
                      <a:pt x="642053" y="-8"/>
                    </a:lnTo>
                    <a:cubicBezTo>
                      <a:pt x="642053" y="-8"/>
                      <a:pt x="694152" y="178085"/>
                      <a:pt x="680861" y="221013"/>
                    </a:cubicBezTo>
                    <a:cubicBezTo>
                      <a:pt x="667571" y="263942"/>
                      <a:pt x="571215" y="354583"/>
                      <a:pt x="444423" y="423029"/>
                    </a:cubicBezTo>
                    <a:cubicBezTo>
                      <a:pt x="317632" y="491475"/>
                      <a:pt x="154025" y="559257"/>
                      <a:pt x="111363" y="540252"/>
                    </a:cubicBezTo>
                    <a:cubicBezTo>
                      <a:pt x="68700" y="521246"/>
                      <a:pt x="-12" y="369203"/>
                      <a:pt x="-12" y="369203"/>
                    </a:cubicBezTo>
                    <a:cubicBezTo>
                      <a:pt x="560" y="368815"/>
                      <a:pt x="1198" y="368501"/>
                      <a:pt x="1849" y="368272"/>
                    </a:cubicBezTo>
                    <a:cubicBezTo>
                      <a:pt x="23380" y="412663"/>
                      <a:pt x="69498" y="500114"/>
                      <a:pt x="101528" y="514867"/>
                    </a:cubicBezTo>
                    <a:close/>
                  </a:path>
                </a:pathLst>
              </a:custGeom>
              <a:solidFill>
                <a:srgbClr val="D5D4C2"/>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58" name="Freeform: Shape 57">
                <a:extLst>
                  <a:ext uri="{FF2B5EF4-FFF2-40B4-BE49-F238E27FC236}">
                    <a16:creationId xmlns:a16="http://schemas.microsoft.com/office/drawing/2014/main" id="{56603AB9-CF24-2AFA-BE16-B9B80C34E70F}"/>
                  </a:ext>
                </a:extLst>
              </p:cNvPr>
              <p:cNvSpPr/>
              <p:nvPr/>
            </p:nvSpPr>
            <p:spPr>
              <a:xfrm>
                <a:off x="3892031" y="2152490"/>
                <a:ext cx="1117817" cy="597720"/>
              </a:xfrm>
              <a:custGeom>
                <a:avLst/>
                <a:gdLst>
                  <a:gd name="csX0" fmla="*/ 112426 w 1117817"/>
                  <a:gd name="csY0" fmla="*/ 565503 h 597720"/>
                  <a:gd name="csX1" fmla="*/ 636205 w 1117817"/>
                  <a:gd name="csY1" fmla="*/ 449079 h 597720"/>
                  <a:gd name="csX2" fmla="*/ 1103101 w 1117817"/>
                  <a:gd name="csY2" fmla="*/ 186192 h 597720"/>
                  <a:gd name="csX3" fmla="*/ 1083697 w 1117817"/>
                  <a:gd name="csY3" fmla="*/ 1720 h 597720"/>
                  <a:gd name="csX4" fmla="*/ 1087285 w 1117817"/>
                  <a:gd name="csY4" fmla="*/ -8 h 597720"/>
                  <a:gd name="csX5" fmla="*/ 1113866 w 1117817"/>
                  <a:gd name="csY5" fmla="*/ 212640 h 597720"/>
                  <a:gd name="csX6" fmla="*/ 646572 w 1117817"/>
                  <a:gd name="csY6" fmla="*/ 475925 h 597720"/>
                  <a:gd name="csX7" fmla="*/ 122660 w 1117817"/>
                  <a:gd name="csY7" fmla="*/ 592217 h 597720"/>
                  <a:gd name="csX8" fmla="*/ -12 w 1117817"/>
                  <a:gd name="csY8" fmla="*/ 416251 h 597720"/>
                  <a:gd name="csX9" fmla="*/ 2647 w 1117817"/>
                  <a:gd name="csY9" fmla="*/ 415454 h 597720"/>
                  <a:gd name="csX10" fmla="*/ 112426 w 1117817"/>
                  <a:gd name="csY10" fmla="*/ 565503 h 59772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1117817" h="597720">
                    <a:moveTo>
                      <a:pt x="112426" y="565503"/>
                    </a:moveTo>
                    <a:cubicBezTo>
                      <a:pt x="162531" y="586768"/>
                      <a:pt x="383818" y="545834"/>
                      <a:pt x="636205" y="449079"/>
                    </a:cubicBezTo>
                    <a:cubicBezTo>
                      <a:pt x="888592" y="352324"/>
                      <a:pt x="1084893" y="223406"/>
                      <a:pt x="1103101" y="186192"/>
                    </a:cubicBezTo>
                    <a:cubicBezTo>
                      <a:pt x="1116391" y="158016"/>
                      <a:pt x="1095127" y="53287"/>
                      <a:pt x="1083697" y="1720"/>
                    </a:cubicBezTo>
                    <a:lnTo>
                      <a:pt x="1087285" y="-8"/>
                    </a:lnTo>
                    <a:cubicBezTo>
                      <a:pt x="1087285" y="-8"/>
                      <a:pt x="1130878" y="175294"/>
                      <a:pt x="1113866" y="212640"/>
                    </a:cubicBezTo>
                    <a:cubicBezTo>
                      <a:pt x="1096854" y="249987"/>
                      <a:pt x="898959" y="379171"/>
                      <a:pt x="646572" y="475925"/>
                    </a:cubicBezTo>
                    <a:cubicBezTo>
                      <a:pt x="394185" y="572680"/>
                      <a:pt x="172765" y="613482"/>
                      <a:pt x="122660" y="592217"/>
                    </a:cubicBezTo>
                    <a:cubicBezTo>
                      <a:pt x="72555" y="570953"/>
                      <a:pt x="-12" y="416251"/>
                      <a:pt x="-12" y="416251"/>
                    </a:cubicBezTo>
                    <a:lnTo>
                      <a:pt x="2647" y="415454"/>
                    </a:lnTo>
                    <a:cubicBezTo>
                      <a:pt x="25506" y="460508"/>
                      <a:pt x="75213" y="549555"/>
                      <a:pt x="112426" y="565503"/>
                    </a:cubicBezTo>
                    <a:close/>
                  </a:path>
                </a:pathLst>
              </a:custGeom>
              <a:solidFill>
                <a:srgbClr val="D5D4C2"/>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59" name="Freeform: Shape 58">
                <a:extLst>
                  <a:ext uri="{FF2B5EF4-FFF2-40B4-BE49-F238E27FC236}">
                    <a16:creationId xmlns:a16="http://schemas.microsoft.com/office/drawing/2014/main" id="{BC864173-1FC6-DC76-B0E7-B7D3A528F95A}"/>
                  </a:ext>
                </a:extLst>
              </p:cNvPr>
              <p:cNvSpPr/>
              <p:nvPr/>
            </p:nvSpPr>
            <p:spPr>
              <a:xfrm>
                <a:off x="4178333" y="1736427"/>
                <a:ext cx="67495" cy="67534"/>
              </a:xfrm>
              <a:custGeom>
                <a:avLst/>
                <a:gdLst>
                  <a:gd name="csX0" fmla="*/ 2223 w 67495"/>
                  <a:gd name="csY0" fmla="*/ 45915 h 67534"/>
                  <a:gd name="csX1" fmla="*/ 45872 w 67495"/>
                  <a:gd name="csY1" fmla="*/ 65253 h 67534"/>
                  <a:gd name="csX2" fmla="*/ 65210 w 67495"/>
                  <a:gd name="csY2" fmla="*/ 21603 h 67534"/>
                  <a:gd name="csX3" fmla="*/ 21760 w 67495"/>
                  <a:gd name="csY3" fmla="*/ 2189 h 67534"/>
                  <a:gd name="csX4" fmla="*/ 2223 w 67495"/>
                  <a:gd name="csY4" fmla="*/ 45915 h 67534"/>
                </a:gdLst>
                <a:ahLst/>
                <a:cxnLst>
                  <a:cxn ang="0">
                    <a:pos x="csX0" y="csY0"/>
                  </a:cxn>
                  <a:cxn ang="0">
                    <a:pos x="csX1" y="csY1"/>
                  </a:cxn>
                  <a:cxn ang="0">
                    <a:pos x="csX2" y="csY2"/>
                  </a:cxn>
                  <a:cxn ang="0">
                    <a:pos x="csX3" y="csY3"/>
                  </a:cxn>
                  <a:cxn ang="0">
                    <a:pos x="csX4" y="csY4"/>
                  </a:cxn>
                </a:cxnLst>
                <a:rect l="l" t="t" r="r" b="b"/>
                <a:pathLst>
                  <a:path w="67495" h="67534">
                    <a:moveTo>
                      <a:pt x="2223" y="45915"/>
                    </a:moveTo>
                    <a:cubicBezTo>
                      <a:pt x="8936" y="63308"/>
                      <a:pt x="28480" y="71966"/>
                      <a:pt x="45872" y="65253"/>
                    </a:cubicBezTo>
                    <a:cubicBezTo>
                      <a:pt x="63265" y="58538"/>
                      <a:pt x="71924" y="38996"/>
                      <a:pt x="65210" y="21603"/>
                    </a:cubicBezTo>
                    <a:cubicBezTo>
                      <a:pt x="58526" y="4288"/>
                      <a:pt x="39118" y="-4384"/>
                      <a:pt x="21760" y="2189"/>
                    </a:cubicBezTo>
                    <a:cubicBezTo>
                      <a:pt x="4302" y="8880"/>
                      <a:pt x="-4441" y="28446"/>
                      <a:pt x="2223" y="45915"/>
                    </a:cubicBezTo>
                    <a:close/>
                  </a:path>
                </a:pathLst>
              </a:custGeom>
              <a:solidFill>
                <a:srgbClr val="875345"/>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60" name="Freeform: Shape 59">
                <a:extLst>
                  <a:ext uri="{FF2B5EF4-FFF2-40B4-BE49-F238E27FC236}">
                    <a16:creationId xmlns:a16="http://schemas.microsoft.com/office/drawing/2014/main" id="{285CE02D-69AA-A8BE-74D0-8723E32D299A}"/>
                  </a:ext>
                </a:extLst>
              </p:cNvPr>
              <p:cNvSpPr/>
              <p:nvPr/>
            </p:nvSpPr>
            <p:spPr>
              <a:xfrm>
                <a:off x="4202836" y="1740817"/>
                <a:ext cx="33767" cy="33766"/>
              </a:xfrm>
              <a:custGeom>
                <a:avLst/>
                <a:gdLst>
                  <a:gd name="csX0" fmla="*/ 1112 w 33767"/>
                  <a:gd name="csY0" fmla="*/ 22918 h 33766"/>
                  <a:gd name="csX1" fmla="*/ 22915 w 33767"/>
                  <a:gd name="csY1" fmla="*/ 32636 h 33766"/>
                  <a:gd name="csX2" fmla="*/ 32633 w 33767"/>
                  <a:gd name="csY2" fmla="*/ 10833 h 33766"/>
                  <a:gd name="csX3" fmla="*/ 10830 w 33767"/>
                  <a:gd name="csY3" fmla="*/ 1115 h 33766"/>
                  <a:gd name="csX4" fmla="*/ 10814 w 33767"/>
                  <a:gd name="csY4" fmla="*/ 1121 h 33766"/>
                  <a:gd name="csX5" fmla="*/ 1112 w 33767"/>
                  <a:gd name="csY5" fmla="*/ 22918 h 33766"/>
                </a:gdLst>
                <a:ahLst/>
                <a:cxnLst>
                  <a:cxn ang="0">
                    <a:pos x="csX0" y="csY0"/>
                  </a:cxn>
                  <a:cxn ang="0">
                    <a:pos x="csX1" y="csY1"/>
                  </a:cxn>
                  <a:cxn ang="0">
                    <a:pos x="csX2" y="csY2"/>
                  </a:cxn>
                  <a:cxn ang="0">
                    <a:pos x="csX3" y="csY3"/>
                  </a:cxn>
                  <a:cxn ang="0">
                    <a:pos x="csX4" y="csY4"/>
                  </a:cxn>
                  <a:cxn ang="0">
                    <a:pos x="csX5" y="csY5"/>
                  </a:cxn>
                </a:cxnLst>
                <a:rect l="l" t="t" r="r" b="b"/>
                <a:pathLst>
                  <a:path w="33767" h="33766">
                    <a:moveTo>
                      <a:pt x="1112" y="22918"/>
                    </a:moveTo>
                    <a:cubicBezTo>
                      <a:pt x="4449" y="31622"/>
                      <a:pt x="14209" y="35973"/>
                      <a:pt x="22915" y="32636"/>
                    </a:cubicBezTo>
                    <a:cubicBezTo>
                      <a:pt x="31619" y="29299"/>
                      <a:pt x="35970" y="19538"/>
                      <a:pt x="32633" y="10833"/>
                    </a:cubicBezTo>
                    <a:cubicBezTo>
                      <a:pt x="29295" y="2129"/>
                      <a:pt x="19534" y="-2222"/>
                      <a:pt x="10830" y="1115"/>
                    </a:cubicBezTo>
                    <a:cubicBezTo>
                      <a:pt x="10824" y="1117"/>
                      <a:pt x="10819" y="1119"/>
                      <a:pt x="10814" y="1121"/>
                    </a:cubicBezTo>
                    <a:cubicBezTo>
                      <a:pt x="2119" y="4465"/>
                      <a:pt x="-2223" y="14220"/>
                      <a:pt x="1112" y="22918"/>
                    </a:cubicBezTo>
                    <a:close/>
                  </a:path>
                </a:pathLst>
              </a:custGeom>
              <a:solidFill>
                <a:srgbClr val="FFFFFF"/>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61" name="Freeform: Shape 60">
                <a:extLst>
                  <a:ext uri="{FF2B5EF4-FFF2-40B4-BE49-F238E27FC236}">
                    <a16:creationId xmlns:a16="http://schemas.microsoft.com/office/drawing/2014/main" id="{0F291EE4-F7F2-344C-05BE-B8A647E3F858}"/>
                  </a:ext>
                </a:extLst>
              </p:cNvPr>
              <p:cNvSpPr/>
              <p:nvPr/>
            </p:nvSpPr>
            <p:spPr>
              <a:xfrm>
                <a:off x="4205022" y="1790058"/>
                <a:ext cx="49972" cy="53162"/>
              </a:xfrm>
              <a:custGeom>
                <a:avLst/>
                <a:gdLst>
                  <a:gd name="csX0" fmla="*/ 19260 w 49972"/>
                  <a:gd name="csY0" fmla="*/ 11688 h 53162"/>
                  <a:gd name="csX1" fmla="*/ 34544 w 49972"/>
                  <a:gd name="csY1" fmla="*/ -8 h 53162"/>
                  <a:gd name="csX2" fmla="*/ 49961 w 49972"/>
                  <a:gd name="csY2" fmla="*/ 39864 h 53162"/>
                  <a:gd name="csX3" fmla="*/ 33082 w 49972"/>
                  <a:gd name="csY3" fmla="*/ 47439 h 53162"/>
                  <a:gd name="csX4" fmla="*/ 15538 w 49972"/>
                  <a:gd name="csY4" fmla="*/ 53154 h 53162"/>
                  <a:gd name="csX5" fmla="*/ -12 w 49972"/>
                  <a:gd name="csY5" fmla="*/ 12618 h 53162"/>
                  <a:gd name="csX6" fmla="*/ 19260 w 49972"/>
                  <a:gd name="csY6" fmla="*/ 11688 h 53162"/>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49972" h="53162">
                    <a:moveTo>
                      <a:pt x="19260" y="11688"/>
                    </a:moveTo>
                    <a:cubicBezTo>
                      <a:pt x="25404" y="9396"/>
                      <a:pt x="30725" y="5324"/>
                      <a:pt x="34544" y="-8"/>
                    </a:cubicBezTo>
                    <a:lnTo>
                      <a:pt x="49961" y="39864"/>
                    </a:lnTo>
                    <a:cubicBezTo>
                      <a:pt x="44702" y="43138"/>
                      <a:pt x="39024" y="45686"/>
                      <a:pt x="33082" y="47439"/>
                    </a:cubicBezTo>
                    <a:cubicBezTo>
                      <a:pt x="27496" y="50071"/>
                      <a:pt x="21603" y="51991"/>
                      <a:pt x="15538" y="53154"/>
                    </a:cubicBezTo>
                    <a:lnTo>
                      <a:pt x="-12" y="12618"/>
                    </a:lnTo>
                    <a:cubicBezTo>
                      <a:pt x="6363" y="14221"/>
                      <a:pt x="13069" y="13897"/>
                      <a:pt x="19260" y="11688"/>
                    </a:cubicBezTo>
                    <a:close/>
                  </a:path>
                </a:pathLst>
              </a:custGeom>
              <a:solidFill>
                <a:srgbClr val="60372B"/>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62" name="Freeform: Shape 61">
                <a:extLst>
                  <a:ext uri="{FF2B5EF4-FFF2-40B4-BE49-F238E27FC236}">
                    <a16:creationId xmlns:a16="http://schemas.microsoft.com/office/drawing/2014/main" id="{BB7E12F3-82C8-542F-C31E-C4BE21C1C809}"/>
                  </a:ext>
                </a:extLst>
              </p:cNvPr>
              <p:cNvSpPr/>
              <p:nvPr/>
            </p:nvSpPr>
            <p:spPr>
              <a:xfrm>
                <a:off x="4234285" y="1802002"/>
                <a:ext cx="15334" cy="27904"/>
              </a:xfrm>
              <a:custGeom>
                <a:avLst/>
                <a:gdLst>
                  <a:gd name="csX0" fmla="*/ 8205 w 15334"/>
                  <a:gd name="csY0" fmla="*/ 25528 h 27904"/>
                  <a:gd name="csX1" fmla="*/ 12990 w 15334"/>
                  <a:gd name="csY1" fmla="*/ 27654 h 27904"/>
                  <a:gd name="csX2" fmla="*/ 12990 w 15334"/>
                  <a:gd name="csY2" fmla="*/ 27654 h 27904"/>
                  <a:gd name="csX3" fmla="*/ 15116 w 15334"/>
                  <a:gd name="csY3" fmla="*/ 22870 h 27904"/>
                  <a:gd name="csX4" fmla="*/ 7142 w 15334"/>
                  <a:gd name="csY4" fmla="*/ 2403 h 27904"/>
                  <a:gd name="csX5" fmla="*/ 2574 w 15334"/>
                  <a:gd name="csY5" fmla="*/ 192 h 27904"/>
                  <a:gd name="csX6" fmla="*/ 2357 w 15334"/>
                  <a:gd name="csY6" fmla="*/ 276 h 27904"/>
                  <a:gd name="csX7" fmla="*/ 2357 w 15334"/>
                  <a:gd name="csY7" fmla="*/ 276 h 27904"/>
                  <a:gd name="csX8" fmla="*/ 231 w 15334"/>
                  <a:gd name="csY8" fmla="*/ 5061 h 2790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5334" h="27904">
                    <a:moveTo>
                      <a:pt x="8205" y="25528"/>
                    </a:moveTo>
                    <a:cubicBezTo>
                      <a:pt x="8947" y="27429"/>
                      <a:pt x="11081" y="28377"/>
                      <a:pt x="12990" y="27654"/>
                    </a:cubicBezTo>
                    <a:lnTo>
                      <a:pt x="12990" y="27654"/>
                    </a:lnTo>
                    <a:cubicBezTo>
                      <a:pt x="14840" y="26860"/>
                      <a:pt x="15766" y="24776"/>
                      <a:pt x="15116" y="22870"/>
                    </a:cubicBezTo>
                    <a:lnTo>
                      <a:pt x="7142" y="2403"/>
                    </a:lnTo>
                    <a:cubicBezTo>
                      <a:pt x="6491" y="531"/>
                      <a:pt x="4445" y="-459"/>
                      <a:pt x="2574" y="192"/>
                    </a:cubicBezTo>
                    <a:cubicBezTo>
                      <a:pt x="2501" y="219"/>
                      <a:pt x="2429" y="245"/>
                      <a:pt x="2357" y="276"/>
                    </a:cubicBezTo>
                    <a:lnTo>
                      <a:pt x="2357" y="276"/>
                    </a:lnTo>
                    <a:cubicBezTo>
                      <a:pt x="457" y="1018"/>
                      <a:pt x="-492" y="3152"/>
                      <a:pt x="231" y="5061"/>
                    </a:cubicBezTo>
                    <a:close/>
                  </a:path>
                </a:pathLst>
              </a:custGeom>
              <a:solidFill>
                <a:srgbClr val="FFFFFF">
                  <a:alpha val="70000"/>
                </a:srgbClr>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63" name="Freeform: Shape 62">
                <a:extLst>
                  <a:ext uri="{FF2B5EF4-FFF2-40B4-BE49-F238E27FC236}">
                    <a16:creationId xmlns:a16="http://schemas.microsoft.com/office/drawing/2014/main" id="{80237C87-CACD-ADF1-0BDA-25835ABA84E4}"/>
                  </a:ext>
                </a:extLst>
              </p:cNvPr>
              <p:cNvSpPr/>
              <p:nvPr/>
            </p:nvSpPr>
            <p:spPr>
              <a:xfrm>
                <a:off x="4539279" y="1931336"/>
                <a:ext cx="439517" cy="221154"/>
              </a:xfrm>
              <a:custGeom>
                <a:avLst/>
                <a:gdLst>
                  <a:gd name="csX0" fmla="*/ 439506 w 439517"/>
                  <a:gd name="csY0" fmla="*/ 221146 h 221154"/>
                  <a:gd name="csX1" fmla="*/ -12 w 439517"/>
                  <a:gd name="csY1" fmla="*/ -8 h 221154"/>
                  <a:gd name="csX2" fmla="*/ 190442 w 439517"/>
                  <a:gd name="csY2" fmla="*/ 99272 h 221154"/>
                  <a:gd name="csX3" fmla="*/ 439506 w 439517"/>
                  <a:gd name="csY3" fmla="*/ 221146 h 221154"/>
                </a:gdLst>
                <a:ahLst/>
                <a:cxnLst>
                  <a:cxn ang="0">
                    <a:pos x="csX0" y="csY0"/>
                  </a:cxn>
                  <a:cxn ang="0">
                    <a:pos x="csX1" y="csY1"/>
                  </a:cxn>
                  <a:cxn ang="0">
                    <a:pos x="csX2" y="csY2"/>
                  </a:cxn>
                  <a:cxn ang="0">
                    <a:pos x="csX3" y="csY3"/>
                  </a:cxn>
                </a:cxnLst>
                <a:rect l="l" t="t" r="r" b="b"/>
                <a:pathLst>
                  <a:path w="439517" h="221154">
                    <a:moveTo>
                      <a:pt x="439506" y="221146"/>
                    </a:moveTo>
                    <a:cubicBezTo>
                      <a:pt x="439506" y="221146"/>
                      <a:pt x="133824" y="57540"/>
                      <a:pt x="-12" y="-8"/>
                    </a:cubicBezTo>
                    <a:cubicBezTo>
                      <a:pt x="-12" y="-8"/>
                      <a:pt x="154956" y="81729"/>
                      <a:pt x="190442" y="99272"/>
                    </a:cubicBezTo>
                    <a:cubicBezTo>
                      <a:pt x="322948" y="164662"/>
                      <a:pt x="439506" y="221146"/>
                      <a:pt x="439506" y="221146"/>
                    </a:cubicBezTo>
                    <a:close/>
                  </a:path>
                </a:pathLst>
              </a:custGeom>
              <a:solidFill>
                <a:srgbClr val="A3ABB3"/>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64" name="Freeform: Shape 63">
                <a:extLst>
                  <a:ext uri="{FF2B5EF4-FFF2-40B4-BE49-F238E27FC236}">
                    <a16:creationId xmlns:a16="http://schemas.microsoft.com/office/drawing/2014/main" id="{E1503933-45C6-704C-25F4-68F75A2A5857}"/>
                  </a:ext>
                </a:extLst>
              </p:cNvPr>
              <p:cNvSpPr/>
              <p:nvPr/>
            </p:nvSpPr>
            <p:spPr>
              <a:xfrm>
                <a:off x="4272538" y="1833518"/>
                <a:ext cx="706257" cy="318972"/>
              </a:xfrm>
              <a:custGeom>
                <a:avLst/>
                <a:gdLst>
                  <a:gd name="csX0" fmla="*/ 706246 w 706257"/>
                  <a:gd name="csY0" fmla="*/ 318964 h 318972"/>
                  <a:gd name="csX1" fmla="*/ -12 w 706257"/>
                  <a:gd name="csY1" fmla="*/ -8 h 318972"/>
                  <a:gd name="csX2" fmla="*/ 493199 w 706257"/>
                  <a:gd name="csY2" fmla="*/ 199350 h 318972"/>
                  <a:gd name="csX3" fmla="*/ 706246 w 706257"/>
                  <a:gd name="csY3" fmla="*/ 318964 h 318972"/>
                </a:gdLst>
                <a:ahLst/>
                <a:cxnLst>
                  <a:cxn ang="0">
                    <a:pos x="csX0" y="csY0"/>
                  </a:cxn>
                  <a:cxn ang="0">
                    <a:pos x="csX1" y="csY1"/>
                  </a:cxn>
                  <a:cxn ang="0">
                    <a:pos x="csX2" y="csY2"/>
                  </a:cxn>
                  <a:cxn ang="0">
                    <a:pos x="csX3" y="csY3"/>
                  </a:cxn>
                </a:cxnLst>
                <a:rect l="l" t="t" r="r" b="b"/>
                <a:pathLst>
                  <a:path w="706257" h="318972">
                    <a:moveTo>
                      <a:pt x="706246" y="318964"/>
                    </a:moveTo>
                    <a:cubicBezTo>
                      <a:pt x="706246" y="318964"/>
                      <a:pt x="171569" y="26573"/>
                      <a:pt x="-12" y="-8"/>
                    </a:cubicBezTo>
                    <a:cubicBezTo>
                      <a:pt x="-12" y="-8"/>
                      <a:pt x="166120" y="20858"/>
                      <a:pt x="493199" y="199350"/>
                    </a:cubicBezTo>
                    <a:cubicBezTo>
                      <a:pt x="627434" y="272182"/>
                      <a:pt x="706246" y="318964"/>
                      <a:pt x="706246" y="318964"/>
                    </a:cubicBezTo>
                    <a:close/>
                  </a:path>
                </a:pathLst>
              </a:custGeom>
              <a:solidFill>
                <a:srgbClr val="C7D9D9"/>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65" name="Freeform: Shape 64">
                <a:extLst>
                  <a:ext uri="{FF2B5EF4-FFF2-40B4-BE49-F238E27FC236}">
                    <a16:creationId xmlns:a16="http://schemas.microsoft.com/office/drawing/2014/main" id="{2AB632DE-6586-248B-A14E-C764C5AE965F}"/>
                  </a:ext>
                </a:extLst>
              </p:cNvPr>
              <p:cNvSpPr/>
              <p:nvPr/>
            </p:nvSpPr>
            <p:spPr>
              <a:xfrm>
                <a:off x="3892031" y="2110094"/>
                <a:ext cx="179687" cy="458655"/>
              </a:xfrm>
              <a:custGeom>
                <a:avLst/>
                <a:gdLst>
                  <a:gd name="csX0" fmla="*/ -12 w 179687"/>
                  <a:gd name="csY0" fmla="*/ 458648 h 458655"/>
                  <a:gd name="csX1" fmla="*/ 88370 w 179687"/>
                  <a:gd name="csY1" fmla="*/ 249854 h 458655"/>
                  <a:gd name="csX2" fmla="*/ 179676 w 179687"/>
                  <a:gd name="csY2" fmla="*/ -8 h 458655"/>
                  <a:gd name="csX3" fmla="*/ -12 w 179687"/>
                  <a:gd name="csY3" fmla="*/ 458648 h 458655"/>
                </a:gdLst>
                <a:ahLst/>
                <a:cxnLst>
                  <a:cxn ang="0">
                    <a:pos x="csX0" y="csY0"/>
                  </a:cxn>
                  <a:cxn ang="0">
                    <a:pos x="csX1" y="csY1"/>
                  </a:cxn>
                  <a:cxn ang="0">
                    <a:pos x="csX2" y="csY2"/>
                  </a:cxn>
                  <a:cxn ang="0">
                    <a:pos x="csX3" y="csY3"/>
                  </a:cxn>
                </a:cxnLst>
                <a:rect l="l" t="t" r="r" b="b"/>
                <a:pathLst>
                  <a:path w="179687" h="458655">
                    <a:moveTo>
                      <a:pt x="-12" y="458648"/>
                    </a:moveTo>
                    <a:cubicBezTo>
                      <a:pt x="-12" y="458648"/>
                      <a:pt x="47037" y="360165"/>
                      <a:pt x="88370" y="249854"/>
                    </a:cubicBezTo>
                    <a:cubicBezTo>
                      <a:pt x="121995" y="159478"/>
                      <a:pt x="179676" y="-8"/>
                      <a:pt x="179676" y="-8"/>
                    </a:cubicBezTo>
                    <a:cubicBezTo>
                      <a:pt x="179676" y="-8"/>
                      <a:pt x="85579" y="208254"/>
                      <a:pt x="-12" y="458648"/>
                    </a:cubicBezTo>
                    <a:close/>
                  </a:path>
                </a:pathLst>
              </a:custGeom>
              <a:solidFill>
                <a:srgbClr val="A3ABB3"/>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66" name="Freeform: Shape 65">
                <a:extLst>
                  <a:ext uri="{FF2B5EF4-FFF2-40B4-BE49-F238E27FC236}">
                    <a16:creationId xmlns:a16="http://schemas.microsoft.com/office/drawing/2014/main" id="{A660B75A-568D-F66C-1D23-4103EAA72ED0}"/>
                  </a:ext>
                </a:extLst>
              </p:cNvPr>
              <p:cNvSpPr/>
              <p:nvPr/>
            </p:nvSpPr>
            <p:spPr>
              <a:xfrm>
                <a:off x="3891765" y="1858637"/>
                <a:ext cx="313921" cy="710112"/>
              </a:xfrm>
              <a:custGeom>
                <a:avLst/>
                <a:gdLst>
                  <a:gd name="csX0" fmla="*/ 313910 w 313921"/>
                  <a:gd name="csY0" fmla="*/ -8 h 710112"/>
                  <a:gd name="csX1" fmla="*/ -12 w 313921"/>
                  <a:gd name="csY1" fmla="*/ 710104 h 710112"/>
                  <a:gd name="csX2" fmla="*/ 313910 w 313921"/>
                  <a:gd name="csY2" fmla="*/ -8 h 710112"/>
                </a:gdLst>
                <a:ahLst/>
                <a:cxnLst>
                  <a:cxn ang="0">
                    <a:pos x="csX0" y="csY0"/>
                  </a:cxn>
                  <a:cxn ang="0">
                    <a:pos x="csX1" y="csY1"/>
                  </a:cxn>
                  <a:cxn ang="0">
                    <a:pos x="csX2" y="csY2"/>
                  </a:cxn>
                </a:cxnLst>
                <a:rect l="l" t="t" r="r" b="b"/>
                <a:pathLst>
                  <a:path w="313921" h="710112">
                    <a:moveTo>
                      <a:pt x="313910" y="-8"/>
                    </a:moveTo>
                    <a:cubicBezTo>
                      <a:pt x="313910" y="-8"/>
                      <a:pt x="207586" y="124790"/>
                      <a:pt x="-12" y="710104"/>
                    </a:cubicBezTo>
                    <a:cubicBezTo>
                      <a:pt x="254" y="710104"/>
                      <a:pt x="128508" y="254107"/>
                      <a:pt x="313910" y="-8"/>
                    </a:cubicBezTo>
                    <a:close/>
                  </a:path>
                </a:pathLst>
              </a:custGeom>
              <a:solidFill>
                <a:srgbClr val="C7D9D9"/>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67" name="Freeform: Shape 66">
                <a:extLst>
                  <a:ext uri="{FF2B5EF4-FFF2-40B4-BE49-F238E27FC236}">
                    <a16:creationId xmlns:a16="http://schemas.microsoft.com/office/drawing/2014/main" id="{004A8543-6337-3F75-D65B-DDD44E1BA348}"/>
                  </a:ext>
                </a:extLst>
              </p:cNvPr>
              <p:cNvSpPr/>
              <p:nvPr/>
            </p:nvSpPr>
            <p:spPr>
              <a:xfrm>
                <a:off x="4979859" y="1787001"/>
                <a:ext cx="629305" cy="361236"/>
              </a:xfrm>
              <a:custGeom>
                <a:avLst/>
                <a:gdLst>
                  <a:gd name="csX0" fmla="*/ 628895 w 629305"/>
                  <a:gd name="csY0" fmla="*/ -8 h 361236"/>
                  <a:gd name="csX1" fmla="*/ 622383 w 629305"/>
                  <a:gd name="csY1" fmla="*/ 4910 h 361236"/>
                  <a:gd name="csX2" fmla="*/ 603644 w 629305"/>
                  <a:gd name="csY2" fmla="*/ 18200 h 361236"/>
                  <a:gd name="csX3" fmla="*/ 590353 w 629305"/>
                  <a:gd name="csY3" fmla="*/ 27636 h 361236"/>
                  <a:gd name="csX4" fmla="*/ 574139 w 629305"/>
                  <a:gd name="csY4" fmla="*/ 38402 h 361236"/>
                  <a:gd name="csX5" fmla="*/ 535463 w 629305"/>
                  <a:gd name="csY5" fmla="*/ 64052 h 361236"/>
                  <a:gd name="csX6" fmla="*/ 489079 w 629305"/>
                  <a:gd name="csY6" fmla="*/ 93424 h 361236"/>
                  <a:gd name="csX7" fmla="*/ 436715 w 629305"/>
                  <a:gd name="csY7" fmla="*/ 125322 h 361236"/>
                  <a:gd name="csX8" fmla="*/ 380496 w 629305"/>
                  <a:gd name="csY8" fmla="*/ 158814 h 361236"/>
                  <a:gd name="csX9" fmla="*/ 320954 w 629305"/>
                  <a:gd name="csY9" fmla="*/ 192040 h 361236"/>
                  <a:gd name="csX10" fmla="*/ 291316 w 629305"/>
                  <a:gd name="csY10" fmla="*/ 208520 h 361236"/>
                  <a:gd name="csX11" fmla="*/ 261678 w 629305"/>
                  <a:gd name="csY11" fmla="*/ 224735 h 361236"/>
                  <a:gd name="csX12" fmla="*/ 203732 w 629305"/>
                  <a:gd name="csY12" fmla="*/ 255303 h 361236"/>
                  <a:gd name="csX13" fmla="*/ 149640 w 629305"/>
                  <a:gd name="csY13" fmla="*/ 284143 h 361236"/>
                  <a:gd name="csX14" fmla="*/ 100730 w 629305"/>
                  <a:gd name="csY14" fmla="*/ 309129 h 361236"/>
                  <a:gd name="csX15" fmla="*/ -12 w 629305"/>
                  <a:gd name="csY15" fmla="*/ 361228 h 361236"/>
                  <a:gd name="csX16" fmla="*/ -12 w 629305"/>
                  <a:gd name="csY16" fmla="*/ 361228 h 361236"/>
                  <a:gd name="csX17" fmla="*/ 102458 w 629305"/>
                  <a:gd name="csY17" fmla="*/ 312718 h 361236"/>
                  <a:gd name="csX18" fmla="*/ 151899 w 629305"/>
                  <a:gd name="csY18" fmla="*/ 288662 h 361236"/>
                  <a:gd name="csX19" fmla="*/ 206789 w 629305"/>
                  <a:gd name="csY19" fmla="*/ 260353 h 361236"/>
                  <a:gd name="csX20" fmla="*/ 264735 w 629305"/>
                  <a:gd name="csY20" fmla="*/ 230051 h 361236"/>
                  <a:gd name="csX21" fmla="*/ 294107 w 629305"/>
                  <a:gd name="csY21" fmla="*/ 213571 h 361236"/>
                  <a:gd name="csX22" fmla="*/ 323612 w 629305"/>
                  <a:gd name="csY22" fmla="*/ 196692 h 361236"/>
                  <a:gd name="csX23" fmla="*/ 382224 w 629305"/>
                  <a:gd name="csY23" fmla="*/ 162934 h 361236"/>
                  <a:gd name="csX24" fmla="*/ 438309 w 629305"/>
                  <a:gd name="csY24" fmla="*/ 128777 h 361236"/>
                  <a:gd name="csX25" fmla="*/ 490408 w 629305"/>
                  <a:gd name="csY25" fmla="*/ 96348 h 361236"/>
                  <a:gd name="csX26" fmla="*/ 536526 w 629305"/>
                  <a:gd name="csY26" fmla="*/ 66445 h 361236"/>
                  <a:gd name="csX27" fmla="*/ 574936 w 629305"/>
                  <a:gd name="csY27" fmla="*/ 39864 h 361236"/>
                  <a:gd name="csX28" fmla="*/ 590885 w 629305"/>
                  <a:gd name="csY28" fmla="*/ 28833 h 361236"/>
                  <a:gd name="csX29" fmla="*/ 604175 w 629305"/>
                  <a:gd name="csY29" fmla="*/ 19263 h 361236"/>
                  <a:gd name="csX30" fmla="*/ 622782 w 629305"/>
                  <a:gd name="csY30" fmla="*/ 5973 h 361236"/>
                  <a:gd name="csX31" fmla="*/ 629294 w 629305"/>
                  <a:gd name="csY31" fmla="*/ 1055 h 36123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Lst>
                <a:rect l="l" t="t" r="r" b="b"/>
                <a:pathLst>
                  <a:path w="629305" h="361236">
                    <a:moveTo>
                      <a:pt x="628895" y="-8"/>
                    </a:moveTo>
                    <a:lnTo>
                      <a:pt x="622383" y="4910"/>
                    </a:lnTo>
                    <a:cubicBezTo>
                      <a:pt x="618130" y="8099"/>
                      <a:pt x="611751" y="12485"/>
                      <a:pt x="603644" y="18200"/>
                    </a:cubicBezTo>
                    <a:lnTo>
                      <a:pt x="590353" y="27636"/>
                    </a:lnTo>
                    <a:lnTo>
                      <a:pt x="574139" y="38402"/>
                    </a:lnTo>
                    <a:cubicBezTo>
                      <a:pt x="562709" y="45977"/>
                      <a:pt x="549817" y="54882"/>
                      <a:pt x="535463" y="64052"/>
                    </a:cubicBezTo>
                    <a:lnTo>
                      <a:pt x="489079" y="93424"/>
                    </a:lnTo>
                    <a:cubicBezTo>
                      <a:pt x="472732" y="103924"/>
                      <a:pt x="454923" y="114423"/>
                      <a:pt x="436715" y="125322"/>
                    </a:cubicBezTo>
                    <a:lnTo>
                      <a:pt x="380496" y="158814"/>
                    </a:lnTo>
                    <a:lnTo>
                      <a:pt x="320954" y="192040"/>
                    </a:lnTo>
                    <a:lnTo>
                      <a:pt x="291316" y="208520"/>
                    </a:lnTo>
                    <a:cubicBezTo>
                      <a:pt x="281481" y="214102"/>
                      <a:pt x="271646" y="219551"/>
                      <a:pt x="261678" y="224735"/>
                    </a:cubicBezTo>
                    <a:lnTo>
                      <a:pt x="203732" y="255303"/>
                    </a:lnTo>
                    <a:cubicBezTo>
                      <a:pt x="184992" y="265271"/>
                      <a:pt x="166784" y="274840"/>
                      <a:pt x="149640" y="284143"/>
                    </a:cubicBezTo>
                    <a:cubicBezTo>
                      <a:pt x="132495" y="293447"/>
                      <a:pt x="115882" y="301288"/>
                      <a:pt x="100730" y="309129"/>
                    </a:cubicBezTo>
                    <a:cubicBezTo>
                      <a:pt x="40126" y="339831"/>
                      <a:pt x="-12" y="361228"/>
                      <a:pt x="-12" y="361228"/>
                    </a:cubicBezTo>
                    <a:lnTo>
                      <a:pt x="-12" y="361228"/>
                    </a:lnTo>
                    <a:cubicBezTo>
                      <a:pt x="-12" y="361228"/>
                      <a:pt x="41189" y="342223"/>
                      <a:pt x="102458" y="312718"/>
                    </a:cubicBezTo>
                    <a:cubicBezTo>
                      <a:pt x="117742" y="305275"/>
                      <a:pt x="134488" y="297301"/>
                      <a:pt x="151899" y="288662"/>
                    </a:cubicBezTo>
                    <a:cubicBezTo>
                      <a:pt x="169309" y="280023"/>
                      <a:pt x="188049" y="269922"/>
                      <a:pt x="206789" y="260353"/>
                    </a:cubicBezTo>
                    <a:lnTo>
                      <a:pt x="264735" y="230051"/>
                    </a:lnTo>
                    <a:cubicBezTo>
                      <a:pt x="274570" y="224868"/>
                      <a:pt x="284273" y="219286"/>
                      <a:pt x="294107" y="213571"/>
                    </a:cubicBezTo>
                    <a:lnTo>
                      <a:pt x="323612" y="196692"/>
                    </a:lnTo>
                    <a:lnTo>
                      <a:pt x="382224" y="162934"/>
                    </a:lnTo>
                    <a:lnTo>
                      <a:pt x="438309" y="128777"/>
                    </a:lnTo>
                    <a:cubicBezTo>
                      <a:pt x="456385" y="117613"/>
                      <a:pt x="474194" y="107114"/>
                      <a:pt x="490408" y="96348"/>
                    </a:cubicBezTo>
                    <a:cubicBezTo>
                      <a:pt x="506623" y="85583"/>
                      <a:pt x="522173" y="75615"/>
                      <a:pt x="536526" y="66445"/>
                    </a:cubicBezTo>
                    <a:cubicBezTo>
                      <a:pt x="550880" y="57274"/>
                      <a:pt x="563107" y="47971"/>
                      <a:pt x="574936" y="39864"/>
                    </a:cubicBezTo>
                    <a:lnTo>
                      <a:pt x="590885" y="28833"/>
                    </a:lnTo>
                    <a:lnTo>
                      <a:pt x="604175" y="19263"/>
                    </a:lnTo>
                    <a:lnTo>
                      <a:pt x="622782" y="5973"/>
                    </a:lnTo>
                    <a:lnTo>
                      <a:pt x="629294" y="1055"/>
                    </a:lnTo>
                    <a:close/>
                  </a:path>
                </a:pathLst>
              </a:custGeom>
              <a:solidFill>
                <a:srgbClr val="C7D9D9"/>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68" name="Freeform: Shape 67">
                <a:extLst>
                  <a:ext uri="{FF2B5EF4-FFF2-40B4-BE49-F238E27FC236}">
                    <a16:creationId xmlns:a16="http://schemas.microsoft.com/office/drawing/2014/main" id="{13B1DC91-EEC8-44C0-303B-7CA23C3AE400}"/>
                  </a:ext>
                </a:extLst>
              </p:cNvPr>
              <p:cNvSpPr/>
              <p:nvPr/>
            </p:nvSpPr>
            <p:spPr>
              <a:xfrm>
                <a:off x="3893360" y="2149965"/>
                <a:ext cx="1082113" cy="414929"/>
              </a:xfrm>
              <a:custGeom>
                <a:avLst/>
                <a:gdLst>
                  <a:gd name="csX0" fmla="*/ 1081305 w 1082113"/>
                  <a:gd name="csY0" fmla="*/ -8 h 414929"/>
                  <a:gd name="csX1" fmla="*/ 1069476 w 1082113"/>
                  <a:gd name="csY1" fmla="*/ 5441 h 414929"/>
                  <a:gd name="csX2" fmla="*/ 1036117 w 1082113"/>
                  <a:gd name="csY2" fmla="*/ 20725 h 414929"/>
                  <a:gd name="csX3" fmla="*/ 983885 w 1082113"/>
                  <a:gd name="csY3" fmla="*/ 44250 h 414929"/>
                  <a:gd name="csX4" fmla="*/ 915705 w 1082113"/>
                  <a:gd name="csY4" fmla="*/ 74286 h 414929"/>
                  <a:gd name="csX5" fmla="*/ 835031 w 1082113"/>
                  <a:gd name="csY5" fmla="*/ 108709 h 414929"/>
                  <a:gd name="csX6" fmla="*/ 745055 w 1082113"/>
                  <a:gd name="csY6" fmla="*/ 146188 h 414929"/>
                  <a:gd name="csX7" fmla="*/ 647901 w 1082113"/>
                  <a:gd name="csY7" fmla="*/ 186059 h 414929"/>
                  <a:gd name="csX8" fmla="*/ 597796 w 1082113"/>
                  <a:gd name="csY8" fmla="*/ 205995 h 414929"/>
                  <a:gd name="csX9" fmla="*/ 547159 w 1082113"/>
                  <a:gd name="csY9" fmla="*/ 225266 h 414929"/>
                  <a:gd name="csX10" fmla="*/ 446018 w 1082113"/>
                  <a:gd name="csY10" fmla="*/ 263144 h 414929"/>
                  <a:gd name="csX11" fmla="*/ 396312 w 1082113"/>
                  <a:gd name="csY11" fmla="*/ 281618 h 414929"/>
                  <a:gd name="csX12" fmla="*/ 347535 w 1082113"/>
                  <a:gd name="csY12" fmla="*/ 298630 h 414929"/>
                  <a:gd name="csX13" fmla="*/ 254502 w 1082113"/>
                  <a:gd name="csY13" fmla="*/ 331059 h 414929"/>
                  <a:gd name="csX14" fmla="*/ 212504 w 1082113"/>
                  <a:gd name="csY14" fmla="*/ 345545 h 414929"/>
                  <a:gd name="csX15" fmla="*/ 172632 w 1082113"/>
                  <a:gd name="csY15" fmla="*/ 358836 h 414929"/>
                  <a:gd name="csX16" fmla="*/ 47701 w 1082113"/>
                  <a:gd name="csY16" fmla="*/ 398708 h 414929"/>
                  <a:gd name="csX17" fmla="*/ -12 w 1082113"/>
                  <a:gd name="csY17" fmla="*/ 414922 h 414929"/>
                  <a:gd name="csX18" fmla="*/ -12 w 1082113"/>
                  <a:gd name="csY18" fmla="*/ 414922 h 414929"/>
                  <a:gd name="csX19" fmla="*/ 47701 w 1082113"/>
                  <a:gd name="csY19" fmla="*/ 400701 h 414929"/>
                  <a:gd name="csX20" fmla="*/ 173430 w 1082113"/>
                  <a:gd name="csY20" fmla="*/ 362292 h 414929"/>
                  <a:gd name="csX21" fmla="*/ 213301 w 1082113"/>
                  <a:gd name="csY21" fmla="*/ 349001 h 414929"/>
                  <a:gd name="csX22" fmla="*/ 256230 w 1082113"/>
                  <a:gd name="csY22" fmla="*/ 334381 h 414929"/>
                  <a:gd name="csX23" fmla="*/ 349263 w 1082113"/>
                  <a:gd name="csY23" fmla="*/ 302218 h 414929"/>
                  <a:gd name="csX24" fmla="*/ 398172 w 1082113"/>
                  <a:gd name="csY24" fmla="*/ 285074 h 414929"/>
                  <a:gd name="csX25" fmla="*/ 447746 w 1082113"/>
                  <a:gd name="csY25" fmla="*/ 266334 h 414929"/>
                  <a:gd name="csX26" fmla="*/ 548621 w 1082113"/>
                  <a:gd name="csY26" fmla="*/ 227659 h 414929"/>
                  <a:gd name="csX27" fmla="*/ 599258 w 1082113"/>
                  <a:gd name="csY27" fmla="*/ 208122 h 414929"/>
                  <a:gd name="csX28" fmla="*/ 649895 w 1082113"/>
                  <a:gd name="csY28" fmla="*/ 188983 h 414929"/>
                  <a:gd name="csX29" fmla="*/ 746782 w 1082113"/>
                  <a:gd name="csY29" fmla="*/ 149112 h 414929"/>
                  <a:gd name="csX30" fmla="*/ 836892 w 1082113"/>
                  <a:gd name="csY30" fmla="*/ 110569 h 414929"/>
                  <a:gd name="csX31" fmla="*/ 917300 w 1082113"/>
                  <a:gd name="csY31" fmla="*/ 75615 h 414929"/>
                  <a:gd name="csX32" fmla="*/ 985081 w 1082113"/>
                  <a:gd name="csY32" fmla="*/ 45313 h 414929"/>
                  <a:gd name="csX33" fmla="*/ 1037047 w 1082113"/>
                  <a:gd name="csY33" fmla="*/ 21390 h 414929"/>
                  <a:gd name="csX34" fmla="*/ 1070406 w 1082113"/>
                  <a:gd name="csY34" fmla="*/ 5840 h 414929"/>
                  <a:gd name="csX35" fmla="*/ 1082102 w 1082113"/>
                  <a:gd name="csY35" fmla="*/ 258 h 41492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Lst>
                <a:rect l="l" t="t" r="r" b="b"/>
                <a:pathLst>
                  <a:path w="1082113" h="414929">
                    <a:moveTo>
                      <a:pt x="1081305" y="-8"/>
                    </a:moveTo>
                    <a:lnTo>
                      <a:pt x="1069476" y="5441"/>
                    </a:lnTo>
                    <a:lnTo>
                      <a:pt x="1036117" y="20725"/>
                    </a:lnTo>
                    <a:lnTo>
                      <a:pt x="983885" y="44250"/>
                    </a:lnTo>
                    <a:lnTo>
                      <a:pt x="915705" y="74286"/>
                    </a:lnTo>
                    <a:cubicBezTo>
                      <a:pt x="890984" y="85317"/>
                      <a:pt x="863739" y="96614"/>
                      <a:pt x="835031" y="108709"/>
                    </a:cubicBezTo>
                    <a:lnTo>
                      <a:pt x="745055" y="146188"/>
                    </a:lnTo>
                    <a:lnTo>
                      <a:pt x="647901" y="186059"/>
                    </a:lnTo>
                    <a:lnTo>
                      <a:pt x="597796" y="205995"/>
                    </a:lnTo>
                    <a:cubicBezTo>
                      <a:pt x="581183" y="212773"/>
                      <a:pt x="564038" y="219286"/>
                      <a:pt x="547159" y="225266"/>
                    </a:cubicBezTo>
                    <a:lnTo>
                      <a:pt x="446018" y="263144"/>
                    </a:lnTo>
                    <a:cubicBezTo>
                      <a:pt x="429272" y="269391"/>
                      <a:pt x="412792" y="276435"/>
                      <a:pt x="396312" y="281618"/>
                    </a:cubicBezTo>
                    <a:lnTo>
                      <a:pt x="347535" y="298630"/>
                    </a:lnTo>
                    <a:cubicBezTo>
                      <a:pt x="315505" y="309927"/>
                      <a:pt x="284405" y="320559"/>
                      <a:pt x="254502" y="331059"/>
                    </a:cubicBezTo>
                    <a:lnTo>
                      <a:pt x="212504" y="345545"/>
                    </a:lnTo>
                    <a:cubicBezTo>
                      <a:pt x="199213" y="350463"/>
                      <a:pt x="185125" y="354450"/>
                      <a:pt x="172632" y="358836"/>
                    </a:cubicBezTo>
                    <a:cubicBezTo>
                      <a:pt x="120932" y="375582"/>
                      <a:pt x="77738" y="389271"/>
                      <a:pt x="47701" y="398708"/>
                    </a:cubicBezTo>
                    <a:lnTo>
                      <a:pt x="-12" y="414922"/>
                    </a:lnTo>
                    <a:lnTo>
                      <a:pt x="-12" y="414922"/>
                    </a:lnTo>
                    <a:lnTo>
                      <a:pt x="47701" y="400701"/>
                    </a:lnTo>
                    <a:cubicBezTo>
                      <a:pt x="78137" y="391664"/>
                      <a:pt x="121331" y="378107"/>
                      <a:pt x="173430" y="362292"/>
                    </a:cubicBezTo>
                    <a:cubicBezTo>
                      <a:pt x="186720" y="358171"/>
                      <a:pt x="200011" y="354450"/>
                      <a:pt x="213301" y="349001"/>
                    </a:cubicBezTo>
                    <a:lnTo>
                      <a:pt x="256230" y="334381"/>
                    </a:lnTo>
                    <a:cubicBezTo>
                      <a:pt x="285734" y="324414"/>
                      <a:pt x="316701" y="313382"/>
                      <a:pt x="349263" y="302218"/>
                    </a:cubicBezTo>
                    <a:lnTo>
                      <a:pt x="398172" y="285074"/>
                    </a:lnTo>
                    <a:cubicBezTo>
                      <a:pt x="414653" y="279359"/>
                      <a:pt x="431000" y="272713"/>
                      <a:pt x="447746" y="266334"/>
                    </a:cubicBezTo>
                    <a:lnTo>
                      <a:pt x="548621" y="227659"/>
                    </a:lnTo>
                    <a:cubicBezTo>
                      <a:pt x="565500" y="221146"/>
                      <a:pt x="582645" y="215033"/>
                      <a:pt x="599258" y="208122"/>
                    </a:cubicBezTo>
                    <a:lnTo>
                      <a:pt x="649895" y="188983"/>
                    </a:lnTo>
                    <a:lnTo>
                      <a:pt x="746782" y="149112"/>
                    </a:lnTo>
                    <a:lnTo>
                      <a:pt x="836892" y="110569"/>
                    </a:lnTo>
                    <a:cubicBezTo>
                      <a:pt x="865599" y="98342"/>
                      <a:pt x="892579" y="86912"/>
                      <a:pt x="917300" y="75615"/>
                    </a:cubicBezTo>
                    <a:lnTo>
                      <a:pt x="985081" y="45313"/>
                    </a:lnTo>
                    <a:lnTo>
                      <a:pt x="1037047" y="21390"/>
                    </a:lnTo>
                    <a:cubicBezTo>
                      <a:pt x="1051401" y="14877"/>
                      <a:pt x="1062698" y="9561"/>
                      <a:pt x="1070406" y="5840"/>
                    </a:cubicBezTo>
                    <a:lnTo>
                      <a:pt x="1082102" y="258"/>
                    </a:lnTo>
                    <a:close/>
                  </a:path>
                </a:pathLst>
              </a:custGeom>
              <a:solidFill>
                <a:srgbClr val="C7D9D9"/>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69" name="Freeform: Shape 68">
                <a:extLst>
                  <a:ext uri="{FF2B5EF4-FFF2-40B4-BE49-F238E27FC236}">
                    <a16:creationId xmlns:a16="http://schemas.microsoft.com/office/drawing/2014/main" id="{2386095D-E9C3-5A87-98E2-43FB5B1808F2}"/>
                  </a:ext>
                </a:extLst>
              </p:cNvPr>
              <p:cNvSpPr/>
              <p:nvPr/>
            </p:nvSpPr>
            <p:spPr>
              <a:xfrm>
                <a:off x="7270716" y="2130969"/>
                <a:ext cx="1136368" cy="2879715"/>
              </a:xfrm>
              <a:custGeom>
                <a:avLst/>
                <a:gdLst>
                  <a:gd name="csX0" fmla="*/ 1076814 w 1136368"/>
                  <a:gd name="csY0" fmla="*/ 1389639 h 2879715"/>
                  <a:gd name="csX1" fmla="*/ 1001324 w 1136368"/>
                  <a:gd name="csY1" fmla="*/ 44108 h 2879715"/>
                  <a:gd name="csX2" fmla="*/ 961453 w 1136368"/>
                  <a:gd name="csY2" fmla="*/ 914 h 2879715"/>
                  <a:gd name="csX3" fmla="*/ 905898 w 1136368"/>
                  <a:gd name="csY3" fmla="*/ 19520 h 2879715"/>
                  <a:gd name="csX4" fmla="*/ 185154 w 1136368"/>
                  <a:gd name="csY4" fmla="*/ 1158119 h 2879715"/>
                  <a:gd name="csX5" fmla="*/ 23674 w 1136368"/>
                  <a:gd name="csY5" fmla="*/ 2770125 h 2879715"/>
                  <a:gd name="csX6" fmla="*/ 52515 w 1136368"/>
                  <a:gd name="csY6" fmla="*/ 2784080 h 2879715"/>
                  <a:gd name="csX7" fmla="*/ 212001 w 1136368"/>
                  <a:gd name="csY7" fmla="*/ 2776637 h 2879715"/>
                  <a:gd name="csX8" fmla="*/ 212001 w 1136368"/>
                  <a:gd name="csY8" fmla="*/ 2777966 h 2879715"/>
                  <a:gd name="csX9" fmla="*/ 240575 w 1136368"/>
                  <a:gd name="csY9" fmla="*/ 2781954 h 2879715"/>
                  <a:gd name="csX10" fmla="*/ 267157 w 1136368"/>
                  <a:gd name="csY10" fmla="*/ 2792453 h 2879715"/>
                  <a:gd name="csX11" fmla="*/ 267157 w 1136368"/>
                  <a:gd name="csY11" fmla="*/ 2791124 h 2879715"/>
                  <a:gd name="csX12" fmla="*/ 402454 w 1136368"/>
                  <a:gd name="csY12" fmla="*/ 2874854 h 2879715"/>
                  <a:gd name="csX13" fmla="*/ 434484 w 1136368"/>
                  <a:gd name="csY13" fmla="*/ 2876715 h 2879715"/>
                  <a:gd name="csX14" fmla="*/ 1076814 w 1136368"/>
                  <a:gd name="csY14" fmla="*/ 1389639 h 287971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1136368" h="2879715">
                    <a:moveTo>
                      <a:pt x="1076814" y="1389639"/>
                    </a:moveTo>
                    <a:cubicBezTo>
                      <a:pt x="1233111" y="763257"/>
                      <a:pt x="1036278" y="127838"/>
                      <a:pt x="1001324" y="44108"/>
                    </a:cubicBezTo>
                    <a:cubicBezTo>
                      <a:pt x="988964" y="14869"/>
                      <a:pt x="974743" y="3439"/>
                      <a:pt x="961453" y="914"/>
                    </a:cubicBezTo>
                    <a:cubicBezTo>
                      <a:pt x="948162" y="-1612"/>
                      <a:pt x="930885" y="-17"/>
                      <a:pt x="905898" y="19520"/>
                    </a:cubicBezTo>
                    <a:cubicBezTo>
                      <a:pt x="834661" y="75606"/>
                      <a:pt x="352880" y="534793"/>
                      <a:pt x="185154" y="1158119"/>
                    </a:cubicBezTo>
                    <a:cubicBezTo>
                      <a:pt x="8523" y="1816531"/>
                      <a:pt x="-32943" y="2615025"/>
                      <a:pt x="23674" y="2770125"/>
                    </a:cubicBezTo>
                    <a:cubicBezTo>
                      <a:pt x="23674" y="2770125"/>
                      <a:pt x="27661" y="2781156"/>
                      <a:pt x="52515" y="2784080"/>
                    </a:cubicBezTo>
                    <a:cubicBezTo>
                      <a:pt x="71520" y="2786339"/>
                      <a:pt x="147409" y="2769328"/>
                      <a:pt x="212001" y="2776637"/>
                    </a:cubicBezTo>
                    <a:lnTo>
                      <a:pt x="212001" y="2777966"/>
                    </a:lnTo>
                    <a:cubicBezTo>
                      <a:pt x="221650" y="2778139"/>
                      <a:pt x="231246" y="2779481"/>
                      <a:pt x="240575" y="2781954"/>
                    </a:cubicBezTo>
                    <a:cubicBezTo>
                      <a:pt x="249825" y="2784373"/>
                      <a:pt x="258757" y="2787895"/>
                      <a:pt x="267157" y="2792453"/>
                    </a:cubicBezTo>
                    <a:lnTo>
                      <a:pt x="267157" y="2791124"/>
                    </a:lnTo>
                    <a:cubicBezTo>
                      <a:pt x="326831" y="2815844"/>
                      <a:pt x="384778" y="2867677"/>
                      <a:pt x="402454" y="2874854"/>
                    </a:cubicBezTo>
                    <a:cubicBezTo>
                      <a:pt x="425712" y="2884556"/>
                      <a:pt x="434484" y="2876715"/>
                      <a:pt x="434484" y="2876715"/>
                    </a:cubicBezTo>
                    <a:cubicBezTo>
                      <a:pt x="558617" y="2768796"/>
                      <a:pt x="911082" y="2050975"/>
                      <a:pt x="1076814" y="1389639"/>
                    </a:cubicBezTo>
                    <a:close/>
                  </a:path>
                </a:pathLst>
              </a:custGeom>
              <a:solidFill>
                <a:srgbClr val="89DFDA"/>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70" name="Freeform: Shape 69">
                <a:extLst>
                  <a:ext uri="{FF2B5EF4-FFF2-40B4-BE49-F238E27FC236}">
                    <a16:creationId xmlns:a16="http://schemas.microsoft.com/office/drawing/2014/main" id="{8E50F54D-7F00-A282-F09B-90E2DC0A6264}"/>
                  </a:ext>
                </a:extLst>
              </p:cNvPr>
              <p:cNvSpPr/>
              <p:nvPr/>
            </p:nvSpPr>
            <p:spPr>
              <a:xfrm>
                <a:off x="7270651" y="3988575"/>
                <a:ext cx="832080" cy="1022242"/>
              </a:xfrm>
              <a:custGeom>
                <a:avLst/>
                <a:gdLst>
                  <a:gd name="csX0" fmla="*/ 656501 w 832080"/>
                  <a:gd name="csY0" fmla="*/ 360564 h 1022242"/>
                  <a:gd name="csX1" fmla="*/ 349490 w 832080"/>
                  <a:gd name="csY1" fmla="*/ 368937 h 1022242"/>
                  <a:gd name="csX2" fmla="*/ 126342 w 832080"/>
                  <a:gd name="csY2" fmla="*/ 188717 h 1022242"/>
                  <a:gd name="csX3" fmla="*/ 49257 w 832080"/>
                  <a:gd name="csY3" fmla="*/ -8 h 1022242"/>
                  <a:gd name="csX4" fmla="*/ 23474 w 832080"/>
                  <a:gd name="csY4" fmla="*/ 912652 h 1022242"/>
                  <a:gd name="csX5" fmla="*/ 52314 w 832080"/>
                  <a:gd name="csY5" fmla="*/ 926607 h 1022242"/>
                  <a:gd name="csX6" fmla="*/ 211800 w 832080"/>
                  <a:gd name="csY6" fmla="*/ 919164 h 1022242"/>
                  <a:gd name="csX7" fmla="*/ 211800 w 832080"/>
                  <a:gd name="csY7" fmla="*/ 920493 h 1022242"/>
                  <a:gd name="csX8" fmla="*/ 240375 w 832080"/>
                  <a:gd name="csY8" fmla="*/ 924480 h 1022242"/>
                  <a:gd name="csX9" fmla="*/ 266956 w 832080"/>
                  <a:gd name="csY9" fmla="*/ 934980 h 1022242"/>
                  <a:gd name="csX10" fmla="*/ 266956 w 832080"/>
                  <a:gd name="csY10" fmla="*/ 933651 h 1022242"/>
                  <a:gd name="csX11" fmla="*/ 402253 w 832080"/>
                  <a:gd name="csY11" fmla="*/ 1017381 h 1022242"/>
                  <a:gd name="csX12" fmla="*/ 434284 w 832080"/>
                  <a:gd name="csY12" fmla="*/ 1019242 h 1022242"/>
                  <a:gd name="csX13" fmla="*/ 832069 w 832080"/>
                  <a:gd name="csY13" fmla="*/ 268992 h 1022242"/>
                  <a:gd name="csX14" fmla="*/ 656501 w 832080"/>
                  <a:gd name="csY14" fmla="*/ 360564 h 102224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832080" h="1022242">
                    <a:moveTo>
                      <a:pt x="656501" y="360564"/>
                    </a:moveTo>
                    <a:cubicBezTo>
                      <a:pt x="558018" y="394322"/>
                      <a:pt x="449169" y="402961"/>
                      <a:pt x="349490" y="368937"/>
                    </a:cubicBezTo>
                    <a:cubicBezTo>
                      <a:pt x="256403" y="336654"/>
                      <a:pt x="177497" y="272926"/>
                      <a:pt x="126342" y="188717"/>
                    </a:cubicBezTo>
                    <a:cubicBezTo>
                      <a:pt x="91255" y="130066"/>
                      <a:pt x="65272" y="66432"/>
                      <a:pt x="49257" y="-8"/>
                    </a:cubicBezTo>
                    <a:cubicBezTo>
                      <a:pt x="-8424" y="433396"/>
                      <a:pt x="-13341" y="810713"/>
                      <a:pt x="23474" y="912652"/>
                    </a:cubicBezTo>
                    <a:cubicBezTo>
                      <a:pt x="23474" y="912652"/>
                      <a:pt x="27461" y="923683"/>
                      <a:pt x="52314" y="926607"/>
                    </a:cubicBezTo>
                    <a:cubicBezTo>
                      <a:pt x="71319" y="928866"/>
                      <a:pt x="147208" y="911854"/>
                      <a:pt x="211800" y="919164"/>
                    </a:cubicBezTo>
                    <a:lnTo>
                      <a:pt x="211800" y="920493"/>
                    </a:lnTo>
                    <a:cubicBezTo>
                      <a:pt x="221449" y="920666"/>
                      <a:pt x="231045" y="922008"/>
                      <a:pt x="240375" y="924480"/>
                    </a:cubicBezTo>
                    <a:cubicBezTo>
                      <a:pt x="249625" y="926899"/>
                      <a:pt x="258556" y="930421"/>
                      <a:pt x="266956" y="934980"/>
                    </a:cubicBezTo>
                    <a:lnTo>
                      <a:pt x="266956" y="933651"/>
                    </a:lnTo>
                    <a:cubicBezTo>
                      <a:pt x="326630" y="958371"/>
                      <a:pt x="384577" y="1010204"/>
                      <a:pt x="402253" y="1017381"/>
                    </a:cubicBezTo>
                    <a:cubicBezTo>
                      <a:pt x="425512" y="1027083"/>
                      <a:pt x="434284" y="1019242"/>
                      <a:pt x="434284" y="1019242"/>
                    </a:cubicBezTo>
                    <a:cubicBezTo>
                      <a:pt x="511900" y="951992"/>
                      <a:pt x="677899" y="648171"/>
                      <a:pt x="832069" y="268992"/>
                    </a:cubicBezTo>
                    <a:cubicBezTo>
                      <a:pt x="778322" y="307907"/>
                      <a:pt x="719179" y="338754"/>
                      <a:pt x="656501" y="360564"/>
                    </a:cubicBezTo>
                    <a:close/>
                  </a:path>
                </a:pathLst>
              </a:custGeom>
              <a:solidFill>
                <a:srgbClr val="89DFDA"/>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71" name="Freeform: Shape 70">
                <a:extLst>
                  <a:ext uri="{FF2B5EF4-FFF2-40B4-BE49-F238E27FC236}">
                    <a16:creationId xmlns:a16="http://schemas.microsoft.com/office/drawing/2014/main" id="{FE576430-A7A2-A3D8-0720-37CBC7EFDDEB}"/>
                  </a:ext>
                </a:extLst>
              </p:cNvPr>
              <p:cNvSpPr/>
              <p:nvPr/>
            </p:nvSpPr>
            <p:spPr>
              <a:xfrm>
                <a:off x="7340520" y="2131633"/>
                <a:ext cx="990541" cy="2860774"/>
              </a:xfrm>
              <a:custGeom>
                <a:avLst/>
                <a:gdLst>
                  <a:gd name="csX0" fmla="*/ 990530 w 990541"/>
                  <a:gd name="csY0" fmla="*/ 243465 h 2860774"/>
                  <a:gd name="csX1" fmla="*/ 931387 w 990541"/>
                  <a:gd name="csY1" fmla="*/ 44108 h 2860774"/>
                  <a:gd name="csX2" fmla="*/ 891516 w 990541"/>
                  <a:gd name="csY2" fmla="*/ 914 h 2860774"/>
                  <a:gd name="csX3" fmla="*/ 835962 w 990541"/>
                  <a:gd name="csY3" fmla="*/ 19520 h 2860774"/>
                  <a:gd name="csX4" fmla="*/ 676475 w 990541"/>
                  <a:gd name="csY4" fmla="*/ 176880 h 2860774"/>
                  <a:gd name="csX5" fmla="*/ -12 w 990541"/>
                  <a:gd name="csY5" fmla="*/ 2782751 h 2860774"/>
                  <a:gd name="csX6" fmla="*/ 141399 w 990541"/>
                  <a:gd name="csY6" fmla="*/ 2775973 h 2860774"/>
                  <a:gd name="csX7" fmla="*/ 141399 w 990541"/>
                  <a:gd name="csY7" fmla="*/ 2777302 h 2860774"/>
                  <a:gd name="csX8" fmla="*/ 169974 w 990541"/>
                  <a:gd name="csY8" fmla="*/ 2781289 h 2860774"/>
                  <a:gd name="csX9" fmla="*/ 196555 w 990541"/>
                  <a:gd name="csY9" fmla="*/ 2791788 h 2860774"/>
                  <a:gd name="csX10" fmla="*/ 196555 w 990541"/>
                  <a:gd name="csY10" fmla="*/ 2790460 h 2860774"/>
                  <a:gd name="csX11" fmla="*/ 310455 w 990541"/>
                  <a:gd name="csY11" fmla="*/ 2860766 h 286077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Lst>
                <a:rect l="l" t="t" r="r" b="b"/>
                <a:pathLst>
                  <a:path w="990541" h="2860774">
                    <a:moveTo>
                      <a:pt x="990530" y="243465"/>
                    </a:moveTo>
                    <a:cubicBezTo>
                      <a:pt x="975180" y="175797"/>
                      <a:pt x="955417" y="109203"/>
                      <a:pt x="931387" y="44108"/>
                    </a:cubicBezTo>
                    <a:cubicBezTo>
                      <a:pt x="919027" y="14869"/>
                      <a:pt x="904806" y="3439"/>
                      <a:pt x="891516" y="914"/>
                    </a:cubicBezTo>
                    <a:cubicBezTo>
                      <a:pt x="878225" y="-1612"/>
                      <a:pt x="860948" y="-17"/>
                      <a:pt x="835962" y="19520"/>
                    </a:cubicBezTo>
                    <a:cubicBezTo>
                      <a:pt x="779304" y="68315"/>
                      <a:pt x="726022" y="120888"/>
                      <a:pt x="676475" y="176880"/>
                    </a:cubicBezTo>
                    <a:lnTo>
                      <a:pt x="-12" y="2782751"/>
                    </a:lnTo>
                    <a:cubicBezTo>
                      <a:pt x="31088" y="2779827"/>
                      <a:pt x="89965" y="2770125"/>
                      <a:pt x="141399" y="2775973"/>
                    </a:cubicBezTo>
                    <a:lnTo>
                      <a:pt x="141399" y="2777302"/>
                    </a:lnTo>
                    <a:cubicBezTo>
                      <a:pt x="151048" y="2777475"/>
                      <a:pt x="160644" y="2778817"/>
                      <a:pt x="169974" y="2781289"/>
                    </a:cubicBezTo>
                    <a:cubicBezTo>
                      <a:pt x="179224" y="2783708"/>
                      <a:pt x="188155" y="2787230"/>
                      <a:pt x="196555" y="2791788"/>
                    </a:cubicBezTo>
                    <a:lnTo>
                      <a:pt x="196555" y="2790460"/>
                    </a:lnTo>
                    <a:cubicBezTo>
                      <a:pt x="236998" y="2809638"/>
                      <a:pt x="275195" y="2833215"/>
                      <a:pt x="310455" y="2860766"/>
                    </a:cubicBezTo>
                    <a:close/>
                  </a:path>
                </a:pathLst>
              </a:custGeom>
              <a:solidFill>
                <a:srgbClr val="FEC554"/>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72" name="Freeform: Shape 71">
                <a:extLst>
                  <a:ext uri="{FF2B5EF4-FFF2-40B4-BE49-F238E27FC236}">
                    <a16:creationId xmlns:a16="http://schemas.microsoft.com/office/drawing/2014/main" id="{0AADD308-C672-1C19-53EB-A7B5E563163E}"/>
                  </a:ext>
                </a:extLst>
              </p:cNvPr>
              <p:cNvSpPr/>
              <p:nvPr/>
            </p:nvSpPr>
            <p:spPr>
              <a:xfrm>
                <a:off x="7270716" y="2130969"/>
                <a:ext cx="1136368" cy="2879715"/>
              </a:xfrm>
              <a:custGeom>
                <a:avLst/>
                <a:gdLst>
                  <a:gd name="csX0" fmla="*/ 1076814 w 1136368"/>
                  <a:gd name="csY0" fmla="*/ 1389639 h 2879715"/>
                  <a:gd name="csX1" fmla="*/ 1001324 w 1136368"/>
                  <a:gd name="csY1" fmla="*/ 44108 h 2879715"/>
                  <a:gd name="csX2" fmla="*/ 961453 w 1136368"/>
                  <a:gd name="csY2" fmla="*/ 914 h 2879715"/>
                  <a:gd name="csX3" fmla="*/ 905898 w 1136368"/>
                  <a:gd name="csY3" fmla="*/ 19520 h 2879715"/>
                  <a:gd name="csX4" fmla="*/ 185154 w 1136368"/>
                  <a:gd name="csY4" fmla="*/ 1158119 h 2879715"/>
                  <a:gd name="csX5" fmla="*/ 23674 w 1136368"/>
                  <a:gd name="csY5" fmla="*/ 2770125 h 2879715"/>
                  <a:gd name="csX6" fmla="*/ 52515 w 1136368"/>
                  <a:gd name="csY6" fmla="*/ 2784080 h 2879715"/>
                  <a:gd name="csX7" fmla="*/ 212001 w 1136368"/>
                  <a:gd name="csY7" fmla="*/ 2776637 h 2879715"/>
                  <a:gd name="csX8" fmla="*/ 212001 w 1136368"/>
                  <a:gd name="csY8" fmla="*/ 2777966 h 2879715"/>
                  <a:gd name="csX9" fmla="*/ 240575 w 1136368"/>
                  <a:gd name="csY9" fmla="*/ 2781954 h 2879715"/>
                  <a:gd name="csX10" fmla="*/ 267157 w 1136368"/>
                  <a:gd name="csY10" fmla="*/ 2792453 h 2879715"/>
                  <a:gd name="csX11" fmla="*/ 267157 w 1136368"/>
                  <a:gd name="csY11" fmla="*/ 2791124 h 2879715"/>
                  <a:gd name="csX12" fmla="*/ 402454 w 1136368"/>
                  <a:gd name="csY12" fmla="*/ 2874854 h 2879715"/>
                  <a:gd name="csX13" fmla="*/ 434484 w 1136368"/>
                  <a:gd name="csY13" fmla="*/ 2876715 h 2879715"/>
                  <a:gd name="csX14" fmla="*/ 1076814 w 1136368"/>
                  <a:gd name="csY14" fmla="*/ 1389639 h 2879715"/>
                  <a:gd name="csX15" fmla="*/ 475552 w 1136368"/>
                  <a:gd name="csY15" fmla="*/ 2614759 h 2879715"/>
                  <a:gd name="csX16" fmla="*/ 447376 w 1136368"/>
                  <a:gd name="csY16" fmla="*/ 2613164 h 2879715"/>
                  <a:gd name="csX17" fmla="*/ 328426 w 1136368"/>
                  <a:gd name="csY17" fmla="*/ 2539535 h 2879715"/>
                  <a:gd name="csX18" fmla="*/ 328426 w 1136368"/>
                  <a:gd name="csY18" fmla="*/ 2540598 h 2879715"/>
                  <a:gd name="csX19" fmla="*/ 304768 w 1136368"/>
                  <a:gd name="csY19" fmla="*/ 2531427 h 2879715"/>
                  <a:gd name="csX20" fmla="*/ 279650 w 1136368"/>
                  <a:gd name="csY20" fmla="*/ 2527972 h 2879715"/>
                  <a:gd name="csX21" fmla="*/ 279650 w 1136368"/>
                  <a:gd name="csY21" fmla="*/ 2526909 h 2879715"/>
                  <a:gd name="csX22" fmla="*/ 139966 w 1136368"/>
                  <a:gd name="csY22" fmla="*/ 2533288 h 2879715"/>
                  <a:gd name="csX23" fmla="*/ 114581 w 1136368"/>
                  <a:gd name="csY23" fmla="*/ 2521061 h 2879715"/>
                  <a:gd name="csX24" fmla="*/ 257056 w 1136368"/>
                  <a:gd name="csY24" fmla="*/ 1104425 h 2879715"/>
                  <a:gd name="csX25" fmla="*/ 890481 w 1136368"/>
                  <a:gd name="csY25" fmla="*/ 103915 h 2879715"/>
                  <a:gd name="csX26" fmla="*/ 939258 w 1136368"/>
                  <a:gd name="csY26" fmla="*/ 87568 h 2879715"/>
                  <a:gd name="csX27" fmla="*/ 973813 w 1136368"/>
                  <a:gd name="csY27" fmla="*/ 125579 h 2879715"/>
                  <a:gd name="csX28" fmla="*/ 1040265 w 1136368"/>
                  <a:gd name="csY28" fmla="*/ 1308434 h 2879715"/>
                  <a:gd name="csX29" fmla="*/ 475552 w 1136368"/>
                  <a:gd name="csY29" fmla="*/ 2614759 h 287971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Lst>
                <a:rect l="l" t="t" r="r" b="b"/>
                <a:pathLst>
                  <a:path w="1136368" h="2879715">
                    <a:moveTo>
                      <a:pt x="1076814" y="1389639"/>
                    </a:moveTo>
                    <a:cubicBezTo>
                      <a:pt x="1233111" y="763257"/>
                      <a:pt x="1036278" y="127838"/>
                      <a:pt x="1001324" y="44108"/>
                    </a:cubicBezTo>
                    <a:cubicBezTo>
                      <a:pt x="988964" y="14869"/>
                      <a:pt x="974743" y="3439"/>
                      <a:pt x="961453" y="914"/>
                    </a:cubicBezTo>
                    <a:cubicBezTo>
                      <a:pt x="948162" y="-1612"/>
                      <a:pt x="930885" y="-17"/>
                      <a:pt x="905898" y="19520"/>
                    </a:cubicBezTo>
                    <a:cubicBezTo>
                      <a:pt x="834661" y="75606"/>
                      <a:pt x="352880" y="534793"/>
                      <a:pt x="185154" y="1158119"/>
                    </a:cubicBezTo>
                    <a:cubicBezTo>
                      <a:pt x="8523" y="1816531"/>
                      <a:pt x="-32943" y="2615025"/>
                      <a:pt x="23674" y="2770125"/>
                    </a:cubicBezTo>
                    <a:cubicBezTo>
                      <a:pt x="23674" y="2770125"/>
                      <a:pt x="27661" y="2781156"/>
                      <a:pt x="52515" y="2784080"/>
                    </a:cubicBezTo>
                    <a:cubicBezTo>
                      <a:pt x="71520" y="2786339"/>
                      <a:pt x="147409" y="2769328"/>
                      <a:pt x="212001" y="2776637"/>
                    </a:cubicBezTo>
                    <a:lnTo>
                      <a:pt x="212001" y="2777966"/>
                    </a:lnTo>
                    <a:cubicBezTo>
                      <a:pt x="221650" y="2778139"/>
                      <a:pt x="231246" y="2779481"/>
                      <a:pt x="240575" y="2781954"/>
                    </a:cubicBezTo>
                    <a:cubicBezTo>
                      <a:pt x="249825" y="2784373"/>
                      <a:pt x="258757" y="2787895"/>
                      <a:pt x="267157" y="2792453"/>
                    </a:cubicBezTo>
                    <a:lnTo>
                      <a:pt x="267157" y="2791124"/>
                    </a:lnTo>
                    <a:cubicBezTo>
                      <a:pt x="326831" y="2815844"/>
                      <a:pt x="384778" y="2867677"/>
                      <a:pt x="402454" y="2874854"/>
                    </a:cubicBezTo>
                    <a:cubicBezTo>
                      <a:pt x="425712" y="2884556"/>
                      <a:pt x="434484" y="2876715"/>
                      <a:pt x="434484" y="2876715"/>
                    </a:cubicBezTo>
                    <a:cubicBezTo>
                      <a:pt x="558617" y="2768796"/>
                      <a:pt x="911082" y="2050975"/>
                      <a:pt x="1076814" y="1389639"/>
                    </a:cubicBezTo>
                    <a:close/>
                    <a:moveTo>
                      <a:pt x="475552" y="2614759"/>
                    </a:moveTo>
                    <a:cubicBezTo>
                      <a:pt x="475552" y="2614759"/>
                      <a:pt x="467710" y="2621537"/>
                      <a:pt x="447376" y="2613164"/>
                    </a:cubicBezTo>
                    <a:cubicBezTo>
                      <a:pt x="431826" y="2606785"/>
                      <a:pt x="380923" y="2561198"/>
                      <a:pt x="328426" y="2539535"/>
                    </a:cubicBezTo>
                    <a:lnTo>
                      <a:pt x="328426" y="2540598"/>
                    </a:lnTo>
                    <a:cubicBezTo>
                      <a:pt x="320916" y="2536637"/>
                      <a:pt x="312982" y="2533554"/>
                      <a:pt x="304768" y="2531427"/>
                    </a:cubicBezTo>
                    <a:cubicBezTo>
                      <a:pt x="296555" y="2529314"/>
                      <a:pt x="288129" y="2528158"/>
                      <a:pt x="279650" y="2527972"/>
                    </a:cubicBezTo>
                    <a:lnTo>
                      <a:pt x="279650" y="2526909"/>
                    </a:lnTo>
                    <a:cubicBezTo>
                      <a:pt x="223298" y="2520396"/>
                      <a:pt x="156579" y="2535282"/>
                      <a:pt x="139966" y="2533288"/>
                    </a:cubicBezTo>
                    <a:cubicBezTo>
                      <a:pt x="118037" y="2530763"/>
                      <a:pt x="114581" y="2521061"/>
                      <a:pt x="114581" y="2521061"/>
                    </a:cubicBezTo>
                    <a:cubicBezTo>
                      <a:pt x="65141" y="2384700"/>
                      <a:pt x="101291" y="1682961"/>
                      <a:pt x="257056" y="1104425"/>
                    </a:cubicBezTo>
                    <a:cubicBezTo>
                      <a:pt x="404447" y="556723"/>
                      <a:pt x="827750" y="153090"/>
                      <a:pt x="890481" y="103915"/>
                    </a:cubicBezTo>
                    <a:cubicBezTo>
                      <a:pt x="912411" y="86637"/>
                      <a:pt x="928093" y="83846"/>
                      <a:pt x="939258" y="87568"/>
                    </a:cubicBezTo>
                    <a:cubicBezTo>
                      <a:pt x="950422" y="91289"/>
                      <a:pt x="963048" y="99795"/>
                      <a:pt x="973813" y="125579"/>
                    </a:cubicBezTo>
                    <a:cubicBezTo>
                      <a:pt x="1004647" y="199075"/>
                      <a:pt x="1178088" y="757675"/>
                      <a:pt x="1040265" y="1308434"/>
                    </a:cubicBezTo>
                    <a:cubicBezTo>
                      <a:pt x="894734" y="1888964"/>
                      <a:pt x="585065" y="2519732"/>
                      <a:pt x="475552" y="2614759"/>
                    </a:cubicBezTo>
                    <a:close/>
                  </a:path>
                </a:pathLst>
              </a:custGeom>
              <a:solidFill>
                <a:srgbClr val="D4D4D4"/>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73" name="Freeform: Shape 72">
                <a:extLst>
                  <a:ext uri="{FF2B5EF4-FFF2-40B4-BE49-F238E27FC236}">
                    <a16:creationId xmlns:a16="http://schemas.microsoft.com/office/drawing/2014/main" id="{46CA907D-99A0-3489-20FA-0B6D6A670D41}"/>
                  </a:ext>
                </a:extLst>
              </p:cNvPr>
              <p:cNvSpPr/>
              <p:nvPr/>
            </p:nvSpPr>
            <p:spPr>
              <a:xfrm>
                <a:off x="7496588" y="2299136"/>
                <a:ext cx="679741" cy="1508748"/>
              </a:xfrm>
              <a:custGeom>
                <a:avLst/>
                <a:gdLst>
                  <a:gd name="csX0" fmla="*/ 679361 w 679741"/>
                  <a:gd name="csY0" fmla="*/ 50179 h 1508748"/>
                  <a:gd name="csX1" fmla="*/ 626199 w 679741"/>
                  <a:gd name="csY1" fmla="*/ 19478 h 1508748"/>
                  <a:gd name="csX2" fmla="*/ 114781 w 679741"/>
                  <a:gd name="csY2" fmla="*/ 830199 h 1508748"/>
                  <a:gd name="csX3" fmla="*/ 37696 w 679741"/>
                  <a:gd name="csY3" fmla="*/ 1495655 h 1508748"/>
                  <a:gd name="csX4" fmla="*/ 437474 w 679741"/>
                  <a:gd name="csY4" fmla="*/ 616355 h 1508748"/>
                  <a:gd name="csX5" fmla="*/ 679361 w 679741"/>
                  <a:gd name="csY5" fmla="*/ 50179 h 1508748"/>
                </a:gdLst>
                <a:ahLst/>
                <a:cxnLst>
                  <a:cxn ang="0">
                    <a:pos x="csX0" y="csY0"/>
                  </a:cxn>
                  <a:cxn ang="0">
                    <a:pos x="csX1" y="csY1"/>
                  </a:cxn>
                  <a:cxn ang="0">
                    <a:pos x="csX2" y="csY2"/>
                  </a:cxn>
                  <a:cxn ang="0">
                    <a:pos x="csX3" y="csY3"/>
                  </a:cxn>
                  <a:cxn ang="0">
                    <a:pos x="csX4" y="csY4"/>
                  </a:cxn>
                  <a:cxn ang="0">
                    <a:pos x="csX5" y="csY5"/>
                  </a:cxn>
                </a:cxnLst>
                <a:rect l="l" t="t" r="r" b="b"/>
                <a:pathLst>
                  <a:path w="679741" h="1508748">
                    <a:moveTo>
                      <a:pt x="679361" y="50179"/>
                    </a:moveTo>
                    <a:cubicBezTo>
                      <a:pt x="679361" y="50179"/>
                      <a:pt x="687602" y="-38070"/>
                      <a:pt x="626199" y="19478"/>
                    </a:cubicBezTo>
                    <a:cubicBezTo>
                      <a:pt x="564797" y="77026"/>
                      <a:pt x="263369" y="440255"/>
                      <a:pt x="114781" y="830199"/>
                    </a:cubicBezTo>
                    <a:cubicBezTo>
                      <a:pt x="-33807" y="1220143"/>
                      <a:pt x="-12941" y="1582841"/>
                      <a:pt x="37696" y="1495655"/>
                    </a:cubicBezTo>
                    <a:cubicBezTo>
                      <a:pt x="88332" y="1408469"/>
                      <a:pt x="222035" y="878045"/>
                      <a:pt x="437474" y="616355"/>
                    </a:cubicBezTo>
                    <a:cubicBezTo>
                      <a:pt x="652913" y="354664"/>
                      <a:pt x="681222" y="151319"/>
                      <a:pt x="679361" y="50179"/>
                    </a:cubicBezTo>
                    <a:close/>
                  </a:path>
                </a:pathLst>
              </a:custGeom>
              <a:solidFill>
                <a:srgbClr val="89DFDA"/>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74" name="Freeform: Shape 73">
                <a:extLst>
                  <a:ext uri="{FF2B5EF4-FFF2-40B4-BE49-F238E27FC236}">
                    <a16:creationId xmlns:a16="http://schemas.microsoft.com/office/drawing/2014/main" id="{9DDF4DB9-7459-46DB-3B01-A0DA941BB8A0}"/>
                  </a:ext>
                </a:extLst>
              </p:cNvPr>
              <p:cNvSpPr/>
              <p:nvPr/>
            </p:nvSpPr>
            <p:spPr>
              <a:xfrm>
                <a:off x="8030563" y="3554640"/>
                <a:ext cx="91039" cy="129449"/>
              </a:xfrm>
              <a:custGeom>
                <a:avLst/>
                <a:gdLst>
                  <a:gd name="csX0" fmla="*/ -12 w 91039"/>
                  <a:gd name="csY0" fmla="*/ -8 h 129449"/>
                  <a:gd name="csX1" fmla="*/ 25772 w 91039"/>
                  <a:gd name="csY1" fmla="*/ 70432 h 129449"/>
                  <a:gd name="csX2" fmla="*/ 91028 w 91039"/>
                  <a:gd name="csY2" fmla="*/ 129442 h 129449"/>
                  <a:gd name="csX3" fmla="*/ 30423 w 91039"/>
                  <a:gd name="csY3" fmla="*/ 61527 h 129449"/>
                  <a:gd name="csX4" fmla="*/ -12 w 91039"/>
                  <a:gd name="csY4" fmla="*/ -8 h 129449"/>
                </a:gdLst>
                <a:ahLst/>
                <a:cxnLst>
                  <a:cxn ang="0">
                    <a:pos x="csX0" y="csY0"/>
                  </a:cxn>
                  <a:cxn ang="0">
                    <a:pos x="csX1" y="csY1"/>
                  </a:cxn>
                  <a:cxn ang="0">
                    <a:pos x="csX2" y="csY2"/>
                  </a:cxn>
                  <a:cxn ang="0">
                    <a:pos x="csX3" y="csY3"/>
                  </a:cxn>
                  <a:cxn ang="0">
                    <a:pos x="csX4" y="csY4"/>
                  </a:cxn>
                </a:cxnLst>
                <a:rect l="l" t="t" r="r" b="b"/>
                <a:pathLst>
                  <a:path w="91039" h="129449">
                    <a:moveTo>
                      <a:pt x="-12" y="-8"/>
                    </a:moveTo>
                    <a:cubicBezTo>
                      <a:pt x="2434" y="25284"/>
                      <a:pt x="11312" y="49539"/>
                      <a:pt x="25772" y="70432"/>
                    </a:cubicBezTo>
                    <a:cubicBezTo>
                      <a:pt x="41787" y="95644"/>
                      <a:pt x="64341" y="116032"/>
                      <a:pt x="91028" y="129442"/>
                    </a:cubicBezTo>
                    <a:cubicBezTo>
                      <a:pt x="69205" y="108310"/>
                      <a:pt x="48951" y="85610"/>
                      <a:pt x="30423" y="61527"/>
                    </a:cubicBezTo>
                    <a:cubicBezTo>
                      <a:pt x="17146" y="42721"/>
                      <a:pt x="6873" y="21961"/>
                      <a:pt x="-12" y="-8"/>
                    </a:cubicBezTo>
                    <a:close/>
                  </a:path>
                </a:pathLst>
              </a:custGeom>
              <a:solidFill>
                <a:srgbClr val="F2A9A5"/>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75" name="Freeform: Shape 74">
                <a:extLst>
                  <a:ext uri="{FF2B5EF4-FFF2-40B4-BE49-F238E27FC236}">
                    <a16:creationId xmlns:a16="http://schemas.microsoft.com/office/drawing/2014/main" id="{F493723B-A410-0758-B1BB-90C387EDAAF2}"/>
                  </a:ext>
                </a:extLst>
              </p:cNvPr>
              <p:cNvSpPr/>
              <p:nvPr/>
            </p:nvSpPr>
            <p:spPr>
              <a:xfrm>
                <a:off x="7882529" y="2645157"/>
                <a:ext cx="15652" cy="18190"/>
              </a:xfrm>
              <a:custGeom>
                <a:avLst/>
                <a:gdLst>
                  <a:gd name="csX0" fmla="*/ 9004 w 15652"/>
                  <a:gd name="csY0" fmla="*/ 403 h 18190"/>
                  <a:gd name="csX1" fmla="*/ 1694 w 15652"/>
                  <a:gd name="csY1" fmla="*/ 6916 h 18190"/>
                  <a:gd name="csX2" fmla="*/ 630 w 15652"/>
                  <a:gd name="csY2" fmla="*/ 15023 h 18190"/>
                  <a:gd name="csX3" fmla="*/ 630 w 15652"/>
                  <a:gd name="csY3" fmla="*/ 15023 h 18190"/>
                  <a:gd name="csX4" fmla="*/ 2624 w 15652"/>
                  <a:gd name="csY4" fmla="*/ 16884 h 18190"/>
                  <a:gd name="csX5" fmla="*/ 6877 w 15652"/>
                  <a:gd name="csY5" fmla="*/ 17814 h 18190"/>
                  <a:gd name="csX6" fmla="*/ 14851 w 15652"/>
                  <a:gd name="csY6" fmla="*/ 8112 h 18190"/>
                  <a:gd name="csX7" fmla="*/ 14851 w 15652"/>
                  <a:gd name="csY7" fmla="*/ 8112 h 18190"/>
                  <a:gd name="csX8" fmla="*/ 14851 w 15652"/>
                  <a:gd name="csY8" fmla="*/ 8112 h 18190"/>
                  <a:gd name="csX9" fmla="*/ 9004 w 15652"/>
                  <a:gd name="csY9" fmla="*/ 403 h 1819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15652" h="18190">
                    <a:moveTo>
                      <a:pt x="9004" y="403"/>
                    </a:moveTo>
                    <a:cubicBezTo>
                      <a:pt x="5880" y="1661"/>
                      <a:pt x="3302" y="3963"/>
                      <a:pt x="1694" y="6916"/>
                    </a:cubicBezTo>
                    <a:cubicBezTo>
                      <a:pt x="498" y="9042"/>
                      <a:pt x="-831" y="12764"/>
                      <a:pt x="630" y="15023"/>
                    </a:cubicBezTo>
                    <a:lnTo>
                      <a:pt x="630" y="15023"/>
                    </a:lnTo>
                    <a:cubicBezTo>
                      <a:pt x="1083" y="15839"/>
                      <a:pt x="1773" y="16492"/>
                      <a:pt x="2624" y="16884"/>
                    </a:cubicBezTo>
                    <a:cubicBezTo>
                      <a:pt x="3648" y="18159"/>
                      <a:pt x="5415" y="18547"/>
                      <a:pt x="6877" y="17814"/>
                    </a:cubicBezTo>
                    <a:cubicBezTo>
                      <a:pt x="10997" y="16119"/>
                      <a:pt x="13987" y="12476"/>
                      <a:pt x="14851" y="8112"/>
                    </a:cubicBezTo>
                    <a:lnTo>
                      <a:pt x="14851" y="8112"/>
                    </a:lnTo>
                    <a:lnTo>
                      <a:pt x="14851" y="8112"/>
                    </a:lnTo>
                    <a:cubicBezTo>
                      <a:pt x="17111" y="3327"/>
                      <a:pt x="14320" y="-1457"/>
                      <a:pt x="9004" y="403"/>
                    </a:cubicBezTo>
                    <a:close/>
                  </a:path>
                </a:pathLst>
              </a:custGeom>
              <a:solidFill>
                <a:srgbClr val="F58F9A"/>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76" name="Freeform: Shape 75">
                <a:extLst>
                  <a:ext uri="{FF2B5EF4-FFF2-40B4-BE49-F238E27FC236}">
                    <a16:creationId xmlns:a16="http://schemas.microsoft.com/office/drawing/2014/main" id="{168FBD70-4F41-1B7D-3E17-137E50C5CEC3}"/>
                  </a:ext>
                </a:extLst>
              </p:cNvPr>
              <p:cNvSpPr/>
              <p:nvPr/>
            </p:nvSpPr>
            <p:spPr>
              <a:xfrm>
                <a:off x="7263827" y="4757771"/>
                <a:ext cx="314725" cy="314246"/>
              </a:xfrm>
              <a:custGeom>
                <a:avLst/>
                <a:gdLst>
                  <a:gd name="csX0" fmla="*/ 314714 w 314725"/>
                  <a:gd name="csY0" fmla="*/ 29290 h 314246"/>
                  <a:gd name="csX1" fmla="*/ 143399 w 314725"/>
                  <a:gd name="csY1" fmla="*/ 314239 h 314246"/>
                  <a:gd name="csX2" fmla="*/ 123065 w 314725"/>
                  <a:gd name="csY2" fmla="*/ 306132 h 314246"/>
                  <a:gd name="csX3" fmla="*/ 59138 w 314725"/>
                  <a:gd name="csY3" fmla="*/ 263336 h 314246"/>
                  <a:gd name="csX4" fmla="*/ 29367 w 314725"/>
                  <a:gd name="csY4" fmla="*/ 228249 h 314246"/>
                  <a:gd name="csX5" fmla="*/ -5 w 314725"/>
                  <a:gd name="csY5" fmla="*/ 123786 h 314246"/>
                  <a:gd name="csX6" fmla="*/ 98877 w 314725"/>
                  <a:gd name="csY6" fmla="*/ 29290 h 314246"/>
                  <a:gd name="csX7" fmla="*/ 314714 w 314725"/>
                  <a:gd name="csY7" fmla="*/ 29290 h 31424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314725" h="314246">
                    <a:moveTo>
                      <a:pt x="314714" y="29290"/>
                    </a:moveTo>
                    <a:cubicBezTo>
                      <a:pt x="183138" y="140931"/>
                      <a:pt x="150842" y="270513"/>
                      <a:pt x="143399" y="314239"/>
                    </a:cubicBezTo>
                    <a:cubicBezTo>
                      <a:pt x="136449" y="311993"/>
                      <a:pt x="129657" y="309282"/>
                      <a:pt x="123065" y="306132"/>
                    </a:cubicBezTo>
                    <a:cubicBezTo>
                      <a:pt x="99860" y="294928"/>
                      <a:pt x="78343" y="280521"/>
                      <a:pt x="59138" y="263336"/>
                    </a:cubicBezTo>
                    <a:cubicBezTo>
                      <a:pt x="47708" y="252996"/>
                      <a:pt x="37700" y="241208"/>
                      <a:pt x="29367" y="228249"/>
                    </a:cubicBezTo>
                    <a:cubicBezTo>
                      <a:pt x="9883" y="196910"/>
                      <a:pt x="-311" y="160680"/>
                      <a:pt x="-5" y="123786"/>
                    </a:cubicBezTo>
                    <a:cubicBezTo>
                      <a:pt x="21791" y="82359"/>
                      <a:pt x="56506" y="49186"/>
                      <a:pt x="98877" y="29290"/>
                    </a:cubicBezTo>
                    <a:cubicBezTo>
                      <a:pt x="232313" y="-36631"/>
                      <a:pt x="314714" y="29290"/>
                      <a:pt x="314714" y="29290"/>
                    </a:cubicBezTo>
                    <a:close/>
                  </a:path>
                </a:pathLst>
              </a:custGeom>
              <a:solidFill>
                <a:srgbClr val="EDEDEE"/>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78" name="Freeform: Shape 77">
                <a:extLst>
                  <a:ext uri="{FF2B5EF4-FFF2-40B4-BE49-F238E27FC236}">
                    <a16:creationId xmlns:a16="http://schemas.microsoft.com/office/drawing/2014/main" id="{D39BD0CF-1704-5891-96CC-0ADA262885D7}"/>
                  </a:ext>
                </a:extLst>
              </p:cNvPr>
              <p:cNvSpPr/>
              <p:nvPr/>
            </p:nvSpPr>
            <p:spPr>
              <a:xfrm>
                <a:off x="7572439" y="4785413"/>
                <a:ext cx="98444" cy="267466"/>
              </a:xfrm>
              <a:custGeom>
                <a:avLst/>
                <a:gdLst>
                  <a:gd name="csX0" fmla="*/ 9823 w 98444"/>
                  <a:gd name="csY0" fmla="*/ 3110 h 267466"/>
                  <a:gd name="csX1" fmla="*/ 83585 w 98444"/>
                  <a:gd name="csY1" fmla="*/ 14141 h 267466"/>
                  <a:gd name="csX2" fmla="*/ 95946 w 98444"/>
                  <a:gd name="csY2" fmla="*/ 119535 h 267466"/>
                  <a:gd name="csX3" fmla="*/ 24709 w 98444"/>
                  <a:gd name="csY3" fmla="*/ 248985 h 267466"/>
                  <a:gd name="csX4" fmla="*/ -12 w 98444"/>
                  <a:gd name="csY4" fmla="*/ 267459 h 267466"/>
                  <a:gd name="csX5" fmla="*/ 9823 w 98444"/>
                  <a:gd name="csY5" fmla="*/ 3110 h 267466"/>
                </a:gdLst>
                <a:ahLst/>
                <a:cxnLst>
                  <a:cxn ang="0">
                    <a:pos x="csX0" y="csY0"/>
                  </a:cxn>
                  <a:cxn ang="0">
                    <a:pos x="csX1" y="csY1"/>
                  </a:cxn>
                  <a:cxn ang="0">
                    <a:pos x="csX2" y="csY2"/>
                  </a:cxn>
                  <a:cxn ang="0">
                    <a:pos x="csX3" y="csY3"/>
                  </a:cxn>
                  <a:cxn ang="0">
                    <a:pos x="csX4" y="csY4"/>
                  </a:cxn>
                  <a:cxn ang="0">
                    <a:pos x="csX5" y="csY5"/>
                  </a:cxn>
                </a:cxnLst>
                <a:rect l="l" t="t" r="r" b="b"/>
                <a:pathLst>
                  <a:path w="98444" h="267466">
                    <a:moveTo>
                      <a:pt x="9823" y="3110"/>
                    </a:moveTo>
                    <a:cubicBezTo>
                      <a:pt x="34889" y="-3495"/>
                      <a:pt x="61550" y="492"/>
                      <a:pt x="83585" y="14141"/>
                    </a:cubicBezTo>
                    <a:cubicBezTo>
                      <a:pt x="97421" y="47447"/>
                      <a:pt x="101701" y="83943"/>
                      <a:pt x="95946" y="119535"/>
                    </a:cubicBezTo>
                    <a:cubicBezTo>
                      <a:pt x="87147" y="169361"/>
                      <a:pt x="62095" y="214881"/>
                      <a:pt x="24709" y="248985"/>
                    </a:cubicBezTo>
                    <a:cubicBezTo>
                      <a:pt x="17120" y="255962"/>
                      <a:pt x="8840" y="262156"/>
                      <a:pt x="-12" y="267459"/>
                    </a:cubicBezTo>
                    <a:cubicBezTo>
                      <a:pt x="27633" y="219613"/>
                      <a:pt x="85048" y="94815"/>
                      <a:pt x="9823" y="3110"/>
                    </a:cubicBezTo>
                    <a:close/>
                  </a:path>
                </a:pathLst>
              </a:custGeom>
              <a:solidFill>
                <a:srgbClr val="EDEDEE"/>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79" name="Freeform: Shape 78">
                <a:extLst>
                  <a:ext uri="{FF2B5EF4-FFF2-40B4-BE49-F238E27FC236}">
                    <a16:creationId xmlns:a16="http://schemas.microsoft.com/office/drawing/2014/main" id="{B0B4270D-FE20-5117-8732-2FE1C4B3AA01}"/>
                  </a:ext>
                </a:extLst>
              </p:cNvPr>
              <p:cNvSpPr/>
              <p:nvPr/>
            </p:nvSpPr>
            <p:spPr>
              <a:xfrm>
                <a:off x="7263420" y="4679847"/>
                <a:ext cx="392350" cy="401580"/>
              </a:xfrm>
              <a:custGeom>
                <a:avLst/>
                <a:gdLst>
                  <a:gd name="csX0" fmla="*/ 33495 w 392350"/>
                  <a:gd name="csY0" fmla="*/ 84886 h 401580"/>
                  <a:gd name="csX1" fmla="*/ 150983 w 392350"/>
                  <a:gd name="csY1" fmla="*/ 93 h 401580"/>
                  <a:gd name="csX2" fmla="*/ 152046 w 392350"/>
                  <a:gd name="csY2" fmla="*/ 93 h 401580"/>
                  <a:gd name="csX3" fmla="*/ 315785 w 392350"/>
                  <a:gd name="csY3" fmla="*/ 93924 h 401580"/>
                  <a:gd name="csX4" fmla="*/ 307014 w 392350"/>
                  <a:gd name="csY4" fmla="*/ 23351 h 401580"/>
                  <a:gd name="csX5" fmla="*/ 379048 w 392350"/>
                  <a:gd name="csY5" fmla="*/ 94456 h 401580"/>
                  <a:gd name="csX6" fmla="*/ 392339 w 392350"/>
                  <a:gd name="csY6" fmla="*/ 119973 h 401580"/>
                  <a:gd name="csX7" fmla="*/ 318577 w 392350"/>
                  <a:gd name="csY7" fmla="*/ 108942 h 401580"/>
                  <a:gd name="csX8" fmla="*/ 308741 w 392350"/>
                  <a:gd name="csY8" fmla="*/ 373290 h 401580"/>
                  <a:gd name="csX9" fmla="*/ 196569 w 392350"/>
                  <a:gd name="csY9" fmla="*/ 401466 h 401580"/>
                  <a:gd name="csX10" fmla="*/ 143407 w 392350"/>
                  <a:gd name="csY10" fmla="*/ 392429 h 401580"/>
                  <a:gd name="csX11" fmla="*/ 314722 w 392350"/>
                  <a:gd name="csY11" fmla="*/ 107480 h 401580"/>
                  <a:gd name="csX12" fmla="*/ 98884 w 392350"/>
                  <a:gd name="csY12" fmla="*/ 107480 h 401580"/>
                  <a:gd name="csX13" fmla="*/ 3 w 392350"/>
                  <a:gd name="csY13" fmla="*/ 201976 h 401580"/>
                  <a:gd name="csX14" fmla="*/ 1465 w 392350"/>
                  <a:gd name="csY14" fmla="*/ 171673 h 401580"/>
                  <a:gd name="csX15" fmla="*/ 33096 w 392350"/>
                  <a:gd name="csY15" fmla="*/ 85152 h 40158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392350" h="401580">
                    <a:moveTo>
                      <a:pt x="33495" y="84886"/>
                    </a:moveTo>
                    <a:cubicBezTo>
                      <a:pt x="61724" y="43925"/>
                      <a:pt x="103217" y="13981"/>
                      <a:pt x="150983" y="93"/>
                    </a:cubicBezTo>
                    <a:lnTo>
                      <a:pt x="152046" y="93"/>
                    </a:lnTo>
                    <a:cubicBezTo>
                      <a:pt x="207069" y="-1502"/>
                      <a:pt x="275515" y="15244"/>
                      <a:pt x="315785" y="93924"/>
                    </a:cubicBezTo>
                    <a:cubicBezTo>
                      <a:pt x="315785" y="93924"/>
                      <a:pt x="329076" y="65349"/>
                      <a:pt x="307014" y="23351"/>
                    </a:cubicBezTo>
                    <a:cubicBezTo>
                      <a:pt x="335947" y="41479"/>
                      <a:pt x="360548" y="65748"/>
                      <a:pt x="379048" y="94456"/>
                    </a:cubicBezTo>
                    <a:cubicBezTo>
                      <a:pt x="384231" y="102549"/>
                      <a:pt x="388671" y="111095"/>
                      <a:pt x="392339" y="119973"/>
                    </a:cubicBezTo>
                    <a:cubicBezTo>
                      <a:pt x="370303" y="106324"/>
                      <a:pt x="343629" y="102337"/>
                      <a:pt x="318577" y="108942"/>
                    </a:cubicBezTo>
                    <a:cubicBezTo>
                      <a:pt x="393801" y="200647"/>
                      <a:pt x="335987" y="325445"/>
                      <a:pt x="308741" y="373290"/>
                    </a:cubicBezTo>
                    <a:cubicBezTo>
                      <a:pt x="274704" y="392961"/>
                      <a:pt x="235856" y="402716"/>
                      <a:pt x="196569" y="401466"/>
                    </a:cubicBezTo>
                    <a:cubicBezTo>
                      <a:pt x="178495" y="401147"/>
                      <a:pt x="160579" y="398104"/>
                      <a:pt x="143407" y="392429"/>
                    </a:cubicBezTo>
                    <a:cubicBezTo>
                      <a:pt x="150850" y="348703"/>
                      <a:pt x="183279" y="219652"/>
                      <a:pt x="314722" y="107480"/>
                    </a:cubicBezTo>
                    <a:cubicBezTo>
                      <a:pt x="314722" y="107480"/>
                      <a:pt x="232321" y="41028"/>
                      <a:pt x="98884" y="107480"/>
                    </a:cubicBezTo>
                    <a:cubicBezTo>
                      <a:pt x="56514" y="127376"/>
                      <a:pt x="21799" y="160549"/>
                      <a:pt x="3" y="201976"/>
                    </a:cubicBezTo>
                    <a:cubicBezTo>
                      <a:pt x="-104" y="191848"/>
                      <a:pt x="375" y="181734"/>
                      <a:pt x="1465" y="171673"/>
                    </a:cubicBezTo>
                    <a:cubicBezTo>
                      <a:pt x="5080" y="140746"/>
                      <a:pt x="15912" y="111108"/>
                      <a:pt x="33096" y="85152"/>
                    </a:cubicBezTo>
                    <a:close/>
                  </a:path>
                </a:pathLst>
              </a:custGeom>
              <a:solidFill>
                <a:srgbClr val="E92A26"/>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80" name="Freeform: Shape 79">
                <a:extLst>
                  <a:ext uri="{FF2B5EF4-FFF2-40B4-BE49-F238E27FC236}">
                    <a16:creationId xmlns:a16="http://schemas.microsoft.com/office/drawing/2014/main" id="{CD1B441E-AC78-3221-0402-D1959ED02274}"/>
                  </a:ext>
                </a:extLst>
              </p:cNvPr>
              <p:cNvSpPr/>
              <p:nvPr/>
            </p:nvSpPr>
            <p:spPr>
              <a:xfrm>
                <a:off x="7415478" y="4672503"/>
                <a:ext cx="167924" cy="101009"/>
              </a:xfrm>
              <a:custGeom>
                <a:avLst/>
                <a:gdLst>
                  <a:gd name="csX0" fmla="*/ 163728 w 167924"/>
                  <a:gd name="csY0" fmla="*/ 101002 h 101009"/>
                  <a:gd name="csX1" fmla="*/ -12 w 167924"/>
                  <a:gd name="csY1" fmla="*/ 7171 h 101009"/>
                  <a:gd name="csX2" fmla="*/ 154956 w 167924"/>
                  <a:gd name="csY2" fmla="*/ 30429 h 101009"/>
                  <a:gd name="csX3" fmla="*/ 163728 w 167924"/>
                  <a:gd name="csY3" fmla="*/ 101002 h 101009"/>
                </a:gdLst>
                <a:ahLst/>
                <a:cxnLst>
                  <a:cxn ang="0">
                    <a:pos x="csX0" y="csY0"/>
                  </a:cxn>
                  <a:cxn ang="0">
                    <a:pos x="csX1" y="csY1"/>
                  </a:cxn>
                  <a:cxn ang="0">
                    <a:pos x="csX2" y="csY2"/>
                  </a:cxn>
                  <a:cxn ang="0">
                    <a:pos x="csX3" y="csY3"/>
                  </a:cxn>
                </a:cxnLst>
                <a:rect l="l" t="t" r="r" b="b"/>
                <a:pathLst>
                  <a:path w="167924" h="101009">
                    <a:moveTo>
                      <a:pt x="163728" y="101002"/>
                    </a:moveTo>
                    <a:cubicBezTo>
                      <a:pt x="123856" y="22322"/>
                      <a:pt x="55011" y="5576"/>
                      <a:pt x="-12" y="7171"/>
                    </a:cubicBezTo>
                    <a:cubicBezTo>
                      <a:pt x="52592" y="-7701"/>
                      <a:pt x="109037" y="765"/>
                      <a:pt x="154956" y="30429"/>
                    </a:cubicBezTo>
                    <a:cubicBezTo>
                      <a:pt x="177550" y="72427"/>
                      <a:pt x="163728" y="101002"/>
                      <a:pt x="163728" y="101002"/>
                    </a:cubicBezTo>
                    <a:close/>
                  </a:path>
                </a:pathLst>
              </a:custGeom>
              <a:solidFill>
                <a:srgbClr val="EDEDEE"/>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83" name="Freeform: Shape 82">
                <a:extLst>
                  <a:ext uri="{FF2B5EF4-FFF2-40B4-BE49-F238E27FC236}">
                    <a16:creationId xmlns:a16="http://schemas.microsoft.com/office/drawing/2014/main" id="{8FDB14B3-D153-9202-A8E6-556BC17D706F}"/>
                  </a:ext>
                </a:extLst>
              </p:cNvPr>
              <p:cNvSpPr/>
              <p:nvPr/>
            </p:nvSpPr>
            <p:spPr>
              <a:xfrm>
                <a:off x="7510264" y="4707584"/>
                <a:ext cx="136888" cy="144343"/>
              </a:xfrm>
              <a:custGeom>
                <a:avLst/>
                <a:gdLst>
                  <a:gd name="csX0" fmla="*/ 13786 w 136888"/>
                  <a:gd name="csY0" fmla="*/ 8373 h 144343"/>
                  <a:gd name="csX1" fmla="*/ 5546 w 136888"/>
                  <a:gd name="csY1" fmla="*/ 19139 h 144343"/>
                  <a:gd name="csX2" fmla="*/ 2888 w 136888"/>
                  <a:gd name="csY2" fmla="*/ 62466 h 144343"/>
                  <a:gd name="csX3" fmla="*/ 9400 w 136888"/>
                  <a:gd name="csY3" fmla="*/ 78680 h 144343"/>
                  <a:gd name="csX4" fmla="*/ 26412 w 136888"/>
                  <a:gd name="csY4" fmla="*/ 105261 h 144343"/>
                  <a:gd name="csX5" fmla="*/ 48607 w 136888"/>
                  <a:gd name="csY5" fmla="*/ 126393 h 144343"/>
                  <a:gd name="csX6" fmla="*/ 96852 w 136888"/>
                  <a:gd name="csY6" fmla="*/ 144335 h 144343"/>
                  <a:gd name="csX7" fmla="*/ 131008 w 136888"/>
                  <a:gd name="csY7" fmla="*/ 124665 h 144343"/>
                  <a:gd name="csX8" fmla="*/ 133932 w 136888"/>
                  <a:gd name="csY8" fmla="*/ 82933 h 144343"/>
                  <a:gd name="csX9" fmla="*/ 68410 w 136888"/>
                  <a:gd name="csY9" fmla="*/ 5981 h 144343"/>
                  <a:gd name="csX10" fmla="*/ 23222 w 136888"/>
                  <a:gd name="csY10" fmla="*/ 3057 h 144343"/>
                  <a:gd name="csX11" fmla="*/ 13786 w 136888"/>
                  <a:gd name="csY11" fmla="*/ 8373 h 14434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Lst>
                <a:rect l="l" t="t" r="r" b="b"/>
                <a:pathLst>
                  <a:path w="136888" h="144343">
                    <a:moveTo>
                      <a:pt x="13786" y="8373"/>
                    </a:moveTo>
                    <a:cubicBezTo>
                      <a:pt x="10290" y="11324"/>
                      <a:pt x="7473" y="14992"/>
                      <a:pt x="5546" y="19139"/>
                    </a:cubicBezTo>
                    <a:cubicBezTo>
                      <a:pt x="-794" y="32721"/>
                      <a:pt x="-1751" y="48205"/>
                      <a:pt x="2888" y="62466"/>
                    </a:cubicBezTo>
                    <a:cubicBezTo>
                      <a:pt x="4602" y="68048"/>
                      <a:pt x="6769" y="73470"/>
                      <a:pt x="9400" y="78680"/>
                    </a:cubicBezTo>
                    <a:cubicBezTo>
                      <a:pt x="14238" y="88050"/>
                      <a:pt x="19940" y="96941"/>
                      <a:pt x="26412" y="105261"/>
                    </a:cubicBezTo>
                    <a:cubicBezTo>
                      <a:pt x="32765" y="113328"/>
                      <a:pt x="40234" y="120452"/>
                      <a:pt x="48607" y="126393"/>
                    </a:cubicBezTo>
                    <a:cubicBezTo>
                      <a:pt x="62283" y="137504"/>
                      <a:pt x="79241" y="143803"/>
                      <a:pt x="96852" y="144335"/>
                    </a:cubicBezTo>
                    <a:cubicBezTo>
                      <a:pt x="110820" y="143950"/>
                      <a:pt x="123672" y="136560"/>
                      <a:pt x="131008" y="124665"/>
                    </a:cubicBezTo>
                    <a:cubicBezTo>
                      <a:pt x="137640" y="111734"/>
                      <a:pt x="138703" y="96662"/>
                      <a:pt x="133932" y="82933"/>
                    </a:cubicBezTo>
                    <a:cubicBezTo>
                      <a:pt x="124097" y="49095"/>
                      <a:pt x="100254" y="21079"/>
                      <a:pt x="68410" y="5981"/>
                    </a:cubicBezTo>
                    <a:cubicBezTo>
                      <a:pt x="54295" y="-824"/>
                      <a:pt x="38094" y="-1874"/>
                      <a:pt x="23222" y="3057"/>
                    </a:cubicBezTo>
                    <a:cubicBezTo>
                      <a:pt x="19767" y="4213"/>
                      <a:pt x="16564" y="6021"/>
                      <a:pt x="13786" y="8373"/>
                    </a:cubicBezTo>
                    <a:close/>
                  </a:path>
                </a:pathLst>
              </a:custGeom>
              <a:solidFill>
                <a:srgbClr val="FFFFFF"/>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84" name="Freeform: Shape 83">
                <a:extLst>
                  <a:ext uri="{FF2B5EF4-FFF2-40B4-BE49-F238E27FC236}">
                    <a16:creationId xmlns:a16="http://schemas.microsoft.com/office/drawing/2014/main" id="{A421D5AC-C011-E93F-77B1-5C996A8729A0}"/>
                  </a:ext>
                </a:extLst>
              </p:cNvPr>
              <p:cNvSpPr/>
              <p:nvPr/>
            </p:nvSpPr>
            <p:spPr>
              <a:xfrm>
                <a:off x="7601678" y="4776835"/>
                <a:ext cx="65438" cy="241355"/>
              </a:xfrm>
              <a:custGeom>
                <a:avLst/>
                <a:gdLst>
                  <a:gd name="csX0" fmla="*/ -12 w 65438"/>
                  <a:gd name="csY0" fmla="*/ 241348 h 241355"/>
                  <a:gd name="csX1" fmla="*/ 8229 w 65438"/>
                  <a:gd name="csY1" fmla="*/ 232177 h 241355"/>
                  <a:gd name="csX2" fmla="*/ 17000 w 65438"/>
                  <a:gd name="csY2" fmla="*/ 221146 h 241355"/>
                  <a:gd name="csX3" fmla="*/ 27234 w 65438"/>
                  <a:gd name="csY3" fmla="*/ 206394 h 241355"/>
                  <a:gd name="csX4" fmla="*/ 38132 w 65438"/>
                  <a:gd name="csY4" fmla="*/ 188319 h 241355"/>
                  <a:gd name="csX5" fmla="*/ 48366 w 65438"/>
                  <a:gd name="csY5" fmla="*/ 167453 h 241355"/>
                  <a:gd name="csX6" fmla="*/ 56872 w 65438"/>
                  <a:gd name="csY6" fmla="*/ 144327 h 241355"/>
                  <a:gd name="csX7" fmla="*/ 62853 w 65438"/>
                  <a:gd name="csY7" fmla="*/ 120005 h 241355"/>
                  <a:gd name="csX8" fmla="*/ 65112 w 65438"/>
                  <a:gd name="csY8" fmla="*/ 95684 h 241355"/>
                  <a:gd name="csX9" fmla="*/ 63650 w 65438"/>
                  <a:gd name="csY9" fmla="*/ 72027 h 241355"/>
                  <a:gd name="csX10" fmla="*/ 58998 w 65438"/>
                  <a:gd name="csY10" fmla="*/ 50629 h 241355"/>
                  <a:gd name="csX11" fmla="*/ 52220 w 65438"/>
                  <a:gd name="csY11" fmla="*/ 32288 h 241355"/>
                  <a:gd name="csX12" fmla="*/ 48499 w 65438"/>
                  <a:gd name="csY12" fmla="*/ 24447 h 241355"/>
                  <a:gd name="csX13" fmla="*/ 44246 w 65438"/>
                  <a:gd name="csY13" fmla="*/ 17669 h 241355"/>
                  <a:gd name="csX14" fmla="*/ 36272 w 65438"/>
                  <a:gd name="csY14" fmla="*/ 7435 h 241355"/>
                  <a:gd name="csX15" fmla="*/ 29759 w 65438"/>
                  <a:gd name="csY15" fmla="*/ 1853 h 241355"/>
                  <a:gd name="csX16" fmla="*/ 27367 w 65438"/>
                  <a:gd name="csY16" fmla="*/ -8 h 241355"/>
                  <a:gd name="csX17" fmla="*/ 29493 w 65438"/>
                  <a:gd name="csY17" fmla="*/ 2119 h 241355"/>
                  <a:gd name="csX18" fmla="*/ 35076 w 65438"/>
                  <a:gd name="csY18" fmla="*/ 8232 h 241355"/>
                  <a:gd name="csX19" fmla="*/ 41721 w 65438"/>
                  <a:gd name="csY19" fmla="*/ 18998 h 241355"/>
                  <a:gd name="csX20" fmla="*/ 45044 w 65438"/>
                  <a:gd name="csY20" fmla="*/ 25909 h 241355"/>
                  <a:gd name="csX21" fmla="*/ 48100 w 65438"/>
                  <a:gd name="csY21" fmla="*/ 33883 h 241355"/>
                  <a:gd name="csX22" fmla="*/ 53549 w 65438"/>
                  <a:gd name="csY22" fmla="*/ 52091 h 241355"/>
                  <a:gd name="csX23" fmla="*/ 57005 w 65438"/>
                  <a:gd name="csY23" fmla="*/ 73090 h 241355"/>
                  <a:gd name="csX24" fmla="*/ 57935 w 65438"/>
                  <a:gd name="csY24" fmla="*/ 95817 h 241355"/>
                  <a:gd name="csX25" fmla="*/ 55277 w 65438"/>
                  <a:gd name="csY25" fmla="*/ 119607 h 241355"/>
                  <a:gd name="csX26" fmla="*/ 49961 w 65438"/>
                  <a:gd name="csY26" fmla="*/ 143264 h 241355"/>
                  <a:gd name="csX27" fmla="*/ 42120 w 65438"/>
                  <a:gd name="csY27" fmla="*/ 165858 h 241355"/>
                  <a:gd name="csX28" fmla="*/ 33082 w 65438"/>
                  <a:gd name="csY28" fmla="*/ 186591 h 241355"/>
                  <a:gd name="csX29" fmla="*/ 23513 w 65438"/>
                  <a:gd name="csY29" fmla="*/ 204932 h 241355"/>
                  <a:gd name="csX30" fmla="*/ 14475 w 65438"/>
                  <a:gd name="csY30" fmla="*/ 220083 h 241355"/>
                  <a:gd name="csX31" fmla="*/ 7032 w 65438"/>
                  <a:gd name="csY31" fmla="*/ 231513 h 24135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Lst>
                <a:rect l="l" t="t" r="r" b="b"/>
                <a:pathLst>
                  <a:path w="65438" h="241355">
                    <a:moveTo>
                      <a:pt x="-12" y="241348"/>
                    </a:moveTo>
                    <a:cubicBezTo>
                      <a:pt x="-12" y="241348"/>
                      <a:pt x="3178" y="238158"/>
                      <a:pt x="8229" y="232177"/>
                    </a:cubicBezTo>
                    <a:lnTo>
                      <a:pt x="17000" y="221146"/>
                    </a:lnTo>
                    <a:cubicBezTo>
                      <a:pt x="20057" y="216893"/>
                      <a:pt x="23513" y="211843"/>
                      <a:pt x="27234" y="206394"/>
                    </a:cubicBezTo>
                    <a:cubicBezTo>
                      <a:pt x="30956" y="200945"/>
                      <a:pt x="34278" y="194698"/>
                      <a:pt x="38132" y="188319"/>
                    </a:cubicBezTo>
                    <a:cubicBezTo>
                      <a:pt x="41987" y="181939"/>
                      <a:pt x="45044" y="175028"/>
                      <a:pt x="48366" y="167453"/>
                    </a:cubicBezTo>
                    <a:cubicBezTo>
                      <a:pt x="51689" y="159877"/>
                      <a:pt x="54081" y="152169"/>
                      <a:pt x="56872" y="144327"/>
                    </a:cubicBezTo>
                    <a:cubicBezTo>
                      <a:pt x="59663" y="136486"/>
                      <a:pt x="60859" y="128246"/>
                      <a:pt x="62853" y="120005"/>
                    </a:cubicBezTo>
                    <a:cubicBezTo>
                      <a:pt x="64846" y="111765"/>
                      <a:pt x="64314" y="103791"/>
                      <a:pt x="65112" y="95684"/>
                    </a:cubicBezTo>
                    <a:cubicBezTo>
                      <a:pt x="65909" y="87577"/>
                      <a:pt x="65112" y="79602"/>
                      <a:pt x="63650" y="72027"/>
                    </a:cubicBezTo>
                    <a:cubicBezTo>
                      <a:pt x="62706" y="64770"/>
                      <a:pt x="61151" y="57620"/>
                      <a:pt x="58998" y="50629"/>
                    </a:cubicBezTo>
                    <a:cubicBezTo>
                      <a:pt x="57284" y="44329"/>
                      <a:pt x="55024" y="38189"/>
                      <a:pt x="52220" y="32288"/>
                    </a:cubicBezTo>
                    <a:cubicBezTo>
                      <a:pt x="50891" y="29497"/>
                      <a:pt x="49828" y="26839"/>
                      <a:pt x="48499" y="24447"/>
                    </a:cubicBezTo>
                    <a:lnTo>
                      <a:pt x="44246" y="17669"/>
                    </a:lnTo>
                    <a:cubicBezTo>
                      <a:pt x="41947" y="13987"/>
                      <a:pt x="39275" y="10558"/>
                      <a:pt x="36272" y="7435"/>
                    </a:cubicBezTo>
                    <a:cubicBezTo>
                      <a:pt x="34438" y="5215"/>
                      <a:pt x="32231" y="3328"/>
                      <a:pt x="29759" y="1853"/>
                    </a:cubicBezTo>
                    <a:lnTo>
                      <a:pt x="27367" y="-8"/>
                    </a:lnTo>
                    <a:lnTo>
                      <a:pt x="29493" y="2119"/>
                    </a:lnTo>
                    <a:cubicBezTo>
                      <a:pt x="31607" y="3913"/>
                      <a:pt x="33481" y="5973"/>
                      <a:pt x="35076" y="8232"/>
                    </a:cubicBezTo>
                    <a:cubicBezTo>
                      <a:pt x="37641" y="11595"/>
                      <a:pt x="39873" y="15197"/>
                      <a:pt x="41721" y="18998"/>
                    </a:cubicBezTo>
                    <a:lnTo>
                      <a:pt x="45044" y="25909"/>
                    </a:lnTo>
                    <a:cubicBezTo>
                      <a:pt x="46107" y="28434"/>
                      <a:pt x="47037" y="31092"/>
                      <a:pt x="48100" y="33883"/>
                    </a:cubicBezTo>
                    <a:cubicBezTo>
                      <a:pt x="50426" y="39784"/>
                      <a:pt x="52247" y="45884"/>
                      <a:pt x="53549" y="52091"/>
                    </a:cubicBezTo>
                    <a:cubicBezTo>
                      <a:pt x="55078" y="59029"/>
                      <a:pt x="56234" y="66033"/>
                      <a:pt x="57005" y="73090"/>
                    </a:cubicBezTo>
                    <a:cubicBezTo>
                      <a:pt x="57935" y="80400"/>
                      <a:pt x="57005" y="88108"/>
                      <a:pt x="57935" y="95817"/>
                    </a:cubicBezTo>
                    <a:cubicBezTo>
                      <a:pt x="58865" y="103525"/>
                      <a:pt x="56606" y="112031"/>
                      <a:pt x="55277" y="119607"/>
                    </a:cubicBezTo>
                    <a:cubicBezTo>
                      <a:pt x="53948" y="127182"/>
                      <a:pt x="51954" y="135556"/>
                      <a:pt x="49961" y="143264"/>
                    </a:cubicBezTo>
                    <a:lnTo>
                      <a:pt x="42120" y="165858"/>
                    </a:lnTo>
                    <a:cubicBezTo>
                      <a:pt x="38930" y="173035"/>
                      <a:pt x="35873" y="180079"/>
                      <a:pt x="33082" y="186591"/>
                    </a:cubicBezTo>
                    <a:lnTo>
                      <a:pt x="23513" y="204932"/>
                    </a:lnTo>
                    <a:lnTo>
                      <a:pt x="14475" y="220083"/>
                    </a:lnTo>
                    <a:lnTo>
                      <a:pt x="7032" y="231513"/>
                    </a:lnTo>
                    <a:close/>
                  </a:path>
                </a:pathLst>
              </a:custGeom>
              <a:solidFill>
                <a:srgbClr val="FFFFFF">
                  <a:alpha val="50000"/>
                </a:srgbClr>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88" name="Freeform: Shape 87">
                <a:extLst>
                  <a:ext uri="{FF2B5EF4-FFF2-40B4-BE49-F238E27FC236}">
                    <a16:creationId xmlns:a16="http://schemas.microsoft.com/office/drawing/2014/main" id="{9C32679A-EEF7-D2B5-240B-23493CA3B621}"/>
                  </a:ext>
                </a:extLst>
              </p:cNvPr>
              <p:cNvSpPr/>
              <p:nvPr/>
            </p:nvSpPr>
            <p:spPr>
              <a:xfrm>
                <a:off x="7582141" y="4845016"/>
                <a:ext cx="37981" cy="187661"/>
              </a:xfrm>
              <a:custGeom>
                <a:avLst/>
                <a:gdLst>
                  <a:gd name="csX0" fmla="*/ 29360 w 37981"/>
                  <a:gd name="csY0" fmla="*/ -8 h 187661"/>
                  <a:gd name="csX1" fmla="*/ 30025 w 37981"/>
                  <a:gd name="csY1" fmla="*/ 2119 h 187661"/>
                  <a:gd name="csX2" fmla="*/ 31620 w 37981"/>
                  <a:gd name="csY2" fmla="*/ 7967 h 187661"/>
                  <a:gd name="csX3" fmla="*/ 33481 w 37981"/>
                  <a:gd name="csY3" fmla="*/ 17403 h 187661"/>
                  <a:gd name="csX4" fmla="*/ 34145 w 37981"/>
                  <a:gd name="csY4" fmla="*/ 23251 h 187661"/>
                  <a:gd name="csX5" fmla="*/ 34145 w 37981"/>
                  <a:gd name="csY5" fmla="*/ 29763 h 187661"/>
                  <a:gd name="csX6" fmla="*/ 34145 w 37981"/>
                  <a:gd name="csY6" fmla="*/ 36807 h 187661"/>
                  <a:gd name="csX7" fmla="*/ 34145 w 37981"/>
                  <a:gd name="csY7" fmla="*/ 44382 h 187661"/>
                  <a:gd name="csX8" fmla="*/ 34145 w 37981"/>
                  <a:gd name="csY8" fmla="*/ 60730 h 187661"/>
                  <a:gd name="csX9" fmla="*/ 32284 w 37981"/>
                  <a:gd name="csY9" fmla="*/ 78007 h 187661"/>
                  <a:gd name="csX10" fmla="*/ 29360 w 37981"/>
                  <a:gd name="csY10" fmla="*/ 95817 h 187661"/>
                  <a:gd name="csX11" fmla="*/ 25506 w 37981"/>
                  <a:gd name="csY11" fmla="*/ 113493 h 187661"/>
                  <a:gd name="csX12" fmla="*/ 20855 w 37981"/>
                  <a:gd name="csY12" fmla="*/ 130372 h 187661"/>
                  <a:gd name="csX13" fmla="*/ 15937 w 37981"/>
                  <a:gd name="csY13" fmla="*/ 146055 h 187661"/>
                  <a:gd name="csX14" fmla="*/ 11020 w 37981"/>
                  <a:gd name="csY14" fmla="*/ 159345 h 187661"/>
                  <a:gd name="csX15" fmla="*/ 3045 w 37981"/>
                  <a:gd name="csY15" fmla="*/ 179813 h 187661"/>
                  <a:gd name="csX16" fmla="*/ -12 w 37981"/>
                  <a:gd name="csY16" fmla="*/ 187654 h 187661"/>
                  <a:gd name="csX17" fmla="*/ 3710 w 37981"/>
                  <a:gd name="csY17" fmla="*/ 180211 h 187661"/>
                  <a:gd name="csX18" fmla="*/ 7963 w 37981"/>
                  <a:gd name="csY18" fmla="*/ 171573 h 187661"/>
                  <a:gd name="csX19" fmla="*/ 10621 w 37981"/>
                  <a:gd name="csY19" fmla="*/ 166256 h 187661"/>
                  <a:gd name="csX20" fmla="*/ 13146 w 37981"/>
                  <a:gd name="csY20" fmla="*/ 160143 h 187661"/>
                  <a:gd name="csX21" fmla="*/ 18861 w 37981"/>
                  <a:gd name="csY21" fmla="*/ 146852 h 187661"/>
                  <a:gd name="csX22" fmla="*/ 24310 w 37981"/>
                  <a:gd name="csY22" fmla="*/ 131302 h 187661"/>
                  <a:gd name="csX23" fmla="*/ 29228 w 37981"/>
                  <a:gd name="csY23" fmla="*/ 114291 h 187661"/>
                  <a:gd name="csX24" fmla="*/ 33348 w 37981"/>
                  <a:gd name="csY24" fmla="*/ 96481 h 187661"/>
                  <a:gd name="csX25" fmla="*/ 36139 w 37981"/>
                  <a:gd name="csY25" fmla="*/ 78406 h 187661"/>
                  <a:gd name="csX26" fmla="*/ 37733 w 37981"/>
                  <a:gd name="csY26" fmla="*/ 60730 h 187661"/>
                  <a:gd name="csX27" fmla="*/ 37733 w 37981"/>
                  <a:gd name="csY27" fmla="*/ 44117 h 187661"/>
                  <a:gd name="csX28" fmla="*/ 37733 w 37981"/>
                  <a:gd name="csY28" fmla="*/ 36541 h 187661"/>
                  <a:gd name="csX29" fmla="*/ 36936 w 37981"/>
                  <a:gd name="csY29" fmla="*/ 29364 h 187661"/>
                  <a:gd name="csX30" fmla="*/ 34677 w 37981"/>
                  <a:gd name="csY30" fmla="*/ 17004 h 187661"/>
                  <a:gd name="csX31" fmla="*/ 32152 w 37981"/>
                  <a:gd name="csY31" fmla="*/ 7701 h 187661"/>
                  <a:gd name="csX32" fmla="*/ 29360 w 37981"/>
                  <a:gd name="csY32" fmla="*/ -8 h 18766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Lst>
                <a:rect l="l" t="t" r="r" b="b"/>
                <a:pathLst>
                  <a:path w="37981" h="187661">
                    <a:moveTo>
                      <a:pt x="29360" y="-8"/>
                    </a:moveTo>
                    <a:cubicBezTo>
                      <a:pt x="29613" y="683"/>
                      <a:pt x="29839" y="1401"/>
                      <a:pt x="30025" y="2119"/>
                    </a:cubicBezTo>
                    <a:cubicBezTo>
                      <a:pt x="30025" y="3448"/>
                      <a:pt x="30956" y="5441"/>
                      <a:pt x="31620" y="7967"/>
                    </a:cubicBezTo>
                    <a:cubicBezTo>
                      <a:pt x="32284" y="10492"/>
                      <a:pt x="32949" y="13814"/>
                      <a:pt x="33481" y="17403"/>
                    </a:cubicBezTo>
                    <a:cubicBezTo>
                      <a:pt x="34012" y="20991"/>
                      <a:pt x="33481" y="21257"/>
                      <a:pt x="34145" y="23251"/>
                    </a:cubicBezTo>
                    <a:cubicBezTo>
                      <a:pt x="34810" y="25244"/>
                      <a:pt x="34145" y="27504"/>
                      <a:pt x="34145" y="29763"/>
                    </a:cubicBezTo>
                    <a:cubicBezTo>
                      <a:pt x="34145" y="32022"/>
                      <a:pt x="34145" y="34415"/>
                      <a:pt x="34145" y="36807"/>
                    </a:cubicBezTo>
                    <a:lnTo>
                      <a:pt x="34145" y="44382"/>
                    </a:lnTo>
                    <a:cubicBezTo>
                      <a:pt x="34145" y="49566"/>
                      <a:pt x="34145" y="55015"/>
                      <a:pt x="34145" y="60730"/>
                    </a:cubicBezTo>
                    <a:cubicBezTo>
                      <a:pt x="34145" y="66445"/>
                      <a:pt x="33215" y="72160"/>
                      <a:pt x="32284" y="78007"/>
                    </a:cubicBezTo>
                    <a:cubicBezTo>
                      <a:pt x="31354" y="83855"/>
                      <a:pt x="30690" y="89969"/>
                      <a:pt x="29360" y="95817"/>
                    </a:cubicBezTo>
                    <a:cubicBezTo>
                      <a:pt x="28032" y="101664"/>
                      <a:pt x="27101" y="107778"/>
                      <a:pt x="25506" y="113493"/>
                    </a:cubicBezTo>
                    <a:cubicBezTo>
                      <a:pt x="23912" y="119208"/>
                      <a:pt x="22715" y="124923"/>
                      <a:pt x="20855" y="130372"/>
                    </a:cubicBezTo>
                    <a:cubicBezTo>
                      <a:pt x="18994" y="135821"/>
                      <a:pt x="17665" y="141004"/>
                      <a:pt x="15937" y="146055"/>
                    </a:cubicBezTo>
                    <a:cubicBezTo>
                      <a:pt x="14209" y="151105"/>
                      <a:pt x="12482" y="155491"/>
                      <a:pt x="11020" y="159345"/>
                    </a:cubicBezTo>
                    <a:cubicBezTo>
                      <a:pt x="8096" y="167984"/>
                      <a:pt x="4906" y="174895"/>
                      <a:pt x="3045" y="179813"/>
                    </a:cubicBezTo>
                    <a:lnTo>
                      <a:pt x="-12" y="187654"/>
                    </a:lnTo>
                    <a:lnTo>
                      <a:pt x="3710" y="180211"/>
                    </a:lnTo>
                    <a:lnTo>
                      <a:pt x="7963" y="171573"/>
                    </a:lnTo>
                    <a:lnTo>
                      <a:pt x="10621" y="166256"/>
                    </a:lnTo>
                    <a:cubicBezTo>
                      <a:pt x="11565" y="164263"/>
                      <a:pt x="12415" y="162216"/>
                      <a:pt x="13146" y="160143"/>
                    </a:cubicBezTo>
                    <a:cubicBezTo>
                      <a:pt x="15007" y="155890"/>
                      <a:pt x="16868" y="151371"/>
                      <a:pt x="18861" y="146852"/>
                    </a:cubicBezTo>
                    <a:cubicBezTo>
                      <a:pt x="20855" y="142334"/>
                      <a:pt x="22449" y="136752"/>
                      <a:pt x="24310" y="131302"/>
                    </a:cubicBezTo>
                    <a:cubicBezTo>
                      <a:pt x="26171" y="125853"/>
                      <a:pt x="27633" y="120138"/>
                      <a:pt x="29228" y="114291"/>
                    </a:cubicBezTo>
                    <a:cubicBezTo>
                      <a:pt x="30823" y="108443"/>
                      <a:pt x="32152" y="102462"/>
                      <a:pt x="33348" y="96481"/>
                    </a:cubicBezTo>
                    <a:cubicBezTo>
                      <a:pt x="34544" y="90500"/>
                      <a:pt x="35341" y="84387"/>
                      <a:pt x="36139" y="78406"/>
                    </a:cubicBezTo>
                    <a:cubicBezTo>
                      <a:pt x="36936" y="72425"/>
                      <a:pt x="37202" y="66445"/>
                      <a:pt x="37733" y="60730"/>
                    </a:cubicBezTo>
                    <a:cubicBezTo>
                      <a:pt x="38265" y="55015"/>
                      <a:pt x="37733" y="49433"/>
                      <a:pt x="37733" y="44117"/>
                    </a:cubicBezTo>
                    <a:lnTo>
                      <a:pt x="37733" y="36541"/>
                    </a:lnTo>
                    <a:cubicBezTo>
                      <a:pt x="37733" y="34056"/>
                      <a:pt x="37468" y="31663"/>
                      <a:pt x="36936" y="29364"/>
                    </a:cubicBezTo>
                    <a:cubicBezTo>
                      <a:pt x="36391" y="25204"/>
                      <a:pt x="35647" y="21084"/>
                      <a:pt x="34677" y="17004"/>
                    </a:cubicBezTo>
                    <a:cubicBezTo>
                      <a:pt x="33880" y="13415"/>
                      <a:pt x="32949" y="10226"/>
                      <a:pt x="32152" y="7701"/>
                    </a:cubicBezTo>
                    <a:cubicBezTo>
                      <a:pt x="31421" y="5069"/>
                      <a:pt x="30490" y="2491"/>
                      <a:pt x="29360" y="-8"/>
                    </a:cubicBezTo>
                    <a:close/>
                  </a:path>
                </a:pathLst>
              </a:custGeom>
              <a:solidFill>
                <a:srgbClr val="FFFFFF">
                  <a:alpha val="50000"/>
                </a:srgbClr>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89" name="Freeform: Shape 88">
                <a:extLst>
                  <a:ext uri="{FF2B5EF4-FFF2-40B4-BE49-F238E27FC236}">
                    <a16:creationId xmlns:a16="http://schemas.microsoft.com/office/drawing/2014/main" id="{ADD9F1F8-AF8C-EA6A-A2F7-73C445D12129}"/>
                  </a:ext>
                </a:extLst>
              </p:cNvPr>
              <p:cNvSpPr/>
              <p:nvPr/>
            </p:nvSpPr>
            <p:spPr>
              <a:xfrm>
                <a:off x="7411225" y="4821358"/>
                <a:ext cx="129715" cy="234843"/>
              </a:xfrm>
              <a:custGeom>
                <a:avLst/>
                <a:gdLst>
                  <a:gd name="csX0" fmla="*/ 129704 w 129715"/>
                  <a:gd name="csY0" fmla="*/ -8 h 234843"/>
                  <a:gd name="csX1" fmla="*/ 121331 w 129715"/>
                  <a:gd name="csY1" fmla="*/ 8099 h 234843"/>
                  <a:gd name="csX2" fmla="*/ 112027 w 129715"/>
                  <a:gd name="csY2" fmla="*/ 17801 h 234843"/>
                  <a:gd name="csX3" fmla="*/ 100465 w 129715"/>
                  <a:gd name="csY3" fmla="*/ 31092 h 234843"/>
                  <a:gd name="csX4" fmla="*/ 87174 w 129715"/>
                  <a:gd name="csY4" fmla="*/ 47040 h 234843"/>
                  <a:gd name="csX5" fmla="*/ 73884 w 129715"/>
                  <a:gd name="csY5" fmla="*/ 65381 h 234843"/>
                  <a:gd name="csX6" fmla="*/ 60593 w 129715"/>
                  <a:gd name="csY6" fmla="*/ 85849 h 234843"/>
                  <a:gd name="csX7" fmla="*/ 47303 w 129715"/>
                  <a:gd name="csY7" fmla="*/ 107512 h 234843"/>
                  <a:gd name="csX8" fmla="*/ 41189 w 129715"/>
                  <a:gd name="csY8" fmla="*/ 118676 h 234843"/>
                  <a:gd name="csX9" fmla="*/ 35474 w 129715"/>
                  <a:gd name="csY9" fmla="*/ 130106 h 234843"/>
                  <a:gd name="csX10" fmla="*/ 25107 w 129715"/>
                  <a:gd name="csY10" fmla="*/ 152434 h 234843"/>
                  <a:gd name="csX11" fmla="*/ 20456 w 129715"/>
                  <a:gd name="csY11" fmla="*/ 163200 h 234843"/>
                  <a:gd name="csX12" fmla="*/ 16602 w 129715"/>
                  <a:gd name="csY12" fmla="*/ 173832 h 234843"/>
                  <a:gd name="csX13" fmla="*/ 13013 w 129715"/>
                  <a:gd name="csY13" fmla="*/ 183800 h 234843"/>
                  <a:gd name="csX14" fmla="*/ 10089 w 129715"/>
                  <a:gd name="csY14" fmla="*/ 193369 h 234843"/>
                  <a:gd name="csX15" fmla="*/ 5172 w 129715"/>
                  <a:gd name="csY15" fmla="*/ 210115 h 234843"/>
                  <a:gd name="csX16" fmla="*/ 2381 w 129715"/>
                  <a:gd name="csY16" fmla="*/ 223406 h 234843"/>
                  <a:gd name="csX17" fmla="*/ -12 w 129715"/>
                  <a:gd name="csY17" fmla="*/ 234836 h 234843"/>
                  <a:gd name="csX18" fmla="*/ 3178 w 129715"/>
                  <a:gd name="csY18" fmla="*/ 223671 h 234843"/>
                  <a:gd name="csX19" fmla="*/ 6766 w 129715"/>
                  <a:gd name="csY19" fmla="*/ 210381 h 234843"/>
                  <a:gd name="csX20" fmla="*/ 12349 w 129715"/>
                  <a:gd name="csY20" fmla="*/ 193901 h 234843"/>
                  <a:gd name="csX21" fmla="*/ 15538 w 129715"/>
                  <a:gd name="csY21" fmla="*/ 184597 h 234843"/>
                  <a:gd name="csX22" fmla="*/ 19526 w 129715"/>
                  <a:gd name="csY22" fmla="*/ 174762 h 234843"/>
                  <a:gd name="csX23" fmla="*/ 28430 w 129715"/>
                  <a:gd name="csY23" fmla="*/ 153763 h 234843"/>
                  <a:gd name="csX24" fmla="*/ 38930 w 129715"/>
                  <a:gd name="csY24" fmla="*/ 131701 h 234843"/>
                  <a:gd name="csX25" fmla="*/ 44644 w 129715"/>
                  <a:gd name="csY25" fmla="*/ 120537 h 234843"/>
                  <a:gd name="csX26" fmla="*/ 51024 w 129715"/>
                  <a:gd name="csY26" fmla="*/ 109506 h 234843"/>
                  <a:gd name="csX27" fmla="*/ 64314 w 129715"/>
                  <a:gd name="csY27" fmla="*/ 87842 h 234843"/>
                  <a:gd name="csX28" fmla="*/ 77605 w 129715"/>
                  <a:gd name="csY28" fmla="*/ 67375 h 234843"/>
                  <a:gd name="csX29" fmla="*/ 90896 w 129715"/>
                  <a:gd name="csY29" fmla="*/ 48635 h 234843"/>
                  <a:gd name="csX30" fmla="*/ 103389 w 129715"/>
                  <a:gd name="csY30" fmla="*/ 32421 h 234843"/>
                  <a:gd name="csX31" fmla="*/ 123058 w 129715"/>
                  <a:gd name="csY31" fmla="*/ 8764 h 234843"/>
                  <a:gd name="csX32" fmla="*/ 129704 w 129715"/>
                  <a:gd name="csY32" fmla="*/ -8 h 23484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Lst>
                <a:rect l="l" t="t" r="r" b="b"/>
                <a:pathLst>
                  <a:path w="129715" h="234843">
                    <a:moveTo>
                      <a:pt x="129704" y="-8"/>
                    </a:moveTo>
                    <a:cubicBezTo>
                      <a:pt x="129704" y="-8"/>
                      <a:pt x="126514" y="2783"/>
                      <a:pt x="121331" y="8099"/>
                    </a:cubicBezTo>
                    <a:cubicBezTo>
                      <a:pt x="118673" y="10757"/>
                      <a:pt x="115483" y="13947"/>
                      <a:pt x="112027" y="17801"/>
                    </a:cubicBezTo>
                    <a:cubicBezTo>
                      <a:pt x="108572" y="21656"/>
                      <a:pt x="104452" y="25909"/>
                      <a:pt x="100465" y="31092"/>
                    </a:cubicBezTo>
                    <a:cubicBezTo>
                      <a:pt x="96477" y="36275"/>
                      <a:pt x="91959" y="41193"/>
                      <a:pt x="87174" y="47040"/>
                    </a:cubicBezTo>
                    <a:cubicBezTo>
                      <a:pt x="82389" y="52888"/>
                      <a:pt x="78137" y="58869"/>
                      <a:pt x="73884" y="65381"/>
                    </a:cubicBezTo>
                    <a:cubicBezTo>
                      <a:pt x="69631" y="71894"/>
                      <a:pt x="64580" y="78672"/>
                      <a:pt x="60593" y="85849"/>
                    </a:cubicBezTo>
                    <a:cubicBezTo>
                      <a:pt x="56606" y="93026"/>
                      <a:pt x="51556" y="100070"/>
                      <a:pt x="47303" y="107512"/>
                    </a:cubicBezTo>
                    <a:lnTo>
                      <a:pt x="41189" y="118676"/>
                    </a:lnTo>
                    <a:cubicBezTo>
                      <a:pt x="39195" y="122531"/>
                      <a:pt x="37335" y="126252"/>
                      <a:pt x="35474" y="130106"/>
                    </a:cubicBezTo>
                    <a:cubicBezTo>
                      <a:pt x="31620" y="137549"/>
                      <a:pt x="28297" y="145125"/>
                      <a:pt x="25107" y="152434"/>
                    </a:cubicBezTo>
                    <a:cubicBezTo>
                      <a:pt x="23513" y="156023"/>
                      <a:pt x="21785" y="159611"/>
                      <a:pt x="20456" y="163200"/>
                    </a:cubicBezTo>
                    <a:cubicBezTo>
                      <a:pt x="19127" y="166788"/>
                      <a:pt x="17931" y="170377"/>
                      <a:pt x="16602" y="173832"/>
                    </a:cubicBezTo>
                    <a:lnTo>
                      <a:pt x="13013" y="183800"/>
                    </a:lnTo>
                    <a:cubicBezTo>
                      <a:pt x="11950" y="187123"/>
                      <a:pt x="11019" y="190312"/>
                      <a:pt x="10089" y="193369"/>
                    </a:cubicBezTo>
                    <a:cubicBezTo>
                      <a:pt x="8229" y="199483"/>
                      <a:pt x="6501" y="205065"/>
                      <a:pt x="5172" y="210115"/>
                    </a:cubicBezTo>
                    <a:cubicBezTo>
                      <a:pt x="3842" y="215166"/>
                      <a:pt x="3178" y="219551"/>
                      <a:pt x="2381" y="223406"/>
                    </a:cubicBezTo>
                    <a:cubicBezTo>
                      <a:pt x="786" y="230715"/>
                      <a:pt x="-12" y="234836"/>
                      <a:pt x="-12" y="234836"/>
                    </a:cubicBezTo>
                    <a:cubicBezTo>
                      <a:pt x="-12" y="234836"/>
                      <a:pt x="1052" y="230848"/>
                      <a:pt x="3178" y="223671"/>
                    </a:cubicBezTo>
                    <a:cubicBezTo>
                      <a:pt x="4108" y="220083"/>
                      <a:pt x="5305" y="215697"/>
                      <a:pt x="6766" y="210381"/>
                    </a:cubicBezTo>
                    <a:cubicBezTo>
                      <a:pt x="8229" y="205065"/>
                      <a:pt x="10355" y="200014"/>
                      <a:pt x="12349" y="193901"/>
                    </a:cubicBezTo>
                    <a:cubicBezTo>
                      <a:pt x="13279" y="190977"/>
                      <a:pt x="14342" y="187787"/>
                      <a:pt x="15538" y="184597"/>
                    </a:cubicBezTo>
                    <a:cubicBezTo>
                      <a:pt x="16734" y="181408"/>
                      <a:pt x="18063" y="178085"/>
                      <a:pt x="19526" y="174762"/>
                    </a:cubicBezTo>
                    <a:cubicBezTo>
                      <a:pt x="22183" y="167984"/>
                      <a:pt x="24975" y="161472"/>
                      <a:pt x="28430" y="153763"/>
                    </a:cubicBezTo>
                    <a:cubicBezTo>
                      <a:pt x="31886" y="146055"/>
                      <a:pt x="34943" y="139011"/>
                      <a:pt x="38930" y="131701"/>
                    </a:cubicBezTo>
                    <a:lnTo>
                      <a:pt x="44644" y="120537"/>
                    </a:lnTo>
                    <a:lnTo>
                      <a:pt x="51024" y="109506"/>
                    </a:lnTo>
                    <a:cubicBezTo>
                      <a:pt x="55011" y="102063"/>
                      <a:pt x="59397" y="94886"/>
                      <a:pt x="64314" y="87842"/>
                    </a:cubicBezTo>
                    <a:cubicBezTo>
                      <a:pt x="69232" y="80798"/>
                      <a:pt x="73352" y="74552"/>
                      <a:pt x="77605" y="67375"/>
                    </a:cubicBezTo>
                    <a:cubicBezTo>
                      <a:pt x="81858" y="60198"/>
                      <a:pt x="86509" y="54085"/>
                      <a:pt x="90896" y="48635"/>
                    </a:cubicBezTo>
                    <a:cubicBezTo>
                      <a:pt x="95281" y="43186"/>
                      <a:pt x="99401" y="37338"/>
                      <a:pt x="103389" y="32421"/>
                    </a:cubicBezTo>
                    <a:cubicBezTo>
                      <a:pt x="111230" y="22453"/>
                      <a:pt x="118141" y="14346"/>
                      <a:pt x="123058" y="8764"/>
                    </a:cubicBezTo>
                    <a:cubicBezTo>
                      <a:pt x="127976" y="3182"/>
                      <a:pt x="129704" y="-8"/>
                      <a:pt x="129704" y="-8"/>
                    </a:cubicBezTo>
                    <a:close/>
                  </a:path>
                </a:pathLst>
              </a:custGeom>
              <a:solidFill>
                <a:srgbClr val="FFFFFF">
                  <a:alpha val="50000"/>
                </a:srgbClr>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12" name="Freeform: Shape 111">
                <a:extLst>
                  <a:ext uri="{FF2B5EF4-FFF2-40B4-BE49-F238E27FC236}">
                    <a16:creationId xmlns:a16="http://schemas.microsoft.com/office/drawing/2014/main" id="{E2ED0C79-BE25-2FC7-1D1F-C519CF42F6B1}"/>
                  </a:ext>
                </a:extLst>
              </p:cNvPr>
              <p:cNvSpPr/>
              <p:nvPr/>
            </p:nvSpPr>
            <p:spPr>
              <a:xfrm>
                <a:off x="7278453" y="4758096"/>
                <a:ext cx="212382" cy="102602"/>
              </a:xfrm>
              <a:custGeom>
                <a:avLst/>
                <a:gdLst>
                  <a:gd name="csX0" fmla="*/ 212371 w 212382"/>
                  <a:gd name="csY0" fmla="*/ -8 h 102602"/>
                  <a:gd name="csX1" fmla="*/ 201871 w 212382"/>
                  <a:gd name="csY1" fmla="*/ -8 h 102602"/>
                  <a:gd name="csX2" fmla="*/ 174360 w 212382"/>
                  <a:gd name="csY2" fmla="*/ 2251 h 102602"/>
                  <a:gd name="csX3" fmla="*/ 135552 w 212382"/>
                  <a:gd name="csY3" fmla="*/ 10093 h 102602"/>
                  <a:gd name="csX4" fmla="*/ 114420 w 212382"/>
                  <a:gd name="csY4" fmla="*/ 16871 h 102602"/>
                  <a:gd name="csX5" fmla="*/ 93288 w 212382"/>
                  <a:gd name="csY5" fmla="*/ 25510 h 102602"/>
                  <a:gd name="csX6" fmla="*/ 82922 w 212382"/>
                  <a:gd name="csY6" fmla="*/ 30560 h 102602"/>
                  <a:gd name="csX7" fmla="*/ 72954 w 212382"/>
                  <a:gd name="csY7" fmla="*/ 36009 h 102602"/>
                  <a:gd name="csX8" fmla="*/ 54347 w 212382"/>
                  <a:gd name="csY8" fmla="*/ 47971 h 102602"/>
                  <a:gd name="csX9" fmla="*/ 38000 w 212382"/>
                  <a:gd name="csY9" fmla="*/ 60597 h 102602"/>
                  <a:gd name="csX10" fmla="*/ 30690 w 212382"/>
                  <a:gd name="csY10" fmla="*/ 66976 h 102602"/>
                  <a:gd name="csX11" fmla="*/ 24310 w 212382"/>
                  <a:gd name="csY11" fmla="*/ 73223 h 102602"/>
                  <a:gd name="csX12" fmla="*/ 13678 w 212382"/>
                  <a:gd name="csY12" fmla="*/ 84653 h 102602"/>
                  <a:gd name="csX13" fmla="*/ 6102 w 212382"/>
                  <a:gd name="csY13" fmla="*/ 94089 h 102602"/>
                  <a:gd name="csX14" fmla="*/ -12 w 212382"/>
                  <a:gd name="csY14" fmla="*/ 102595 h 102602"/>
                  <a:gd name="csX15" fmla="*/ 6767 w 212382"/>
                  <a:gd name="csY15" fmla="*/ 94621 h 102602"/>
                  <a:gd name="csX16" fmla="*/ 14874 w 212382"/>
                  <a:gd name="csY16" fmla="*/ 85716 h 102602"/>
                  <a:gd name="csX17" fmla="*/ 25905 w 212382"/>
                  <a:gd name="csY17" fmla="*/ 74951 h 102602"/>
                  <a:gd name="csX18" fmla="*/ 32550 w 212382"/>
                  <a:gd name="csY18" fmla="*/ 68970 h 102602"/>
                  <a:gd name="csX19" fmla="*/ 39860 w 212382"/>
                  <a:gd name="csY19" fmla="*/ 62989 h 102602"/>
                  <a:gd name="csX20" fmla="*/ 56341 w 212382"/>
                  <a:gd name="csY20" fmla="*/ 50895 h 102602"/>
                  <a:gd name="csX21" fmla="*/ 74947 w 212382"/>
                  <a:gd name="csY21" fmla="*/ 39465 h 102602"/>
                  <a:gd name="csX22" fmla="*/ 84782 w 212382"/>
                  <a:gd name="csY22" fmla="*/ 34149 h 102602"/>
                  <a:gd name="csX23" fmla="*/ 95016 w 212382"/>
                  <a:gd name="csY23" fmla="*/ 29231 h 102602"/>
                  <a:gd name="csX24" fmla="*/ 115882 w 212382"/>
                  <a:gd name="csY24" fmla="*/ 20592 h 102602"/>
                  <a:gd name="csX25" fmla="*/ 136615 w 212382"/>
                  <a:gd name="csY25" fmla="*/ 13681 h 102602"/>
                  <a:gd name="csX26" fmla="*/ 156285 w 212382"/>
                  <a:gd name="csY26" fmla="*/ 8365 h 102602"/>
                  <a:gd name="csX27" fmla="*/ 174360 w 212382"/>
                  <a:gd name="csY27" fmla="*/ 4644 h 102602"/>
                  <a:gd name="csX28" fmla="*/ 201606 w 212382"/>
                  <a:gd name="csY28" fmla="*/ 922 h 102602"/>
                  <a:gd name="csX29" fmla="*/ 212371 w 212382"/>
                  <a:gd name="csY29" fmla="*/ -8 h 10260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Lst>
                <a:rect l="l" t="t" r="r" b="b"/>
                <a:pathLst>
                  <a:path w="212382" h="102602">
                    <a:moveTo>
                      <a:pt x="212371" y="-8"/>
                    </a:moveTo>
                    <a:cubicBezTo>
                      <a:pt x="212371" y="-8"/>
                      <a:pt x="208650" y="-8"/>
                      <a:pt x="201871" y="-8"/>
                    </a:cubicBezTo>
                    <a:cubicBezTo>
                      <a:pt x="192661" y="205"/>
                      <a:pt x="183477" y="949"/>
                      <a:pt x="174360" y="2251"/>
                    </a:cubicBezTo>
                    <a:cubicBezTo>
                      <a:pt x="161256" y="3979"/>
                      <a:pt x="148298" y="6611"/>
                      <a:pt x="135552" y="10093"/>
                    </a:cubicBezTo>
                    <a:cubicBezTo>
                      <a:pt x="128641" y="12047"/>
                      <a:pt x="121597" y="14306"/>
                      <a:pt x="114420" y="16871"/>
                    </a:cubicBezTo>
                    <a:cubicBezTo>
                      <a:pt x="107376" y="19396"/>
                      <a:pt x="100332" y="22320"/>
                      <a:pt x="93288" y="25510"/>
                    </a:cubicBezTo>
                    <a:lnTo>
                      <a:pt x="82922" y="30560"/>
                    </a:lnTo>
                    <a:lnTo>
                      <a:pt x="72954" y="36009"/>
                    </a:lnTo>
                    <a:cubicBezTo>
                      <a:pt x="66441" y="39864"/>
                      <a:pt x="59663" y="43851"/>
                      <a:pt x="54347" y="47971"/>
                    </a:cubicBezTo>
                    <a:cubicBezTo>
                      <a:pt x="48645" y="51838"/>
                      <a:pt x="43183" y="56051"/>
                      <a:pt x="38000" y="60597"/>
                    </a:cubicBezTo>
                    <a:lnTo>
                      <a:pt x="30690" y="66976"/>
                    </a:lnTo>
                    <a:lnTo>
                      <a:pt x="24310" y="73223"/>
                    </a:lnTo>
                    <a:cubicBezTo>
                      <a:pt x="20190" y="77210"/>
                      <a:pt x="16735" y="81197"/>
                      <a:pt x="13678" y="84653"/>
                    </a:cubicBezTo>
                    <a:cubicBezTo>
                      <a:pt x="10621" y="88108"/>
                      <a:pt x="8096" y="91431"/>
                      <a:pt x="6102" y="94089"/>
                    </a:cubicBezTo>
                    <a:lnTo>
                      <a:pt x="-12" y="102595"/>
                    </a:lnTo>
                    <a:lnTo>
                      <a:pt x="6767" y="94621"/>
                    </a:lnTo>
                    <a:cubicBezTo>
                      <a:pt x="8893" y="91962"/>
                      <a:pt x="11684" y="89171"/>
                      <a:pt x="14874" y="85716"/>
                    </a:cubicBezTo>
                    <a:cubicBezTo>
                      <a:pt x="18064" y="82260"/>
                      <a:pt x="21785" y="78805"/>
                      <a:pt x="25905" y="74951"/>
                    </a:cubicBezTo>
                    <a:lnTo>
                      <a:pt x="32550" y="68970"/>
                    </a:lnTo>
                    <a:lnTo>
                      <a:pt x="39860" y="62989"/>
                    </a:lnTo>
                    <a:cubicBezTo>
                      <a:pt x="45044" y="59002"/>
                      <a:pt x="50493" y="54882"/>
                      <a:pt x="56341" y="50895"/>
                    </a:cubicBezTo>
                    <a:cubicBezTo>
                      <a:pt x="62188" y="46908"/>
                      <a:pt x="68435" y="43053"/>
                      <a:pt x="74947" y="39465"/>
                    </a:cubicBezTo>
                    <a:cubicBezTo>
                      <a:pt x="78137" y="37604"/>
                      <a:pt x="81459" y="35876"/>
                      <a:pt x="84782" y="34149"/>
                    </a:cubicBezTo>
                    <a:lnTo>
                      <a:pt x="95016" y="29231"/>
                    </a:lnTo>
                    <a:cubicBezTo>
                      <a:pt x="101927" y="26174"/>
                      <a:pt x="108306" y="23117"/>
                      <a:pt x="115882" y="20592"/>
                    </a:cubicBezTo>
                    <a:cubicBezTo>
                      <a:pt x="123457" y="18067"/>
                      <a:pt x="129172" y="15675"/>
                      <a:pt x="136615" y="13681"/>
                    </a:cubicBezTo>
                    <a:cubicBezTo>
                      <a:pt x="144058" y="11688"/>
                      <a:pt x="149905" y="9827"/>
                      <a:pt x="156285" y="8365"/>
                    </a:cubicBezTo>
                    <a:cubicBezTo>
                      <a:pt x="162665" y="6903"/>
                      <a:pt x="168645" y="5574"/>
                      <a:pt x="174360" y="4644"/>
                    </a:cubicBezTo>
                    <a:cubicBezTo>
                      <a:pt x="185524" y="2650"/>
                      <a:pt x="194960" y="1454"/>
                      <a:pt x="201606" y="922"/>
                    </a:cubicBezTo>
                    <a:cubicBezTo>
                      <a:pt x="208251" y="391"/>
                      <a:pt x="212371" y="-8"/>
                      <a:pt x="212371" y="-8"/>
                    </a:cubicBezTo>
                    <a:close/>
                  </a:path>
                </a:pathLst>
              </a:custGeom>
              <a:solidFill>
                <a:srgbClr val="FFFFFF">
                  <a:alpha val="50000"/>
                </a:srgbClr>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13" name="Freeform: Shape 112">
                <a:extLst>
                  <a:ext uri="{FF2B5EF4-FFF2-40B4-BE49-F238E27FC236}">
                    <a16:creationId xmlns:a16="http://schemas.microsoft.com/office/drawing/2014/main" id="{35FC1578-4BA8-4482-B5F0-0E51A4FE545D}"/>
                  </a:ext>
                </a:extLst>
              </p:cNvPr>
              <p:cNvSpPr/>
              <p:nvPr/>
            </p:nvSpPr>
            <p:spPr>
              <a:xfrm>
                <a:off x="7392884" y="4678336"/>
                <a:ext cx="123070" cy="25135"/>
              </a:xfrm>
              <a:custGeom>
                <a:avLst/>
                <a:gdLst>
                  <a:gd name="csX0" fmla="*/ 123059 w 123070"/>
                  <a:gd name="csY0" fmla="*/ 25128 h 25135"/>
                  <a:gd name="csX1" fmla="*/ 118407 w 123070"/>
                  <a:gd name="csY1" fmla="*/ 22204 h 25135"/>
                  <a:gd name="csX2" fmla="*/ 105116 w 123070"/>
                  <a:gd name="csY2" fmla="*/ 15426 h 25135"/>
                  <a:gd name="csX3" fmla="*/ 96212 w 123070"/>
                  <a:gd name="csY3" fmla="*/ 11439 h 25135"/>
                  <a:gd name="csX4" fmla="*/ 85978 w 123070"/>
                  <a:gd name="csY4" fmla="*/ 7584 h 25135"/>
                  <a:gd name="csX5" fmla="*/ 74814 w 123070"/>
                  <a:gd name="csY5" fmla="*/ 4262 h 25135"/>
                  <a:gd name="csX6" fmla="*/ 63118 w 123070"/>
                  <a:gd name="csY6" fmla="*/ 1604 h 25135"/>
                  <a:gd name="csX7" fmla="*/ 51157 w 123070"/>
                  <a:gd name="csY7" fmla="*/ 142 h 25135"/>
                  <a:gd name="csX8" fmla="*/ 39461 w 123070"/>
                  <a:gd name="csY8" fmla="*/ 142 h 25135"/>
                  <a:gd name="csX9" fmla="*/ 28563 w 123070"/>
                  <a:gd name="csY9" fmla="*/ 939 h 25135"/>
                  <a:gd name="csX10" fmla="*/ 18861 w 123070"/>
                  <a:gd name="csY10" fmla="*/ 2534 h 25135"/>
                  <a:gd name="csX11" fmla="*/ 10887 w 123070"/>
                  <a:gd name="csY11" fmla="*/ 4793 h 25135"/>
                  <a:gd name="csX12" fmla="*/ 5039 w 123070"/>
                  <a:gd name="csY12" fmla="*/ 7186 h 25135"/>
                  <a:gd name="csX13" fmla="*/ -12 w 123070"/>
                  <a:gd name="csY13" fmla="*/ 9445 h 25135"/>
                  <a:gd name="csX14" fmla="*/ 5305 w 123070"/>
                  <a:gd name="csY14" fmla="*/ 7983 h 25135"/>
                  <a:gd name="csX15" fmla="*/ 11418 w 123070"/>
                  <a:gd name="csY15" fmla="*/ 6255 h 25135"/>
                  <a:gd name="csX16" fmla="*/ 19259 w 123070"/>
                  <a:gd name="csY16" fmla="*/ 4926 h 25135"/>
                  <a:gd name="csX17" fmla="*/ 28829 w 123070"/>
                  <a:gd name="csY17" fmla="*/ 3996 h 25135"/>
                  <a:gd name="csX18" fmla="*/ 39461 w 123070"/>
                  <a:gd name="csY18" fmla="*/ 3996 h 25135"/>
                  <a:gd name="csX19" fmla="*/ 50758 w 123070"/>
                  <a:gd name="csY19" fmla="*/ 4793 h 25135"/>
                  <a:gd name="csX20" fmla="*/ 62321 w 123070"/>
                  <a:gd name="csY20" fmla="*/ 6388 h 25135"/>
                  <a:gd name="csX21" fmla="*/ 73884 w 123070"/>
                  <a:gd name="csY21" fmla="*/ 8913 h 25135"/>
                  <a:gd name="csX22" fmla="*/ 84915 w 123070"/>
                  <a:gd name="csY22" fmla="*/ 11837 h 25135"/>
                  <a:gd name="csX23" fmla="*/ 95016 w 123070"/>
                  <a:gd name="csY23" fmla="*/ 15027 h 25135"/>
                  <a:gd name="csX24" fmla="*/ 104186 w 123070"/>
                  <a:gd name="csY24" fmla="*/ 18217 h 25135"/>
                  <a:gd name="csX25" fmla="*/ 117477 w 123070"/>
                  <a:gd name="csY25" fmla="*/ 23533 h 2513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Lst>
                <a:rect l="l" t="t" r="r" b="b"/>
                <a:pathLst>
                  <a:path w="123070" h="25135">
                    <a:moveTo>
                      <a:pt x="123059" y="25128"/>
                    </a:moveTo>
                    <a:cubicBezTo>
                      <a:pt x="121570" y="24065"/>
                      <a:pt x="120015" y="23094"/>
                      <a:pt x="118407" y="22204"/>
                    </a:cubicBezTo>
                    <a:cubicBezTo>
                      <a:pt x="115350" y="20476"/>
                      <a:pt x="111097" y="17951"/>
                      <a:pt x="105116" y="15426"/>
                    </a:cubicBezTo>
                    <a:lnTo>
                      <a:pt x="96212" y="11439"/>
                    </a:lnTo>
                    <a:cubicBezTo>
                      <a:pt x="92889" y="10110"/>
                      <a:pt x="89566" y="8780"/>
                      <a:pt x="85978" y="7584"/>
                    </a:cubicBezTo>
                    <a:lnTo>
                      <a:pt x="74814" y="4262"/>
                    </a:lnTo>
                    <a:cubicBezTo>
                      <a:pt x="70960" y="3198"/>
                      <a:pt x="66973" y="2534"/>
                      <a:pt x="63118" y="1604"/>
                    </a:cubicBezTo>
                    <a:cubicBezTo>
                      <a:pt x="59264" y="673"/>
                      <a:pt x="55144" y="407"/>
                      <a:pt x="51157" y="142"/>
                    </a:cubicBezTo>
                    <a:cubicBezTo>
                      <a:pt x="47263" y="-58"/>
                      <a:pt x="43355" y="-58"/>
                      <a:pt x="39461" y="142"/>
                    </a:cubicBezTo>
                    <a:cubicBezTo>
                      <a:pt x="35819" y="195"/>
                      <a:pt x="32178" y="461"/>
                      <a:pt x="28563" y="939"/>
                    </a:cubicBezTo>
                    <a:cubicBezTo>
                      <a:pt x="25107" y="939"/>
                      <a:pt x="21785" y="1736"/>
                      <a:pt x="18861" y="2534"/>
                    </a:cubicBezTo>
                    <a:lnTo>
                      <a:pt x="10887" y="4793"/>
                    </a:lnTo>
                    <a:lnTo>
                      <a:pt x="5039" y="7186"/>
                    </a:lnTo>
                    <a:lnTo>
                      <a:pt x="-12" y="9445"/>
                    </a:lnTo>
                    <a:lnTo>
                      <a:pt x="5305" y="7983"/>
                    </a:lnTo>
                    <a:cubicBezTo>
                      <a:pt x="7032" y="7983"/>
                      <a:pt x="9026" y="6787"/>
                      <a:pt x="11418" y="6255"/>
                    </a:cubicBezTo>
                    <a:lnTo>
                      <a:pt x="19259" y="4926"/>
                    </a:lnTo>
                    <a:cubicBezTo>
                      <a:pt x="22423" y="4395"/>
                      <a:pt x="25626" y="4089"/>
                      <a:pt x="28829" y="3996"/>
                    </a:cubicBezTo>
                    <a:cubicBezTo>
                      <a:pt x="32151" y="3996"/>
                      <a:pt x="35740" y="3996"/>
                      <a:pt x="39461" y="3996"/>
                    </a:cubicBezTo>
                    <a:cubicBezTo>
                      <a:pt x="43236" y="4076"/>
                      <a:pt x="47010" y="4341"/>
                      <a:pt x="50758" y="4793"/>
                    </a:cubicBezTo>
                    <a:lnTo>
                      <a:pt x="62321" y="6388"/>
                    </a:lnTo>
                    <a:cubicBezTo>
                      <a:pt x="66175" y="7186"/>
                      <a:pt x="70162" y="7850"/>
                      <a:pt x="73884" y="8913"/>
                    </a:cubicBezTo>
                    <a:cubicBezTo>
                      <a:pt x="77605" y="9977"/>
                      <a:pt x="81326" y="10641"/>
                      <a:pt x="84915" y="11837"/>
                    </a:cubicBezTo>
                    <a:lnTo>
                      <a:pt x="95016" y="15027"/>
                    </a:lnTo>
                    <a:cubicBezTo>
                      <a:pt x="98338" y="15957"/>
                      <a:pt x="101395" y="17153"/>
                      <a:pt x="104186" y="18217"/>
                    </a:cubicBezTo>
                    <a:cubicBezTo>
                      <a:pt x="109635" y="20343"/>
                      <a:pt x="114287" y="22071"/>
                      <a:pt x="117477" y="23533"/>
                    </a:cubicBezTo>
                    <a:close/>
                  </a:path>
                </a:pathLst>
              </a:custGeom>
              <a:solidFill>
                <a:srgbClr val="FFFFFF">
                  <a:alpha val="50000"/>
                </a:srgbClr>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14" name="Freeform: Shape 113">
                <a:extLst>
                  <a:ext uri="{FF2B5EF4-FFF2-40B4-BE49-F238E27FC236}">
                    <a16:creationId xmlns:a16="http://schemas.microsoft.com/office/drawing/2014/main" id="{C3E024D9-683B-C3B2-0E71-2EA125E28618}"/>
                  </a:ext>
                </a:extLst>
              </p:cNvPr>
              <p:cNvSpPr/>
              <p:nvPr/>
            </p:nvSpPr>
            <p:spPr>
              <a:xfrm>
                <a:off x="7522565" y="4711268"/>
                <a:ext cx="121412" cy="127899"/>
              </a:xfrm>
              <a:custGeom>
                <a:avLst/>
                <a:gdLst>
                  <a:gd name="csX0" fmla="*/ 12117 w 121412"/>
                  <a:gd name="csY0" fmla="*/ 7746 h 127899"/>
                  <a:gd name="csX1" fmla="*/ 4808 w 121412"/>
                  <a:gd name="csY1" fmla="*/ 17315 h 127899"/>
                  <a:gd name="csX2" fmla="*/ 2548 w 121412"/>
                  <a:gd name="csY2" fmla="*/ 55724 h 127899"/>
                  <a:gd name="csX3" fmla="*/ 8396 w 121412"/>
                  <a:gd name="csY3" fmla="*/ 70211 h 127899"/>
                  <a:gd name="csX4" fmla="*/ 23414 w 121412"/>
                  <a:gd name="csY4" fmla="*/ 93337 h 127899"/>
                  <a:gd name="csX5" fmla="*/ 43085 w 121412"/>
                  <a:gd name="csY5" fmla="*/ 112076 h 127899"/>
                  <a:gd name="csX6" fmla="*/ 85880 w 121412"/>
                  <a:gd name="csY6" fmla="*/ 127892 h 127899"/>
                  <a:gd name="csX7" fmla="*/ 116182 w 121412"/>
                  <a:gd name="csY7" fmla="*/ 110614 h 127899"/>
                  <a:gd name="csX8" fmla="*/ 118840 w 121412"/>
                  <a:gd name="csY8" fmla="*/ 73534 h 127899"/>
                  <a:gd name="csX9" fmla="*/ 60761 w 121412"/>
                  <a:gd name="csY9" fmla="*/ 5220 h 127899"/>
                  <a:gd name="csX10" fmla="*/ 20889 w 121412"/>
                  <a:gd name="csY10" fmla="*/ 2562 h 127899"/>
                  <a:gd name="csX11" fmla="*/ 12117 w 121412"/>
                  <a:gd name="csY11" fmla="*/ 7746 h 12789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Lst>
                <a:rect l="l" t="t" r="r" b="b"/>
                <a:pathLst>
                  <a:path w="121412" h="127899">
                    <a:moveTo>
                      <a:pt x="12117" y="7746"/>
                    </a:moveTo>
                    <a:cubicBezTo>
                      <a:pt x="9114" y="10457"/>
                      <a:pt x="6629" y="13700"/>
                      <a:pt x="4808" y="17315"/>
                    </a:cubicBezTo>
                    <a:cubicBezTo>
                      <a:pt x="-721" y="29382"/>
                      <a:pt x="-1519" y="43085"/>
                      <a:pt x="2548" y="55724"/>
                    </a:cubicBezTo>
                    <a:cubicBezTo>
                      <a:pt x="3957" y="60761"/>
                      <a:pt x="5911" y="65613"/>
                      <a:pt x="8396" y="70211"/>
                    </a:cubicBezTo>
                    <a:cubicBezTo>
                      <a:pt x="12636" y="78398"/>
                      <a:pt x="17660" y="86146"/>
                      <a:pt x="23414" y="93337"/>
                    </a:cubicBezTo>
                    <a:cubicBezTo>
                      <a:pt x="29063" y="100473"/>
                      <a:pt x="35682" y="106787"/>
                      <a:pt x="43085" y="112076"/>
                    </a:cubicBezTo>
                    <a:cubicBezTo>
                      <a:pt x="55246" y="121885"/>
                      <a:pt x="70277" y="127440"/>
                      <a:pt x="85880" y="127892"/>
                    </a:cubicBezTo>
                    <a:cubicBezTo>
                      <a:pt x="98240" y="127560"/>
                      <a:pt x="109604" y="121074"/>
                      <a:pt x="116182" y="110614"/>
                    </a:cubicBezTo>
                    <a:cubicBezTo>
                      <a:pt x="122057" y="99131"/>
                      <a:pt x="123014" y="85748"/>
                      <a:pt x="118840" y="73534"/>
                    </a:cubicBezTo>
                    <a:cubicBezTo>
                      <a:pt x="110162" y="43497"/>
                      <a:pt x="89017" y="18617"/>
                      <a:pt x="60761" y="5220"/>
                    </a:cubicBezTo>
                    <a:cubicBezTo>
                      <a:pt x="48281" y="-667"/>
                      <a:pt x="34034" y="-1624"/>
                      <a:pt x="20889" y="2562"/>
                    </a:cubicBezTo>
                    <a:cubicBezTo>
                      <a:pt x="17700" y="3785"/>
                      <a:pt x="14736" y="5539"/>
                      <a:pt x="12117" y="7746"/>
                    </a:cubicBezTo>
                    <a:close/>
                  </a:path>
                </a:pathLst>
              </a:custGeom>
              <a:solidFill>
                <a:srgbClr val="3C56A6"/>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15" name="Freeform: Shape 114">
                <a:extLst>
                  <a:ext uri="{FF2B5EF4-FFF2-40B4-BE49-F238E27FC236}">
                    <a16:creationId xmlns:a16="http://schemas.microsoft.com/office/drawing/2014/main" id="{BD17276A-0EAB-F0F3-3B4C-DEE85098D3A0}"/>
                  </a:ext>
                </a:extLst>
              </p:cNvPr>
              <p:cNvSpPr/>
              <p:nvPr/>
            </p:nvSpPr>
            <p:spPr>
              <a:xfrm>
                <a:off x="7522516" y="4710877"/>
                <a:ext cx="121461" cy="128025"/>
              </a:xfrm>
              <a:custGeom>
                <a:avLst/>
                <a:gdLst>
                  <a:gd name="csX0" fmla="*/ 4856 w 121461"/>
                  <a:gd name="csY0" fmla="*/ 17440 h 128025"/>
                  <a:gd name="csX1" fmla="*/ 12166 w 121461"/>
                  <a:gd name="csY1" fmla="*/ 7871 h 128025"/>
                  <a:gd name="csX2" fmla="*/ 20539 w 121461"/>
                  <a:gd name="csY2" fmla="*/ 2688 h 128025"/>
                  <a:gd name="csX3" fmla="*/ 36886 w 121461"/>
                  <a:gd name="csY3" fmla="*/ 30 h 128025"/>
                  <a:gd name="csX4" fmla="*/ 31304 w 121461"/>
                  <a:gd name="csY4" fmla="*/ 1625 h 128025"/>
                  <a:gd name="csX5" fmla="*/ 24260 w 121461"/>
                  <a:gd name="csY5" fmla="*/ 6010 h 128025"/>
                  <a:gd name="csX6" fmla="*/ 18147 w 121461"/>
                  <a:gd name="csY6" fmla="*/ 13985 h 128025"/>
                  <a:gd name="csX7" fmla="*/ 16153 w 121461"/>
                  <a:gd name="csY7" fmla="*/ 46281 h 128025"/>
                  <a:gd name="csX8" fmla="*/ 21071 w 121461"/>
                  <a:gd name="csY8" fmla="*/ 58375 h 128025"/>
                  <a:gd name="csX9" fmla="*/ 33697 w 121461"/>
                  <a:gd name="csY9" fmla="*/ 77912 h 128025"/>
                  <a:gd name="csX10" fmla="*/ 50310 w 121461"/>
                  <a:gd name="csY10" fmla="*/ 93595 h 128025"/>
                  <a:gd name="csX11" fmla="*/ 86194 w 121461"/>
                  <a:gd name="csY11" fmla="*/ 106885 h 128025"/>
                  <a:gd name="csX12" fmla="*/ 111712 w 121461"/>
                  <a:gd name="csY12" fmla="*/ 92266 h 128025"/>
                  <a:gd name="csX13" fmla="*/ 113971 w 121461"/>
                  <a:gd name="csY13" fmla="*/ 61166 h 128025"/>
                  <a:gd name="csX14" fmla="*/ 112775 w 121461"/>
                  <a:gd name="csY14" fmla="*/ 57843 h 128025"/>
                  <a:gd name="csX15" fmla="*/ 118889 w 121461"/>
                  <a:gd name="csY15" fmla="*/ 73659 h 128025"/>
                  <a:gd name="csX16" fmla="*/ 116231 w 121461"/>
                  <a:gd name="csY16" fmla="*/ 110740 h 128025"/>
                  <a:gd name="csX17" fmla="*/ 85929 w 121461"/>
                  <a:gd name="csY17" fmla="*/ 128017 h 128025"/>
                  <a:gd name="csX18" fmla="*/ 43133 w 121461"/>
                  <a:gd name="csY18" fmla="*/ 112202 h 128025"/>
                  <a:gd name="csX19" fmla="*/ 23463 w 121461"/>
                  <a:gd name="csY19" fmla="*/ 93462 h 128025"/>
                  <a:gd name="csX20" fmla="*/ 8445 w 121461"/>
                  <a:gd name="csY20" fmla="*/ 70602 h 128025"/>
                  <a:gd name="csX21" fmla="*/ 2597 w 121461"/>
                  <a:gd name="csY21" fmla="*/ 56116 h 128025"/>
                  <a:gd name="csX22" fmla="*/ 4856 w 121461"/>
                  <a:gd name="csY22" fmla="*/ 17440 h 12802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Lst>
                <a:rect l="l" t="t" r="r" b="b"/>
                <a:pathLst>
                  <a:path w="121461" h="128025">
                    <a:moveTo>
                      <a:pt x="4856" y="17440"/>
                    </a:moveTo>
                    <a:cubicBezTo>
                      <a:pt x="6677" y="13825"/>
                      <a:pt x="9163" y="10582"/>
                      <a:pt x="12166" y="7871"/>
                    </a:cubicBezTo>
                    <a:cubicBezTo>
                      <a:pt x="14651" y="5705"/>
                      <a:pt x="17482" y="3950"/>
                      <a:pt x="20539" y="2688"/>
                    </a:cubicBezTo>
                    <a:cubicBezTo>
                      <a:pt x="25749" y="694"/>
                      <a:pt x="31318" y="-210"/>
                      <a:pt x="36886" y="30"/>
                    </a:cubicBezTo>
                    <a:cubicBezTo>
                      <a:pt x="34972" y="335"/>
                      <a:pt x="33099" y="880"/>
                      <a:pt x="31304" y="1625"/>
                    </a:cubicBezTo>
                    <a:cubicBezTo>
                      <a:pt x="28726" y="2675"/>
                      <a:pt x="26334" y="4150"/>
                      <a:pt x="24260" y="6010"/>
                    </a:cubicBezTo>
                    <a:cubicBezTo>
                      <a:pt x="21656" y="8177"/>
                      <a:pt x="19569" y="10901"/>
                      <a:pt x="18147" y="13985"/>
                    </a:cubicBezTo>
                    <a:cubicBezTo>
                      <a:pt x="13469" y="24126"/>
                      <a:pt x="12751" y="35648"/>
                      <a:pt x="16153" y="46281"/>
                    </a:cubicBezTo>
                    <a:cubicBezTo>
                      <a:pt x="17429" y="50454"/>
                      <a:pt x="19064" y="54494"/>
                      <a:pt x="21071" y="58375"/>
                    </a:cubicBezTo>
                    <a:cubicBezTo>
                      <a:pt x="24726" y="65233"/>
                      <a:pt x="28952" y="71759"/>
                      <a:pt x="33697" y="77912"/>
                    </a:cubicBezTo>
                    <a:cubicBezTo>
                      <a:pt x="38468" y="83906"/>
                      <a:pt x="44050" y="89182"/>
                      <a:pt x="50310" y="93595"/>
                    </a:cubicBezTo>
                    <a:cubicBezTo>
                      <a:pt x="60504" y="101822"/>
                      <a:pt x="73103" y="106500"/>
                      <a:pt x="86194" y="106885"/>
                    </a:cubicBezTo>
                    <a:cubicBezTo>
                      <a:pt x="96614" y="106620"/>
                      <a:pt x="106210" y="101131"/>
                      <a:pt x="111712" y="92266"/>
                    </a:cubicBezTo>
                    <a:cubicBezTo>
                      <a:pt x="116656" y="82630"/>
                      <a:pt x="117467" y="71413"/>
                      <a:pt x="113971" y="61166"/>
                    </a:cubicBezTo>
                    <a:lnTo>
                      <a:pt x="112775" y="57843"/>
                    </a:lnTo>
                    <a:cubicBezTo>
                      <a:pt x="115234" y="62947"/>
                      <a:pt x="117281" y="68237"/>
                      <a:pt x="118889" y="73659"/>
                    </a:cubicBezTo>
                    <a:cubicBezTo>
                      <a:pt x="123062" y="85873"/>
                      <a:pt x="122105" y="99257"/>
                      <a:pt x="116231" y="110740"/>
                    </a:cubicBezTo>
                    <a:cubicBezTo>
                      <a:pt x="109652" y="121199"/>
                      <a:pt x="98289" y="127685"/>
                      <a:pt x="85929" y="128017"/>
                    </a:cubicBezTo>
                    <a:cubicBezTo>
                      <a:pt x="70325" y="127565"/>
                      <a:pt x="55294" y="122010"/>
                      <a:pt x="43133" y="112202"/>
                    </a:cubicBezTo>
                    <a:cubicBezTo>
                      <a:pt x="35730" y="106912"/>
                      <a:pt x="29112" y="100599"/>
                      <a:pt x="23463" y="93462"/>
                    </a:cubicBezTo>
                    <a:cubicBezTo>
                      <a:pt x="17721" y="86352"/>
                      <a:pt x="12698" y="78696"/>
                      <a:pt x="8445" y="70602"/>
                    </a:cubicBezTo>
                    <a:cubicBezTo>
                      <a:pt x="5960" y="66004"/>
                      <a:pt x="4006" y="61153"/>
                      <a:pt x="2597" y="56116"/>
                    </a:cubicBezTo>
                    <a:cubicBezTo>
                      <a:pt x="-1536" y="43397"/>
                      <a:pt x="-739" y="29588"/>
                      <a:pt x="4856" y="17440"/>
                    </a:cubicBezTo>
                    <a:close/>
                  </a:path>
                </a:pathLst>
              </a:custGeom>
              <a:solidFill>
                <a:srgbClr val="2C3E7F"/>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16" name="Freeform: Shape 115">
                <a:extLst>
                  <a:ext uri="{FF2B5EF4-FFF2-40B4-BE49-F238E27FC236}">
                    <a16:creationId xmlns:a16="http://schemas.microsoft.com/office/drawing/2014/main" id="{2F454812-FC9F-E9D3-9D15-53FE80ABA884}"/>
                  </a:ext>
                </a:extLst>
              </p:cNvPr>
              <p:cNvSpPr/>
              <p:nvPr/>
            </p:nvSpPr>
            <p:spPr>
              <a:xfrm>
                <a:off x="7555826" y="4715303"/>
                <a:ext cx="81762" cy="82929"/>
              </a:xfrm>
              <a:custGeom>
                <a:avLst/>
                <a:gdLst>
                  <a:gd name="csX0" fmla="*/ 80396 w 81762"/>
                  <a:gd name="csY0" fmla="*/ 82922 h 82929"/>
                  <a:gd name="csX1" fmla="*/ 81592 w 81762"/>
                  <a:gd name="csY1" fmla="*/ 77473 h 82929"/>
                  <a:gd name="csX2" fmla="*/ 81592 w 81762"/>
                  <a:gd name="csY2" fmla="*/ 70960 h 82929"/>
                  <a:gd name="csX3" fmla="*/ 80662 w 81762"/>
                  <a:gd name="csY3" fmla="*/ 62720 h 82929"/>
                  <a:gd name="csX4" fmla="*/ 78004 w 81762"/>
                  <a:gd name="csY4" fmla="*/ 53151 h 82929"/>
                  <a:gd name="csX5" fmla="*/ 75877 w 81762"/>
                  <a:gd name="csY5" fmla="*/ 48100 h 82929"/>
                  <a:gd name="csX6" fmla="*/ 73219 w 81762"/>
                  <a:gd name="csY6" fmla="*/ 43183 h 82929"/>
                  <a:gd name="csX7" fmla="*/ 66574 w 81762"/>
                  <a:gd name="csY7" fmla="*/ 33348 h 82929"/>
                  <a:gd name="csX8" fmla="*/ 62720 w 81762"/>
                  <a:gd name="csY8" fmla="*/ 28696 h 82929"/>
                  <a:gd name="csX9" fmla="*/ 58467 w 81762"/>
                  <a:gd name="csY9" fmla="*/ 24178 h 82929"/>
                  <a:gd name="csX10" fmla="*/ 54081 w 81762"/>
                  <a:gd name="csY10" fmla="*/ 20057 h 82929"/>
                  <a:gd name="csX11" fmla="*/ 49296 w 81762"/>
                  <a:gd name="csY11" fmla="*/ 16070 h 82929"/>
                  <a:gd name="csX12" fmla="*/ 39461 w 81762"/>
                  <a:gd name="csY12" fmla="*/ 9558 h 82929"/>
                  <a:gd name="csX13" fmla="*/ 20057 w 81762"/>
                  <a:gd name="csY13" fmla="*/ 1850 h 82929"/>
                  <a:gd name="csX14" fmla="*/ 5437 w 81762"/>
                  <a:gd name="csY14" fmla="*/ 122 h 82929"/>
                  <a:gd name="csX15" fmla="*/ -12 w 81762"/>
                  <a:gd name="csY15" fmla="*/ 122 h 82929"/>
                  <a:gd name="csX16" fmla="*/ 5437 w 81762"/>
                  <a:gd name="csY16" fmla="*/ 122 h 82929"/>
                  <a:gd name="csX17" fmla="*/ 18728 w 81762"/>
                  <a:gd name="csY17" fmla="*/ 3312 h 82929"/>
                  <a:gd name="csX18" fmla="*/ 27633 w 81762"/>
                  <a:gd name="csY18" fmla="*/ 6767 h 82929"/>
                  <a:gd name="csX19" fmla="*/ 36936 w 81762"/>
                  <a:gd name="csY19" fmla="*/ 11950 h 82929"/>
                  <a:gd name="csX20" fmla="*/ 46239 w 81762"/>
                  <a:gd name="csY20" fmla="*/ 18463 h 82929"/>
                  <a:gd name="csX21" fmla="*/ 50625 w 81762"/>
                  <a:gd name="csY21" fmla="*/ 22184 h 82929"/>
                  <a:gd name="csX22" fmla="*/ 54878 w 81762"/>
                  <a:gd name="csY22" fmla="*/ 26437 h 82929"/>
                  <a:gd name="csX23" fmla="*/ 58998 w 81762"/>
                  <a:gd name="csY23" fmla="*/ 30690 h 82929"/>
                  <a:gd name="csX24" fmla="*/ 62720 w 81762"/>
                  <a:gd name="csY24" fmla="*/ 35076 h 82929"/>
                  <a:gd name="csX25" fmla="*/ 69365 w 81762"/>
                  <a:gd name="csY25" fmla="*/ 44246 h 82929"/>
                  <a:gd name="csX26" fmla="*/ 72156 w 81762"/>
                  <a:gd name="csY26" fmla="*/ 48898 h 82929"/>
                  <a:gd name="csX27" fmla="*/ 74548 w 81762"/>
                  <a:gd name="csY27" fmla="*/ 53550 h 82929"/>
                  <a:gd name="csX28" fmla="*/ 77738 w 81762"/>
                  <a:gd name="csY28" fmla="*/ 62454 h 82929"/>
                  <a:gd name="csX29" fmla="*/ 79864 w 81762"/>
                  <a:gd name="csY29" fmla="*/ 76542 h 82929"/>
                  <a:gd name="csX30" fmla="*/ 80396 w 81762"/>
                  <a:gd name="csY30" fmla="*/ 82922 h 8292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Lst>
                <a:rect l="l" t="t" r="r" b="b"/>
                <a:pathLst>
                  <a:path w="81762" h="82929">
                    <a:moveTo>
                      <a:pt x="80396" y="82922"/>
                    </a:moveTo>
                    <a:cubicBezTo>
                      <a:pt x="81007" y="81154"/>
                      <a:pt x="81419" y="79333"/>
                      <a:pt x="81592" y="77473"/>
                    </a:cubicBezTo>
                    <a:cubicBezTo>
                      <a:pt x="81805" y="75306"/>
                      <a:pt x="81805" y="73126"/>
                      <a:pt x="81592" y="70960"/>
                    </a:cubicBezTo>
                    <a:cubicBezTo>
                      <a:pt x="81579" y="68182"/>
                      <a:pt x="81260" y="65431"/>
                      <a:pt x="80662" y="62720"/>
                    </a:cubicBezTo>
                    <a:cubicBezTo>
                      <a:pt x="80050" y="59464"/>
                      <a:pt x="79160" y="56261"/>
                      <a:pt x="78004" y="53151"/>
                    </a:cubicBezTo>
                    <a:cubicBezTo>
                      <a:pt x="77339" y="51556"/>
                      <a:pt x="76542" y="49828"/>
                      <a:pt x="75877" y="48100"/>
                    </a:cubicBezTo>
                    <a:lnTo>
                      <a:pt x="73219" y="43183"/>
                    </a:lnTo>
                    <a:cubicBezTo>
                      <a:pt x="71225" y="39767"/>
                      <a:pt x="69006" y="36485"/>
                      <a:pt x="66574" y="33348"/>
                    </a:cubicBezTo>
                    <a:cubicBezTo>
                      <a:pt x="65378" y="31753"/>
                      <a:pt x="64048" y="30158"/>
                      <a:pt x="62720" y="28696"/>
                    </a:cubicBezTo>
                    <a:cubicBezTo>
                      <a:pt x="61391" y="27234"/>
                      <a:pt x="59928" y="25507"/>
                      <a:pt x="58467" y="24178"/>
                    </a:cubicBezTo>
                    <a:lnTo>
                      <a:pt x="54081" y="20057"/>
                    </a:lnTo>
                    <a:lnTo>
                      <a:pt x="49296" y="16070"/>
                    </a:lnTo>
                    <a:cubicBezTo>
                      <a:pt x="46160" y="13691"/>
                      <a:pt x="42877" y="11512"/>
                      <a:pt x="39461" y="9558"/>
                    </a:cubicBezTo>
                    <a:cubicBezTo>
                      <a:pt x="33388" y="6076"/>
                      <a:pt x="26862" y="3484"/>
                      <a:pt x="20057" y="1850"/>
                    </a:cubicBezTo>
                    <a:cubicBezTo>
                      <a:pt x="15286" y="613"/>
                      <a:pt x="10368" y="42"/>
                      <a:pt x="5437" y="122"/>
                    </a:cubicBezTo>
                    <a:cubicBezTo>
                      <a:pt x="3630" y="-51"/>
                      <a:pt x="1796" y="-51"/>
                      <a:pt x="-12" y="122"/>
                    </a:cubicBezTo>
                    <a:cubicBezTo>
                      <a:pt x="1809" y="29"/>
                      <a:pt x="3617" y="29"/>
                      <a:pt x="5437" y="122"/>
                    </a:cubicBezTo>
                    <a:cubicBezTo>
                      <a:pt x="9956" y="760"/>
                      <a:pt x="14409" y="1823"/>
                      <a:pt x="18728" y="3312"/>
                    </a:cubicBezTo>
                    <a:cubicBezTo>
                      <a:pt x="21771" y="4282"/>
                      <a:pt x="24735" y="5425"/>
                      <a:pt x="27633" y="6767"/>
                    </a:cubicBezTo>
                    <a:cubicBezTo>
                      <a:pt x="30690" y="8229"/>
                      <a:pt x="33746" y="10090"/>
                      <a:pt x="36936" y="11950"/>
                    </a:cubicBezTo>
                    <a:cubicBezTo>
                      <a:pt x="40126" y="13811"/>
                      <a:pt x="43050" y="16203"/>
                      <a:pt x="46239" y="18463"/>
                    </a:cubicBezTo>
                    <a:cubicBezTo>
                      <a:pt x="49429" y="20722"/>
                      <a:pt x="49163" y="20988"/>
                      <a:pt x="50625" y="22184"/>
                    </a:cubicBezTo>
                    <a:cubicBezTo>
                      <a:pt x="52087" y="23380"/>
                      <a:pt x="53416" y="24975"/>
                      <a:pt x="54878" y="26437"/>
                    </a:cubicBezTo>
                    <a:cubicBezTo>
                      <a:pt x="56353" y="27753"/>
                      <a:pt x="57722" y="29175"/>
                      <a:pt x="58998" y="30690"/>
                    </a:cubicBezTo>
                    <a:cubicBezTo>
                      <a:pt x="60380" y="32032"/>
                      <a:pt x="61630" y="33494"/>
                      <a:pt x="62720" y="35076"/>
                    </a:cubicBezTo>
                    <a:cubicBezTo>
                      <a:pt x="65138" y="37986"/>
                      <a:pt x="67358" y="41043"/>
                      <a:pt x="69365" y="44246"/>
                    </a:cubicBezTo>
                    <a:lnTo>
                      <a:pt x="72156" y="48898"/>
                    </a:lnTo>
                    <a:lnTo>
                      <a:pt x="74548" y="53550"/>
                    </a:lnTo>
                    <a:cubicBezTo>
                      <a:pt x="75797" y="56447"/>
                      <a:pt x="76874" y="59424"/>
                      <a:pt x="77738" y="62454"/>
                    </a:cubicBezTo>
                    <a:cubicBezTo>
                      <a:pt x="79067" y="67039"/>
                      <a:pt x="79785" y="71771"/>
                      <a:pt x="79864" y="76542"/>
                    </a:cubicBezTo>
                    <a:cubicBezTo>
                      <a:pt x="80263" y="78642"/>
                      <a:pt x="80436" y="80782"/>
                      <a:pt x="80396" y="82922"/>
                    </a:cubicBezTo>
                    <a:close/>
                  </a:path>
                </a:pathLst>
              </a:custGeom>
              <a:solidFill>
                <a:srgbClr val="FFFFFF">
                  <a:alpha val="50000"/>
                </a:srgbClr>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17" name="Freeform: Shape 116">
                <a:extLst>
                  <a:ext uri="{FF2B5EF4-FFF2-40B4-BE49-F238E27FC236}">
                    <a16:creationId xmlns:a16="http://schemas.microsoft.com/office/drawing/2014/main" id="{F7C9BD92-DD13-4B19-CDF2-099BF7601A13}"/>
                  </a:ext>
                </a:extLst>
              </p:cNvPr>
              <p:cNvSpPr/>
              <p:nvPr/>
            </p:nvSpPr>
            <p:spPr>
              <a:xfrm>
                <a:off x="7263553" y="4678220"/>
                <a:ext cx="391287" cy="403606"/>
              </a:xfrm>
              <a:custGeom>
                <a:avLst/>
                <a:gdLst>
                  <a:gd name="csX0" fmla="*/ 33362 w 391287"/>
                  <a:gd name="csY0" fmla="*/ 86513 h 403606"/>
                  <a:gd name="csX1" fmla="*/ 130117 w 391287"/>
                  <a:gd name="csY1" fmla="*/ 9030 h 403606"/>
                  <a:gd name="csX2" fmla="*/ 134902 w 391287"/>
                  <a:gd name="csY2" fmla="*/ 6770 h 403606"/>
                  <a:gd name="csX3" fmla="*/ 140749 w 391287"/>
                  <a:gd name="csY3" fmla="*/ 4378 h 403606"/>
                  <a:gd name="csX4" fmla="*/ 148724 w 391287"/>
                  <a:gd name="csY4" fmla="*/ 2119 h 403606"/>
                  <a:gd name="csX5" fmla="*/ 151116 w 391287"/>
                  <a:gd name="csY5" fmla="*/ 2119 h 403606"/>
                  <a:gd name="csX6" fmla="*/ 151913 w 391287"/>
                  <a:gd name="csY6" fmla="*/ 2119 h 403606"/>
                  <a:gd name="csX7" fmla="*/ 159888 w 391287"/>
                  <a:gd name="csY7" fmla="*/ -8 h 403606"/>
                  <a:gd name="csX8" fmla="*/ 120016 w 391287"/>
                  <a:gd name="csY8" fmla="*/ 32554 h 403606"/>
                  <a:gd name="csX9" fmla="*/ 67918 w 391287"/>
                  <a:gd name="csY9" fmla="*/ 147783 h 403606"/>
                  <a:gd name="csX10" fmla="*/ 97688 w 391287"/>
                  <a:gd name="csY10" fmla="*/ 260752 h 403606"/>
                  <a:gd name="csX11" fmla="*/ 293458 w 391287"/>
                  <a:gd name="csY11" fmla="*/ 360564 h 403606"/>
                  <a:gd name="csX12" fmla="*/ 380377 w 391287"/>
                  <a:gd name="csY12" fmla="*/ 293314 h 403606"/>
                  <a:gd name="csX13" fmla="*/ 391276 w 391287"/>
                  <a:gd name="csY13" fmla="*/ 274441 h 403606"/>
                  <a:gd name="csX14" fmla="*/ 333462 w 391287"/>
                  <a:gd name="csY14" fmla="*/ 356842 h 403606"/>
                  <a:gd name="csX15" fmla="*/ 308742 w 391287"/>
                  <a:gd name="csY15" fmla="*/ 375316 h 403606"/>
                  <a:gd name="csX16" fmla="*/ 196570 w 391287"/>
                  <a:gd name="csY16" fmla="*/ 403492 h 403606"/>
                  <a:gd name="csX17" fmla="*/ 143408 w 391287"/>
                  <a:gd name="csY17" fmla="*/ 394455 h 403606"/>
                  <a:gd name="csX18" fmla="*/ 123073 w 391287"/>
                  <a:gd name="csY18" fmla="*/ 386347 h 403606"/>
                  <a:gd name="csX19" fmla="*/ 59146 w 391287"/>
                  <a:gd name="csY19" fmla="*/ 343552 h 403606"/>
                  <a:gd name="csX20" fmla="*/ 29375 w 391287"/>
                  <a:gd name="csY20" fmla="*/ 308465 h 403606"/>
                  <a:gd name="csX21" fmla="*/ 3 w 391287"/>
                  <a:gd name="csY21" fmla="*/ 204002 h 403606"/>
                  <a:gd name="csX22" fmla="*/ 1465 w 391287"/>
                  <a:gd name="csY22" fmla="*/ 173699 h 403606"/>
                  <a:gd name="csX23" fmla="*/ 33097 w 391287"/>
                  <a:gd name="csY23" fmla="*/ 87178 h 40360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Lst>
                <a:rect l="l" t="t" r="r" b="b"/>
                <a:pathLst>
                  <a:path w="391287" h="403606">
                    <a:moveTo>
                      <a:pt x="33362" y="86513"/>
                    </a:moveTo>
                    <a:cubicBezTo>
                      <a:pt x="57245" y="51692"/>
                      <a:pt x="90923" y="24726"/>
                      <a:pt x="130117" y="9030"/>
                    </a:cubicBezTo>
                    <a:lnTo>
                      <a:pt x="134902" y="6770"/>
                    </a:lnTo>
                    <a:lnTo>
                      <a:pt x="140749" y="4378"/>
                    </a:lnTo>
                    <a:lnTo>
                      <a:pt x="148724" y="2119"/>
                    </a:lnTo>
                    <a:lnTo>
                      <a:pt x="151116" y="2119"/>
                    </a:lnTo>
                    <a:lnTo>
                      <a:pt x="151913" y="2119"/>
                    </a:lnTo>
                    <a:lnTo>
                      <a:pt x="159888" y="-8"/>
                    </a:lnTo>
                    <a:cubicBezTo>
                      <a:pt x="145308" y="9163"/>
                      <a:pt x="131912" y="20101"/>
                      <a:pt x="120016" y="32554"/>
                    </a:cubicBezTo>
                    <a:cubicBezTo>
                      <a:pt x="89236" y="63361"/>
                      <a:pt x="70722" y="104323"/>
                      <a:pt x="67918" y="147783"/>
                    </a:cubicBezTo>
                    <a:cubicBezTo>
                      <a:pt x="66801" y="187521"/>
                      <a:pt x="77128" y="226728"/>
                      <a:pt x="97688" y="260752"/>
                    </a:cubicBezTo>
                    <a:cubicBezTo>
                      <a:pt x="136497" y="326274"/>
                      <a:pt x="213980" y="385284"/>
                      <a:pt x="293458" y="360564"/>
                    </a:cubicBezTo>
                    <a:cubicBezTo>
                      <a:pt x="329422" y="349041"/>
                      <a:pt x="360189" y="325238"/>
                      <a:pt x="380377" y="293314"/>
                    </a:cubicBezTo>
                    <a:cubicBezTo>
                      <a:pt x="384365" y="287200"/>
                      <a:pt x="387953" y="280821"/>
                      <a:pt x="391276" y="274441"/>
                    </a:cubicBezTo>
                    <a:cubicBezTo>
                      <a:pt x="378105" y="305714"/>
                      <a:pt x="358395" y="333810"/>
                      <a:pt x="333462" y="356842"/>
                    </a:cubicBezTo>
                    <a:cubicBezTo>
                      <a:pt x="325873" y="363820"/>
                      <a:pt x="317593" y="370014"/>
                      <a:pt x="308742" y="375316"/>
                    </a:cubicBezTo>
                    <a:cubicBezTo>
                      <a:pt x="274705" y="394986"/>
                      <a:pt x="235856" y="404741"/>
                      <a:pt x="196570" y="403492"/>
                    </a:cubicBezTo>
                    <a:cubicBezTo>
                      <a:pt x="178494" y="403173"/>
                      <a:pt x="160579" y="400130"/>
                      <a:pt x="143408" y="394455"/>
                    </a:cubicBezTo>
                    <a:cubicBezTo>
                      <a:pt x="136457" y="392208"/>
                      <a:pt x="129665" y="389497"/>
                      <a:pt x="123073" y="386347"/>
                    </a:cubicBezTo>
                    <a:cubicBezTo>
                      <a:pt x="99868" y="375144"/>
                      <a:pt x="78351" y="360736"/>
                      <a:pt x="59146" y="343552"/>
                    </a:cubicBezTo>
                    <a:cubicBezTo>
                      <a:pt x="47716" y="333212"/>
                      <a:pt x="37708" y="321423"/>
                      <a:pt x="29375" y="308465"/>
                    </a:cubicBezTo>
                    <a:cubicBezTo>
                      <a:pt x="9891" y="277126"/>
                      <a:pt x="-290" y="240896"/>
                      <a:pt x="3" y="204002"/>
                    </a:cubicBezTo>
                    <a:cubicBezTo>
                      <a:pt x="-103" y="193887"/>
                      <a:pt x="375" y="183760"/>
                      <a:pt x="1465" y="173699"/>
                    </a:cubicBezTo>
                    <a:cubicBezTo>
                      <a:pt x="5080" y="142772"/>
                      <a:pt x="15912" y="113134"/>
                      <a:pt x="33097" y="87178"/>
                    </a:cubicBezTo>
                    <a:close/>
                  </a:path>
                </a:pathLst>
              </a:custGeom>
              <a:solidFill>
                <a:srgbClr val="8C8E90">
                  <a:alpha val="40000"/>
                </a:srgbClr>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18" name="Freeform: Shape 117">
                <a:extLst>
                  <a:ext uri="{FF2B5EF4-FFF2-40B4-BE49-F238E27FC236}">
                    <a16:creationId xmlns:a16="http://schemas.microsoft.com/office/drawing/2014/main" id="{D1DC531E-C4EC-1109-76F9-AC6CC498BDC5}"/>
                  </a:ext>
                </a:extLst>
              </p:cNvPr>
              <p:cNvSpPr/>
              <p:nvPr/>
            </p:nvSpPr>
            <p:spPr>
              <a:xfrm>
                <a:off x="4136018" y="4453427"/>
                <a:ext cx="537634" cy="782933"/>
              </a:xfrm>
              <a:custGeom>
                <a:avLst/>
                <a:gdLst>
                  <a:gd name="csX0" fmla="*/ 488574 w 537634"/>
                  <a:gd name="csY0" fmla="*/ 590407 h 782933"/>
                  <a:gd name="csX1" fmla="*/ 523661 w 537634"/>
                  <a:gd name="csY1" fmla="*/ 235018 h 782933"/>
                  <a:gd name="csX2" fmla="*/ 490568 w 537634"/>
                  <a:gd name="csY2" fmla="*/ 143181 h 782933"/>
                  <a:gd name="csX3" fmla="*/ 339189 w 537634"/>
                  <a:gd name="csY3" fmla="*/ 4827 h 782933"/>
                  <a:gd name="csX4" fmla="*/ 97966 w 537634"/>
                  <a:gd name="csY4" fmla="*/ 103708 h 782933"/>
                  <a:gd name="csX5" fmla="*/ 53443 w 537634"/>
                  <a:gd name="csY5" fmla="*/ 176008 h 782933"/>
                  <a:gd name="csX6" fmla="*/ 8521 w 537634"/>
                  <a:gd name="csY6" fmla="*/ 334963 h 782933"/>
                  <a:gd name="csX7" fmla="*/ 78296 w 537634"/>
                  <a:gd name="csY7" fmla="*/ 686231 h 782933"/>
                  <a:gd name="csX8" fmla="*/ 239244 w 537634"/>
                  <a:gd name="csY8" fmla="*/ 782588 h 782933"/>
                  <a:gd name="csX9" fmla="*/ 241371 w 537634"/>
                  <a:gd name="csY9" fmla="*/ 782588 h 782933"/>
                  <a:gd name="csX10" fmla="*/ 488574 w 537634"/>
                  <a:gd name="csY10" fmla="*/ 590407 h 782933"/>
                  <a:gd name="csX11" fmla="*/ 215720 w 537634"/>
                  <a:gd name="csY11" fmla="*/ 549206 h 782933"/>
                  <a:gd name="csX12" fmla="*/ 215720 w 537634"/>
                  <a:gd name="csY12" fmla="*/ 549206 h 782933"/>
                  <a:gd name="csX13" fmla="*/ 185418 w 537634"/>
                  <a:gd name="csY13" fmla="*/ 513455 h 782933"/>
                  <a:gd name="csX14" fmla="*/ 190734 w 537634"/>
                  <a:gd name="csY14" fmla="*/ 397561 h 782933"/>
                  <a:gd name="csX15" fmla="*/ 210271 w 537634"/>
                  <a:gd name="csY15" fmla="*/ 347456 h 782933"/>
                  <a:gd name="csX16" fmla="*/ 224492 w 537634"/>
                  <a:gd name="csY16" fmla="*/ 325128 h 782933"/>
                  <a:gd name="csX17" fmla="*/ 284299 w 537634"/>
                  <a:gd name="csY17" fmla="*/ 299876 h 782933"/>
                  <a:gd name="csX18" fmla="*/ 309950 w 537634"/>
                  <a:gd name="csY18" fmla="*/ 349051 h 782933"/>
                  <a:gd name="csX19" fmla="*/ 311943 w 537634"/>
                  <a:gd name="csY19" fmla="*/ 379752 h 782933"/>
                  <a:gd name="csX20" fmla="*/ 283103 w 537634"/>
                  <a:gd name="csY20" fmla="*/ 493917 h 782933"/>
                  <a:gd name="csX21" fmla="*/ 215720 w 537634"/>
                  <a:gd name="csY21" fmla="*/ 549206 h 78293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Lst>
                <a:rect l="l" t="t" r="r" b="b"/>
                <a:pathLst>
                  <a:path w="537634" h="782933">
                    <a:moveTo>
                      <a:pt x="488574" y="590407"/>
                    </a:moveTo>
                    <a:cubicBezTo>
                      <a:pt x="538321" y="478833"/>
                      <a:pt x="550628" y="354168"/>
                      <a:pt x="523661" y="235018"/>
                    </a:cubicBezTo>
                    <a:cubicBezTo>
                      <a:pt x="516099" y="203267"/>
                      <a:pt x="505001" y="172460"/>
                      <a:pt x="490568" y="143181"/>
                    </a:cubicBezTo>
                    <a:cubicBezTo>
                      <a:pt x="460000" y="81646"/>
                      <a:pt x="411888" y="20377"/>
                      <a:pt x="339189" y="4827"/>
                    </a:cubicBezTo>
                    <a:cubicBezTo>
                      <a:pt x="244826" y="-15375"/>
                      <a:pt x="153122" y="29680"/>
                      <a:pt x="97966" y="103708"/>
                    </a:cubicBezTo>
                    <a:cubicBezTo>
                      <a:pt x="80803" y="126302"/>
                      <a:pt x="65891" y="150517"/>
                      <a:pt x="53443" y="176008"/>
                    </a:cubicBezTo>
                    <a:cubicBezTo>
                      <a:pt x="31629" y="226818"/>
                      <a:pt x="16528" y="280246"/>
                      <a:pt x="8521" y="334963"/>
                    </a:cubicBezTo>
                    <a:cubicBezTo>
                      <a:pt x="-12212" y="451654"/>
                      <a:pt x="2540" y="590540"/>
                      <a:pt x="78296" y="686231"/>
                    </a:cubicBezTo>
                    <a:cubicBezTo>
                      <a:pt x="116174" y="734210"/>
                      <a:pt x="175051" y="777138"/>
                      <a:pt x="239244" y="782588"/>
                    </a:cubicBezTo>
                    <a:lnTo>
                      <a:pt x="241371" y="782588"/>
                    </a:lnTo>
                    <a:cubicBezTo>
                      <a:pt x="358726" y="789632"/>
                      <a:pt x="447108" y="685434"/>
                      <a:pt x="488574" y="590407"/>
                    </a:cubicBezTo>
                    <a:close/>
                    <a:moveTo>
                      <a:pt x="215720" y="549206"/>
                    </a:moveTo>
                    <a:lnTo>
                      <a:pt x="215720" y="549206"/>
                    </a:lnTo>
                    <a:cubicBezTo>
                      <a:pt x="200539" y="542747"/>
                      <a:pt x="189305" y="529483"/>
                      <a:pt x="185418" y="513455"/>
                    </a:cubicBezTo>
                    <a:cubicBezTo>
                      <a:pt x="174254" y="480228"/>
                      <a:pt x="179171" y="434775"/>
                      <a:pt x="190734" y="397561"/>
                    </a:cubicBezTo>
                    <a:cubicBezTo>
                      <a:pt x="195692" y="380297"/>
                      <a:pt x="202233" y="363524"/>
                      <a:pt x="210271" y="347456"/>
                    </a:cubicBezTo>
                    <a:cubicBezTo>
                      <a:pt x="214510" y="339708"/>
                      <a:pt x="219269" y="332252"/>
                      <a:pt x="224492" y="325128"/>
                    </a:cubicBezTo>
                    <a:cubicBezTo>
                      <a:pt x="241371" y="302667"/>
                      <a:pt x="264363" y="290706"/>
                      <a:pt x="284299" y="299876"/>
                    </a:cubicBezTo>
                    <a:cubicBezTo>
                      <a:pt x="299716" y="306920"/>
                      <a:pt x="306760" y="328185"/>
                      <a:pt x="309950" y="349051"/>
                    </a:cubicBezTo>
                    <a:cubicBezTo>
                      <a:pt x="311491" y="359205"/>
                      <a:pt x="312156" y="369479"/>
                      <a:pt x="311943" y="379752"/>
                    </a:cubicBezTo>
                    <a:cubicBezTo>
                      <a:pt x="310720" y="419451"/>
                      <a:pt x="300886" y="458405"/>
                      <a:pt x="283103" y="493917"/>
                    </a:cubicBezTo>
                    <a:cubicBezTo>
                      <a:pt x="267420" y="523422"/>
                      <a:pt x="241636" y="554788"/>
                      <a:pt x="215720" y="549206"/>
                    </a:cubicBezTo>
                    <a:close/>
                  </a:path>
                </a:pathLst>
              </a:custGeom>
              <a:solidFill>
                <a:srgbClr val="EDEDEE"/>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19" name="Freeform: Shape 118">
                <a:extLst>
                  <a:ext uri="{FF2B5EF4-FFF2-40B4-BE49-F238E27FC236}">
                    <a16:creationId xmlns:a16="http://schemas.microsoft.com/office/drawing/2014/main" id="{22F4CDF6-F8BB-874D-EB4B-A5E8C24B4627}"/>
                  </a:ext>
                </a:extLst>
              </p:cNvPr>
              <p:cNvSpPr/>
              <p:nvPr/>
            </p:nvSpPr>
            <p:spPr>
              <a:xfrm>
                <a:off x="4182295" y="4465173"/>
                <a:ext cx="216502" cy="341034"/>
              </a:xfrm>
              <a:custGeom>
                <a:avLst/>
                <a:gdLst>
                  <a:gd name="csX0" fmla="*/ 140868 w 216502"/>
                  <a:gd name="csY0" fmla="*/ 143530 h 341034"/>
                  <a:gd name="csX1" fmla="*/ 216491 w 216502"/>
                  <a:gd name="csY1" fmla="*/ 286270 h 341034"/>
                  <a:gd name="csX2" fmla="*/ 177683 w 216502"/>
                  <a:gd name="csY2" fmla="*/ 313914 h 341034"/>
                  <a:gd name="csX3" fmla="*/ 163462 w 216502"/>
                  <a:gd name="csY3" fmla="*/ 336242 h 341034"/>
                  <a:gd name="csX4" fmla="*/ 161070 w 216502"/>
                  <a:gd name="csY4" fmla="*/ 341027 h 341034"/>
                  <a:gd name="csX5" fmla="*/ -12 w 216502"/>
                  <a:gd name="csY5" fmla="*/ 181541 h 341034"/>
                  <a:gd name="csX6" fmla="*/ 7165 w 216502"/>
                  <a:gd name="csY6" fmla="*/ 165326 h 341034"/>
                  <a:gd name="csX7" fmla="*/ 51689 w 216502"/>
                  <a:gd name="csY7" fmla="*/ 93026 h 341034"/>
                  <a:gd name="csX8" fmla="*/ 180474 w 216502"/>
                  <a:gd name="csY8" fmla="*/ -8 h 341034"/>
                  <a:gd name="csX9" fmla="*/ 140868 w 216502"/>
                  <a:gd name="csY9" fmla="*/ 143530 h 34103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216502" h="341034">
                    <a:moveTo>
                      <a:pt x="140868" y="143530"/>
                    </a:moveTo>
                    <a:cubicBezTo>
                      <a:pt x="146063" y="199284"/>
                      <a:pt x="173283" y="250651"/>
                      <a:pt x="216491" y="286270"/>
                    </a:cubicBezTo>
                    <a:cubicBezTo>
                      <a:pt x="200649" y="290523"/>
                      <a:pt x="186880" y="300331"/>
                      <a:pt x="177683" y="313914"/>
                    </a:cubicBezTo>
                    <a:cubicBezTo>
                      <a:pt x="172460" y="321038"/>
                      <a:pt x="167701" y="328494"/>
                      <a:pt x="163462" y="336242"/>
                    </a:cubicBezTo>
                    <a:lnTo>
                      <a:pt x="161070" y="341027"/>
                    </a:lnTo>
                    <a:cubicBezTo>
                      <a:pt x="121198" y="327072"/>
                      <a:pt x="21519" y="282947"/>
                      <a:pt x="-12" y="181541"/>
                    </a:cubicBezTo>
                    <a:cubicBezTo>
                      <a:pt x="2248" y="176091"/>
                      <a:pt x="4640" y="170642"/>
                      <a:pt x="7165" y="165326"/>
                    </a:cubicBezTo>
                    <a:cubicBezTo>
                      <a:pt x="19613" y="139835"/>
                      <a:pt x="34525" y="115620"/>
                      <a:pt x="51689" y="93026"/>
                    </a:cubicBezTo>
                    <a:cubicBezTo>
                      <a:pt x="83914" y="49393"/>
                      <a:pt x="128925" y="16871"/>
                      <a:pt x="180474" y="-8"/>
                    </a:cubicBezTo>
                    <a:cubicBezTo>
                      <a:pt x="149011" y="40821"/>
                      <a:pt x="134794" y="92348"/>
                      <a:pt x="140868" y="143530"/>
                    </a:cubicBezTo>
                    <a:close/>
                  </a:path>
                </a:pathLst>
              </a:custGeom>
              <a:solidFill>
                <a:srgbClr val="FD2A2D"/>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20" name="Freeform: Shape 119">
                <a:extLst>
                  <a:ext uri="{FF2B5EF4-FFF2-40B4-BE49-F238E27FC236}">
                    <a16:creationId xmlns:a16="http://schemas.microsoft.com/office/drawing/2014/main" id="{13E3641B-A894-A002-E26E-10EC17D2D968}"/>
                  </a:ext>
                </a:extLst>
              </p:cNvPr>
              <p:cNvSpPr/>
              <p:nvPr/>
            </p:nvSpPr>
            <p:spPr>
              <a:xfrm>
                <a:off x="4136044" y="4857986"/>
                <a:ext cx="186200" cy="288059"/>
              </a:xfrm>
              <a:custGeom>
                <a:avLst/>
                <a:gdLst>
                  <a:gd name="csX0" fmla="*/ 186189 w 186200"/>
                  <a:gd name="csY0" fmla="*/ 7223 h 288059"/>
                  <a:gd name="csX1" fmla="*/ 184859 w 186200"/>
                  <a:gd name="csY1" fmla="*/ 108763 h 288059"/>
                  <a:gd name="csX2" fmla="*/ 186056 w 186200"/>
                  <a:gd name="csY2" fmla="*/ 111953 h 288059"/>
                  <a:gd name="csX3" fmla="*/ 82788 w 186200"/>
                  <a:gd name="csY3" fmla="*/ 288052 h 288059"/>
                  <a:gd name="csX4" fmla="*/ 77605 w 186200"/>
                  <a:gd name="csY4" fmla="*/ 282337 h 288059"/>
                  <a:gd name="csX5" fmla="*/ -12 w 186200"/>
                  <a:gd name="csY5" fmla="*/ 56398 h 288059"/>
                  <a:gd name="csX6" fmla="*/ 186189 w 186200"/>
                  <a:gd name="csY6" fmla="*/ 7223 h 28805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86200" h="288059">
                    <a:moveTo>
                      <a:pt x="186189" y="7223"/>
                    </a:moveTo>
                    <a:cubicBezTo>
                      <a:pt x="176537" y="40317"/>
                      <a:pt x="176078" y="75417"/>
                      <a:pt x="184859" y="108763"/>
                    </a:cubicBezTo>
                    <a:lnTo>
                      <a:pt x="186056" y="111953"/>
                    </a:lnTo>
                    <a:cubicBezTo>
                      <a:pt x="146184" y="130161"/>
                      <a:pt x="60992" y="182658"/>
                      <a:pt x="82788" y="288052"/>
                    </a:cubicBezTo>
                    <a:lnTo>
                      <a:pt x="77605" y="282337"/>
                    </a:lnTo>
                    <a:cubicBezTo>
                      <a:pt x="27766" y="219473"/>
                      <a:pt x="4374" y="138002"/>
                      <a:pt x="-12" y="56398"/>
                    </a:cubicBezTo>
                    <a:cubicBezTo>
                      <a:pt x="50227" y="-16301"/>
                      <a:pt x="150437" y="-1017"/>
                      <a:pt x="186189" y="7223"/>
                    </a:cubicBezTo>
                    <a:close/>
                  </a:path>
                </a:pathLst>
              </a:custGeom>
              <a:solidFill>
                <a:srgbClr val="FD2A2D"/>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21" name="Freeform: Shape 120">
                <a:extLst>
                  <a:ext uri="{FF2B5EF4-FFF2-40B4-BE49-F238E27FC236}">
                    <a16:creationId xmlns:a16="http://schemas.microsoft.com/office/drawing/2014/main" id="{10612DA9-2F33-C3AA-BBA3-7CB7E6F09988}"/>
                  </a:ext>
                </a:extLst>
              </p:cNvPr>
              <p:cNvSpPr/>
              <p:nvPr/>
            </p:nvSpPr>
            <p:spPr>
              <a:xfrm>
                <a:off x="4388408" y="4863888"/>
                <a:ext cx="267694" cy="300498"/>
              </a:xfrm>
              <a:custGeom>
                <a:avLst/>
                <a:gdLst>
                  <a:gd name="csX0" fmla="*/ 39883 w 267694"/>
                  <a:gd name="csY0" fmla="*/ 240816 h 300498"/>
                  <a:gd name="csX1" fmla="*/ 12 w 267694"/>
                  <a:gd name="csY1" fmla="*/ 125322 h 300498"/>
                  <a:gd name="csX2" fmla="*/ 30580 w 267694"/>
                  <a:gd name="csY2" fmla="*/ 83324 h 300498"/>
                  <a:gd name="csX3" fmla="*/ 57161 w 267694"/>
                  <a:gd name="csY3" fmla="*/ -8 h 300498"/>
                  <a:gd name="csX4" fmla="*/ 267683 w 267694"/>
                  <a:gd name="csY4" fmla="*/ 91431 h 300498"/>
                  <a:gd name="csX5" fmla="*/ 236982 w 267694"/>
                  <a:gd name="csY5" fmla="*/ 179946 h 300498"/>
                  <a:gd name="csX6" fmla="*/ 156308 w 267694"/>
                  <a:gd name="csY6" fmla="*/ 300491 h 300498"/>
                  <a:gd name="csX7" fmla="*/ 39883 w 267694"/>
                  <a:gd name="csY7" fmla="*/ 240816 h 30049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267694" h="300498">
                    <a:moveTo>
                      <a:pt x="39883" y="240816"/>
                    </a:moveTo>
                    <a:cubicBezTo>
                      <a:pt x="13449" y="208188"/>
                      <a:pt x="-666" y="167306"/>
                      <a:pt x="12" y="125322"/>
                    </a:cubicBezTo>
                    <a:cubicBezTo>
                      <a:pt x="12585" y="113227"/>
                      <a:pt x="22938" y="99006"/>
                      <a:pt x="30580" y="83324"/>
                    </a:cubicBezTo>
                    <a:cubicBezTo>
                      <a:pt x="43791" y="57128"/>
                      <a:pt x="52762" y="29005"/>
                      <a:pt x="57161" y="-8"/>
                    </a:cubicBezTo>
                    <a:cubicBezTo>
                      <a:pt x="83742" y="42522"/>
                      <a:pt x="144347" y="109506"/>
                      <a:pt x="267683" y="91431"/>
                    </a:cubicBezTo>
                    <a:cubicBezTo>
                      <a:pt x="259908" y="121733"/>
                      <a:pt x="249648" y="151345"/>
                      <a:pt x="236982" y="179946"/>
                    </a:cubicBezTo>
                    <a:cubicBezTo>
                      <a:pt x="217538" y="224642"/>
                      <a:pt x="190212" y="265470"/>
                      <a:pt x="156308" y="300491"/>
                    </a:cubicBezTo>
                    <a:cubicBezTo>
                      <a:pt x="110961" y="297381"/>
                      <a:pt x="68883" y="275810"/>
                      <a:pt x="39883" y="240816"/>
                    </a:cubicBezTo>
                    <a:close/>
                  </a:path>
                </a:pathLst>
              </a:custGeom>
              <a:solidFill>
                <a:srgbClr val="FD2A2D"/>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22" name="Freeform: Shape 121">
                <a:extLst>
                  <a:ext uri="{FF2B5EF4-FFF2-40B4-BE49-F238E27FC236}">
                    <a16:creationId xmlns:a16="http://schemas.microsoft.com/office/drawing/2014/main" id="{BF0A6A7D-9678-2B83-C6EA-0A688AC0999C}"/>
                  </a:ext>
                </a:extLst>
              </p:cNvPr>
              <p:cNvSpPr/>
              <p:nvPr/>
            </p:nvSpPr>
            <p:spPr>
              <a:xfrm>
                <a:off x="4425778" y="4589306"/>
                <a:ext cx="247203" cy="232052"/>
              </a:xfrm>
              <a:custGeom>
                <a:avLst/>
                <a:gdLst>
                  <a:gd name="csX0" fmla="*/ 21386 w 247203"/>
                  <a:gd name="csY0" fmla="*/ 232045 h 232052"/>
                  <a:gd name="csX1" fmla="*/ 19658 w 247203"/>
                  <a:gd name="csY1" fmla="*/ 213039 h 232052"/>
                  <a:gd name="csX2" fmla="*/ -12 w 247203"/>
                  <a:gd name="csY2" fmla="*/ 167719 h 232052"/>
                  <a:gd name="csX3" fmla="*/ 196821 w 247203"/>
                  <a:gd name="csY3" fmla="*/ -8 h 232052"/>
                  <a:gd name="csX4" fmla="*/ 200808 w 247203"/>
                  <a:gd name="csY4" fmla="*/ 7701 h 232052"/>
                  <a:gd name="csX5" fmla="*/ 233901 w 247203"/>
                  <a:gd name="csY5" fmla="*/ 99538 h 232052"/>
                  <a:gd name="csX6" fmla="*/ 247192 w 247203"/>
                  <a:gd name="csY6" fmla="*/ 199616 h 232052"/>
                  <a:gd name="csX7" fmla="*/ 21386 w 247203"/>
                  <a:gd name="csY7" fmla="*/ 232045 h 23205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247203" h="232052">
                    <a:moveTo>
                      <a:pt x="21386" y="232045"/>
                    </a:moveTo>
                    <a:cubicBezTo>
                      <a:pt x="21160" y="225678"/>
                      <a:pt x="20575" y="219339"/>
                      <a:pt x="19658" y="213039"/>
                    </a:cubicBezTo>
                    <a:cubicBezTo>
                      <a:pt x="18555" y="196107"/>
                      <a:pt x="11604" y="180079"/>
                      <a:pt x="-12" y="167719"/>
                    </a:cubicBezTo>
                    <a:cubicBezTo>
                      <a:pt x="4374" y="117480"/>
                      <a:pt x="36139" y="30162"/>
                      <a:pt x="196821" y="-8"/>
                    </a:cubicBezTo>
                    <a:cubicBezTo>
                      <a:pt x="198150" y="2517"/>
                      <a:pt x="199612" y="5175"/>
                      <a:pt x="200808" y="7701"/>
                    </a:cubicBezTo>
                    <a:cubicBezTo>
                      <a:pt x="215242" y="36980"/>
                      <a:pt x="226339" y="67787"/>
                      <a:pt x="233901" y="99538"/>
                    </a:cubicBezTo>
                    <a:cubicBezTo>
                      <a:pt x="241543" y="132392"/>
                      <a:pt x="245996" y="165911"/>
                      <a:pt x="247192" y="199616"/>
                    </a:cubicBezTo>
                    <a:cubicBezTo>
                      <a:pt x="117477" y="176091"/>
                      <a:pt x="46239" y="214102"/>
                      <a:pt x="21386" y="232045"/>
                    </a:cubicBezTo>
                    <a:close/>
                  </a:path>
                </a:pathLst>
              </a:custGeom>
              <a:solidFill>
                <a:srgbClr val="FD2A2D"/>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23" name="Freeform: Shape 122">
                <a:extLst>
                  <a:ext uri="{FF2B5EF4-FFF2-40B4-BE49-F238E27FC236}">
                    <a16:creationId xmlns:a16="http://schemas.microsoft.com/office/drawing/2014/main" id="{9C4B39E0-3516-3C91-E361-29679E98E7B0}"/>
                  </a:ext>
                </a:extLst>
              </p:cNvPr>
              <p:cNvSpPr/>
              <p:nvPr/>
            </p:nvSpPr>
            <p:spPr>
              <a:xfrm>
                <a:off x="4254648" y="4707169"/>
                <a:ext cx="177243" cy="304316"/>
              </a:xfrm>
              <a:custGeom>
                <a:avLst/>
                <a:gdLst>
                  <a:gd name="csX0" fmla="*/ 74363 w 177243"/>
                  <a:gd name="csY0" fmla="*/ 304103 h 304316"/>
                  <a:gd name="csX1" fmla="*/ 73566 w 177243"/>
                  <a:gd name="csY1" fmla="*/ 304103 h 304316"/>
                  <a:gd name="csX2" fmla="*/ 20404 w 177243"/>
                  <a:gd name="csY2" fmla="*/ 263169 h 304316"/>
                  <a:gd name="csX3" fmla="*/ 6316 w 177243"/>
                  <a:gd name="csY3" fmla="*/ 124681 h 304316"/>
                  <a:gd name="csX4" fmla="*/ 26650 w 177243"/>
                  <a:gd name="csY4" fmla="*/ 63811 h 304316"/>
                  <a:gd name="csX5" fmla="*/ 44061 w 177243"/>
                  <a:gd name="csY5" fmla="*/ 36432 h 304316"/>
                  <a:gd name="csX6" fmla="*/ 130183 w 177243"/>
                  <a:gd name="csY6" fmla="*/ 2940 h 304316"/>
                  <a:gd name="csX7" fmla="*/ 177232 w 177243"/>
                  <a:gd name="csY7" fmla="*/ 57166 h 304316"/>
                  <a:gd name="csX8" fmla="*/ 163941 w 177243"/>
                  <a:gd name="csY8" fmla="*/ 46002 h 304316"/>
                  <a:gd name="csX9" fmla="*/ 104134 w 177243"/>
                  <a:gd name="csY9" fmla="*/ 71254 h 304316"/>
                  <a:gd name="csX10" fmla="*/ 89913 w 177243"/>
                  <a:gd name="csY10" fmla="*/ 93582 h 304316"/>
                  <a:gd name="csX11" fmla="*/ 70376 w 177243"/>
                  <a:gd name="csY11" fmla="*/ 143687 h 304316"/>
                  <a:gd name="csX12" fmla="*/ 65060 w 177243"/>
                  <a:gd name="csY12" fmla="*/ 259580 h 304316"/>
                  <a:gd name="csX13" fmla="*/ 95362 w 177243"/>
                  <a:gd name="csY13" fmla="*/ 295332 h 304316"/>
                  <a:gd name="csX14" fmla="*/ 95362 w 177243"/>
                  <a:gd name="csY14" fmla="*/ 295332 h 304316"/>
                  <a:gd name="csX15" fmla="*/ 117690 w 177243"/>
                  <a:gd name="csY15" fmla="*/ 291743 h 304316"/>
                  <a:gd name="csX16" fmla="*/ 74363 w 177243"/>
                  <a:gd name="csY16" fmla="*/ 304103 h 30431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Lst>
                <a:rect l="l" t="t" r="r" b="b"/>
                <a:pathLst>
                  <a:path w="177243" h="304316">
                    <a:moveTo>
                      <a:pt x="74363" y="304103"/>
                    </a:moveTo>
                    <a:lnTo>
                      <a:pt x="73566" y="304103"/>
                    </a:lnTo>
                    <a:cubicBezTo>
                      <a:pt x="50818" y="298668"/>
                      <a:pt x="31476" y="283769"/>
                      <a:pt x="20404" y="263169"/>
                    </a:cubicBezTo>
                    <a:cubicBezTo>
                      <a:pt x="-2988" y="224227"/>
                      <a:pt x="-4184" y="170135"/>
                      <a:pt x="6316" y="124681"/>
                    </a:cubicBezTo>
                    <a:cubicBezTo>
                      <a:pt x="10699" y="103669"/>
                      <a:pt x="17522" y="83242"/>
                      <a:pt x="26650" y="63811"/>
                    </a:cubicBezTo>
                    <a:cubicBezTo>
                      <a:pt x="31682" y="54215"/>
                      <a:pt x="37506" y="45058"/>
                      <a:pt x="44061" y="36432"/>
                    </a:cubicBezTo>
                    <a:cubicBezTo>
                      <a:pt x="65325" y="8788"/>
                      <a:pt x="98153" y="-6895"/>
                      <a:pt x="130183" y="2940"/>
                    </a:cubicBezTo>
                    <a:cubicBezTo>
                      <a:pt x="153707" y="10250"/>
                      <a:pt x="168327" y="33508"/>
                      <a:pt x="177232" y="57166"/>
                    </a:cubicBezTo>
                    <a:cubicBezTo>
                      <a:pt x="173922" y="52288"/>
                      <a:pt x="169324" y="48421"/>
                      <a:pt x="163941" y="46002"/>
                    </a:cubicBezTo>
                    <a:cubicBezTo>
                      <a:pt x="144138" y="36831"/>
                      <a:pt x="121013" y="48793"/>
                      <a:pt x="104134" y="71254"/>
                    </a:cubicBezTo>
                    <a:cubicBezTo>
                      <a:pt x="98911" y="78377"/>
                      <a:pt x="94153" y="85833"/>
                      <a:pt x="89913" y="93582"/>
                    </a:cubicBezTo>
                    <a:cubicBezTo>
                      <a:pt x="81875" y="109650"/>
                      <a:pt x="75335" y="126423"/>
                      <a:pt x="70376" y="143687"/>
                    </a:cubicBezTo>
                    <a:cubicBezTo>
                      <a:pt x="58813" y="180900"/>
                      <a:pt x="53896" y="226354"/>
                      <a:pt x="65060" y="259580"/>
                    </a:cubicBezTo>
                    <a:cubicBezTo>
                      <a:pt x="68947" y="275608"/>
                      <a:pt x="80182" y="288872"/>
                      <a:pt x="95362" y="295332"/>
                    </a:cubicBezTo>
                    <a:lnTo>
                      <a:pt x="95362" y="295332"/>
                    </a:lnTo>
                    <a:cubicBezTo>
                      <a:pt x="102991" y="296727"/>
                      <a:pt x="110872" y="295465"/>
                      <a:pt x="117690" y="291743"/>
                    </a:cubicBezTo>
                    <a:cubicBezTo>
                      <a:pt x="105210" y="300953"/>
                      <a:pt x="89820" y="305339"/>
                      <a:pt x="74363" y="304103"/>
                    </a:cubicBezTo>
                    <a:close/>
                  </a:path>
                </a:pathLst>
              </a:custGeom>
              <a:solidFill>
                <a:srgbClr val="C5C6C8"/>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24" name="Freeform: Shape 123">
                <a:extLst>
                  <a:ext uri="{FF2B5EF4-FFF2-40B4-BE49-F238E27FC236}">
                    <a16:creationId xmlns:a16="http://schemas.microsoft.com/office/drawing/2014/main" id="{FD2607DE-B6B9-A47D-9545-4BD6F565FC2D}"/>
                  </a:ext>
                </a:extLst>
              </p:cNvPr>
              <p:cNvSpPr/>
              <p:nvPr/>
            </p:nvSpPr>
            <p:spPr>
              <a:xfrm>
                <a:off x="4276126" y="4453984"/>
                <a:ext cx="397596" cy="782497"/>
              </a:xfrm>
              <a:custGeom>
                <a:avLst/>
                <a:gdLst>
                  <a:gd name="csX0" fmla="*/ 100598 w 397596"/>
                  <a:gd name="csY0" fmla="*/ 782164 h 782497"/>
                  <a:gd name="csX1" fmla="*/ 98471 w 397596"/>
                  <a:gd name="csY1" fmla="*/ 782164 h 782497"/>
                  <a:gd name="csX2" fmla="*/ -12 w 397596"/>
                  <a:gd name="csY2" fmla="*/ 744552 h 782497"/>
                  <a:gd name="csX3" fmla="*/ 52353 w 397596"/>
                  <a:gd name="csY3" fmla="*/ 757842 h 782497"/>
                  <a:gd name="csX4" fmla="*/ 54480 w 397596"/>
                  <a:gd name="csY4" fmla="*/ 757842 h 782497"/>
                  <a:gd name="csX5" fmla="*/ 290785 w 397596"/>
                  <a:gd name="csY5" fmla="*/ 574566 h 782497"/>
                  <a:gd name="csX6" fmla="*/ 324277 w 397596"/>
                  <a:gd name="csY6" fmla="*/ 236455 h 782497"/>
                  <a:gd name="csX7" fmla="*/ 292646 w 397596"/>
                  <a:gd name="csY7" fmla="*/ 148871 h 782497"/>
                  <a:gd name="csX8" fmla="*/ 148443 w 397596"/>
                  <a:gd name="csY8" fmla="*/ 17029 h 782497"/>
                  <a:gd name="csX9" fmla="*/ 74415 w 397596"/>
                  <a:gd name="csY9" fmla="*/ 14637 h 782497"/>
                  <a:gd name="csX10" fmla="*/ 199213 w 397596"/>
                  <a:gd name="csY10" fmla="*/ 4802 h 782497"/>
                  <a:gd name="csX11" fmla="*/ 350592 w 397596"/>
                  <a:gd name="csY11" fmla="*/ 143156 h 782497"/>
                  <a:gd name="csX12" fmla="*/ 383685 w 397596"/>
                  <a:gd name="csY12" fmla="*/ 234993 h 782497"/>
                  <a:gd name="csX13" fmla="*/ 348599 w 397596"/>
                  <a:gd name="csY13" fmla="*/ 589983 h 782497"/>
                  <a:gd name="csX14" fmla="*/ 100598 w 397596"/>
                  <a:gd name="csY14" fmla="*/ 782164 h 78249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397596" h="782497">
                    <a:moveTo>
                      <a:pt x="100598" y="782164"/>
                    </a:moveTo>
                    <a:lnTo>
                      <a:pt x="98471" y="782164"/>
                    </a:lnTo>
                    <a:cubicBezTo>
                      <a:pt x="62959" y="778296"/>
                      <a:pt x="29041" y="765338"/>
                      <a:pt x="-12" y="744552"/>
                    </a:cubicBezTo>
                    <a:cubicBezTo>
                      <a:pt x="16652" y="751662"/>
                      <a:pt x="34317" y="756141"/>
                      <a:pt x="52353" y="757842"/>
                    </a:cubicBezTo>
                    <a:lnTo>
                      <a:pt x="54480" y="757842"/>
                    </a:lnTo>
                    <a:cubicBezTo>
                      <a:pt x="167050" y="764488"/>
                      <a:pt x="250780" y="664809"/>
                      <a:pt x="290785" y="574566"/>
                    </a:cubicBezTo>
                    <a:cubicBezTo>
                      <a:pt x="337993" y="468388"/>
                      <a:pt x="349742" y="349823"/>
                      <a:pt x="324277" y="236455"/>
                    </a:cubicBezTo>
                    <a:cubicBezTo>
                      <a:pt x="317007" y="206180"/>
                      <a:pt x="306401" y="176808"/>
                      <a:pt x="292646" y="148871"/>
                    </a:cubicBezTo>
                    <a:cubicBezTo>
                      <a:pt x="263539" y="90260"/>
                      <a:pt x="217687" y="31914"/>
                      <a:pt x="148443" y="17029"/>
                    </a:cubicBezTo>
                    <a:cubicBezTo>
                      <a:pt x="124109" y="11806"/>
                      <a:pt x="99029" y="10995"/>
                      <a:pt x="74415" y="14637"/>
                    </a:cubicBezTo>
                    <a:cubicBezTo>
                      <a:pt x="114194" y="-634"/>
                      <a:pt x="157534" y="-4050"/>
                      <a:pt x="199213" y="4802"/>
                    </a:cubicBezTo>
                    <a:cubicBezTo>
                      <a:pt x="271912" y="20352"/>
                      <a:pt x="320024" y="81621"/>
                      <a:pt x="350592" y="143156"/>
                    </a:cubicBezTo>
                    <a:cubicBezTo>
                      <a:pt x="365026" y="172435"/>
                      <a:pt x="376123" y="203242"/>
                      <a:pt x="383685" y="234993"/>
                    </a:cubicBezTo>
                    <a:cubicBezTo>
                      <a:pt x="410559" y="354010"/>
                      <a:pt x="398252" y="478529"/>
                      <a:pt x="348599" y="589983"/>
                    </a:cubicBezTo>
                    <a:cubicBezTo>
                      <a:pt x="306999" y="684878"/>
                      <a:pt x="218617" y="789075"/>
                      <a:pt x="100598" y="782164"/>
                    </a:cubicBezTo>
                    <a:close/>
                  </a:path>
                </a:pathLst>
              </a:custGeom>
              <a:solidFill>
                <a:srgbClr val="C5C6C8"/>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25" name="Freeform: Shape 124">
                <a:extLst>
                  <a:ext uri="{FF2B5EF4-FFF2-40B4-BE49-F238E27FC236}">
                    <a16:creationId xmlns:a16="http://schemas.microsoft.com/office/drawing/2014/main" id="{1C44F53C-DA4D-8989-88D5-166AD4D1ADFD}"/>
                  </a:ext>
                </a:extLst>
              </p:cNvPr>
              <p:cNvSpPr/>
              <p:nvPr/>
            </p:nvSpPr>
            <p:spPr>
              <a:xfrm>
                <a:off x="4321713" y="4701744"/>
                <a:ext cx="144215" cy="345310"/>
              </a:xfrm>
              <a:custGeom>
                <a:avLst/>
                <a:gdLst>
                  <a:gd name="csX0" fmla="*/ 104186 w 144215"/>
                  <a:gd name="csY0" fmla="*/ -8 h 345310"/>
                  <a:gd name="csX1" fmla="*/ 107110 w 144215"/>
                  <a:gd name="csY1" fmla="*/ 3713 h 345310"/>
                  <a:gd name="csX2" fmla="*/ 110566 w 144215"/>
                  <a:gd name="csY2" fmla="*/ 8232 h 345310"/>
                  <a:gd name="csX3" fmla="*/ 114553 w 144215"/>
                  <a:gd name="csY3" fmla="*/ 14612 h 345310"/>
                  <a:gd name="csX4" fmla="*/ 122793 w 144215"/>
                  <a:gd name="csY4" fmla="*/ 33086 h 345310"/>
                  <a:gd name="csX5" fmla="*/ 126381 w 144215"/>
                  <a:gd name="csY5" fmla="*/ 44914 h 345310"/>
                  <a:gd name="csX6" fmla="*/ 129571 w 144215"/>
                  <a:gd name="csY6" fmla="*/ 58205 h 345310"/>
                  <a:gd name="csX7" fmla="*/ 133558 w 144215"/>
                  <a:gd name="csY7" fmla="*/ 88906 h 345310"/>
                  <a:gd name="csX8" fmla="*/ 134356 w 144215"/>
                  <a:gd name="csY8" fmla="*/ 123328 h 345310"/>
                  <a:gd name="csX9" fmla="*/ 131565 w 144215"/>
                  <a:gd name="csY9" fmla="*/ 160276 h 345310"/>
                  <a:gd name="csX10" fmla="*/ 124919 w 144215"/>
                  <a:gd name="csY10" fmla="*/ 197888 h 345310"/>
                  <a:gd name="csX11" fmla="*/ 114420 w 144215"/>
                  <a:gd name="csY11" fmla="*/ 234703 h 345310"/>
                  <a:gd name="csX12" fmla="*/ 99800 w 144215"/>
                  <a:gd name="csY12" fmla="*/ 268726 h 345310"/>
                  <a:gd name="csX13" fmla="*/ 81326 w 144215"/>
                  <a:gd name="csY13" fmla="*/ 298098 h 345310"/>
                  <a:gd name="csX14" fmla="*/ 70694 w 144215"/>
                  <a:gd name="csY14" fmla="*/ 310326 h 345310"/>
                  <a:gd name="csX15" fmla="*/ 65378 w 144215"/>
                  <a:gd name="csY15" fmla="*/ 315908 h 345310"/>
                  <a:gd name="csX16" fmla="*/ 59796 w 144215"/>
                  <a:gd name="csY16" fmla="*/ 320692 h 345310"/>
                  <a:gd name="csX17" fmla="*/ 37601 w 144215"/>
                  <a:gd name="csY17" fmla="*/ 335445 h 345310"/>
                  <a:gd name="csX18" fmla="*/ 18064 w 144215"/>
                  <a:gd name="csY18" fmla="*/ 342622 h 345310"/>
                  <a:gd name="csX19" fmla="*/ 4773 w 144215"/>
                  <a:gd name="csY19" fmla="*/ 345280 h 345310"/>
                  <a:gd name="csX20" fmla="*/ -12 w 144215"/>
                  <a:gd name="csY20" fmla="*/ 345280 h 345310"/>
                  <a:gd name="csX21" fmla="*/ 4773 w 144215"/>
                  <a:gd name="csY21" fmla="*/ 345280 h 345310"/>
                  <a:gd name="csX22" fmla="*/ 18064 w 144215"/>
                  <a:gd name="csY22" fmla="*/ 344216 h 345310"/>
                  <a:gd name="csX23" fmla="*/ 38930 w 144215"/>
                  <a:gd name="csY23" fmla="*/ 338635 h 345310"/>
                  <a:gd name="csX24" fmla="*/ 51024 w 144215"/>
                  <a:gd name="csY24" fmla="*/ 333052 h 345310"/>
                  <a:gd name="csX25" fmla="*/ 63517 w 144215"/>
                  <a:gd name="csY25" fmla="*/ 325211 h 345310"/>
                  <a:gd name="csX26" fmla="*/ 69764 w 144215"/>
                  <a:gd name="csY26" fmla="*/ 320426 h 345310"/>
                  <a:gd name="csX27" fmla="*/ 75877 w 144215"/>
                  <a:gd name="csY27" fmla="*/ 314977 h 345310"/>
                  <a:gd name="csX28" fmla="*/ 87706 w 144215"/>
                  <a:gd name="csY28" fmla="*/ 302750 h 345310"/>
                  <a:gd name="csX29" fmla="*/ 108439 w 144215"/>
                  <a:gd name="csY29" fmla="*/ 272714 h 345310"/>
                  <a:gd name="csX30" fmla="*/ 124521 w 144215"/>
                  <a:gd name="csY30" fmla="*/ 237627 h 345310"/>
                  <a:gd name="csX31" fmla="*/ 135818 w 144215"/>
                  <a:gd name="csY31" fmla="*/ 199749 h 345310"/>
                  <a:gd name="csX32" fmla="*/ 142197 w 144215"/>
                  <a:gd name="csY32" fmla="*/ 160807 h 345310"/>
                  <a:gd name="csX33" fmla="*/ 144191 w 144215"/>
                  <a:gd name="csY33" fmla="*/ 122797 h 345310"/>
                  <a:gd name="csX34" fmla="*/ 141798 w 144215"/>
                  <a:gd name="csY34" fmla="*/ 87311 h 345310"/>
                  <a:gd name="csX35" fmla="*/ 135552 w 144215"/>
                  <a:gd name="csY35" fmla="*/ 56078 h 345310"/>
                  <a:gd name="csX36" fmla="*/ 131299 w 144215"/>
                  <a:gd name="csY36" fmla="*/ 42788 h 345310"/>
                  <a:gd name="csX37" fmla="*/ 126381 w 144215"/>
                  <a:gd name="csY37" fmla="*/ 30959 h 345310"/>
                  <a:gd name="csX38" fmla="*/ 116015 w 144215"/>
                  <a:gd name="csY38" fmla="*/ 12884 h 345310"/>
                  <a:gd name="csX39" fmla="*/ 111230 w 144215"/>
                  <a:gd name="csY39" fmla="*/ 6903 h 345310"/>
                  <a:gd name="csX40" fmla="*/ 107243 w 144215"/>
                  <a:gd name="csY40" fmla="*/ 2783 h 34531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Lst>
                <a:rect l="l" t="t" r="r" b="b"/>
                <a:pathLst>
                  <a:path w="144215" h="345310">
                    <a:moveTo>
                      <a:pt x="104186" y="-8"/>
                    </a:moveTo>
                    <a:lnTo>
                      <a:pt x="107110" y="3713"/>
                    </a:lnTo>
                    <a:cubicBezTo>
                      <a:pt x="108333" y="5162"/>
                      <a:pt x="109489" y="6664"/>
                      <a:pt x="110566" y="8232"/>
                    </a:cubicBezTo>
                    <a:cubicBezTo>
                      <a:pt x="111762" y="10093"/>
                      <a:pt x="112958" y="12219"/>
                      <a:pt x="114553" y="14612"/>
                    </a:cubicBezTo>
                    <a:cubicBezTo>
                      <a:pt x="117742" y="20566"/>
                      <a:pt x="120494" y="26733"/>
                      <a:pt x="122793" y="33086"/>
                    </a:cubicBezTo>
                    <a:cubicBezTo>
                      <a:pt x="124122" y="36674"/>
                      <a:pt x="125185" y="40794"/>
                      <a:pt x="126381" y="44914"/>
                    </a:cubicBezTo>
                    <a:cubicBezTo>
                      <a:pt x="127577" y="49034"/>
                      <a:pt x="128508" y="53686"/>
                      <a:pt x="129571" y="58205"/>
                    </a:cubicBezTo>
                    <a:cubicBezTo>
                      <a:pt x="131458" y="68358"/>
                      <a:pt x="132787" y="78605"/>
                      <a:pt x="133558" y="88906"/>
                    </a:cubicBezTo>
                    <a:cubicBezTo>
                      <a:pt x="134435" y="100362"/>
                      <a:pt x="134701" y="111845"/>
                      <a:pt x="134356" y="123328"/>
                    </a:cubicBezTo>
                    <a:cubicBezTo>
                      <a:pt x="134356" y="135422"/>
                      <a:pt x="133159" y="147783"/>
                      <a:pt x="131565" y="160276"/>
                    </a:cubicBezTo>
                    <a:cubicBezTo>
                      <a:pt x="129996" y="172915"/>
                      <a:pt x="127777" y="185474"/>
                      <a:pt x="124919" y="197888"/>
                    </a:cubicBezTo>
                    <a:cubicBezTo>
                      <a:pt x="122102" y="210341"/>
                      <a:pt x="118606" y="222635"/>
                      <a:pt x="114420" y="234703"/>
                    </a:cubicBezTo>
                    <a:cubicBezTo>
                      <a:pt x="110353" y="246372"/>
                      <a:pt x="105475" y="257748"/>
                      <a:pt x="99800" y="268726"/>
                    </a:cubicBezTo>
                    <a:cubicBezTo>
                      <a:pt x="94484" y="279026"/>
                      <a:pt x="88304" y="288848"/>
                      <a:pt x="81326" y="298098"/>
                    </a:cubicBezTo>
                    <a:cubicBezTo>
                      <a:pt x="78030" y="302378"/>
                      <a:pt x="74482" y="306458"/>
                      <a:pt x="70694" y="310326"/>
                    </a:cubicBezTo>
                    <a:lnTo>
                      <a:pt x="65378" y="315908"/>
                    </a:lnTo>
                    <a:lnTo>
                      <a:pt x="59796" y="320692"/>
                    </a:lnTo>
                    <a:cubicBezTo>
                      <a:pt x="52978" y="326420"/>
                      <a:pt x="45535" y="331378"/>
                      <a:pt x="37601" y="335445"/>
                    </a:cubicBezTo>
                    <a:cubicBezTo>
                      <a:pt x="31328" y="338462"/>
                      <a:pt x="24789" y="340854"/>
                      <a:pt x="18064" y="342622"/>
                    </a:cubicBezTo>
                    <a:cubicBezTo>
                      <a:pt x="13708" y="343844"/>
                      <a:pt x="9265" y="344735"/>
                      <a:pt x="4773" y="345280"/>
                    </a:cubicBezTo>
                    <a:lnTo>
                      <a:pt x="-12" y="345280"/>
                    </a:lnTo>
                    <a:lnTo>
                      <a:pt x="4773" y="345280"/>
                    </a:lnTo>
                    <a:cubicBezTo>
                      <a:pt x="9228" y="345399"/>
                      <a:pt x="13684" y="345054"/>
                      <a:pt x="18064" y="344216"/>
                    </a:cubicBezTo>
                    <a:cubicBezTo>
                      <a:pt x="25187" y="343060"/>
                      <a:pt x="32178" y="341186"/>
                      <a:pt x="38930" y="338635"/>
                    </a:cubicBezTo>
                    <a:cubicBezTo>
                      <a:pt x="43063" y="337000"/>
                      <a:pt x="47103" y="335139"/>
                      <a:pt x="51024" y="333052"/>
                    </a:cubicBezTo>
                    <a:cubicBezTo>
                      <a:pt x="55357" y="330726"/>
                      <a:pt x="59543" y="328108"/>
                      <a:pt x="63517" y="325211"/>
                    </a:cubicBezTo>
                    <a:lnTo>
                      <a:pt x="69764" y="320426"/>
                    </a:lnTo>
                    <a:lnTo>
                      <a:pt x="75877" y="314977"/>
                    </a:lnTo>
                    <a:cubicBezTo>
                      <a:pt x="80090" y="311163"/>
                      <a:pt x="84038" y="307083"/>
                      <a:pt x="87706" y="302750"/>
                    </a:cubicBezTo>
                    <a:cubicBezTo>
                      <a:pt x="95587" y="293447"/>
                      <a:pt x="102538" y="283386"/>
                      <a:pt x="108439" y="272714"/>
                    </a:cubicBezTo>
                    <a:cubicBezTo>
                      <a:pt x="114779" y="261496"/>
                      <a:pt x="120161" y="249761"/>
                      <a:pt x="124521" y="237627"/>
                    </a:cubicBezTo>
                    <a:cubicBezTo>
                      <a:pt x="129013" y="225227"/>
                      <a:pt x="132787" y="212587"/>
                      <a:pt x="135818" y="199749"/>
                    </a:cubicBezTo>
                    <a:cubicBezTo>
                      <a:pt x="138648" y="186897"/>
                      <a:pt x="140775" y="173899"/>
                      <a:pt x="142197" y="160807"/>
                    </a:cubicBezTo>
                    <a:cubicBezTo>
                      <a:pt x="143646" y="148195"/>
                      <a:pt x="144310" y="135502"/>
                      <a:pt x="144191" y="122797"/>
                    </a:cubicBezTo>
                    <a:cubicBezTo>
                      <a:pt x="144164" y="110928"/>
                      <a:pt x="143353" y="99073"/>
                      <a:pt x="141798" y="87311"/>
                    </a:cubicBezTo>
                    <a:cubicBezTo>
                      <a:pt x="140443" y="76771"/>
                      <a:pt x="138356" y="66325"/>
                      <a:pt x="135552" y="56078"/>
                    </a:cubicBezTo>
                    <a:cubicBezTo>
                      <a:pt x="134223" y="51426"/>
                      <a:pt x="132761" y="46908"/>
                      <a:pt x="131299" y="42788"/>
                    </a:cubicBezTo>
                    <a:cubicBezTo>
                      <a:pt x="129837" y="38668"/>
                      <a:pt x="128109" y="34548"/>
                      <a:pt x="126381" y="30959"/>
                    </a:cubicBezTo>
                    <a:cubicBezTo>
                      <a:pt x="123431" y="24659"/>
                      <a:pt x="119962" y="18612"/>
                      <a:pt x="116015" y="12884"/>
                    </a:cubicBezTo>
                    <a:lnTo>
                      <a:pt x="111230" y="6903"/>
                    </a:lnTo>
                    <a:cubicBezTo>
                      <a:pt x="109768" y="5175"/>
                      <a:pt x="108306" y="3846"/>
                      <a:pt x="107243" y="2783"/>
                    </a:cubicBezTo>
                    <a:close/>
                  </a:path>
                </a:pathLst>
              </a:custGeom>
              <a:solidFill>
                <a:srgbClr val="FFFFFF"/>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26" name="Freeform: Shape 125">
                <a:extLst>
                  <a:ext uri="{FF2B5EF4-FFF2-40B4-BE49-F238E27FC236}">
                    <a16:creationId xmlns:a16="http://schemas.microsoft.com/office/drawing/2014/main" id="{2A3C1C5D-1065-1665-4DC2-604D5D997EA8}"/>
                  </a:ext>
                </a:extLst>
              </p:cNvPr>
              <p:cNvSpPr/>
              <p:nvPr/>
            </p:nvSpPr>
            <p:spPr>
              <a:xfrm>
                <a:off x="4140017" y="4503848"/>
                <a:ext cx="166810" cy="650969"/>
              </a:xfrm>
              <a:custGeom>
                <a:avLst/>
                <a:gdLst>
                  <a:gd name="csX0" fmla="*/ 166799 w 166810"/>
                  <a:gd name="csY0" fmla="*/ -8 h 650969"/>
                  <a:gd name="csX1" fmla="*/ 159224 w 166810"/>
                  <a:gd name="csY1" fmla="*/ 3448 h 650969"/>
                  <a:gd name="csX2" fmla="*/ 150452 w 166810"/>
                  <a:gd name="csY2" fmla="*/ 8365 h 650969"/>
                  <a:gd name="csX3" fmla="*/ 139155 w 166810"/>
                  <a:gd name="csY3" fmla="*/ 15808 h 650969"/>
                  <a:gd name="csX4" fmla="*/ 125864 w 166810"/>
                  <a:gd name="csY4" fmla="*/ 26174 h 650969"/>
                  <a:gd name="csX5" fmla="*/ 111245 w 166810"/>
                  <a:gd name="csY5" fmla="*/ 39465 h 650969"/>
                  <a:gd name="csX6" fmla="*/ 96094 w 166810"/>
                  <a:gd name="csY6" fmla="*/ 56078 h 650969"/>
                  <a:gd name="csX7" fmla="*/ 88385 w 166810"/>
                  <a:gd name="csY7" fmla="*/ 65514 h 650969"/>
                  <a:gd name="csX8" fmla="*/ 84531 w 166810"/>
                  <a:gd name="csY8" fmla="*/ 70432 h 650969"/>
                  <a:gd name="csX9" fmla="*/ 80809 w 166810"/>
                  <a:gd name="csY9" fmla="*/ 75748 h 650969"/>
                  <a:gd name="csX10" fmla="*/ 66057 w 166810"/>
                  <a:gd name="csY10" fmla="*/ 98209 h 650969"/>
                  <a:gd name="csX11" fmla="*/ 52766 w 166810"/>
                  <a:gd name="csY11" fmla="*/ 123594 h 650969"/>
                  <a:gd name="csX12" fmla="*/ 40273 w 166810"/>
                  <a:gd name="csY12" fmla="*/ 151105 h 650969"/>
                  <a:gd name="csX13" fmla="*/ 34426 w 166810"/>
                  <a:gd name="csY13" fmla="*/ 165725 h 650969"/>
                  <a:gd name="csX14" fmla="*/ 31502 w 166810"/>
                  <a:gd name="csY14" fmla="*/ 173168 h 650969"/>
                  <a:gd name="csX15" fmla="*/ 29109 w 166810"/>
                  <a:gd name="csY15" fmla="*/ 180743 h 650969"/>
                  <a:gd name="csX16" fmla="*/ 19673 w 166810"/>
                  <a:gd name="csY16" fmla="*/ 211843 h 650969"/>
                  <a:gd name="csX17" fmla="*/ 11832 w 166810"/>
                  <a:gd name="csY17" fmla="*/ 244272 h 650969"/>
                  <a:gd name="csX18" fmla="*/ 6117 w 166810"/>
                  <a:gd name="csY18" fmla="*/ 277498 h 650969"/>
                  <a:gd name="csX19" fmla="*/ 4655 w 166810"/>
                  <a:gd name="csY19" fmla="*/ 285871 h 650969"/>
                  <a:gd name="csX20" fmla="*/ 4655 w 166810"/>
                  <a:gd name="csY20" fmla="*/ 290390 h 650969"/>
                  <a:gd name="csX21" fmla="*/ 4655 w 166810"/>
                  <a:gd name="csY21" fmla="*/ 294510 h 650969"/>
                  <a:gd name="csX22" fmla="*/ 2927 w 166810"/>
                  <a:gd name="csY22" fmla="*/ 311256 h 650969"/>
                  <a:gd name="csX23" fmla="*/ 402 w 166810"/>
                  <a:gd name="csY23" fmla="*/ 345014 h 650969"/>
                  <a:gd name="csX24" fmla="*/ 402 w 166810"/>
                  <a:gd name="csY24" fmla="*/ 378772 h 650969"/>
                  <a:gd name="csX25" fmla="*/ 1864 w 166810"/>
                  <a:gd name="csY25" fmla="*/ 411998 h 650969"/>
                  <a:gd name="csX26" fmla="*/ 5585 w 166810"/>
                  <a:gd name="csY26" fmla="*/ 444161 h 650969"/>
                  <a:gd name="csX27" fmla="*/ 8243 w 166810"/>
                  <a:gd name="csY27" fmla="*/ 459711 h 650969"/>
                  <a:gd name="csX28" fmla="*/ 11034 w 166810"/>
                  <a:gd name="csY28" fmla="*/ 474862 h 650969"/>
                  <a:gd name="csX29" fmla="*/ 14623 w 166810"/>
                  <a:gd name="csY29" fmla="*/ 489615 h 650969"/>
                  <a:gd name="csX30" fmla="*/ 18344 w 166810"/>
                  <a:gd name="csY30" fmla="*/ 503968 h 650969"/>
                  <a:gd name="csX31" fmla="*/ 36419 w 166810"/>
                  <a:gd name="csY31" fmla="*/ 555669 h 650969"/>
                  <a:gd name="csX32" fmla="*/ 57152 w 166810"/>
                  <a:gd name="csY32" fmla="*/ 597135 h 650969"/>
                  <a:gd name="csX33" fmla="*/ 76557 w 166810"/>
                  <a:gd name="csY33" fmla="*/ 627039 h 650969"/>
                  <a:gd name="csX34" fmla="*/ 91043 w 166810"/>
                  <a:gd name="csY34" fmla="*/ 644981 h 650969"/>
                  <a:gd name="csX35" fmla="*/ 96625 w 166810"/>
                  <a:gd name="csY35" fmla="*/ 650961 h 650969"/>
                  <a:gd name="csX36" fmla="*/ 91708 w 166810"/>
                  <a:gd name="csY36" fmla="*/ 644449 h 650969"/>
                  <a:gd name="csX37" fmla="*/ 79215 w 166810"/>
                  <a:gd name="csY37" fmla="*/ 625444 h 650969"/>
                  <a:gd name="csX38" fmla="*/ 62469 w 166810"/>
                  <a:gd name="csY38" fmla="*/ 594344 h 650969"/>
                  <a:gd name="csX39" fmla="*/ 44925 w 166810"/>
                  <a:gd name="csY39" fmla="*/ 552479 h 650969"/>
                  <a:gd name="csX40" fmla="*/ 29774 w 166810"/>
                  <a:gd name="csY40" fmla="*/ 501044 h 650969"/>
                  <a:gd name="csX41" fmla="*/ 26717 w 166810"/>
                  <a:gd name="csY41" fmla="*/ 486957 h 650969"/>
                  <a:gd name="csX42" fmla="*/ 23926 w 166810"/>
                  <a:gd name="csY42" fmla="*/ 472470 h 650969"/>
                  <a:gd name="csX43" fmla="*/ 19407 w 166810"/>
                  <a:gd name="csY43" fmla="*/ 442300 h 650969"/>
                  <a:gd name="csX44" fmla="*/ 16483 w 166810"/>
                  <a:gd name="csY44" fmla="*/ 410802 h 650969"/>
                  <a:gd name="csX45" fmla="*/ 15553 w 166810"/>
                  <a:gd name="csY45" fmla="*/ 378506 h 650969"/>
                  <a:gd name="csX46" fmla="*/ 16483 w 166810"/>
                  <a:gd name="csY46" fmla="*/ 345811 h 650969"/>
                  <a:gd name="csX47" fmla="*/ 19142 w 166810"/>
                  <a:gd name="csY47" fmla="*/ 312585 h 650969"/>
                  <a:gd name="csX48" fmla="*/ 20736 w 166810"/>
                  <a:gd name="csY48" fmla="*/ 295839 h 650969"/>
                  <a:gd name="csX49" fmla="*/ 20736 w 166810"/>
                  <a:gd name="csY49" fmla="*/ 291586 h 650969"/>
                  <a:gd name="csX50" fmla="*/ 20736 w 166810"/>
                  <a:gd name="csY50" fmla="*/ 287732 h 650969"/>
                  <a:gd name="csX51" fmla="*/ 22065 w 166810"/>
                  <a:gd name="csY51" fmla="*/ 279492 h 650969"/>
                  <a:gd name="csX52" fmla="*/ 27382 w 166810"/>
                  <a:gd name="csY52" fmla="*/ 246930 h 650969"/>
                  <a:gd name="csX53" fmla="*/ 34426 w 166810"/>
                  <a:gd name="csY53" fmla="*/ 215166 h 650969"/>
                  <a:gd name="csX54" fmla="*/ 42932 w 166810"/>
                  <a:gd name="csY54" fmla="*/ 184597 h 650969"/>
                  <a:gd name="csX55" fmla="*/ 45058 w 166810"/>
                  <a:gd name="csY55" fmla="*/ 177022 h 650969"/>
                  <a:gd name="csX56" fmla="*/ 47716 w 166810"/>
                  <a:gd name="csY56" fmla="*/ 169845 h 650969"/>
                  <a:gd name="csX57" fmla="*/ 52899 w 166810"/>
                  <a:gd name="csY57" fmla="*/ 155491 h 650969"/>
                  <a:gd name="csX58" fmla="*/ 63931 w 166810"/>
                  <a:gd name="csY58" fmla="*/ 128910 h 650969"/>
                  <a:gd name="csX59" fmla="*/ 76291 w 166810"/>
                  <a:gd name="csY59" fmla="*/ 103791 h 650969"/>
                  <a:gd name="csX60" fmla="*/ 89581 w 166810"/>
                  <a:gd name="csY60" fmla="*/ 81064 h 650969"/>
                  <a:gd name="csX61" fmla="*/ 92904 w 166810"/>
                  <a:gd name="csY61" fmla="*/ 75748 h 650969"/>
                  <a:gd name="csX62" fmla="*/ 96359 w 166810"/>
                  <a:gd name="csY62" fmla="*/ 70698 h 650969"/>
                  <a:gd name="csX63" fmla="*/ 103270 w 166810"/>
                  <a:gd name="csY63" fmla="*/ 61129 h 650969"/>
                  <a:gd name="csX64" fmla="*/ 116561 w 166810"/>
                  <a:gd name="csY64" fmla="*/ 43984 h 650969"/>
                  <a:gd name="csX65" fmla="*/ 129852 w 166810"/>
                  <a:gd name="csY65" fmla="*/ 29896 h 650969"/>
                  <a:gd name="csX66" fmla="*/ 142079 w 166810"/>
                  <a:gd name="csY66" fmla="*/ 18732 h 650969"/>
                  <a:gd name="csX67" fmla="*/ 160553 w 166810"/>
                  <a:gd name="csY67" fmla="*/ 4644 h 650969"/>
                  <a:gd name="csX68" fmla="*/ 166799 w 166810"/>
                  <a:gd name="csY68" fmla="*/ -8 h 65096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Lst>
                <a:rect l="l" t="t" r="r" b="b"/>
                <a:pathLst>
                  <a:path w="166810" h="650969">
                    <a:moveTo>
                      <a:pt x="166799" y="-8"/>
                    </a:moveTo>
                    <a:cubicBezTo>
                      <a:pt x="164205" y="989"/>
                      <a:pt x="161676" y="2145"/>
                      <a:pt x="159224" y="3448"/>
                    </a:cubicBezTo>
                    <a:cubicBezTo>
                      <a:pt x="156831" y="4644"/>
                      <a:pt x="153907" y="6239"/>
                      <a:pt x="150452" y="8365"/>
                    </a:cubicBezTo>
                    <a:cubicBezTo>
                      <a:pt x="146546" y="10625"/>
                      <a:pt x="142773" y="13110"/>
                      <a:pt x="139155" y="15808"/>
                    </a:cubicBezTo>
                    <a:cubicBezTo>
                      <a:pt x="134902" y="18599"/>
                      <a:pt x="130782" y="22320"/>
                      <a:pt x="125864" y="26174"/>
                    </a:cubicBezTo>
                    <a:cubicBezTo>
                      <a:pt x="120947" y="30029"/>
                      <a:pt x="116428" y="34680"/>
                      <a:pt x="111245" y="39465"/>
                    </a:cubicBezTo>
                    <a:cubicBezTo>
                      <a:pt x="106061" y="44250"/>
                      <a:pt x="101144" y="49964"/>
                      <a:pt x="96094" y="56078"/>
                    </a:cubicBezTo>
                    <a:lnTo>
                      <a:pt x="88385" y="65514"/>
                    </a:lnTo>
                    <a:lnTo>
                      <a:pt x="84531" y="70432"/>
                    </a:lnTo>
                    <a:lnTo>
                      <a:pt x="80809" y="75748"/>
                    </a:lnTo>
                    <a:cubicBezTo>
                      <a:pt x="76025" y="82925"/>
                      <a:pt x="70443" y="90102"/>
                      <a:pt x="66057" y="98209"/>
                    </a:cubicBezTo>
                    <a:cubicBezTo>
                      <a:pt x="61671" y="106316"/>
                      <a:pt x="56355" y="114556"/>
                      <a:pt x="52766" y="123594"/>
                    </a:cubicBezTo>
                    <a:cubicBezTo>
                      <a:pt x="48124" y="132538"/>
                      <a:pt x="43954" y="141722"/>
                      <a:pt x="40273" y="151105"/>
                    </a:cubicBezTo>
                    <a:cubicBezTo>
                      <a:pt x="38280" y="155890"/>
                      <a:pt x="36419" y="160807"/>
                      <a:pt x="34426" y="165725"/>
                    </a:cubicBezTo>
                    <a:cubicBezTo>
                      <a:pt x="33495" y="168117"/>
                      <a:pt x="32565" y="170642"/>
                      <a:pt x="31502" y="173168"/>
                    </a:cubicBezTo>
                    <a:cubicBezTo>
                      <a:pt x="30438" y="175693"/>
                      <a:pt x="30040" y="178218"/>
                      <a:pt x="29109" y="180743"/>
                    </a:cubicBezTo>
                    <a:cubicBezTo>
                      <a:pt x="26053" y="190977"/>
                      <a:pt x="22331" y="201210"/>
                      <a:pt x="19673" y="211843"/>
                    </a:cubicBezTo>
                    <a:cubicBezTo>
                      <a:pt x="17015" y="222475"/>
                      <a:pt x="14490" y="233374"/>
                      <a:pt x="11832" y="244272"/>
                    </a:cubicBezTo>
                    <a:cubicBezTo>
                      <a:pt x="9174" y="255170"/>
                      <a:pt x="8110" y="266334"/>
                      <a:pt x="6117" y="277498"/>
                    </a:cubicBezTo>
                    <a:lnTo>
                      <a:pt x="4655" y="285871"/>
                    </a:lnTo>
                    <a:cubicBezTo>
                      <a:pt x="4655" y="287466"/>
                      <a:pt x="4655" y="288396"/>
                      <a:pt x="4655" y="290390"/>
                    </a:cubicBezTo>
                    <a:lnTo>
                      <a:pt x="4655" y="294510"/>
                    </a:lnTo>
                    <a:lnTo>
                      <a:pt x="2927" y="311256"/>
                    </a:lnTo>
                    <a:cubicBezTo>
                      <a:pt x="1864" y="322420"/>
                      <a:pt x="402" y="333451"/>
                      <a:pt x="402" y="345014"/>
                    </a:cubicBezTo>
                    <a:cubicBezTo>
                      <a:pt x="402" y="356577"/>
                      <a:pt x="-528" y="367608"/>
                      <a:pt x="402" y="378772"/>
                    </a:cubicBezTo>
                    <a:cubicBezTo>
                      <a:pt x="1332" y="389936"/>
                      <a:pt x="1199" y="401100"/>
                      <a:pt x="1864" y="411998"/>
                    </a:cubicBezTo>
                    <a:cubicBezTo>
                      <a:pt x="2528" y="422896"/>
                      <a:pt x="4389" y="433529"/>
                      <a:pt x="5585" y="444161"/>
                    </a:cubicBezTo>
                    <a:cubicBezTo>
                      <a:pt x="5585" y="449344"/>
                      <a:pt x="7313" y="454528"/>
                      <a:pt x="8243" y="459711"/>
                    </a:cubicBezTo>
                    <a:lnTo>
                      <a:pt x="11034" y="474862"/>
                    </a:lnTo>
                    <a:cubicBezTo>
                      <a:pt x="11965" y="479913"/>
                      <a:pt x="13294" y="484830"/>
                      <a:pt x="14623" y="489615"/>
                    </a:cubicBezTo>
                    <a:cubicBezTo>
                      <a:pt x="15952" y="494399"/>
                      <a:pt x="17015" y="499184"/>
                      <a:pt x="18344" y="503968"/>
                    </a:cubicBezTo>
                    <a:cubicBezTo>
                      <a:pt x="23234" y="521578"/>
                      <a:pt x="29272" y="538843"/>
                      <a:pt x="36419" y="555669"/>
                    </a:cubicBezTo>
                    <a:cubicBezTo>
                      <a:pt x="42470" y="569903"/>
                      <a:pt x="49395" y="583751"/>
                      <a:pt x="57152" y="597135"/>
                    </a:cubicBezTo>
                    <a:cubicBezTo>
                      <a:pt x="63028" y="607475"/>
                      <a:pt x="69507" y="617456"/>
                      <a:pt x="76557" y="627039"/>
                    </a:cubicBezTo>
                    <a:cubicBezTo>
                      <a:pt x="81051" y="633285"/>
                      <a:pt x="85888" y="639266"/>
                      <a:pt x="91043" y="644981"/>
                    </a:cubicBezTo>
                    <a:cubicBezTo>
                      <a:pt x="94632" y="648968"/>
                      <a:pt x="96625" y="650961"/>
                      <a:pt x="96625" y="650961"/>
                    </a:cubicBezTo>
                    <a:cubicBezTo>
                      <a:pt x="96625" y="650961"/>
                      <a:pt x="94765" y="648702"/>
                      <a:pt x="91708" y="644449"/>
                    </a:cubicBezTo>
                    <a:cubicBezTo>
                      <a:pt x="88651" y="640196"/>
                      <a:pt x="84265" y="633817"/>
                      <a:pt x="79215" y="625444"/>
                    </a:cubicBezTo>
                    <a:cubicBezTo>
                      <a:pt x="74164" y="617071"/>
                      <a:pt x="68449" y="606571"/>
                      <a:pt x="62469" y="594344"/>
                    </a:cubicBezTo>
                    <a:cubicBezTo>
                      <a:pt x="56488" y="582117"/>
                      <a:pt x="50640" y="567763"/>
                      <a:pt x="44925" y="552479"/>
                    </a:cubicBezTo>
                    <a:cubicBezTo>
                      <a:pt x="38948" y="535626"/>
                      <a:pt x="33891" y="518455"/>
                      <a:pt x="29774" y="501044"/>
                    </a:cubicBezTo>
                    <a:cubicBezTo>
                      <a:pt x="28711" y="496393"/>
                      <a:pt x="27647" y="491741"/>
                      <a:pt x="26717" y="486957"/>
                    </a:cubicBezTo>
                    <a:cubicBezTo>
                      <a:pt x="25520" y="482185"/>
                      <a:pt x="24588" y="477347"/>
                      <a:pt x="23926" y="472470"/>
                    </a:cubicBezTo>
                    <a:cubicBezTo>
                      <a:pt x="22597" y="462502"/>
                      <a:pt x="20471" y="452534"/>
                      <a:pt x="19407" y="442300"/>
                    </a:cubicBezTo>
                    <a:cubicBezTo>
                      <a:pt x="18344" y="432067"/>
                      <a:pt x="17414" y="421434"/>
                      <a:pt x="16483" y="410802"/>
                    </a:cubicBezTo>
                    <a:cubicBezTo>
                      <a:pt x="15553" y="400170"/>
                      <a:pt x="16483" y="389404"/>
                      <a:pt x="15553" y="378506"/>
                    </a:cubicBezTo>
                    <a:cubicBezTo>
                      <a:pt x="14623" y="367608"/>
                      <a:pt x="15553" y="356709"/>
                      <a:pt x="16483" y="345811"/>
                    </a:cubicBezTo>
                    <a:cubicBezTo>
                      <a:pt x="17414" y="334913"/>
                      <a:pt x="18078" y="323616"/>
                      <a:pt x="19142" y="312585"/>
                    </a:cubicBezTo>
                    <a:lnTo>
                      <a:pt x="20736" y="295839"/>
                    </a:lnTo>
                    <a:lnTo>
                      <a:pt x="20736" y="291586"/>
                    </a:lnTo>
                    <a:cubicBezTo>
                      <a:pt x="20736" y="290656"/>
                      <a:pt x="20736" y="288928"/>
                      <a:pt x="20736" y="287732"/>
                    </a:cubicBezTo>
                    <a:lnTo>
                      <a:pt x="22065" y="279492"/>
                    </a:lnTo>
                    <a:cubicBezTo>
                      <a:pt x="23793" y="268593"/>
                      <a:pt x="25388" y="257695"/>
                      <a:pt x="27382" y="246930"/>
                    </a:cubicBezTo>
                    <a:cubicBezTo>
                      <a:pt x="29375" y="236165"/>
                      <a:pt x="32166" y="225665"/>
                      <a:pt x="34426" y="215166"/>
                    </a:cubicBezTo>
                    <a:cubicBezTo>
                      <a:pt x="36685" y="204666"/>
                      <a:pt x="40141" y="194565"/>
                      <a:pt x="42932" y="184597"/>
                    </a:cubicBezTo>
                    <a:cubicBezTo>
                      <a:pt x="43729" y="182072"/>
                      <a:pt x="44394" y="179547"/>
                      <a:pt x="45058" y="177022"/>
                    </a:cubicBezTo>
                    <a:lnTo>
                      <a:pt x="47716" y="169845"/>
                    </a:lnTo>
                    <a:cubicBezTo>
                      <a:pt x="49400" y="164887"/>
                      <a:pt x="51128" y="160103"/>
                      <a:pt x="52899" y="155491"/>
                    </a:cubicBezTo>
                    <a:cubicBezTo>
                      <a:pt x="55956" y="145922"/>
                      <a:pt x="60209" y="137017"/>
                      <a:pt x="63931" y="128910"/>
                    </a:cubicBezTo>
                    <a:cubicBezTo>
                      <a:pt x="67652" y="120803"/>
                      <a:pt x="72304" y="111765"/>
                      <a:pt x="76291" y="103791"/>
                    </a:cubicBezTo>
                    <a:cubicBezTo>
                      <a:pt x="80278" y="95817"/>
                      <a:pt x="85195" y="88374"/>
                      <a:pt x="89581" y="81064"/>
                    </a:cubicBezTo>
                    <a:cubicBezTo>
                      <a:pt x="90645" y="79204"/>
                      <a:pt x="91841" y="77476"/>
                      <a:pt x="92904" y="75748"/>
                    </a:cubicBezTo>
                    <a:cubicBezTo>
                      <a:pt x="93967" y="74020"/>
                      <a:pt x="95296" y="72425"/>
                      <a:pt x="96359" y="70698"/>
                    </a:cubicBezTo>
                    <a:lnTo>
                      <a:pt x="103270" y="61129"/>
                    </a:lnTo>
                    <a:cubicBezTo>
                      <a:pt x="107789" y="54882"/>
                      <a:pt x="112574" y="49433"/>
                      <a:pt x="116561" y="43984"/>
                    </a:cubicBezTo>
                    <a:cubicBezTo>
                      <a:pt x="120548" y="38535"/>
                      <a:pt x="125599" y="34149"/>
                      <a:pt x="129852" y="29896"/>
                    </a:cubicBezTo>
                    <a:cubicBezTo>
                      <a:pt x="134104" y="25643"/>
                      <a:pt x="138092" y="21789"/>
                      <a:pt x="142079" y="18732"/>
                    </a:cubicBezTo>
                    <a:cubicBezTo>
                      <a:pt x="147920" y="13628"/>
                      <a:pt x="154092" y="8923"/>
                      <a:pt x="160553" y="4644"/>
                    </a:cubicBezTo>
                    <a:cubicBezTo>
                      <a:pt x="162534" y="2956"/>
                      <a:pt x="164619" y="1414"/>
                      <a:pt x="166799" y="-8"/>
                    </a:cubicBezTo>
                    <a:close/>
                  </a:path>
                </a:pathLst>
              </a:custGeom>
              <a:solidFill>
                <a:srgbClr val="FFFFFF"/>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27" name="Freeform: Shape 126">
                <a:extLst>
                  <a:ext uri="{FF2B5EF4-FFF2-40B4-BE49-F238E27FC236}">
                    <a16:creationId xmlns:a16="http://schemas.microsoft.com/office/drawing/2014/main" id="{D27E0D6D-90A9-780C-9E72-DC18CDB0EE86}"/>
                  </a:ext>
                </a:extLst>
              </p:cNvPr>
              <p:cNvSpPr/>
              <p:nvPr/>
            </p:nvSpPr>
            <p:spPr>
              <a:xfrm>
                <a:off x="4407304" y="4426217"/>
                <a:ext cx="25067" cy="74975"/>
              </a:xfrm>
              <a:custGeom>
                <a:avLst/>
                <a:gdLst>
                  <a:gd name="csX0" fmla="*/ 9824 w 25067"/>
                  <a:gd name="csY0" fmla="*/ 74965 h 74975"/>
                  <a:gd name="csX1" fmla="*/ 11285 w 25067"/>
                  <a:gd name="csY1" fmla="*/ 74965 h 74975"/>
                  <a:gd name="csX2" fmla="*/ 14754 w 25067"/>
                  <a:gd name="csY2" fmla="*/ 69157 h 74975"/>
                  <a:gd name="csX3" fmla="*/ 14741 w 25067"/>
                  <a:gd name="csY3" fmla="*/ 69117 h 74975"/>
                  <a:gd name="csX4" fmla="*/ 9824 w 25067"/>
                  <a:gd name="csY4" fmla="*/ 31771 h 74975"/>
                  <a:gd name="csX5" fmla="*/ 23114 w 25067"/>
                  <a:gd name="csY5" fmla="*/ 8645 h 74975"/>
                  <a:gd name="csX6" fmla="*/ 24111 w 25067"/>
                  <a:gd name="csY6" fmla="*/ 1934 h 74975"/>
                  <a:gd name="csX7" fmla="*/ 17399 w 25067"/>
                  <a:gd name="csY7" fmla="*/ 937 h 74975"/>
                  <a:gd name="csX8" fmla="*/ -12 w 25067"/>
                  <a:gd name="csY8" fmla="*/ 31904 h 74975"/>
                  <a:gd name="csX9" fmla="*/ 5172 w 25067"/>
                  <a:gd name="csY9" fmla="*/ 71775 h 74975"/>
                  <a:gd name="csX10" fmla="*/ 9824 w 25067"/>
                  <a:gd name="csY10" fmla="*/ 74965 h 7497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25067" h="74975">
                    <a:moveTo>
                      <a:pt x="9824" y="74965"/>
                    </a:moveTo>
                    <a:lnTo>
                      <a:pt x="11285" y="74965"/>
                    </a:lnTo>
                    <a:cubicBezTo>
                      <a:pt x="13851" y="74314"/>
                      <a:pt x="15392" y="71709"/>
                      <a:pt x="14754" y="69157"/>
                    </a:cubicBezTo>
                    <a:cubicBezTo>
                      <a:pt x="14741" y="69144"/>
                      <a:pt x="14741" y="69131"/>
                      <a:pt x="14741" y="69117"/>
                    </a:cubicBezTo>
                    <a:cubicBezTo>
                      <a:pt x="11644" y="56903"/>
                      <a:pt x="9996" y="44370"/>
                      <a:pt x="9824" y="31771"/>
                    </a:cubicBezTo>
                    <a:cubicBezTo>
                      <a:pt x="10953" y="22587"/>
                      <a:pt x="15738" y="14241"/>
                      <a:pt x="23114" y="8645"/>
                    </a:cubicBezTo>
                    <a:cubicBezTo>
                      <a:pt x="25240" y="7064"/>
                      <a:pt x="25692" y="4060"/>
                      <a:pt x="24111" y="1934"/>
                    </a:cubicBezTo>
                    <a:cubicBezTo>
                      <a:pt x="22529" y="-193"/>
                      <a:pt x="19526" y="-645"/>
                      <a:pt x="17399" y="937"/>
                    </a:cubicBezTo>
                    <a:cubicBezTo>
                      <a:pt x="7405" y="8273"/>
                      <a:pt x="1065" y="19557"/>
                      <a:pt x="-12" y="31904"/>
                    </a:cubicBezTo>
                    <a:cubicBezTo>
                      <a:pt x="161" y="45354"/>
                      <a:pt x="1902" y="58737"/>
                      <a:pt x="5172" y="71775"/>
                    </a:cubicBezTo>
                    <a:cubicBezTo>
                      <a:pt x="5863" y="73742"/>
                      <a:pt x="7750" y="75032"/>
                      <a:pt x="9824" y="74965"/>
                    </a:cubicBezTo>
                    <a:close/>
                  </a:path>
                </a:pathLst>
              </a:custGeom>
              <a:solidFill>
                <a:srgbClr val="AF1C1C"/>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28" name="Freeform: Shape 127">
                <a:extLst>
                  <a:ext uri="{FF2B5EF4-FFF2-40B4-BE49-F238E27FC236}">
                    <a16:creationId xmlns:a16="http://schemas.microsoft.com/office/drawing/2014/main" id="{193CFD93-1032-B4F2-F381-6493DDAC396E}"/>
                  </a:ext>
                </a:extLst>
              </p:cNvPr>
              <p:cNvSpPr/>
              <p:nvPr/>
            </p:nvSpPr>
            <p:spPr>
              <a:xfrm>
                <a:off x="4392660" y="4431585"/>
                <a:ext cx="34311" cy="70810"/>
              </a:xfrm>
              <a:custGeom>
                <a:avLst/>
                <a:gdLst>
                  <a:gd name="csX0" fmla="*/ 5064 w 34311"/>
                  <a:gd name="csY0" fmla="*/ 70793 h 70810"/>
                  <a:gd name="csX1" fmla="*/ 5064 w 34311"/>
                  <a:gd name="csY1" fmla="*/ 70793 h 70810"/>
                  <a:gd name="csX2" fmla="*/ 9596 w 34311"/>
                  <a:gd name="csY2" fmla="*/ 66288 h 70810"/>
                  <a:gd name="csX3" fmla="*/ 9582 w 34311"/>
                  <a:gd name="csY3" fmla="*/ 65876 h 70810"/>
                  <a:gd name="csX4" fmla="*/ 13304 w 34311"/>
                  <a:gd name="csY4" fmla="*/ 28396 h 70810"/>
                  <a:gd name="csX5" fmla="*/ 31777 w 34311"/>
                  <a:gd name="csY5" fmla="*/ 8992 h 70810"/>
                  <a:gd name="csX6" fmla="*/ 33731 w 34311"/>
                  <a:gd name="csY6" fmla="*/ 2506 h 70810"/>
                  <a:gd name="csX7" fmla="*/ 28056 w 34311"/>
                  <a:gd name="csY7" fmla="*/ 221 h 70810"/>
                  <a:gd name="csX8" fmla="*/ 4000 w 34311"/>
                  <a:gd name="csY8" fmla="*/ 26802 h 70810"/>
                  <a:gd name="csX9" fmla="*/ 13 w 34311"/>
                  <a:gd name="csY9" fmla="*/ 66673 h 70810"/>
                  <a:gd name="csX10" fmla="*/ 5064 w 34311"/>
                  <a:gd name="csY10" fmla="*/ 70793 h 7081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34311" h="70810">
                    <a:moveTo>
                      <a:pt x="5064" y="70793"/>
                    </a:moveTo>
                    <a:lnTo>
                      <a:pt x="5064" y="70793"/>
                    </a:lnTo>
                    <a:cubicBezTo>
                      <a:pt x="7562" y="70807"/>
                      <a:pt x="9596" y="68786"/>
                      <a:pt x="9596" y="66288"/>
                    </a:cubicBezTo>
                    <a:cubicBezTo>
                      <a:pt x="9596" y="66155"/>
                      <a:pt x="9596" y="66009"/>
                      <a:pt x="9582" y="65876"/>
                    </a:cubicBezTo>
                    <a:cubicBezTo>
                      <a:pt x="9396" y="53276"/>
                      <a:pt x="10646" y="40703"/>
                      <a:pt x="13304" y="28396"/>
                    </a:cubicBezTo>
                    <a:cubicBezTo>
                      <a:pt x="15962" y="16169"/>
                      <a:pt x="31645" y="8992"/>
                      <a:pt x="31777" y="8992"/>
                    </a:cubicBezTo>
                    <a:cubicBezTo>
                      <a:pt x="34103" y="7743"/>
                      <a:pt x="34980" y="4846"/>
                      <a:pt x="33731" y="2506"/>
                    </a:cubicBezTo>
                    <a:cubicBezTo>
                      <a:pt x="32628" y="486"/>
                      <a:pt x="30249" y="-484"/>
                      <a:pt x="28056" y="221"/>
                    </a:cubicBezTo>
                    <a:cubicBezTo>
                      <a:pt x="16547" y="5151"/>
                      <a:pt x="7761" y="14853"/>
                      <a:pt x="4000" y="26802"/>
                    </a:cubicBezTo>
                    <a:cubicBezTo>
                      <a:pt x="1116" y="39893"/>
                      <a:pt x="-213" y="53276"/>
                      <a:pt x="13" y="66673"/>
                    </a:cubicBezTo>
                    <a:cubicBezTo>
                      <a:pt x="359" y="69158"/>
                      <a:pt x="2565" y="70953"/>
                      <a:pt x="5064" y="70793"/>
                    </a:cubicBezTo>
                    <a:close/>
                  </a:path>
                </a:pathLst>
              </a:custGeom>
              <a:solidFill>
                <a:srgbClr val="CD3333"/>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29" name="Freeform: Shape 128">
                <a:extLst>
                  <a:ext uri="{FF2B5EF4-FFF2-40B4-BE49-F238E27FC236}">
                    <a16:creationId xmlns:a16="http://schemas.microsoft.com/office/drawing/2014/main" id="{63C1DE32-5A7A-FB5B-9B21-6ACA24B51248}"/>
                  </a:ext>
                </a:extLst>
              </p:cNvPr>
              <p:cNvSpPr/>
              <p:nvPr/>
            </p:nvSpPr>
            <p:spPr>
              <a:xfrm>
                <a:off x="4372725" y="4440972"/>
                <a:ext cx="46398" cy="63806"/>
              </a:xfrm>
              <a:custGeom>
                <a:avLst/>
                <a:gdLst>
                  <a:gd name="csX0" fmla="*/ 4397 w 46398"/>
                  <a:gd name="csY0" fmla="*/ 63798 h 63806"/>
                  <a:gd name="csX1" fmla="*/ 4397 w 46398"/>
                  <a:gd name="csY1" fmla="*/ 63798 h 63806"/>
                  <a:gd name="csX2" fmla="*/ 9049 w 46398"/>
                  <a:gd name="csY2" fmla="*/ 58881 h 63806"/>
                  <a:gd name="csX3" fmla="*/ 9049 w 46398"/>
                  <a:gd name="csY3" fmla="*/ 58881 h 63806"/>
                  <a:gd name="csX4" fmla="*/ 16226 w 46398"/>
                  <a:gd name="csY4" fmla="*/ 26319 h 63806"/>
                  <a:gd name="csX5" fmla="*/ 42807 w 46398"/>
                  <a:gd name="csY5" fmla="*/ 9440 h 63806"/>
                  <a:gd name="csX6" fmla="*/ 46263 w 46398"/>
                  <a:gd name="csY6" fmla="*/ 3725 h 63806"/>
                  <a:gd name="csX7" fmla="*/ 40787 w 46398"/>
                  <a:gd name="csY7" fmla="*/ 84 h 63806"/>
                  <a:gd name="csX8" fmla="*/ 40548 w 46398"/>
                  <a:gd name="csY8" fmla="*/ 137 h 63806"/>
                  <a:gd name="csX9" fmla="*/ 7986 w 46398"/>
                  <a:gd name="csY9" fmla="*/ 22199 h 63806"/>
                  <a:gd name="csX10" fmla="*/ 12 w 46398"/>
                  <a:gd name="csY10" fmla="*/ 59280 h 63806"/>
                  <a:gd name="csX11" fmla="*/ 4397 w 46398"/>
                  <a:gd name="csY11" fmla="*/ 63798 h 6380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Lst>
                <a:rect l="l" t="t" r="r" b="b"/>
                <a:pathLst>
                  <a:path w="46398" h="63806">
                    <a:moveTo>
                      <a:pt x="4397" y="63798"/>
                    </a:moveTo>
                    <a:lnTo>
                      <a:pt x="4397" y="63798"/>
                    </a:lnTo>
                    <a:cubicBezTo>
                      <a:pt x="7042" y="63732"/>
                      <a:pt x="9116" y="61526"/>
                      <a:pt x="9049" y="58881"/>
                    </a:cubicBezTo>
                    <a:cubicBezTo>
                      <a:pt x="9049" y="58881"/>
                      <a:pt x="9049" y="58881"/>
                      <a:pt x="9049" y="58881"/>
                    </a:cubicBezTo>
                    <a:cubicBezTo>
                      <a:pt x="8823" y="47611"/>
                      <a:pt x="11282" y="36446"/>
                      <a:pt x="16226" y="26319"/>
                    </a:cubicBezTo>
                    <a:cubicBezTo>
                      <a:pt x="22592" y="17494"/>
                      <a:pt x="32108" y="11447"/>
                      <a:pt x="42807" y="9440"/>
                    </a:cubicBezTo>
                    <a:cubicBezTo>
                      <a:pt x="45319" y="8789"/>
                      <a:pt x="46847" y="6251"/>
                      <a:pt x="46263" y="3725"/>
                    </a:cubicBezTo>
                    <a:cubicBezTo>
                      <a:pt x="45757" y="1213"/>
                      <a:pt x="43299" y="-421"/>
                      <a:pt x="40787" y="84"/>
                    </a:cubicBezTo>
                    <a:cubicBezTo>
                      <a:pt x="40707" y="97"/>
                      <a:pt x="40627" y="110"/>
                      <a:pt x="40548" y="137"/>
                    </a:cubicBezTo>
                    <a:cubicBezTo>
                      <a:pt x="27270" y="3061"/>
                      <a:pt x="15615" y="10955"/>
                      <a:pt x="7986" y="22199"/>
                    </a:cubicBezTo>
                    <a:cubicBezTo>
                      <a:pt x="2444" y="33762"/>
                      <a:pt x="-294" y="46468"/>
                      <a:pt x="12" y="59280"/>
                    </a:cubicBezTo>
                    <a:cubicBezTo>
                      <a:pt x="12" y="61725"/>
                      <a:pt x="1952" y="63732"/>
                      <a:pt x="4397" y="63798"/>
                    </a:cubicBezTo>
                    <a:close/>
                  </a:path>
                </a:pathLst>
              </a:custGeom>
              <a:solidFill>
                <a:srgbClr val="AF1C1C"/>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30" name="Freeform: Shape 129">
                <a:extLst>
                  <a:ext uri="{FF2B5EF4-FFF2-40B4-BE49-F238E27FC236}">
                    <a16:creationId xmlns:a16="http://schemas.microsoft.com/office/drawing/2014/main" id="{AF1C448B-36F7-0B77-41E5-8278268ACDAD}"/>
                  </a:ext>
                </a:extLst>
              </p:cNvPr>
              <p:cNvSpPr/>
              <p:nvPr/>
            </p:nvSpPr>
            <p:spPr>
              <a:xfrm>
                <a:off x="4352680" y="4439334"/>
                <a:ext cx="51644" cy="63051"/>
              </a:xfrm>
              <a:custGeom>
                <a:avLst/>
                <a:gdLst>
                  <a:gd name="csX0" fmla="*/ 5836 w 51644"/>
                  <a:gd name="csY0" fmla="*/ 63044 h 63051"/>
                  <a:gd name="csX1" fmla="*/ 9956 w 51644"/>
                  <a:gd name="csY1" fmla="*/ 58259 h 63051"/>
                  <a:gd name="csX2" fmla="*/ 19658 w 51644"/>
                  <a:gd name="csY2" fmla="*/ 25299 h 63051"/>
                  <a:gd name="csX3" fmla="*/ 47568 w 51644"/>
                  <a:gd name="csY3" fmla="*/ 9882 h 63051"/>
                  <a:gd name="csX4" fmla="*/ 51556 w 51644"/>
                  <a:gd name="csY4" fmla="*/ 4180 h 63051"/>
                  <a:gd name="csX5" fmla="*/ 51556 w 51644"/>
                  <a:gd name="csY5" fmla="*/ 4167 h 63051"/>
                  <a:gd name="csX6" fmla="*/ 45841 w 51644"/>
                  <a:gd name="csY6" fmla="*/ 47 h 63051"/>
                  <a:gd name="csX7" fmla="*/ 45841 w 51644"/>
                  <a:gd name="csY7" fmla="*/ 47 h 63051"/>
                  <a:gd name="csX8" fmla="*/ 11020 w 51644"/>
                  <a:gd name="csY8" fmla="*/ 20514 h 63051"/>
                  <a:gd name="csX9" fmla="*/ -12 w 51644"/>
                  <a:gd name="csY9" fmla="*/ 57993 h 63051"/>
                  <a:gd name="csX10" fmla="*/ 4773 w 51644"/>
                  <a:gd name="csY10" fmla="*/ 63044 h 6305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51644" h="63051">
                    <a:moveTo>
                      <a:pt x="5836" y="63044"/>
                    </a:moveTo>
                    <a:cubicBezTo>
                      <a:pt x="8162" y="62605"/>
                      <a:pt x="9877" y="60625"/>
                      <a:pt x="9956" y="58259"/>
                    </a:cubicBezTo>
                    <a:cubicBezTo>
                      <a:pt x="10435" y="46644"/>
                      <a:pt x="13771" y="35320"/>
                      <a:pt x="19658" y="25299"/>
                    </a:cubicBezTo>
                    <a:cubicBezTo>
                      <a:pt x="26662" y="16793"/>
                      <a:pt x="36644" y="11291"/>
                      <a:pt x="47568" y="9882"/>
                    </a:cubicBezTo>
                    <a:cubicBezTo>
                      <a:pt x="50240" y="9417"/>
                      <a:pt x="52034" y="6865"/>
                      <a:pt x="51556" y="4180"/>
                    </a:cubicBezTo>
                    <a:cubicBezTo>
                      <a:pt x="51556" y="4180"/>
                      <a:pt x="51556" y="4167"/>
                      <a:pt x="51556" y="4167"/>
                    </a:cubicBezTo>
                    <a:cubicBezTo>
                      <a:pt x="51077" y="1469"/>
                      <a:pt x="48552" y="-352"/>
                      <a:pt x="45841" y="47"/>
                    </a:cubicBezTo>
                    <a:lnTo>
                      <a:pt x="45841" y="47"/>
                    </a:lnTo>
                    <a:cubicBezTo>
                      <a:pt x="44777" y="47"/>
                      <a:pt x="19260" y="4699"/>
                      <a:pt x="11020" y="20514"/>
                    </a:cubicBezTo>
                    <a:cubicBezTo>
                      <a:pt x="4414" y="31944"/>
                      <a:pt x="626" y="44796"/>
                      <a:pt x="-12" y="57993"/>
                    </a:cubicBezTo>
                    <a:cubicBezTo>
                      <a:pt x="-12" y="60678"/>
                      <a:pt x="2088" y="62898"/>
                      <a:pt x="4773" y="63044"/>
                    </a:cubicBezTo>
                    <a:close/>
                  </a:path>
                </a:pathLst>
              </a:custGeom>
              <a:solidFill>
                <a:srgbClr val="AF1C1C"/>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31" name="Freeform: Shape 130">
                <a:extLst>
                  <a:ext uri="{FF2B5EF4-FFF2-40B4-BE49-F238E27FC236}">
                    <a16:creationId xmlns:a16="http://schemas.microsoft.com/office/drawing/2014/main" id="{E56148C1-A543-868B-2C9B-D84246051289}"/>
                  </a:ext>
                </a:extLst>
              </p:cNvPr>
              <p:cNvSpPr/>
              <p:nvPr/>
            </p:nvSpPr>
            <p:spPr>
              <a:xfrm>
                <a:off x="4387199" y="4396261"/>
                <a:ext cx="125269" cy="72037"/>
              </a:xfrm>
              <a:custGeom>
                <a:avLst/>
                <a:gdLst>
                  <a:gd name="csX0" fmla="*/ 125221 w 125269"/>
                  <a:gd name="csY0" fmla="*/ 38469 h 72037"/>
                  <a:gd name="csX1" fmla="*/ 64350 w 125269"/>
                  <a:gd name="csY1" fmla="*/ 192 h 72037"/>
                  <a:gd name="csX2" fmla="*/ 24 w 125269"/>
                  <a:gd name="csY2" fmla="*/ 31956 h 72037"/>
                  <a:gd name="csX3" fmla="*/ 56243 w 125269"/>
                  <a:gd name="csY3" fmla="*/ 71828 h 72037"/>
                  <a:gd name="csX4" fmla="*/ 125221 w 125269"/>
                  <a:gd name="csY4" fmla="*/ 38469 h 72037"/>
                </a:gdLst>
                <a:ahLst/>
                <a:cxnLst>
                  <a:cxn ang="0">
                    <a:pos x="csX0" y="csY0"/>
                  </a:cxn>
                  <a:cxn ang="0">
                    <a:pos x="csX1" y="csY1"/>
                  </a:cxn>
                  <a:cxn ang="0">
                    <a:pos x="csX2" y="csY2"/>
                  </a:cxn>
                  <a:cxn ang="0">
                    <a:pos x="csX3" y="csY3"/>
                  </a:cxn>
                  <a:cxn ang="0">
                    <a:pos x="csX4" y="csY4"/>
                  </a:cxn>
                </a:cxnLst>
                <a:rect l="l" t="t" r="r" b="b"/>
                <a:pathLst>
                  <a:path w="125269" h="72037">
                    <a:moveTo>
                      <a:pt x="125221" y="38469"/>
                    </a:moveTo>
                    <a:cubicBezTo>
                      <a:pt x="126417" y="16008"/>
                      <a:pt x="98640" y="2053"/>
                      <a:pt x="64350" y="192"/>
                    </a:cubicBezTo>
                    <a:cubicBezTo>
                      <a:pt x="30061" y="-1669"/>
                      <a:pt x="1087" y="9495"/>
                      <a:pt x="24" y="31956"/>
                    </a:cubicBezTo>
                    <a:cubicBezTo>
                      <a:pt x="-1039" y="54417"/>
                      <a:pt x="21688" y="69834"/>
                      <a:pt x="56243" y="71828"/>
                    </a:cubicBezTo>
                    <a:cubicBezTo>
                      <a:pt x="90798" y="73822"/>
                      <a:pt x="124025" y="60930"/>
                      <a:pt x="125221" y="38469"/>
                    </a:cubicBezTo>
                    <a:close/>
                  </a:path>
                </a:pathLst>
              </a:custGeom>
              <a:solidFill>
                <a:srgbClr val="C62222"/>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42" name="Freeform: Shape 141">
                <a:extLst>
                  <a:ext uri="{FF2B5EF4-FFF2-40B4-BE49-F238E27FC236}">
                    <a16:creationId xmlns:a16="http://schemas.microsoft.com/office/drawing/2014/main" id="{BD7A9605-5A7C-CC83-6719-BB9391B182F7}"/>
                  </a:ext>
                </a:extLst>
              </p:cNvPr>
              <p:cNvSpPr/>
              <p:nvPr/>
            </p:nvSpPr>
            <p:spPr>
              <a:xfrm>
                <a:off x="4387055" y="4397823"/>
                <a:ext cx="132104" cy="53382"/>
              </a:xfrm>
              <a:custGeom>
                <a:avLst/>
                <a:gdLst>
                  <a:gd name="csX0" fmla="*/ 34724 w 132104"/>
                  <a:gd name="csY0" fmla="*/ 358 h 53382"/>
                  <a:gd name="csX1" fmla="*/ 35 w 132104"/>
                  <a:gd name="csY1" fmla="*/ 23882 h 53382"/>
                  <a:gd name="csX2" fmla="*/ 117922 w 132104"/>
                  <a:gd name="csY2" fmla="*/ 52988 h 53382"/>
                  <a:gd name="csX3" fmla="*/ 131213 w 132104"/>
                  <a:gd name="csY3" fmla="*/ 34648 h 53382"/>
                  <a:gd name="csX4" fmla="*/ 34724 w 132104"/>
                  <a:gd name="csY4" fmla="*/ 358 h 53382"/>
                </a:gdLst>
                <a:ahLst/>
                <a:cxnLst>
                  <a:cxn ang="0">
                    <a:pos x="csX0" y="csY0"/>
                  </a:cxn>
                  <a:cxn ang="0">
                    <a:pos x="csX1" y="csY1"/>
                  </a:cxn>
                  <a:cxn ang="0">
                    <a:pos x="csX2" y="csY2"/>
                  </a:cxn>
                  <a:cxn ang="0">
                    <a:pos x="csX3" y="csY3"/>
                  </a:cxn>
                  <a:cxn ang="0">
                    <a:pos x="csX4" y="csY4"/>
                  </a:cxn>
                </a:cxnLst>
                <a:rect l="l" t="t" r="r" b="b"/>
                <a:pathLst>
                  <a:path w="132104" h="53382">
                    <a:moveTo>
                      <a:pt x="34724" y="358"/>
                    </a:moveTo>
                    <a:cubicBezTo>
                      <a:pt x="-2756" y="3681"/>
                      <a:pt x="35" y="23882"/>
                      <a:pt x="35" y="23882"/>
                    </a:cubicBezTo>
                    <a:cubicBezTo>
                      <a:pt x="35" y="23882"/>
                      <a:pt x="40704" y="-12933"/>
                      <a:pt x="117922" y="52988"/>
                    </a:cubicBezTo>
                    <a:cubicBezTo>
                      <a:pt x="117922" y="52988"/>
                      <a:pt x="136263" y="57640"/>
                      <a:pt x="131213" y="34648"/>
                    </a:cubicBezTo>
                    <a:cubicBezTo>
                      <a:pt x="108885" y="16971"/>
                      <a:pt x="72203" y="-2965"/>
                      <a:pt x="34724" y="358"/>
                    </a:cubicBezTo>
                    <a:close/>
                  </a:path>
                </a:pathLst>
              </a:custGeom>
              <a:solidFill>
                <a:srgbClr val="EAA16A"/>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43" name="Freeform: Shape 142">
                <a:extLst>
                  <a:ext uri="{FF2B5EF4-FFF2-40B4-BE49-F238E27FC236}">
                    <a16:creationId xmlns:a16="http://schemas.microsoft.com/office/drawing/2014/main" id="{47F356C6-E0E6-79DE-DFB4-7EC8BF6FD507}"/>
                  </a:ext>
                </a:extLst>
              </p:cNvPr>
              <p:cNvSpPr/>
              <p:nvPr/>
            </p:nvSpPr>
            <p:spPr>
              <a:xfrm>
                <a:off x="4482794" y="4312598"/>
                <a:ext cx="13290" cy="13290"/>
              </a:xfrm>
              <a:custGeom>
                <a:avLst/>
                <a:gdLst>
                  <a:gd name="csX0" fmla="*/ -12 w 13290"/>
                  <a:gd name="csY0" fmla="*/ -8 h 13290"/>
                  <a:gd name="csX1" fmla="*/ -12 w 13290"/>
                  <a:gd name="csY1" fmla="*/ -8 h 13290"/>
                </a:gdLst>
                <a:ahLst/>
                <a:cxnLst>
                  <a:cxn ang="0">
                    <a:pos x="csX0" y="csY0"/>
                  </a:cxn>
                  <a:cxn ang="0">
                    <a:pos x="csX1" y="csY1"/>
                  </a:cxn>
                </a:cxnLst>
                <a:rect l="l" t="t" r="r" b="b"/>
                <a:pathLst>
                  <a:path w="13290" h="13290">
                    <a:moveTo>
                      <a:pt x="-12" y="-8"/>
                    </a:moveTo>
                    <a:lnTo>
                      <a:pt x="-12" y="-8"/>
                    </a:lnTo>
                    <a:close/>
                  </a:path>
                </a:pathLst>
              </a:custGeom>
              <a:solidFill>
                <a:srgbClr val="FFFFFF"/>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48" name="Freeform: Shape 147">
                <a:extLst>
                  <a:ext uri="{FF2B5EF4-FFF2-40B4-BE49-F238E27FC236}">
                    <a16:creationId xmlns:a16="http://schemas.microsoft.com/office/drawing/2014/main" id="{9FA54996-769E-E279-8458-EF4A32FECF7E}"/>
                  </a:ext>
                </a:extLst>
              </p:cNvPr>
              <p:cNvSpPr/>
              <p:nvPr/>
            </p:nvSpPr>
            <p:spPr>
              <a:xfrm>
                <a:off x="4480976" y="4311508"/>
                <a:ext cx="2747" cy="2950"/>
              </a:xfrm>
              <a:custGeom>
                <a:avLst/>
                <a:gdLst>
                  <a:gd name="csX0" fmla="*/ 1540 w 2747"/>
                  <a:gd name="csY0" fmla="*/ 2544 h 2950"/>
                  <a:gd name="csX1" fmla="*/ 743 w 2747"/>
                  <a:gd name="csY1" fmla="*/ 2544 h 2950"/>
                  <a:gd name="csX2" fmla="*/ 78 w 2747"/>
                  <a:gd name="csY2" fmla="*/ 1481 h 2950"/>
                  <a:gd name="csX3" fmla="*/ 78 w 2747"/>
                  <a:gd name="csY3" fmla="*/ 152 h 2950"/>
                  <a:gd name="csX4" fmla="*/ 1274 w 2747"/>
                  <a:gd name="csY4" fmla="*/ 152 h 2950"/>
                  <a:gd name="csX5" fmla="*/ 2736 w 2747"/>
                  <a:gd name="csY5" fmla="*/ 1348 h 2950"/>
                  <a:gd name="csX6" fmla="*/ 1939 w 2747"/>
                  <a:gd name="csY6" fmla="*/ 2943 h 2950"/>
                  <a:gd name="csX7" fmla="*/ 1141 w 2747"/>
                  <a:gd name="csY7" fmla="*/ 2943 h 295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2747" h="2950">
                    <a:moveTo>
                      <a:pt x="1540" y="2544"/>
                    </a:moveTo>
                    <a:lnTo>
                      <a:pt x="743" y="2544"/>
                    </a:lnTo>
                    <a:cubicBezTo>
                      <a:pt x="357" y="2318"/>
                      <a:pt x="105" y="1919"/>
                      <a:pt x="78" y="1481"/>
                    </a:cubicBezTo>
                    <a:cubicBezTo>
                      <a:pt x="-41" y="1042"/>
                      <a:pt x="-41" y="590"/>
                      <a:pt x="78" y="152"/>
                    </a:cubicBezTo>
                    <a:cubicBezTo>
                      <a:pt x="450" y="-61"/>
                      <a:pt x="902" y="-61"/>
                      <a:pt x="1274" y="152"/>
                    </a:cubicBezTo>
                    <a:cubicBezTo>
                      <a:pt x="1965" y="191"/>
                      <a:pt x="2564" y="670"/>
                      <a:pt x="2736" y="1348"/>
                    </a:cubicBezTo>
                    <a:cubicBezTo>
                      <a:pt x="2736" y="2012"/>
                      <a:pt x="2736" y="2677"/>
                      <a:pt x="1939" y="2943"/>
                    </a:cubicBezTo>
                    <a:lnTo>
                      <a:pt x="1141" y="2943"/>
                    </a:lnTo>
                    <a:close/>
                  </a:path>
                </a:pathLst>
              </a:custGeom>
              <a:solidFill>
                <a:srgbClr val="1D1D1B"/>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49" name="Freeform: Shape 148">
                <a:extLst>
                  <a:ext uri="{FF2B5EF4-FFF2-40B4-BE49-F238E27FC236}">
                    <a16:creationId xmlns:a16="http://schemas.microsoft.com/office/drawing/2014/main" id="{9CE8AFAD-D8EB-9DFD-D0A8-7DE47DCD5427}"/>
                  </a:ext>
                </a:extLst>
              </p:cNvPr>
              <p:cNvSpPr/>
              <p:nvPr/>
            </p:nvSpPr>
            <p:spPr>
              <a:xfrm>
                <a:off x="4482927" y="4312598"/>
                <a:ext cx="13290" cy="13290"/>
              </a:xfrm>
              <a:custGeom>
                <a:avLst/>
                <a:gdLst>
                  <a:gd name="csX0" fmla="*/ -12 w 13290"/>
                  <a:gd name="csY0" fmla="*/ -8 h 13290"/>
                  <a:gd name="csX1" fmla="*/ -12 w 13290"/>
                  <a:gd name="csY1" fmla="*/ -8 h 13290"/>
                </a:gdLst>
                <a:ahLst/>
                <a:cxnLst>
                  <a:cxn ang="0">
                    <a:pos x="csX0" y="csY0"/>
                  </a:cxn>
                  <a:cxn ang="0">
                    <a:pos x="csX1" y="csY1"/>
                  </a:cxn>
                </a:cxnLst>
                <a:rect l="l" t="t" r="r" b="b"/>
                <a:pathLst>
                  <a:path w="13290" h="13290">
                    <a:moveTo>
                      <a:pt x="-12" y="-8"/>
                    </a:moveTo>
                    <a:lnTo>
                      <a:pt x="-12" y="-8"/>
                    </a:lnTo>
                    <a:close/>
                  </a:path>
                </a:pathLst>
              </a:custGeom>
              <a:solidFill>
                <a:srgbClr val="FFFFFF"/>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50" name="Freeform: Shape 149">
                <a:extLst>
                  <a:ext uri="{FF2B5EF4-FFF2-40B4-BE49-F238E27FC236}">
                    <a16:creationId xmlns:a16="http://schemas.microsoft.com/office/drawing/2014/main" id="{EB580781-9D3D-F68E-CC96-917D529A1C41}"/>
                  </a:ext>
                </a:extLst>
              </p:cNvPr>
              <p:cNvSpPr/>
              <p:nvPr/>
            </p:nvSpPr>
            <p:spPr>
              <a:xfrm>
                <a:off x="4481049" y="4311268"/>
                <a:ext cx="3473" cy="2923"/>
              </a:xfrm>
              <a:custGeom>
                <a:avLst/>
                <a:gdLst>
                  <a:gd name="csX0" fmla="*/ 1468 w 3473"/>
                  <a:gd name="csY0" fmla="*/ 2783 h 2923"/>
                  <a:gd name="csX1" fmla="*/ 1468 w 3473"/>
                  <a:gd name="csY1" fmla="*/ 2783 h 2923"/>
                  <a:gd name="csX2" fmla="*/ 6 w 3473"/>
                  <a:gd name="csY2" fmla="*/ 1587 h 2923"/>
                  <a:gd name="csX3" fmla="*/ 936 w 3473"/>
                  <a:gd name="csY3" fmla="*/ -8 h 2923"/>
                  <a:gd name="csX4" fmla="*/ 1867 w 3473"/>
                  <a:gd name="csY4" fmla="*/ -8 h 2923"/>
                  <a:gd name="csX5" fmla="*/ 3462 w 3473"/>
                  <a:gd name="csY5" fmla="*/ 1454 h 2923"/>
                  <a:gd name="csX6" fmla="*/ 2000 w 3473"/>
                  <a:gd name="csY6" fmla="*/ 2916 h 2923"/>
                  <a:gd name="csX7" fmla="*/ 2000 w 3473"/>
                  <a:gd name="csY7" fmla="*/ 2916 h 292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3473" h="2923">
                    <a:moveTo>
                      <a:pt x="1468" y="2783"/>
                    </a:moveTo>
                    <a:lnTo>
                      <a:pt x="1468" y="2783"/>
                    </a:lnTo>
                    <a:cubicBezTo>
                      <a:pt x="777" y="2743"/>
                      <a:pt x="179" y="2265"/>
                      <a:pt x="6" y="1587"/>
                    </a:cubicBezTo>
                    <a:cubicBezTo>
                      <a:pt x="-100" y="896"/>
                      <a:pt x="285" y="231"/>
                      <a:pt x="936" y="-8"/>
                    </a:cubicBezTo>
                    <a:lnTo>
                      <a:pt x="1867" y="-8"/>
                    </a:lnTo>
                    <a:cubicBezTo>
                      <a:pt x="3329" y="-8"/>
                      <a:pt x="3462" y="1188"/>
                      <a:pt x="3462" y="1454"/>
                    </a:cubicBezTo>
                    <a:cubicBezTo>
                      <a:pt x="3395" y="2238"/>
                      <a:pt x="2784" y="2850"/>
                      <a:pt x="2000" y="2916"/>
                    </a:cubicBezTo>
                    <a:lnTo>
                      <a:pt x="2000" y="2916"/>
                    </a:lnTo>
                    <a:close/>
                  </a:path>
                </a:pathLst>
              </a:custGeom>
              <a:solidFill>
                <a:srgbClr val="1D1D1B"/>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51" name="Freeform: Shape 150">
                <a:extLst>
                  <a:ext uri="{FF2B5EF4-FFF2-40B4-BE49-F238E27FC236}">
                    <a16:creationId xmlns:a16="http://schemas.microsoft.com/office/drawing/2014/main" id="{444EE402-DD31-C9D3-2486-E6C40B2073A3}"/>
                  </a:ext>
                </a:extLst>
              </p:cNvPr>
              <p:cNvSpPr/>
              <p:nvPr/>
            </p:nvSpPr>
            <p:spPr>
              <a:xfrm>
                <a:off x="4482927" y="4312598"/>
                <a:ext cx="13290" cy="13290"/>
              </a:xfrm>
              <a:custGeom>
                <a:avLst/>
                <a:gdLst>
                  <a:gd name="csX0" fmla="*/ -12 w 13290"/>
                  <a:gd name="csY0" fmla="*/ -8 h 13290"/>
                  <a:gd name="csX1" fmla="*/ -12 w 13290"/>
                  <a:gd name="csY1" fmla="*/ -8 h 13290"/>
                </a:gdLst>
                <a:ahLst/>
                <a:cxnLst>
                  <a:cxn ang="0">
                    <a:pos x="csX0" y="csY0"/>
                  </a:cxn>
                  <a:cxn ang="0">
                    <a:pos x="csX1" y="csY1"/>
                  </a:cxn>
                </a:cxnLst>
                <a:rect l="l" t="t" r="r" b="b"/>
                <a:pathLst>
                  <a:path w="13290" h="13290">
                    <a:moveTo>
                      <a:pt x="-12" y="-8"/>
                    </a:moveTo>
                    <a:lnTo>
                      <a:pt x="-12" y="-8"/>
                    </a:lnTo>
                    <a:close/>
                  </a:path>
                </a:pathLst>
              </a:custGeom>
              <a:solidFill>
                <a:srgbClr val="FFFFFF"/>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52" name="Freeform: Shape 151">
                <a:extLst>
                  <a:ext uri="{FF2B5EF4-FFF2-40B4-BE49-F238E27FC236}">
                    <a16:creationId xmlns:a16="http://schemas.microsoft.com/office/drawing/2014/main" id="{E622B67E-13BE-29D0-65EB-6A1F61B86667}"/>
                  </a:ext>
                </a:extLst>
              </p:cNvPr>
              <p:cNvSpPr/>
              <p:nvPr/>
            </p:nvSpPr>
            <p:spPr>
              <a:xfrm>
                <a:off x="4481066" y="4311263"/>
                <a:ext cx="2955" cy="2796"/>
              </a:xfrm>
              <a:custGeom>
                <a:avLst/>
                <a:gdLst>
                  <a:gd name="csX0" fmla="*/ 1450 w 2955"/>
                  <a:gd name="csY0" fmla="*/ 2789 h 2796"/>
                  <a:gd name="csX1" fmla="*/ 1450 w 2955"/>
                  <a:gd name="csY1" fmla="*/ 2789 h 2796"/>
                  <a:gd name="csX2" fmla="*/ -12 w 2955"/>
                  <a:gd name="csY2" fmla="*/ 1327 h 2796"/>
                  <a:gd name="csX3" fmla="*/ 1304 w 2955"/>
                  <a:gd name="csY3" fmla="*/ -2 h 2796"/>
                  <a:gd name="csX4" fmla="*/ 1450 w 2955"/>
                  <a:gd name="csY4" fmla="*/ -2 h 2796"/>
                  <a:gd name="csX5" fmla="*/ 1450 w 2955"/>
                  <a:gd name="csY5" fmla="*/ -2 h 2796"/>
                  <a:gd name="csX6" fmla="*/ 2912 w 2955"/>
                  <a:gd name="csY6" fmla="*/ 1194 h 2796"/>
                  <a:gd name="csX7" fmla="*/ 1902 w 2955"/>
                  <a:gd name="csY7" fmla="*/ 2776 h 2796"/>
                  <a:gd name="csX8" fmla="*/ 1849 w 2955"/>
                  <a:gd name="csY8" fmla="*/ 2789 h 279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2955" h="2796">
                    <a:moveTo>
                      <a:pt x="1450" y="2789"/>
                    </a:moveTo>
                    <a:lnTo>
                      <a:pt x="1450" y="2789"/>
                    </a:lnTo>
                    <a:cubicBezTo>
                      <a:pt x="640" y="2789"/>
                      <a:pt x="-12" y="2138"/>
                      <a:pt x="-12" y="1327"/>
                    </a:cubicBezTo>
                    <a:cubicBezTo>
                      <a:pt x="-12" y="596"/>
                      <a:pt x="573" y="-2"/>
                      <a:pt x="1304" y="-2"/>
                    </a:cubicBezTo>
                    <a:cubicBezTo>
                      <a:pt x="1357" y="-15"/>
                      <a:pt x="1411" y="-2"/>
                      <a:pt x="1450" y="-2"/>
                    </a:cubicBezTo>
                    <a:lnTo>
                      <a:pt x="1450" y="-2"/>
                    </a:lnTo>
                    <a:cubicBezTo>
                      <a:pt x="1450" y="-2"/>
                      <a:pt x="2912" y="-2"/>
                      <a:pt x="2912" y="1194"/>
                    </a:cubicBezTo>
                    <a:cubicBezTo>
                      <a:pt x="3072" y="1912"/>
                      <a:pt x="2620" y="2616"/>
                      <a:pt x="1902" y="2776"/>
                    </a:cubicBezTo>
                    <a:cubicBezTo>
                      <a:pt x="1889" y="2789"/>
                      <a:pt x="1862" y="2789"/>
                      <a:pt x="1849" y="2789"/>
                    </a:cubicBezTo>
                    <a:close/>
                  </a:path>
                </a:pathLst>
              </a:custGeom>
              <a:solidFill>
                <a:srgbClr val="1D1D1B"/>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53" name="Freeform: Shape 152">
                <a:extLst>
                  <a:ext uri="{FF2B5EF4-FFF2-40B4-BE49-F238E27FC236}">
                    <a16:creationId xmlns:a16="http://schemas.microsoft.com/office/drawing/2014/main" id="{4BA7A9AC-C53E-35E2-DF11-76C8BD8FFA79}"/>
                  </a:ext>
                </a:extLst>
              </p:cNvPr>
              <p:cNvSpPr/>
              <p:nvPr/>
            </p:nvSpPr>
            <p:spPr>
              <a:xfrm>
                <a:off x="4482794" y="4301832"/>
                <a:ext cx="36150" cy="24055"/>
              </a:xfrm>
              <a:custGeom>
                <a:avLst/>
                <a:gdLst>
                  <a:gd name="csX0" fmla="*/ 30557 w 36150"/>
                  <a:gd name="csY0" fmla="*/ -8 h 24055"/>
                  <a:gd name="csX1" fmla="*/ -12 w 36150"/>
                  <a:gd name="csY1" fmla="*/ 10757 h 24055"/>
                  <a:gd name="csX2" fmla="*/ -12 w 36150"/>
                  <a:gd name="csY2" fmla="*/ 10757 h 24055"/>
                  <a:gd name="csX3" fmla="*/ 36139 w 36150"/>
                  <a:gd name="csY3" fmla="*/ 24048 h 24055"/>
                  <a:gd name="csX4" fmla="*/ 36139 w 36150"/>
                  <a:gd name="csY4" fmla="*/ 24048 h 24055"/>
                </a:gdLst>
                <a:ahLst/>
                <a:cxnLst>
                  <a:cxn ang="0">
                    <a:pos x="csX0" y="csY0"/>
                  </a:cxn>
                  <a:cxn ang="0">
                    <a:pos x="csX1" y="csY1"/>
                  </a:cxn>
                  <a:cxn ang="0">
                    <a:pos x="csX2" y="csY2"/>
                  </a:cxn>
                  <a:cxn ang="0">
                    <a:pos x="csX3" y="csY3"/>
                  </a:cxn>
                  <a:cxn ang="0">
                    <a:pos x="csX4" y="csY4"/>
                  </a:cxn>
                </a:cxnLst>
                <a:rect l="l" t="t" r="r" b="b"/>
                <a:pathLst>
                  <a:path w="36150" h="24055">
                    <a:moveTo>
                      <a:pt x="30557" y="-8"/>
                    </a:moveTo>
                    <a:lnTo>
                      <a:pt x="-12" y="10757"/>
                    </a:lnTo>
                    <a:lnTo>
                      <a:pt x="-12" y="10757"/>
                    </a:lnTo>
                    <a:cubicBezTo>
                      <a:pt x="13239" y="10717"/>
                      <a:pt x="26065" y="15436"/>
                      <a:pt x="36139" y="24048"/>
                    </a:cubicBezTo>
                    <a:lnTo>
                      <a:pt x="36139" y="24048"/>
                    </a:lnTo>
                    <a:close/>
                  </a:path>
                </a:pathLst>
              </a:custGeom>
              <a:solidFill>
                <a:srgbClr val="FFD9B6"/>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54" name="Freeform: Shape 153">
                <a:extLst>
                  <a:ext uri="{FF2B5EF4-FFF2-40B4-BE49-F238E27FC236}">
                    <a16:creationId xmlns:a16="http://schemas.microsoft.com/office/drawing/2014/main" id="{957F7647-22F5-FEDF-0967-F6469D6D79AD}"/>
                  </a:ext>
                </a:extLst>
              </p:cNvPr>
              <p:cNvSpPr/>
              <p:nvPr/>
            </p:nvSpPr>
            <p:spPr>
              <a:xfrm>
                <a:off x="4375344" y="4339426"/>
                <a:ext cx="163788" cy="93051"/>
              </a:xfrm>
              <a:custGeom>
                <a:avLst/>
                <a:gdLst>
                  <a:gd name="csX0" fmla="*/ 44840 w 163788"/>
                  <a:gd name="csY0" fmla="*/ 5459 h 93051"/>
                  <a:gd name="csX1" fmla="*/ 11746 w 163788"/>
                  <a:gd name="csY1" fmla="*/ 82278 h 93051"/>
                  <a:gd name="csX2" fmla="*/ 46435 w 163788"/>
                  <a:gd name="csY2" fmla="*/ 58754 h 93051"/>
                  <a:gd name="csX3" fmla="*/ 143190 w 163788"/>
                  <a:gd name="csY3" fmla="*/ 93044 h 93051"/>
                  <a:gd name="csX4" fmla="*/ 151828 w 163788"/>
                  <a:gd name="csY4" fmla="*/ 37223 h 93051"/>
                  <a:gd name="csX5" fmla="*/ 44840 w 163788"/>
                  <a:gd name="csY5" fmla="*/ 5459 h 93051"/>
                </a:gdLst>
                <a:ahLst/>
                <a:cxnLst>
                  <a:cxn ang="0">
                    <a:pos x="csX0" y="csY0"/>
                  </a:cxn>
                  <a:cxn ang="0">
                    <a:pos x="csX1" y="csY1"/>
                  </a:cxn>
                  <a:cxn ang="0">
                    <a:pos x="csX2" y="csY2"/>
                  </a:cxn>
                  <a:cxn ang="0">
                    <a:pos x="csX3" y="csY3"/>
                  </a:cxn>
                  <a:cxn ang="0">
                    <a:pos x="csX4" y="csY4"/>
                  </a:cxn>
                  <a:cxn ang="0">
                    <a:pos x="csX5" y="csY5"/>
                  </a:cxn>
                </a:cxnLst>
                <a:rect l="l" t="t" r="r" b="b"/>
                <a:pathLst>
                  <a:path w="163788" h="93051">
                    <a:moveTo>
                      <a:pt x="44840" y="5459"/>
                    </a:moveTo>
                    <a:cubicBezTo>
                      <a:pt x="44840" y="5459"/>
                      <a:pt x="-27726" y="34831"/>
                      <a:pt x="11746" y="82278"/>
                    </a:cubicBezTo>
                    <a:cubicBezTo>
                      <a:pt x="11746" y="82278"/>
                      <a:pt x="8955" y="62077"/>
                      <a:pt x="46435" y="58754"/>
                    </a:cubicBezTo>
                    <a:cubicBezTo>
                      <a:pt x="83914" y="55432"/>
                      <a:pt x="120596" y="75367"/>
                      <a:pt x="143190" y="93044"/>
                    </a:cubicBezTo>
                    <a:cubicBezTo>
                      <a:pt x="143190" y="93044"/>
                      <a:pt x="183061" y="73374"/>
                      <a:pt x="151828" y="37223"/>
                    </a:cubicBezTo>
                    <a:cubicBezTo>
                      <a:pt x="126842" y="4529"/>
                      <a:pt x="83621" y="-8310"/>
                      <a:pt x="44840" y="5459"/>
                    </a:cubicBezTo>
                    <a:close/>
                  </a:path>
                </a:pathLst>
              </a:custGeom>
              <a:solidFill>
                <a:srgbClr val="F7BA84"/>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55" name="Freeform: Shape 154">
                <a:extLst>
                  <a:ext uri="{FF2B5EF4-FFF2-40B4-BE49-F238E27FC236}">
                    <a16:creationId xmlns:a16="http://schemas.microsoft.com/office/drawing/2014/main" id="{74C68F26-7DB1-91B9-711A-F62C4DB0C77F}"/>
                  </a:ext>
                </a:extLst>
              </p:cNvPr>
              <p:cNvSpPr/>
              <p:nvPr/>
            </p:nvSpPr>
            <p:spPr>
              <a:xfrm>
                <a:off x="4420116" y="4312598"/>
                <a:ext cx="117200" cy="64193"/>
              </a:xfrm>
              <a:custGeom>
                <a:avLst/>
                <a:gdLst>
                  <a:gd name="csX0" fmla="*/ 62799 w 117200"/>
                  <a:gd name="csY0" fmla="*/ -8 h 64193"/>
                  <a:gd name="csX1" fmla="*/ 62799 w 117200"/>
                  <a:gd name="csY1" fmla="*/ -8 h 64193"/>
                  <a:gd name="csX2" fmla="*/ 466 w 117200"/>
                  <a:gd name="csY2" fmla="*/ 32421 h 64193"/>
                  <a:gd name="csX3" fmla="*/ 107455 w 117200"/>
                  <a:gd name="csY3" fmla="*/ 64185 h 64193"/>
                  <a:gd name="csX4" fmla="*/ 99348 w 117200"/>
                  <a:gd name="csY4" fmla="*/ 13681 h 64193"/>
                  <a:gd name="csX5" fmla="*/ 62799 w 117200"/>
                  <a:gd name="csY5" fmla="*/ -8 h 64193"/>
                </a:gdLst>
                <a:ahLst/>
                <a:cxnLst>
                  <a:cxn ang="0">
                    <a:pos x="csX0" y="csY0"/>
                  </a:cxn>
                  <a:cxn ang="0">
                    <a:pos x="csX1" y="csY1"/>
                  </a:cxn>
                  <a:cxn ang="0">
                    <a:pos x="csX2" y="csY2"/>
                  </a:cxn>
                  <a:cxn ang="0">
                    <a:pos x="csX3" y="csY3"/>
                  </a:cxn>
                  <a:cxn ang="0">
                    <a:pos x="csX4" y="csY4"/>
                  </a:cxn>
                  <a:cxn ang="0">
                    <a:pos x="csX5" y="csY5"/>
                  </a:cxn>
                </a:cxnLst>
                <a:rect l="l" t="t" r="r" b="b"/>
                <a:pathLst>
                  <a:path w="117200" h="64193">
                    <a:moveTo>
                      <a:pt x="62799" y="-8"/>
                    </a:moveTo>
                    <a:lnTo>
                      <a:pt x="62799" y="-8"/>
                    </a:lnTo>
                    <a:cubicBezTo>
                      <a:pt x="56021" y="-8"/>
                      <a:pt x="-6046" y="922"/>
                      <a:pt x="466" y="32421"/>
                    </a:cubicBezTo>
                    <a:cubicBezTo>
                      <a:pt x="39248" y="18652"/>
                      <a:pt x="82469" y="31491"/>
                      <a:pt x="107455" y="64185"/>
                    </a:cubicBezTo>
                    <a:cubicBezTo>
                      <a:pt x="107455" y="64185"/>
                      <a:pt x="134036" y="53287"/>
                      <a:pt x="99348" y="13681"/>
                    </a:cubicBezTo>
                    <a:cubicBezTo>
                      <a:pt x="89234" y="4843"/>
                      <a:pt x="76236" y="-21"/>
                      <a:pt x="62799" y="-8"/>
                    </a:cubicBezTo>
                    <a:close/>
                  </a:path>
                </a:pathLst>
              </a:custGeom>
              <a:solidFill>
                <a:srgbClr val="FFCC9A"/>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56" name="Freeform: Shape 155">
                <a:extLst>
                  <a:ext uri="{FF2B5EF4-FFF2-40B4-BE49-F238E27FC236}">
                    <a16:creationId xmlns:a16="http://schemas.microsoft.com/office/drawing/2014/main" id="{48236E13-CEA4-05FD-5F4C-0A308AD4D779}"/>
                  </a:ext>
                </a:extLst>
              </p:cNvPr>
              <p:cNvSpPr/>
              <p:nvPr/>
            </p:nvSpPr>
            <p:spPr>
              <a:xfrm>
                <a:off x="4487272" y="4317633"/>
                <a:ext cx="32077" cy="61151"/>
              </a:xfrm>
              <a:custGeom>
                <a:avLst/>
                <a:gdLst>
                  <a:gd name="csX0" fmla="*/ 25281 w 32077"/>
                  <a:gd name="csY0" fmla="*/ 61143 h 61151"/>
                  <a:gd name="csX1" fmla="*/ 10927 w 32077"/>
                  <a:gd name="csY1" fmla="*/ 3595 h 61151"/>
                  <a:gd name="csX2" fmla="*/ 694 w 32077"/>
                  <a:gd name="csY2" fmla="*/ 3595 h 61151"/>
                  <a:gd name="csX3" fmla="*/ 10794 w 32077"/>
                  <a:gd name="csY3" fmla="*/ 24462 h 61151"/>
                  <a:gd name="csX4" fmla="*/ 10794 w 32077"/>
                  <a:gd name="csY4" fmla="*/ 36955 h 61151"/>
                  <a:gd name="csX5" fmla="*/ 10794 w 32077"/>
                  <a:gd name="csY5" fmla="*/ 52371 h 61151"/>
                  <a:gd name="csX6" fmla="*/ 25281 w 32077"/>
                  <a:gd name="csY6" fmla="*/ 61143 h 61151"/>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2077" h="61151">
                    <a:moveTo>
                      <a:pt x="25281" y="61143"/>
                    </a:moveTo>
                    <a:cubicBezTo>
                      <a:pt x="25281" y="61143"/>
                      <a:pt x="47742" y="31638"/>
                      <a:pt x="10927" y="3595"/>
                    </a:cubicBezTo>
                    <a:cubicBezTo>
                      <a:pt x="10927" y="3595"/>
                      <a:pt x="-3293" y="-4512"/>
                      <a:pt x="694" y="3595"/>
                    </a:cubicBezTo>
                    <a:cubicBezTo>
                      <a:pt x="4681" y="11703"/>
                      <a:pt x="17440" y="19278"/>
                      <a:pt x="10794" y="24462"/>
                    </a:cubicBezTo>
                    <a:cubicBezTo>
                      <a:pt x="4149" y="29645"/>
                      <a:pt x="12921" y="28847"/>
                      <a:pt x="10794" y="36955"/>
                    </a:cubicBezTo>
                    <a:cubicBezTo>
                      <a:pt x="8668" y="45062"/>
                      <a:pt x="7206" y="43733"/>
                      <a:pt x="10794" y="52371"/>
                    </a:cubicBezTo>
                    <a:cubicBezTo>
                      <a:pt x="13758" y="57621"/>
                      <a:pt x="19247" y="60944"/>
                      <a:pt x="25281" y="61143"/>
                    </a:cubicBezTo>
                    <a:close/>
                  </a:path>
                </a:pathLst>
              </a:custGeom>
              <a:solidFill>
                <a:srgbClr val="E82E2E"/>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57" name="Freeform: Shape 156">
                <a:extLst>
                  <a:ext uri="{FF2B5EF4-FFF2-40B4-BE49-F238E27FC236}">
                    <a16:creationId xmlns:a16="http://schemas.microsoft.com/office/drawing/2014/main" id="{95E59E40-1683-155F-1A3F-8A9EA19CB416}"/>
                  </a:ext>
                </a:extLst>
              </p:cNvPr>
              <p:cNvSpPr/>
              <p:nvPr/>
            </p:nvSpPr>
            <p:spPr>
              <a:xfrm>
                <a:off x="4465120" y="4318664"/>
                <a:ext cx="38671" cy="67876"/>
              </a:xfrm>
              <a:custGeom>
                <a:avLst/>
                <a:gdLst>
                  <a:gd name="csX0" fmla="*/ 32548 w 38671"/>
                  <a:gd name="csY0" fmla="*/ 58917 h 67876"/>
                  <a:gd name="csX1" fmla="*/ 36269 w 38671"/>
                  <a:gd name="csY1" fmla="*/ 43234 h 67876"/>
                  <a:gd name="csX2" fmla="*/ 24042 w 38671"/>
                  <a:gd name="csY2" fmla="*/ 33000 h 67876"/>
                  <a:gd name="csX3" fmla="*/ 21517 w 38671"/>
                  <a:gd name="csY3" fmla="*/ 20773 h 67876"/>
                  <a:gd name="csX4" fmla="*/ 12745 w 38671"/>
                  <a:gd name="csY4" fmla="*/ 9077 h 67876"/>
                  <a:gd name="csX5" fmla="*/ 7296 w 38671"/>
                  <a:gd name="csY5" fmla="*/ 1767 h 67876"/>
                  <a:gd name="csX6" fmla="*/ 14207 w 38671"/>
                  <a:gd name="csY6" fmla="*/ 62106 h 67876"/>
                  <a:gd name="csX7" fmla="*/ 32548 w 38671"/>
                  <a:gd name="csY7" fmla="*/ 58917 h 6787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38671" h="67876">
                    <a:moveTo>
                      <a:pt x="32548" y="58917"/>
                    </a:moveTo>
                    <a:cubicBezTo>
                      <a:pt x="32548" y="58917"/>
                      <a:pt x="43313" y="48284"/>
                      <a:pt x="36269" y="43234"/>
                    </a:cubicBezTo>
                    <a:cubicBezTo>
                      <a:pt x="29225" y="38184"/>
                      <a:pt x="22979" y="40842"/>
                      <a:pt x="24042" y="33000"/>
                    </a:cubicBezTo>
                    <a:cubicBezTo>
                      <a:pt x="25105" y="25159"/>
                      <a:pt x="27099" y="24893"/>
                      <a:pt x="21517" y="20773"/>
                    </a:cubicBezTo>
                    <a:cubicBezTo>
                      <a:pt x="15935" y="16653"/>
                      <a:pt x="11682" y="14261"/>
                      <a:pt x="12745" y="9077"/>
                    </a:cubicBezTo>
                    <a:cubicBezTo>
                      <a:pt x="13808" y="3894"/>
                      <a:pt x="12745" y="-3416"/>
                      <a:pt x="7296" y="1767"/>
                    </a:cubicBezTo>
                    <a:cubicBezTo>
                      <a:pt x="1847" y="6951"/>
                      <a:pt x="-8919" y="47487"/>
                      <a:pt x="14207" y="62106"/>
                    </a:cubicBezTo>
                    <a:cubicBezTo>
                      <a:pt x="37332" y="76726"/>
                      <a:pt x="32548" y="58917"/>
                      <a:pt x="32548" y="58917"/>
                    </a:cubicBezTo>
                    <a:close/>
                  </a:path>
                </a:pathLst>
              </a:custGeom>
              <a:solidFill>
                <a:srgbClr val="DB2A2A"/>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58" name="Freeform: Shape 157">
                <a:extLst>
                  <a:ext uri="{FF2B5EF4-FFF2-40B4-BE49-F238E27FC236}">
                    <a16:creationId xmlns:a16="http://schemas.microsoft.com/office/drawing/2014/main" id="{63FCC3FC-2B02-F42E-36AC-76F2C8AE9128}"/>
                  </a:ext>
                </a:extLst>
              </p:cNvPr>
              <p:cNvSpPr/>
              <p:nvPr/>
            </p:nvSpPr>
            <p:spPr>
              <a:xfrm>
                <a:off x="4484658" y="4371159"/>
                <a:ext cx="33026" cy="51483"/>
              </a:xfrm>
              <a:custGeom>
                <a:avLst/>
                <a:gdLst>
                  <a:gd name="csX0" fmla="*/ 9421 w 33026"/>
                  <a:gd name="csY0" fmla="*/ 51476 h 51483"/>
                  <a:gd name="csX1" fmla="*/ 32946 w 33026"/>
                  <a:gd name="csY1" fmla="*/ 20243 h 51483"/>
                  <a:gd name="csX2" fmla="*/ 8225 w 33026"/>
                  <a:gd name="csY2" fmla="*/ 2833 h 51483"/>
                  <a:gd name="csX3" fmla="*/ 1314 w 33026"/>
                  <a:gd name="csY3" fmla="*/ 48286 h 51483"/>
                  <a:gd name="csX4" fmla="*/ 9421 w 33026"/>
                  <a:gd name="csY4" fmla="*/ 51476 h 51483"/>
                </a:gdLst>
                <a:ahLst/>
                <a:cxnLst>
                  <a:cxn ang="0">
                    <a:pos x="csX0" y="csY0"/>
                  </a:cxn>
                  <a:cxn ang="0">
                    <a:pos x="csX1" y="csY1"/>
                  </a:cxn>
                  <a:cxn ang="0">
                    <a:pos x="csX2" y="csY2"/>
                  </a:cxn>
                  <a:cxn ang="0">
                    <a:pos x="csX3" y="csY3"/>
                  </a:cxn>
                  <a:cxn ang="0">
                    <a:pos x="csX4" y="csY4"/>
                  </a:cxn>
                </a:cxnLst>
                <a:rect l="l" t="t" r="r" b="b"/>
                <a:pathLst>
                  <a:path w="33026" h="51483">
                    <a:moveTo>
                      <a:pt x="9421" y="51476"/>
                    </a:moveTo>
                    <a:cubicBezTo>
                      <a:pt x="22486" y="46279"/>
                      <a:pt x="31563" y="34238"/>
                      <a:pt x="32946" y="20243"/>
                    </a:cubicBezTo>
                    <a:cubicBezTo>
                      <a:pt x="34142" y="-2749"/>
                      <a:pt x="19655" y="-2218"/>
                      <a:pt x="8225" y="2833"/>
                    </a:cubicBezTo>
                    <a:cubicBezTo>
                      <a:pt x="-3205" y="7883"/>
                      <a:pt x="251" y="47622"/>
                      <a:pt x="1314" y="48286"/>
                    </a:cubicBezTo>
                    <a:cubicBezTo>
                      <a:pt x="2377" y="48951"/>
                      <a:pt x="9421" y="51476"/>
                      <a:pt x="9421" y="51476"/>
                    </a:cubicBezTo>
                    <a:close/>
                  </a:path>
                </a:pathLst>
              </a:custGeom>
              <a:solidFill>
                <a:srgbClr val="BC2222"/>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59" name="Freeform: Shape 158">
                <a:extLst>
                  <a:ext uri="{FF2B5EF4-FFF2-40B4-BE49-F238E27FC236}">
                    <a16:creationId xmlns:a16="http://schemas.microsoft.com/office/drawing/2014/main" id="{32EB02C1-57CB-418D-4EB5-0F5A7176612C}"/>
                  </a:ext>
                </a:extLst>
              </p:cNvPr>
              <p:cNvSpPr/>
              <p:nvPr/>
            </p:nvSpPr>
            <p:spPr>
              <a:xfrm>
                <a:off x="4446610" y="4410630"/>
                <a:ext cx="51070" cy="26116"/>
              </a:xfrm>
              <a:custGeom>
                <a:avLst/>
                <a:gdLst>
                  <a:gd name="csX0" fmla="*/ 30192 w 51070"/>
                  <a:gd name="csY0" fmla="*/ 44 h 26116"/>
                  <a:gd name="csX1" fmla="*/ 1484 w 51070"/>
                  <a:gd name="csY1" fmla="*/ 11208 h 26116"/>
                  <a:gd name="csX2" fmla="*/ 29527 w 51070"/>
                  <a:gd name="csY2" fmla="*/ 24499 h 26116"/>
                  <a:gd name="csX3" fmla="*/ 51058 w 51070"/>
                  <a:gd name="csY3" fmla="*/ 8949 h 26116"/>
                  <a:gd name="csX4" fmla="*/ 30192 w 51070"/>
                  <a:gd name="csY4" fmla="*/ 44 h 26116"/>
                </a:gdLst>
                <a:ahLst/>
                <a:cxnLst>
                  <a:cxn ang="0">
                    <a:pos x="csX0" y="csY0"/>
                  </a:cxn>
                  <a:cxn ang="0">
                    <a:pos x="csX1" y="csY1"/>
                  </a:cxn>
                  <a:cxn ang="0">
                    <a:pos x="csX2" y="csY2"/>
                  </a:cxn>
                  <a:cxn ang="0">
                    <a:pos x="csX3" y="csY3"/>
                  </a:cxn>
                  <a:cxn ang="0">
                    <a:pos x="csX4" y="csY4"/>
                  </a:cxn>
                </a:cxnLst>
                <a:rect l="l" t="t" r="r" b="b"/>
                <a:pathLst>
                  <a:path w="51070" h="26116">
                    <a:moveTo>
                      <a:pt x="30192" y="44"/>
                    </a:moveTo>
                    <a:cubicBezTo>
                      <a:pt x="19546" y="-49"/>
                      <a:pt x="9273" y="3951"/>
                      <a:pt x="1484" y="11208"/>
                    </a:cubicBezTo>
                    <a:cubicBezTo>
                      <a:pt x="-5958" y="27157"/>
                      <a:pt x="16104" y="27821"/>
                      <a:pt x="29527" y="24499"/>
                    </a:cubicBezTo>
                    <a:cubicBezTo>
                      <a:pt x="40691" y="22106"/>
                      <a:pt x="51191" y="14797"/>
                      <a:pt x="51058" y="8949"/>
                    </a:cubicBezTo>
                    <a:cubicBezTo>
                      <a:pt x="50925" y="3101"/>
                      <a:pt x="41090" y="-488"/>
                      <a:pt x="30192" y="44"/>
                    </a:cubicBezTo>
                    <a:close/>
                  </a:path>
                </a:pathLst>
              </a:custGeom>
              <a:solidFill>
                <a:srgbClr val="DB2A2A"/>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60" name="Freeform: Shape 159">
                <a:extLst>
                  <a:ext uri="{FF2B5EF4-FFF2-40B4-BE49-F238E27FC236}">
                    <a16:creationId xmlns:a16="http://schemas.microsoft.com/office/drawing/2014/main" id="{E6A84577-650D-50FB-41D4-9301FEB82AC5}"/>
                  </a:ext>
                </a:extLst>
              </p:cNvPr>
              <p:cNvSpPr/>
              <p:nvPr/>
            </p:nvSpPr>
            <p:spPr>
              <a:xfrm>
                <a:off x="4402204" y="4429820"/>
                <a:ext cx="35585" cy="20310"/>
              </a:xfrm>
              <a:custGeom>
                <a:avLst/>
                <a:gdLst>
                  <a:gd name="csX0" fmla="*/ 17050 w 35585"/>
                  <a:gd name="csY0" fmla="*/ 11289 h 20310"/>
                  <a:gd name="csX1" fmla="*/ 38 w 35585"/>
                  <a:gd name="csY1" fmla="*/ -8 h 20310"/>
                  <a:gd name="csX2" fmla="*/ 38 w 35585"/>
                  <a:gd name="csY2" fmla="*/ 2783 h 20310"/>
                  <a:gd name="csX3" fmla="*/ 18140 w 35585"/>
                  <a:gd name="csY3" fmla="*/ 20300 h 20310"/>
                  <a:gd name="csX4" fmla="*/ 35524 w 35585"/>
                  <a:gd name="csY4" fmla="*/ 4644 h 20310"/>
                  <a:gd name="csX5" fmla="*/ 35524 w 35585"/>
                  <a:gd name="csY5" fmla="*/ 1720 h 20310"/>
                  <a:gd name="csX6" fmla="*/ 17050 w 35585"/>
                  <a:gd name="csY6" fmla="*/ 11289 h 20310"/>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5585" h="20310">
                    <a:moveTo>
                      <a:pt x="17050" y="11289"/>
                    </a:moveTo>
                    <a:cubicBezTo>
                      <a:pt x="9514" y="11675"/>
                      <a:pt x="2603" y="7089"/>
                      <a:pt x="38" y="-8"/>
                    </a:cubicBezTo>
                    <a:cubicBezTo>
                      <a:pt x="-28" y="923"/>
                      <a:pt x="-28" y="1853"/>
                      <a:pt x="38" y="2783"/>
                    </a:cubicBezTo>
                    <a:cubicBezTo>
                      <a:pt x="198" y="12618"/>
                      <a:pt x="8305" y="20460"/>
                      <a:pt x="18140" y="20300"/>
                    </a:cubicBezTo>
                    <a:cubicBezTo>
                      <a:pt x="27031" y="20154"/>
                      <a:pt x="34447" y="13469"/>
                      <a:pt x="35524" y="4644"/>
                    </a:cubicBezTo>
                    <a:cubicBezTo>
                      <a:pt x="35590" y="3674"/>
                      <a:pt x="35590" y="2690"/>
                      <a:pt x="35524" y="1720"/>
                    </a:cubicBezTo>
                    <a:cubicBezTo>
                      <a:pt x="32228" y="8711"/>
                      <a:pt x="24666" y="12631"/>
                      <a:pt x="17050" y="11289"/>
                    </a:cubicBezTo>
                    <a:close/>
                  </a:path>
                </a:pathLst>
              </a:custGeom>
              <a:solidFill>
                <a:srgbClr val="700F0F"/>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61" name="Freeform: Shape 160">
                <a:extLst>
                  <a:ext uri="{FF2B5EF4-FFF2-40B4-BE49-F238E27FC236}">
                    <a16:creationId xmlns:a16="http://schemas.microsoft.com/office/drawing/2014/main" id="{A0789609-52E6-4197-8CED-771DD199F111}"/>
                  </a:ext>
                </a:extLst>
              </p:cNvPr>
              <p:cNvSpPr/>
              <p:nvPr/>
            </p:nvSpPr>
            <p:spPr>
              <a:xfrm>
                <a:off x="4404772" y="4378367"/>
                <a:ext cx="11837" cy="39626"/>
              </a:xfrm>
              <a:custGeom>
                <a:avLst/>
                <a:gdLst>
                  <a:gd name="csX0" fmla="*/ 10229 w 11837"/>
                  <a:gd name="csY0" fmla="*/ 34699 h 39626"/>
                  <a:gd name="csX1" fmla="*/ 4913 w 11837"/>
                  <a:gd name="csY1" fmla="*/ 39617 h 39626"/>
                  <a:gd name="csX2" fmla="*/ 4913 w 11837"/>
                  <a:gd name="csY2" fmla="*/ 39617 h 39626"/>
                  <a:gd name="csX3" fmla="*/ -5 w 11837"/>
                  <a:gd name="csY3" fmla="*/ 34181 h 39626"/>
                  <a:gd name="csX4" fmla="*/ -5 w 11837"/>
                  <a:gd name="csY4" fmla="*/ 34168 h 39626"/>
                  <a:gd name="csX5" fmla="*/ 1457 w 11837"/>
                  <a:gd name="csY5" fmla="*/ 4796 h 39626"/>
                  <a:gd name="csX6" fmla="*/ 6747 w 11837"/>
                  <a:gd name="csY6" fmla="*/ -2 h 39626"/>
                  <a:gd name="csX7" fmla="*/ 6906 w 11837"/>
                  <a:gd name="csY7" fmla="*/ 11 h 39626"/>
                  <a:gd name="csX8" fmla="*/ 6906 w 11837"/>
                  <a:gd name="csY8" fmla="*/ 11 h 39626"/>
                  <a:gd name="csX9" fmla="*/ 11824 w 11837"/>
                  <a:gd name="csY9" fmla="*/ 5181 h 39626"/>
                  <a:gd name="csX10" fmla="*/ 11824 w 11837"/>
                  <a:gd name="csY10" fmla="*/ 5328 h 3962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11837" h="39626">
                    <a:moveTo>
                      <a:pt x="10229" y="34699"/>
                    </a:moveTo>
                    <a:cubicBezTo>
                      <a:pt x="10083" y="37504"/>
                      <a:pt x="7730" y="39697"/>
                      <a:pt x="4913" y="39617"/>
                    </a:cubicBezTo>
                    <a:lnTo>
                      <a:pt x="4913" y="39617"/>
                    </a:lnTo>
                    <a:cubicBezTo>
                      <a:pt x="2055" y="39471"/>
                      <a:pt x="-151" y="37038"/>
                      <a:pt x="-5" y="34181"/>
                    </a:cubicBezTo>
                    <a:cubicBezTo>
                      <a:pt x="-5" y="34181"/>
                      <a:pt x="-5" y="34168"/>
                      <a:pt x="-5" y="34168"/>
                    </a:cubicBezTo>
                    <a:lnTo>
                      <a:pt x="1457" y="4796"/>
                    </a:lnTo>
                    <a:cubicBezTo>
                      <a:pt x="1590" y="2005"/>
                      <a:pt x="3969" y="-135"/>
                      <a:pt x="6747" y="-2"/>
                    </a:cubicBezTo>
                    <a:cubicBezTo>
                      <a:pt x="6800" y="-2"/>
                      <a:pt x="6853" y="11"/>
                      <a:pt x="6906" y="11"/>
                    </a:cubicBezTo>
                    <a:lnTo>
                      <a:pt x="6906" y="11"/>
                    </a:lnTo>
                    <a:cubicBezTo>
                      <a:pt x="9697" y="78"/>
                      <a:pt x="11904" y="2404"/>
                      <a:pt x="11824" y="5181"/>
                    </a:cubicBezTo>
                    <a:cubicBezTo>
                      <a:pt x="11824" y="5234"/>
                      <a:pt x="11824" y="5274"/>
                      <a:pt x="11824" y="5328"/>
                    </a:cubicBezTo>
                    <a:close/>
                  </a:path>
                </a:pathLst>
              </a:custGeom>
              <a:solidFill>
                <a:srgbClr val="AF1C1C"/>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62" name="Freeform: Shape 161">
                <a:extLst>
                  <a:ext uri="{FF2B5EF4-FFF2-40B4-BE49-F238E27FC236}">
                    <a16:creationId xmlns:a16="http://schemas.microsoft.com/office/drawing/2014/main" id="{64BF9614-CC23-E1CA-4E5D-E2687A86B2B1}"/>
                  </a:ext>
                </a:extLst>
              </p:cNvPr>
              <p:cNvSpPr/>
              <p:nvPr/>
            </p:nvSpPr>
            <p:spPr>
              <a:xfrm>
                <a:off x="4399115" y="4362570"/>
                <a:ext cx="26583" cy="26583"/>
              </a:xfrm>
              <a:custGeom>
                <a:avLst/>
                <a:gdLst>
                  <a:gd name="csX0" fmla="*/ 26519 w 26583"/>
                  <a:gd name="csY0" fmla="*/ 14479 h 26583"/>
                  <a:gd name="csX1" fmla="*/ 12085 w 26583"/>
                  <a:gd name="csY1" fmla="*/ 26520 h 26583"/>
                  <a:gd name="csX2" fmla="*/ 44 w 26583"/>
                  <a:gd name="csY2" fmla="*/ 12087 h 26583"/>
                  <a:gd name="csX3" fmla="*/ 13228 w 26583"/>
                  <a:gd name="csY3" fmla="*/ -8 h 26583"/>
                  <a:gd name="csX4" fmla="*/ 26572 w 26583"/>
                  <a:gd name="csY4" fmla="*/ 13230 h 26583"/>
                  <a:gd name="csX5" fmla="*/ 26519 w 26583"/>
                  <a:gd name="csY5" fmla="*/ 14479 h 26583"/>
                </a:gdLst>
                <a:ahLst/>
                <a:cxnLst>
                  <a:cxn ang="0">
                    <a:pos x="csX0" y="csY0"/>
                  </a:cxn>
                  <a:cxn ang="0">
                    <a:pos x="csX1" y="csY1"/>
                  </a:cxn>
                  <a:cxn ang="0">
                    <a:pos x="csX2" y="csY2"/>
                  </a:cxn>
                  <a:cxn ang="0">
                    <a:pos x="csX3" y="csY3"/>
                  </a:cxn>
                  <a:cxn ang="0">
                    <a:pos x="csX4" y="csY4"/>
                  </a:cxn>
                  <a:cxn ang="0">
                    <a:pos x="csX5" y="csY5"/>
                  </a:cxn>
                </a:cxnLst>
                <a:rect l="l" t="t" r="r" b="b"/>
                <a:pathLst>
                  <a:path w="26583" h="26583">
                    <a:moveTo>
                      <a:pt x="26519" y="14479"/>
                    </a:moveTo>
                    <a:cubicBezTo>
                      <a:pt x="25854" y="21789"/>
                      <a:pt x="19395" y="27185"/>
                      <a:pt x="12085" y="26520"/>
                    </a:cubicBezTo>
                    <a:cubicBezTo>
                      <a:pt x="4775" y="25856"/>
                      <a:pt x="-621" y="19396"/>
                      <a:pt x="44" y="12087"/>
                    </a:cubicBezTo>
                    <a:cubicBezTo>
                      <a:pt x="669" y="5255"/>
                      <a:pt x="6370" y="19"/>
                      <a:pt x="13228" y="-8"/>
                    </a:cubicBezTo>
                    <a:cubicBezTo>
                      <a:pt x="20564" y="-34"/>
                      <a:pt x="26545" y="5893"/>
                      <a:pt x="26572" y="13230"/>
                    </a:cubicBezTo>
                    <a:cubicBezTo>
                      <a:pt x="26572" y="13642"/>
                      <a:pt x="26558" y="14067"/>
                      <a:pt x="26519" y="14479"/>
                    </a:cubicBezTo>
                    <a:close/>
                  </a:path>
                </a:pathLst>
              </a:custGeom>
              <a:solidFill>
                <a:srgbClr val="FFFFFF"/>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63" name="Freeform: Shape 162">
                <a:extLst>
                  <a:ext uri="{FF2B5EF4-FFF2-40B4-BE49-F238E27FC236}">
                    <a16:creationId xmlns:a16="http://schemas.microsoft.com/office/drawing/2014/main" id="{DD2742E0-6053-C1C9-A434-1B831E5C7AE6}"/>
                  </a:ext>
                </a:extLst>
              </p:cNvPr>
              <p:cNvSpPr/>
              <p:nvPr/>
            </p:nvSpPr>
            <p:spPr>
              <a:xfrm>
                <a:off x="4404369" y="4368805"/>
                <a:ext cx="14908" cy="14908"/>
              </a:xfrm>
              <a:custGeom>
                <a:avLst/>
                <a:gdLst>
                  <a:gd name="csX0" fmla="*/ 14885 w 14908"/>
                  <a:gd name="csY0" fmla="*/ 7845 h 14908"/>
                  <a:gd name="csX1" fmla="*/ 7044 w 14908"/>
                  <a:gd name="csY1" fmla="*/ 14889 h 14908"/>
                  <a:gd name="csX2" fmla="*/ 0 w 14908"/>
                  <a:gd name="csY2" fmla="*/ 7047 h 14908"/>
                  <a:gd name="csX3" fmla="*/ 7841 w 14908"/>
                  <a:gd name="csY3" fmla="*/ 4 h 14908"/>
                  <a:gd name="csX4" fmla="*/ 14885 w 14908"/>
                  <a:gd name="csY4" fmla="*/ 7845 h 14908"/>
                </a:gdLst>
                <a:ahLst/>
                <a:cxnLst>
                  <a:cxn ang="0">
                    <a:pos x="csX0" y="csY0"/>
                  </a:cxn>
                  <a:cxn ang="0">
                    <a:pos x="csX1" y="csY1"/>
                  </a:cxn>
                  <a:cxn ang="0">
                    <a:pos x="csX2" y="csY2"/>
                  </a:cxn>
                  <a:cxn ang="0">
                    <a:pos x="csX3" y="csY3"/>
                  </a:cxn>
                  <a:cxn ang="0">
                    <a:pos x="csX4" y="csY4"/>
                  </a:cxn>
                </a:cxnLst>
                <a:rect l="l" t="t" r="r" b="b"/>
                <a:pathLst>
                  <a:path w="14908" h="14908">
                    <a:moveTo>
                      <a:pt x="14885" y="7845"/>
                    </a:moveTo>
                    <a:cubicBezTo>
                      <a:pt x="14659" y="11952"/>
                      <a:pt x="11151" y="15115"/>
                      <a:pt x="7044" y="14889"/>
                    </a:cubicBezTo>
                    <a:cubicBezTo>
                      <a:pt x="2937" y="14663"/>
                      <a:pt x="-226" y="11154"/>
                      <a:pt x="0" y="7047"/>
                    </a:cubicBezTo>
                    <a:cubicBezTo>
                      <a:pt x="226" y="2941"/>
                      <a:pt x="3734" y="-222"/>
                      <a:pt x="7841" y="4"/>
                    </a:cubicBezTo>
                    <a:cubicBezTo>
                      <a:pt x="11948" y="229"/>
                      <a:pt x="15111" y="3738"/>
                      <a:pt x="14885" y="7845"/>
                    </a:cubicBezTo>
                    <a:close/>
                  </a:path>
                </a:pathLst>
              </a:custGeom>
              <a:solidFill>
                <a:srgbClr val="3F2724"/>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64" name="Freeform: Shape 163">
                <a:extLst>
                  <a:ext uri="{FF2B5EF4-FFF2-40B4-BE49-F238E27FC236}">
                    <a16:creationId xmlns:a16="http://schemas.microsoft.com/office/drawing/2014/main" id="{D65DCFF3-5EEF-10CB-C6F9-1EA9F1745C36}"/>
                  </a:ext>
                </a:extLst>
              </p:cNvPr>
              <p:cNvSpPr/>
              <p:nvPr/>
            </p:nvSpPr>
            <p:spPr>
              <a:xfrm>
                <a:off x="4406767" y="4371471"/>
                <a:ext cx="4656" cy="4655"/>
              </a:xfrm>
              <a:custGeom>
                <a:avLst/>
                <a:gdLst>
                  <a:gd name="csX0" fmla="*/ 4645 w 4656"/>
                  <a:gd name="csY0" fmla="*/ 2388 h 4655"/>
                  <a:gd name="csX1" fmla="*/ 2120 w 4656"/>
                  <a:gd name="csY1" fmla="*/ 4647 h 4655"/>
                  <a:gd name="csX2" fmla="*/ -7 w 4656"/>
                  <a:gd name="csY2" fmla="*/ 2122 h 4655"/>
                  <a:gd name="csX3" fmla="*/ 2372 w 4656"/>
                  <a:gd name="csY3" fmla="*/ -5 h 4655"/>
                  <a:gd name="csX4" fmla="*/ 2385 w 4656"/>
                  <a:gd name="csY4" fmla="*/ -5 h 4655"/>
                  <a:gd name="csX5" fmla="*/ 4645 w 4656"/>
                  <a:gd name="csY5" fmla="*/ 2255 h 4655"/>
                  <a:gd name="csX6" fmla="*/ 4645 w 4656"/>
                  <a:gd name="csY6" fmla="*/ 2388 h 4655"/>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4656" h="4655">
                    <a:moveTo>
                      <a:pt x="4645" y="2388"/>
                    </a:moveTo>
                    <a:cubicBezTo>
                      <a:pt x="4512" y="3677"/>
                      <a:pt x="3422" y="4661"/>
                      <a:pt x="2120" y="4647"/>
                    </a:cubicBezTo>
                    <a:cubicBezTo>
                      <a:pt x="857" y="4514"/>
                      <a:pt x="-87" y="3398"/>
                      <a:pt x="-7" y="2122"/>
                    </a:cubicBezTo>
                    <a:cubicBezTo>
                      <a:pt x="60" y="873"/>
                      <a:pt x="1136" y="-71"/>
                      <a:pt x="2372" y="-5"/>
                    </a:cubicBezTo>
                    <a:cubicBezTo>
                      <a:pt x="2385" y="-5"/>
                      <a:pt x="2385" y="-5"/>
                      <a:pt x="2385" y="-5"/>
                    </a:cubicBezTo>
                    <a:cubicBezTo>
                      <a:pt x="3635" y="-5"/>
                      <a:pt x="4645" y="1006"/>
                      <a:pt x="4645" y="2255"/>
                    </a:cubicBezTo>
                    <a:cubicBezTo>
                      <a:pt x="4645" y="2295"/>
                      <a:pt x="4645" y="2348"/>
                      <a:pt x="4645" y="2388"/>
                    </a:cubicBezTo>
                    <a:close/>
                  </a:path>
                </a:pathLst>
              </a:custGeom>
              <a:solidFill>
                <a:srgbClr val="FFFFFF"/>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65" name="Freeform: Shape 164">
                <a:extLst>
                  <a:ext uri="{FF2B5EF4-FFF2-40B4-BE49-F238E27FC236}">
                    <a16:creationId xmlns:a16="http://schemas.microsoft.com/office/drawing/2014/main" id="{41EDECE9-F692-CC67-5F86-3C20A7606FF2}"/>
                  </a:ext>
                </a:extLst>
              </p:cNvPr>
              <p:cNvSpPr/>
              <p:nvPr/>
            </p:nvSpPr>
            <p:spPr>
              <a:xfrm>
                <a:off x="4405972" y="4370544"/>
                <a:ext cx="6514" cy="6382"/>
              </a:xfrm>
              <a:custGeom>
                <a:avLst/>
                <a:gdLst>
                  <a:gd name="csX0" fmla="*/ 3048 w 6514"/>
                  <a:gd name="csY0" fmla="*/ 6372 h 6382"/>
                  <a:gd name="csX1" fmla="*/ 3048 w 6514"/>
                  <a:gd name="csY1" fmla="*/ 6372 h 6382"/>
                  <a:gd name="csX2" fmla="*/ -9 w 6514"/>
                  <a:gd name="csY2" fmla="*/ 3049 h 6382"/>
                  <a:gd name="csX3" fmla="*/ -9 w 6514"/>
                  <a:gd name="csY3" fmla="*/ 3049 h 6382"/>
                  <a:gd name="csX4" fmla="*/ 3181 w 6514"/>
                  <a:gd name="csY4" fmla="*/ -8 h 6382"/>
                  <a:gd name="csX5" fmla="*/ 6503 w 6514"/>
                  <a:gd name="csY5" fmla="*/ 3315 h 6382"/>
                  <a:gd name="csX6" fmla="*/ 3048 w 6514"/>
                  <a:gd name="csY6" fmla="*/ 6372 h 6382"/>
                  <a:gd name="csX7" fmla="*/ 3048 w 6514"/>
                  <a:gd name="csY7" fmla="*/ 1720 h 6382"/>
                  <a:gd name="csX8" fmla="*/ 1453 w 6514"/>
                  <a:gd name="csY8" fmla="*/ 3049 h 6382"/>
                  <a:gd name="csX9" fmla="*/ 2782 w 6514"/>
                  <a:gd name="csY9" fmla="*/ 4644 h 6382"/>
                  <a:gd name="csX10" fmla="*/ 2915 w 6514"/>
                  <a:gd name="csY10" fmla="*/ 4644 h 6382"/>
                  <a:gd name="csX11" fmla="*/ 2915 w 6514"/>
                  <a:gd name="csY11" fmla="*/ 4644 h 6382"/>
                  <a:gd name="csX12" fmla="*/ 4377 w 6514"/>
                  <a:gd name="csY12" fmla="*/ 3315 h 6382"/>
                  <a:gd name="csX13" fmla="*/ 3048 w 6514"/>
                  <a:gd name="csY13" fmla="*/ 1720 h 638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Lst>
                <a:rect l="l" t="t" r="r" b="b"/>
                <a:pathLst>
                  <a:path w="6514" h="6382">
                    <a:moveTo>
                      <a:pt x="3048" y="6372"/>
                    </a:moveTo>
                    <a:lnTo>
                      <a:pt x="3048" y="6372"/>
                    </a:lnTo>
                    <a:cubicBezTo>
                      <a:pt x="1293" y="6305"/>
                      <a:pt x="-76" y="4816"/>
                      <a:pt x="-9" y="3049"/>
                    </a:cubicBezTo>
                    <a:cubicBezTo>
                      <a:pt x="-9" y="3049"/>
                      <a:pt x="-9" y="3049"/>
                      <a:pt x="-9" y="3049"/>
                    </a:cubicBezTo>
                    <a:cubicBezTo>
                      <a:pt x="57" y="1334"/>
                      <a:pt x="1466" y="-8"/>
                      <a:pt x="3181" y="-8"/>
                    </a:cubicBezTo>
                    <a:cubicBezTo>
                      <a:pt x="5015" y="-8"/>
                      <a:pt x="6503" y="1481"/>
                      <a:pt x="6503" y="3315"/>
                    </a:cubicBezTo>
                    <a:cubicBezTo>
                      <a:pt x="6357" y="5096"/>
                      <a:pt x="4829" y="6451"/>
                      <a:pt x="3048" y="6372"/>
                    </a:cubicBezTo>
                    <a:close/>
                    <a:moveTo>
                      <a:pt x="3048" y="1720"/>
                    </a:moveTo>
                    <a:cubicBezTo>
                      <a:pt x="2277" y="1760"/>
                      <a:pt x="1626" y="2305"/>
                      <a:pt x="1453" y="3049"/>
                    </a:cubicBezTo>
                    <a:cubicBezTo>
                      <a:pt x="1373" y="3860"/>
                      <a:pt x="1971" y="4564"/>
                      <a:pt x="2782" y="4644"/>
                    </a:cubicBezTo>
                    <a:cubicBezTo>
                      <a:pt x="2822" y="4644"/>
                      <a:pt x="2875" y="4644"/>
                      <a:pt x="2915" y="4644"/>
                    </a:cubicBezTo>
                    <a:lnTo>
                      <a:pt x="2915" y="4644"/>
                    </a:lnTo>
                    <a:cubicBezTo>
                      <a:pt x="3672" y="4644"/>
                      <a:pt x="4310" y="4072"/>
                      <a:pt x="4377" y="3315"/>
                    </a:cubicBezTo>
                    <a:cubicBezTo>
                      <a:pt x="4390" y="2531"/>
                      <a:pt x="3818" y="1853"/>
                      <a:pt x="3048" y="1720"/>
                    </a:cubicBezTo>
                    <a:close/>
                  </a:path>
                </a:pathLst>
              </a:custGeom>
              <a:solidFill>
                <a:srgbClr val="1D1D1B"/>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66" name="Freeform: Shape 165">
                <a:extLst>
                  <a:ext uri="{FF2B5EF4-FFF2-40B4-BE49-F238E27FC236}">
                    <a16:creationId xmlns:a16="http://schemas.microsoft.com/office/drawing/2014/main" id="{CEEA3530-2F8E-ED3F-213E-87B57A686A68}"/>
                  </a:ext>
                </a:extLst>
              </p:cNvPr>
              <p:cNvSpPr/>
              <p:nvPr/>
            </p:nvSpPr>
            <p:spPr>
              <a:xfrm>
                <a:off x="4406373" y="4377575"/>
                <a:ext cx="2126" cy="2126"/>
              </a:xfrm>
              <a:custGeom>
                <a:avLst/>
                <a:gdLst>
                  <a:gd name="csX0" fmla="*/ 2115 w 2126"/>
                  <a:gd name="csY0" fmla="*/ 1069 h 2126"/>
                  <a:gd name="csX1" fmla="*/ 1038 w 2126"/>
                  <a:gd name="csY1" fmla="*/ 2119 h 2126"/>
                  <a:gd name="csX2" fmla="*/ -12 w 2126"/>
                  <a:gd name="csY2" fmla="*/ 1055 h 2126"/>
                  <a:gd name="csX3" fmla="*/ 1065 w 2126"/>
                  <a:gd name="csY3" fmla="*/ -8 h 2126"/>
                  <a:gd name="csX4" fmla="*/ 1185 w 2126"/>
                  <a:gd name="csY4" fmla="*/ 6 h 2126"/>
                  <a:gd name="csX5" fmla="*/ 2115 w 2126"/>
                  <a:gd name="csY5" fmla="*/ 1069 h 2126"/>
                </a:gdLst>
                <a:ahLst/>
                <a:cxnLst>
                  <a:cxn ang="0">
                    <a:pos x="csX0" y="csY0"/>
                  </a:cxn>
                  <a:cxn ang="0">
                    <a:pos x="csX1" y="csY1"/>
                  </a:cxn>
                  <a:cxn ang="0">
                    <a:pos x="csX2" y="csY2"/>
                  </a:cxn>
                  <a:cxn ang="0">
                    <a:pos x="csX3" y="csY3"/>
                  </a:cxn>
                  <a:cxn ang="0">
                    <a:pos x="csX4" y="csY4"/>
                  </a:cxn>
                  <a:cxn ang="0">
                    <a:pos x="csX5" y="csY5"/>
                  </a:cxn>
                </a:cxnLst>
                <a:rect l="l" t="t" r="r" b="b"/>
                <a:pathLst>
                  <a:path w="2126" h="2126">
                    <a:moveTo>
                      <a:pt x="2115" y="1069"/>
                    </a:moveTo>
                    <a:cubicBezTo>
                      <a:pt x="2115" y="1653"/>
                      <a:pt x="1637" y="2132"/>
                      <a:pt x="1038" y="2119"/>
                    </a:cubicBezTo>
                    <a:cubicBezTo>
                      <a:pt x="454" y="2119"/>
                      <a:pt x="-12" y="1640"/>
                      <a:pt x="-12" y="1055"/>
                    </a:cubicBezTo>
                    <a:cubicBezTo>
                      <a:pt x="-12" y="471"/>
                      <a:pt x="467" y="-8"/>
                      <a:pt x="1065" y="-8"/>
                    </a:cubicBezTo>
                    <a:cubicBezTo>
                      <a:pt x="1105" y="-8"/>
                      <a:pt x="1145" y="6"/>
                      <a:pt x="1185" y="6"/>
                    </a:cubicBezTo>
                    <a:cubicBezTo>
                      <a:pt x="1716" y="72"/>
                      <a:pt x="2115" y="524"/>
                      <a:pt x="2115" y="1069"/>
                    </a:cubicBezTo>
                    <a:close/>
                  </a:path>
                </a:pathLst>
              </a:custGeom>
              <a:solidFill>
                <a:srgbClr val="FFFFFF"/>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67" name="Freeform: Shape 166">
                <a:extLst>
                  <a:ext uri="{FF2B5EF4-FFF2-40B4-BE49-F238E27FC236}">
                    <a16:creationId xmlns:a16="http://schemas.microsoft.com/office/drawing/2014/main" id="{5F15B9C4-91B4-9E9A-034C-2DAC18EC2D81}"/>
                  </a:ext>
                </a:extLst>
              </p:cNvPr>
              <p:cNvSpPr/>
              <p:nvPr/>
            </p:nvSpPr>
            <p:spPr>
              <a:xfrm>
                <a:off x="4405576" y="4376658"/>
                <a:ext cx="3854" cy="3854"/>
              </a:xfrm>
              <a:custGeom>
                <a:avLst/>
                <a:gdLst>
                  <a:gd name="csX0" fmla="*/ 1849 w 3854"/>
                  <a:gd name="csY0" fmla="*/ 3846 h 3854"/>
                  <a:gd name="csX1" fmla="*/ 1849 w 3854"/>
                  <a:gd name="csY1" fmla="*/ 3846 h 3854"/>
                  <a:gd name="csX2" fmla="*/ -12 w 3854"/>
                  <a:gd name="csY2" fmla="*/ 1853 h 3854"/>
                  <a:gd name="csX3" fmla="*/ 1849 w 3854"/>
                  <a:gd name="csY3" fmla="*/ -8 h 3854"/>
                  <a:gd name="csX4" fmla="*/ 3843 w 3854"/>
                  <a:gd name="csY4" fmla="*/ 1986 h 3854"/>
                  <a:gd name="csX5" fmla="*/ 1849 w 3854"/>
                  <a:gd name="csY5" fmla="*/ 3846 h 3854"/>
                </a:gdLst>
                <a:ahLst/>
                <a:cxnLst>
                  <a:cxn ang="0">
                    <a:pos x="csX0" y="csY0"/>
                  </a:cxn>
                  <a:cxn ang="0">
                    <a:pos x="csX1" y="csY1"/>
                  </a:cxn>
                  <a:cxn ang="0">
                    <a:pos x="csX2" y="csY2"/>
                  </a:cxn>
                  <a:cxn ang="0">
                    <a:pos x="csX3" y="csY3"/>
                  </a:cxn>
                  <a:cxn ang="0">
                    <a:pos x="csX4" y="csY4"/>
                  </a:cxn>
                  <a:cxn ang="0">
                    <a:pos x="csX5" y="csY5"/>
                  </a:cxn>
                </a:cxnLst>
                <a:rect l="l" t="t" r="r" b="b"/>
                <a:pathLst>
                  <a:path w="3854" h="3854">
                    <a:moveTo>
                      <a:pt x="1849" y="3846"/>
                    </a:moveTo>
                    <a:lnTo>
                      <a:pt x="1849" y="3846"/>
                    </a:lnTo>
                    <a:cubicBezTo>
                      <a:pt x="799" y="3780"/>
                      <a:pt x="-12" y="2903"/>
                      <a:pt x="-12" y="1853"/>
                    </a:cubicBezTo>
                    <a:cubicBezTo>
                      <a:pt x="55" y="856"/>
                      <a:pt x="852" y="59"/>
                      <a:pt x="1849" y="-8"/>
                    </a:cubicBezTo>
                    <a:cubicBezTo>
                      <a:pt x="2952" y="-8"/>
                      <a:pt x="3843" y="883"/>
                      <a:pt x="3843" y="1986"/>
                    </a:cubicBezTo>
                    <a:cubicBezTo>
                      <a:pt x="3776" y="3036"/>
                      <a:pt x="2899" y="3846"/>
                      <a:pt x="1849" y="3846"/>
                    </a:cubicBezTo>
                    <a:close/>
                  </a:path>
                </a:pathLst>
              </a:custGeom>
              <a:solidFill>
                <a:srgbClr val="1D1D1B"/>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68" name="Freeform: Shape 167">
                <a:extLst>
                  <a:ext uri="{FF2B5EF4-FFF2-40B4-BE49-F238E27FC236}">
                    <a16:creationId xmlns:a16="http://schemas.microsoft.com/office/drawing/2014/main" id="{5766CD52-6691-ADFF-6DB2-965C9B945856}"/>
                  </a:ext>
                </a:extLst>
              </p:cNvPr>
              <p:cNvSpPr/>
              <p:nvPr/>
            </p:nvSpPr>
            <p:spPr>
              <a:xfrm>
                <a:off x="4438928" y="4380099"/>
                <a:ext cx="11854" cy="39627"/>
              </a:xfrm>
              <a:custGeom>
                <a:avLst/>
                <a:gdLst>
                  <a:gd name="csX0" fmla="*/ 10362 w 11854"/>
                  <a:gd name="csY0" fmla="*/ 34695 h 39627"/>
                  <a:gd name="csX1" fmla="*/ 4926 w 11854"/>
                  <a:gd name="csY1" fmla="*/ 39613 h 39627"/>
                  <a:gd name="csX2" fmla="*/ 4913 w 11854"/>
                  <a:gd name="csY2" fmla="*/ 39613 h 39627"/>
                  <a:gd name="csX3" fmla="*/ 4913 w 11854"/>
                  <a:gd name="csY3" fmla="*/ 39613 h 39627"/>
                  <a:gd name="csX4" fmla="*/ -5 w 11854"/>
                  <a:gd name="csY4" fmla="*/ 34177 h 39627"/>
                  <a:gd name="csX5" fmla="*/ -5 w 11854"/>
                  <a:gd name="csY5" fmla="*/ 34163 h 39627"/>
                  <a:gd name="csX6" fmla="*/ 1590 w 11854"/>
                  <a:gd name="csY6" fmla="*/ 4924 h 39627"/>
                  <a:gd name="csX7" fmla="*/ 6760 w 11854"/>
                  <a:gd name="csY7" fmla="*/ -6 h 39627"/>
                  <a:gd name="csX8" fmla="*/ 7039 w 11854"/>
                  <a:gd name="csY8" fmla="*/ 7 h 39627"/>
                  <a:gd name="csX9" fmla="*/ 7039 w 11854"/>
                  <a:gd name="csY9" fmla="*/ 7 h 39627"/>
                  <a:gd name="csX10" fmla="*/ 11837 w 11854"/>
                  <a:gd name="csY10" fmla="*/ 5297 h 39627"/>
                  <a:gd name="csX11" fmla="*/ 11824 w 11854"/>
                  <a:gd name="csY11" fmla="*/ 5456 h 3962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Lst>
                <a:rect l="l" t="t" r="r" b="b"/>
                <a:pathLst>
                  <a:path w="11854" h="39627">
                    <a:moveTo>
                      <a:pt x="10362" y="34695"/>
                    </a:moveTo>
                    <a:cubicBezTo>
                      <a:pt x="10216" y="37553"/>
                      <a:pt x="7784" y="39759"/>
                      <a:pt x="4926" y="39613"/>
                    </a:cubicBezTo>
                    <a:cubicBezTo>
                      <a:pt x="4926" y="39613"/>
                      <a:pt x="4913" y="39613"/>
                      <a:pt x="4913" y="39613"/>
                    </a:cubicBezTo>
                    <a:lnTo>
                      <a:pt x="4913" y="39613"/>
                    </a:lnTo>
                    <a:cubicBezTo>
                      <a:pt x="2055" y="39466"/>
                      <a:pt x="-151" y="37034"/>
                      <a:pt x="-5" y="34177"/>
                    </a:cubicBezTo>
                    <a:cubicBezTo>
                      <a:pt x="-5" y="34177"/>
                      <a:pt x="-5" y="34163"/>
                      <a:pt x="-5" y="34163"/>
                    </a:cubicBezTo>
                    <a:lnTo>
                      <a:pt x="1590" y="4924"/>
                    </a:lnTo>
                    <a:cubicBezTo>
                      <a:pt x="1657" y="2133"/>
                      <a:pt x="3969" y="-73"/>
                      <a:pt x="6760" y="-6"/>
                    </a:cubicBezTo>
                    <a:cubicBezTo>
                      <a:pt x="6853" y="-6"/>
                      <a:pt x="6946" y="-6"/>
                      <a:pt x="7039" y="7"/>
                    </a:cubicBezTo>
                    <a:lnTo>
                      <a:pt x="7039" y="7"/>
                    </a:lnTo>
                    <a:cubicBezTo>
                      <a:pt x="9830" y="140"/>
                      <a:pt x="11970" y="2519"/>
                      <a:pt x="11837" y="5297"/>
                    </a:cubicBezTo>
                    <a:cubicBezTo>
                      <a:pt x="11837" y="5350"/>
                      <a:pt x="11824" y="5403"/>
                      <a:pt x="11824" y="5456"/>
                    </a:cubicBezTo>
                    <a:close/>
                  </a:path>
                </a:pathLst>
              </a:custGeom>
              <a:solidFill>
                <a:srgbClr val="AF1C1C"/>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69" name="Freeform: Shape 168">
                <a:extLst>
                  <a:ext uri="{FF2B5EF4-FFF2-40B4-BE49-F238E27FC236}">
                    <a16:creationId xmlns:a16="http://schemas.microsoft.com/office/drawing/2014/main" id="{7BCC051D-9D6B-F41A-C482-E1E124EB3C64}"/>
                  </a:ext>
                </a:extLst>
              </p:cNvPr>
              <p:cNvSpPr/>
              <p:nvPr/>
            </p:nvSpPr>
            <p:spPr>
              <a:xfrm>
                <a:off x="4433286" y="4364298"/>
                <a:ext cx="26581" cy="26581"/>
              </a:xfrm>
              <a:custGeom>
                <a:avLst/>
                <a:gdLst>
                  <a:gd name="csX0" fmla="*/ 26504 w 26581"/>
                  <a:gd name="csY0" fmla="*/ 14612 h 26581"/>
                  <a:gd name="csX1" fmla="*/ 11951 w 26581"/>
                  <a:gd name="csY1" fmla="*/ 26507 h 26581"/>
                  <a:gd name="csX2" fmla="*/ 56 w 26581"/>
                  <a:gd name="csY2" fmla="*/ 11954 h 26581"/>
                  <a:gd name="csX3" fmla="*/ 13213 w 26581"/>
                  <a:gd name="csY3" fmla="*/ -8 h 26581"/>
                  <a:gd name="csX4" fmla="*/ 26570 w 26581"/>
                  <a:gd name="csY4" fmla="*/ 13216 h 26581"/>
                  <a:gd name="csX5" fmla="*/ 26504 w 26581"/>
                  <a:gd name="csY5" fmla="*/ 14612 h 26581"/>
                </a:gdLst>
                <a:ahLst/>
                <a:cxnLst>
                  <a:cxn ang="0">
                    <a:pos x="csX0" y="csY0"/>
                  </a:cxn>
                  <a:cxn ang="0">
                    <a:pos x="csX1" y="csY1"/>
                  </a:cxn>
                  <a:cxn ang="0">
                    <a:pos x="csX2" y="csY2"/>
                  </a:cxn>
                  <a:cxn ang="0">
                    <a:pos x="csX3" y="csY3"/>
                  </a:cxn>
                  <a:cxn ang="0">
                    <a:pos x="csX4" y="csY4"/>
                  </a:cxn>
                  <a:cxn ang="0">
                    <a:pos x="csX5" y="csY5"/>
                  </a:cxn>
                </a:cxnLst>
                <a:rect l="l" t="t" r="r" b="b"/>
                <a:pathLst>
                  <a:path w="26581" h="26581">
                    <a:moveTo>
                      <a:pt x="26504" y="14612"/>
                    </a:moveTo>
                    <a:cubicBezTo>
                      <a:pt x="25773" y="21922"/>
                      <a:pt x="19260" y="27238"/>
                      <a:pt x="11951" y="26507"/>
                    </a:cubicBezTo>
                    <a:cubicBezTo>
                      <a:pt x="4641" y="25776"/>
                      <a:pt x="-675" y="19250"/>
                      <a:pt x="56" y="11954"/>
                    </a:cubicBezTo>
                    <a:cubicBezTo>
                      <a:pt x="733" y="5189"/>
                      <a:pt x="6408" y="32"/>
                      <a:pt x="13213" y="-8"/>
                    </a:cubicBezTo>
                    <a:cubicBezTo>
                      <a:pt x="20550" y="-48"/>
                      <a:pt x="26530" y="5880"/>
                      <a:pt x="26570" y="13216"/>
                    </a:cubicBezTo>
                    <a:cubicBezTo>
                      <a:pt x="26570" y="13682"/>
                      <a:pt x="26557" y="14147"/>
                      <a:pt x="26504" y="14612"/>
                    </a:cubicBezTo>
                    <a:close/>
                  </a:path>
                </a:pathLst>
              </a:custGeom>
              <a:solidFill>
                <a:srgbClr val="FFFFFF"/>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70" name="Freeform: Shape 169">
                <a:extLst>
                  <a:ext uri="{FF2B5EF4-FFF2-40B4-BE49-F238E27FC236}">
                    <a16:creationId xmlns:a16="http://schemas.microsoft.com/office/drawing/2014/main" id="{C8516137-7755-1AF4-CF9D-C23365921653}"/>
                  </a:ext>
                </a:extLst>
              </p:cNvPr>
              <p:cNvSpPr/>
              <p:nvPr/>
            </p:nvSpPr>
            <p:spPr>
              <a:xfrm>
                <a:off x="4438519" y="4370534"/>
                <a:ext cx="15040" cy="14918"/>
              </a:xfrm>
              <a:custGeom>
                <a:avLst/>
                <a:gdLst>
                  <a:gd name="csX0" fmla="*/ 15024 w 15040"/>
                  <a:gd name="csY0" fmla="*/ 7844 h 14918"/>
                  <a:gd name="csX1" fmla="*/ 7209 w 15040"/>
                  <a:gd name="csY1" fmla="*/ 14901 h 14918"/>
                  <a:gd name="csX2" fmla="*/ 7050 w 15040"/>
                  <a:gd name="csY2" fmla="*/ 14888 h 14918"/>
                  <a:gd name="csX3" fmla="*/ -7 w 15040"/>
                  <a:gd name="csY3" fmla="*/ 7339 h 14918"/>
                  <a:gd name="csX4" fmla="*/ 6 w 15040"/>
                  <a:gd name="csY4" fmla="*/ 7046 h 14918"/>
                  <a:gd name="csX5" fmla="*/ 7821 w 15040"/>
                  <a:gd name="csY5" fmla="*/ 2 h 14918"/>
                  <a:gd name="csX6" fmla="*/ 7847 w 15040"/>
                  <a:gd name="csY6" fmla="*/ 2 h 14918"/>
                  <a:gd name="csX7" fmla="*/ 15024 w 15040"/>
                  <a:gd name="csY7" fmla="*/ 7844 h 1491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5040" h="14918">
                    <a:moveTo>
                      <a:pt x="15024" y="7844"/>
                    </a:moveTo>
                    <a:cubicBezTo>
                      <a:pt x="14811" y="11950"/>
                      <a:pt x="11316" y="15114"/>
                      <a:pt x="7209" y="14901"/>
                    </a:cubicBezTo>
                    <a:cubicBezTo>
                      <a:pt x="7156" y="14901"/>
                      <a:pt x="7103" y="14888"/>
                      <a:pt x="7050" y="14888"/>
                    </a:cubicBezTo>
                    <a:cubicBezTo>
                      <a:pt x="3009" y="14755"/>
                      <a:pt x="-140" y="11366"/>
                      <a:pt x="-7" y="7339"/>
                    </a:cubicBezTo>
                    <a:cubicBezTo>
                      <a:pt x="-7" y="7246"/>
                      <a:pt x="-7" y="7139"/>
                      <a:pt x="6" y="7046"/>
                    </a:cubicBezTo>
                    <a:cubicBezTo>
                      <a:pt x="218" y="2939"/>
                      <a:pt x="3727" y="-210"/>
                      <a:pt x="7821" y="2"/>
                    </a:cubicBezTo>
                    <a:cubicBezTo>
                      <a:pt x="7834" y="2"/>
                      <a:pt x="7834" y="2"/>
                      <a:pt x="7847" y="2"/>
                    </a:cubicBezTo>
                    <a:cubicBezTo>
                      <a:pt x="11981" y="215"/>
                      <a:pt x="15170" y="3710"/>
                      <a:pt x="15024" y="7844"/>
                    </a:cubicBezTo>
                    <a:close/>
                  </a:path>
                </a:pathLst>
              </a:custGeom>
              <a:solidFill>
                <a:srgbClr val="3F2724"/>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71" name="Freeform: Shape 170">
                <a:extLst>
                  <a:ext uri="{FF2B5EF4-FFF2-40B4-BE49-F238E27FC236}">
                    <a16:creationId xmlns:a16="http://schemas.microsoft.com/office/drawing/2014/main" id="{0E671928-5245-D087-B4F8-EFDD39BD5D49}"/>
                  </a:ext>
                </a:extLst>
              </p:cNvPr>
              <p:cNvSpPr/>
              <p:nvPr/>
            </p:nvSpPr>
            <p:spPr>
              <a:xfrm>
                <a:off x="4440929" y="4373199"/>
                <a:ext cx="4654" cy="4654"/>
              </a:xfrm>
              <a:custGeom>
                <a:avLst/>
                <a:gdLst>
                  <a:gd name="csX0" fmla="*/ 4640 w 4654"/>
                  <a:gd name="csY0" fmla="*/ 2388 h 4654"/>
                  <a:gd name="csX1" fmla="*/ 2381 w 4654"/>
                  <a:gd name="csY1" fmla="*/ 4647 h 4654"/>
                  <a:gd name="csX2" fmla="*/ 2248 w 4654"/>
                  <a:gd name="csY2" fmla="*/ 4647 h 4654"/>
                  <a:gd name="csX3" fmla="*/ -12 w 4654"/>
                  <a:gd name="csY3" fmla="*/ 2255 h 4654"/>
                  <a:gd name="csX4" fmla="*/ 2500 w 4654"/>
                  <a:gd name="csY4" fmla="*/ -5 h 4654"/>
                  <a:gd name="csX5" fmla="*/ 2514 w 4654"/>
                  <a:gd name="csY5" fmla="*/ -5 h 4654"/>
                  <a:gd name="csX6" fmla="*/ 4640 w 4654"/>
                  <a:gd name="csY6" fmla="*/ 2374 h 4654"/>
                  <a:gd name="csX7" fmla="*/ 4640 w 4654"/>
                  <a:gd name="csY7" fmla="*/ 2388 h 465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4654" h="4654">
                    <a:moveTo>
                      <a:pt x="4640" y="2388"/>
                    </a:moveTo>
                    <a:cubicBezTo>
                      <a:pt x="4640" y="3637"/>
                      <a:pt x="3630" y="4647"/>
                      <a:pt x="2381" y="4647"/>
                    </a:cubicBezTo>
                    <a:cubicBezTo>
                      <a:pt x="2341" y="4647"/>
                      <a:pt x="2288" y="4647"/>
                      <a:pt x="2248" y="4647"/>
                    </a:cubicBezTo>
                    <a:cubicBezTo>
                      <a:pt x="985" y="4580"/>
                      <a:pt x="-12" y="3531"/>
                      <a:pt x="-12" y="2255"/>
                    </a:cubicBezTo>
                    <a:cubicBezTo>
                      <a:pt x="55" y="939"/>
                      <a:pt x="1185" y="-71"/>
                      <a:pt x="2500" y="-5"/>
                    </a:cubicBezTo>
                    <a:cubicBezTo>
                      <a:pt x="2514" y="-5"/>
                      <a:pt x="2514" y="-5"/>
                      <a:pt x="2514" y="-5"/>
                    </a:cubicBezTo>
                    <a:cubicBezTo>
                      <a:pt x="3763" y="62"/>
                      <a:pt x="4707" y="1138"/>
                      <a:pt x="4640" y="2374"/>
                    </a:cubicBezTo>
                    <a:cubicBezTo>
                      <a:pt x="4640" y="2388"/>
                      <a:pt x="4640" y="2388"/>
                      <a:pt x="4640" y="2388"/>
                    </a:cubicBezTo>
                    <a:close/>
                  </a:path>
                </a:pathLst>
              </a:custGeom>
              <a:solidFill>
                <a:srgbClr val="FFFFFF"/>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72" name="Freeform: Shape 171">
                <a:extLst>
                  <a:ext uri="{FF2B5EF4-FFF2-40B4-BE49-F238E27FC236}">
                    <a16:creationId xmlns:a16="http://schemas.microsoft.com/office/drawing/2014/main" id="{F3462DFC-C39F-372F-9A67-92CFB91AC9A3}"/>
                  </a:ext>
                </a:extLst>
              </p:cNvPr>
              <p:cNvSpPr/>
              <p:nvPr/>
            </p:nvSpPr>
            <p:spPr>
              <a:xfrm>
                <a:off x="4440261" y="4372272"/>
                <a:ext cx="6517" cy="6527"/>
              </a:xfrm>
              <a:custGeom>
                <a:avLst/>
                <a:gdLst>
                  <a:gd name="csX0" fmla="*/ 3049 w 6517"/>
                  <a:gd name="csY0" fmla="*/ 6504 h 6527"/>
                  <a:gd name="csX1" fmla="*/ 3049 w 6517"/>
                  <a:gd name="csY1" fmla="*/ 6504 h 6527"/>
                  <a:gd name="csX2" fmla="*/ 922 w 6517"/>
                  <a:gd name="csY2" fmla="*/ 5441 h 6527"/>
                  <a:gd name="csX3" fmla="*/ -8 w 6517"/>
                  <a:gd name="csY3" fmla="*/ 3049 h 6527"/>
                  <a:gd name="csX4" fmla="*/ 3314 w 6517"/>
                  <a:gd name="csY4" fmla="*/ -8 h 6527"/>
                  <a:gd name="csX5" fmla="*/ 5707 w 6517"/>
                  <a:gd name="csY5" fmla="*/ 1055 h 6527"/>
                  <a:gd name="csX6" fmla="*/ 6504 w 6517"/>
                  <a:gd name="csY6" fmla="*/ 3448 h 6527"/>
                  <a:gd name="csX7" fmla="*/ 3195 w 6517"/>
                  <a:gd name="csY7" fmla="*/ 6518 h 6527"/>
                  <a:gd name="csX8" fmla="*/ 3049 w 6517"/>
                  <a:gd name="csY8" fmla="*/ 6504 h 6527"/>
                  <a:gd name="csX9" fmla="*/ 3049 w 6517"/>
                  <a:gd name="csY9" fmla="*/ 1853 h 6527"/>
                  <a:gd name="csX10" fmla="*/ 1600 w 6517"/>
                  <a:gd name="csY10" fmla="*/ 3035 h 6527"/>
                  <a:gd name="csX11" fmla="*/ 1587 w 6517"/>
                  <a:gd name="csY11" fmla="*/ 3182 h 6527"/>
                  <a:gd name="csX12" fmla="*/ 1587 w 6517"/>
                  <a:gd name="csY12" fmla="*/ 4245 h 6527"/>
                  <a:gd name="csX13" fmla="*/ 2517 w 6517"/>
                  <a:gd name="csY13" fmla="*/ 4245 h 6527"/>
                  <a:gd name="csX14" fmla="*/ 2517 w 6517"/>
                  <a:gd name="csY14" fmla="*/ 4245 h 6527"/>
                  <a:gd name="csX15" fmla="*/ 3846 w 6517"/>
                  <a:gd name="csY15" fmla="*/ 2916 h 6527"/>
                  <a:gd name="csX16" fmla="*/ 3846 w 6517"/>
                  <a:gd name="csY16" fmla="*/ 1853 h 6527"/>
                  <a:gd name="csX17" fmla="*/ 2783 w 6517"/>
                  <a:gd name="csY17" fmla="*/ 1853 h 652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Lst>
                <a:rect l="l" t="t" r="r" b="b"/>
                <a:pathLst>
                  <a:path w="6517" h="6527">
                    <a:moveTo>
                      <a:pt x="3049" y="6504"/>
                    </a:moveTo>
                    <a:lnTo>
                      <a:pt x="3049" y="6504"/>
                    </a:lnTo>
                    <a:cubicBezTo>
                      <a:pt x="2238" y="6425"/>
                      <a:pt x="1480" y="6039"/>
                      <a:pt x="922" y="5441"/>
                    </a:cubicBezTo>
                    <a:cubicBezTo>
                      <a:pt x="284" y="4803"/>
                      <a:pt x="-48" y="3939"/>
                      <a:pt x="-8" y="3049"/>
                    </a:cubicBezTo>
                    <a:cubicBezTo>
                      <a:pt x="125" y="1321"/>
                      <a:pt x="1573" y="-8"/>
                      <a:pt x="3314" y="-8"/>
                    </a:cubicBezTo>
                    <a:cubicBezTo>
                      <a:pt x="4205" y="72"/>
                      <a:pt x="5055" y="444"/>
                      <a:pt x="5707" y="1055"/>
                    </a:cubicBezTo>
                    <a:cubicBezTo>
                      <a:pt x="6238" y="1733"/>
                      <a:pt x="6531" y="2584"/>
                      <a:pt x="6504" y="3448"/>
                    </a:cubicBezTo>
                    <a:cubicBezTo>
                      <a:pt x="6438" y="5202"/>
                      <a:pt x="4949" y="6584"/>
                      <a:pt x="3195" y="6518"/>
                    </a:cubicBezTo>
                    <a:cubicBezTo>
                      <a:pt x="3142" y="6518"/>
                      <a:pt x="3102" y="6504"/>
                      <a:pt x="3049" y="6504"/>
                    </a:cubicBezTo>
                    <a:close/>
                    <a:moveTo>
                      <a:pt x="3049" y="1853"/>
                    </a:moveTo>
                    <a:cubicBezTo>
                      <a:pt x="2318" y="1773"/>
                      <a:pt x="1666" y="2318"/>
                      <a:pt x="1600" y="3035"/>
                    </a:cubicBezTo>
                    <a:cubicBezTo>
                      <a:pt x="1587" y="3089"/>
                      <a:pt x="1587" y="3129"/>
                      <a:pt x="1587" y="3182"/>
                    </a:cubicBezTo>
                    <a:cubicBezTo>
                      <a:pt x="1454" y="3527"/>
                      <a:pt x="1454" y="3899"/>
                      <a:pt x="1587" y="4245"/>
                    </a:cubicBezTo>
                    <a:cubicBezTo>
                      <a:pt x="1879" y="4365"/>
                      <a:pt x="2224" y="4365"/>
                      <a:pt x="2517" y="4245"/>
                    </a:cubicBezTo>
                    <a:lnTo>
                      <a:pt x="2517" y="4245"/>
                    </a:lnTo>
                    <a:cubicBezTo>
                      <a:pt x="3248" y="4245"/>
                      <a:pt x="3846" y="3647"/>
                      <a:pt x="3846" y="2916"/>
                    </a:cubicBezTo>
                    <a:cubicBezTo>
                      <a:pt x="4032" y="2584"/>
                      <a:pt x="4032" y="2185"/>
                      <a:pt x="3846" y="1853"/>
                    </a:cubicBezTo>
                    <a:cubicBezTo>
                      <a:pt x="3500" y="1720"/>
                      <a:pt x="3128" y="1720"/>
                      <a:pt x="2783" y="1853"/>
                    </a:cubicBezTo>
                    <a:close/>
                  </a:path>
                </a:pathLst>
              </a:custGeom>
              <a:solidFill>
                <a:srgbClr val="1D1D1B"/>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73" name="Freeform: Shape 172">
                <a:extLst>
                  <a:ext uri="{FF2B5EF4-FFF2-40B4-BE49-F238E27FC236}">
                    <a16:creationId xmlns:a16="http://schemas.microsoft.com/office/drawing/2014/main" id="{33AF368A-FDF9-AC59-BABF-60C78FC12E99}"/>
                  </a:ext>
                </a:extLst>
              </p:cNvPr>
              <p:cNvSpPr/>
              <p:nvPr/>
            </p:nvSpPr>
            <p:spPr>
              <a:xfrm>
                <a:off x="4440663" y="4379316"/>
                <a:ext cx="2126" cy="2126"/>
              </a:xfrm>
              <a:custGeom>
                <a:avLst/>
                <a:gdLst>
                  <a:gd name="csX0" fmla="*/ 2115 w 2126"/>
                  <a:gd name="csY0" fmla="*/ 1055 h 2126"/>
                  <a:gd name="csX1" fmla="*/ 919 w 2126"/>
                  <a:gd name="csY1" fmla="*/ 2118 h 2126"/>
                  <a:gd name="csX2" fmla="*/ -12 w 2126"/>
                  <a:gd name="csY2" fmla="*/ 1055 h 2126"/>
                  <a:gd name="csX3" fmla="*/ 1052 w 2126"/>
                  <a:gd name="csY3" fmla="*/ -8 h 2126"/>
                  <a:gd name="csX4" fmla="*/ 2115 w 2126"/>
                  <a:gd name="csY4" fmla="*/ 1055 h 2126"/>
                </a:gdLst>
                <a:ahLst/>
                <a:cxnLst>
                  <a:cxn ang="0">
                    <a:pos x="csX0" y="csY0"/>
                  </a:cxn>
                  <a:cxn ang="0">
                    <a:pos x="csX1" y="csY1"/>
                  </a:cxn>
                  <a:cxn ang="0">
                    <a:pos x="csX2" y="csY2"/>
                  </a:cxn>
                  <a:cxn ang="0">
                    <a:pos x="csX3" y="csY3"/>
                  </a:cxn>
                  <a:cxn ang="0">
                    <a:pos x="csX4" y="csY4"/>
                  </a:cxn>
                </a:cxnLst>
                <a:rect l="l" t="t" r="r" b="b"/>
                <a:pathLst>
                  <a:path w="2126" h="2126">
                    <a:moveTo>
                      <a:pt x="2115" y="1055"/>
                    </a:moveTo>
                    <a:cubicBezTo>
                      <a:pt x="2048" y="1667"/>
                      <a:pt x="1530" y="2118"/>
                      <a:pt x="919" y="2118"/>
                    </a:cubicBezTo>
                    <a:cubicBezTo>
                      <a:pt x="387" y="2052"/>
                      <a:pt x="-12" y="1600"/>
                      <a:pt x="-12" y="1055"/>
                    </a:cubicBezTo>
                    <a:cubicBezTo>
                      <a:pt x="-12" y="471"/>
                      <a:pt x="467" y="-8"/>
                      <a:pt x="1052" y="-8"/>
                    </a:cubicBezTo>
                    <a:cubicBezTo>
                      <a:pt x="1637" y="-8"/>
                      <a:pt x="2115" y="471"/>
                      <a:pt x="2115" y="1055"/>
                    </a:cubicBezTo>
                    <a:close/>
                  </a:path>
                </a:pathLst>
              </a:custGeom>
              <a:solidFill>
                <a:srgbClr val="FFFFFF"/>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74" name="Freeform: Shape 173">
                <a:extLst>
                  <a:ext uri="{FF2B5EF4-FFF2-40B4-BE49-F238E27FC236}">
                    <a16:creationId xmlns:a16="http://schemas.microsoft.com/office/drawing/2014/main" id="{CB3F01D8-D36E-50DA-1F6D-3C55931BF381}"/>
                  </a:ext>
                </a:extLst>
              </p:cNvPr>
              <p:cNvSpPr/>
              <p:nvPr/>
            </p:nvSpPr>
            <p:spPr>
              <a:xfrm>
                <a:off x="4440198" y="4379582"/>
                <a:ext cx="3920" cy="3721"/>
              </a:xfrm>
              <a:custGeom>
                <a:avLst/>
                <a:gdLst>
                  <a:gd name="csX0" fmla="*/ 1517 w 3920"/>
                  <a:gd name="csY0" fmla="*/ 3182 h 3721"/>
                  <a:gd name="csX1" fmla="*/ 1517 w 3920"/>
                  <a:gd name="csY1" fmla="*/ 3182 h 3721"/>
                  <a:gd name="csX2" fmla="*/ 188 w 3920"/>
                  <a:gd name="csY2" fmla="*/ 3182 h 3721"/>
                  <a:gd name="csX3" fmla="*/ 188 w 3920"/>
                  <a:gd name="csY3" fmla="*/ 1720 h 3721"/>
                  <a:gd name="csX4" fmla="*/ 1916 w 3920"/>
                  <a:gd name="csY4" fmla="*/ -8 h 3721"/>
                  <a:gd name="csX5" fmla="*/ 2049 w 3920"/>
                  <a:gd name="csY5" fmla="*/ -8 h 3721"/>
                  <a:gd name="csX6" fmla="*/ 3909 w 3920"/>
                  <a:gd name="csY6" fmla="*/ 1853 h 3721"/>
                  <a:gd name="csX7" fmla="*/ 2049 w 3920"/>
                  <a:gd name="csY7" fmla="*/ 3713 h 372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3920" h="3721">
                    <a:moveTo>
                      <a:pt x="1517" y="3182"/>
                    </a:moveTo>
                    <a:lnTo>
                      <a:pt x="1517" y="3182"/>
                    </a:lnTo>
                    <a:cubicBezTo>
                      <a:pt x="1078" y="3302"/>
                      <a:pt x="626" y="3302"/>
                      <a:pt x="188" y="3182"/>
                    </a:cubicBezTo>
                    <a:cubicBezTo>
                      <a:pt x="-78" y="2730"/>
                      <a:pt x="-78" y="2172"/>
                      <a:pt x="188" y="1720"/>
                    </a:cubicBezTo>
                    <a:cubicBezTo>
                      <a:pt x="188" y="763"/>
                      <a:pt x="959" y="-8"/>
                      <a:pt x="1916" y="-8"/>
                    </a:cubicBezTo>
                    <a:cubicBezTo>
                      <a:pt x="1955" y="-8"/>
                      <a:pt x="2009" y="-8"/>
                      <a:pt x="2049" y="-8"/>
                    </a:cubicBezTo>
                    <a:cubicBezTo>
                      <a:pt x="3072" y="-8"/>
                      <a:pt x="3909" y="829"/>
                      <a:pt x="3909" y="1853"/>
                    </a:cubicBezTo>
                    <a:cubicBezTo>
                      <a:pt x="3909" y="2876"/>
                      <a:pt x="3072" y="3713"/>
                      <a:pt x="2049" y="3713"/>
                    </a:cubicBezTo>
                    <a:close/>
                  </a:path>
                </a:pathLst>
              </a:custGeom>
              <a:solidFill>
                <a:srgbClr val="1D1D1B"/>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75" name="Freeform: Shape 174">
                <a:extLst>
                  <a:ext uri="{FF2B5EF4-FFF2-40B4-BE49-F238E27FC236}">
                    <a16:creationId xmlns:a16="http://schemas.microsoft.com/office/drawing/2014/main" id="{FACC9B03-191B-DD56-6614-F7E635099D7C}"/>
                  </a:ext>
                </a:extLst>
              </p:cNvPr>
              <p:cNvSpPr/>
              <p:nvPr/>
            </p:nvSpPr>
            <p:spPr>
              <a:xfrm>
                <a:off x="4462481" y="4440074"/>
                <a:ext cx="51552" cy="60318"/>
              </a:xfrm>
              <a:custGeom>
                <a:avLst/>
                <a:gdLst>
                  <a:gd name="csX0" fmla="*/ 45952 w 51552"/>
                  <a:gd name="csY0" fmla="*/ 60311 h 60318"/>
                  <a:gd name="csX1" fmla="*/ 41965 w 51552"/>
                  <a:gd name="csY1" fmla="*/ 55792 h 60318"/>
                  <a:gd name="csX2" fmla="*/ 31731 w 51552"/>
                  <a:gd name="csY2" fmla="*/ 23895 h 60318"/>
                  <a:gd name="csX3" fmla="*/ 4352 w 51552"/>
                  <a:gd name="csY3" fmla="*/ 9541 h 60318"/>
                  <a:gd name="csX4" fmla="*/ 6 w 51552"/>
                  <a:gd name="csY4" fmla="*/ 4358 h 60318"/>
                  <a:gd name="csX5" fmla="*/ 5203 w 51552"/>
                  <a:gd name="csY5" fmla="*/ 12 h 60318"/>
                  <a:gd name="csX6" fmla="*/ 5814 w 51552"/>
                  <a:gd name="csY6" fmla="*/ 105 h 60318"/>
                  <a:gd name="csX7" fmla="*/ 5814 w 51552"/>
                  <a:gd name="csY7" fmla="*/ 105 h 60318"/>
                  <a:gd name="csX8" fmla="*/ 40104 w 51552"/>
                  <a:gd name="csY8" fmla="*/ 19110 h 60318"/>
                  <a:gd name="csX9" fmla="*/ 51534 w 51552"/>
                  <a:gd name="csY9" fmla="*/ 55261 h 60318"/>
                  <a:gd name="csX10" fmla="*/ 47028 w 51552"/>
                  <a:gd name="csY10" fmla="*/ 60311 h 60318"/>
                  <a:gd name="csX11" fmla="*/ 47015 w 51552"/>
                  <a:gd name="csY11" fmla="*/ 60311 h 6031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Lst>
                <a:rect l="l" t="t" r="r" b="b"/>
                <a:pathLst>
                  <a:path w="51552" h="60318">
                    <a:moveTo>
                      <a:pt x="45952" y="60311"/>
                    </a:moveTo>
                    <a:cubicBezTo>
                      <a:pt x="43745" y="59886"/>
                      <a:pt x="42111" y="58038"/>
                      <a:pt x="41965" y="55792"/>
                    </a:cubicBezTo>
                    <a:cubicBezTo>
                      <a:pt x="41101" y="44508"/>
                      <a:pt x="37592" y="33584"/>
                      <a:pt x="31731" y="23895"/>
                    </a:cubicBezTo>
                    <a:cubicBezTo>
                      <a:pt x="24674" y="15907"/>
                      <a:pt x="14932" y="10790"/>
                      <a:pt x="4352" y="9541"/>
                    </a:cubicBezTo>
                    <a:cubicBezTo>
                      <a:pt x="1721" y="9302"/>
                      <a:pt x="-220" y="6989"/>
                      <a:pt x="6" y="4358"/>
                    </a:cubicBezTo>
                    <a:cubicBezTo>
                      <a:pt x="246" y="1726"/>
                      <a:pt x="2571" y="-227"/>
                      <a:pt x="5203" y="12"/>
                    </a:cubicBezTo>
                    <a:cubicBezTo>
                      <a:pt x="5402" y="25"/>
                      <a:pt x="5615" y="65"/>
                      <a:pt x="5814" y="105"/>
                    </a:cubicBezTo>
                    <a:lnTo>
                      <a:pt x="5814" y="105"/>
                    </a:lnTo>
                    <a:cubicBezTo>
                      <a:pt x="19251" y="1846"/>
                      <a:pt x="31518" y="8638"/>
                      <a:pt x="40104" y="19110"/>
                    </a:cubicBezTo>
                    <a:cubicBezTo>
                      <a:pt x="46683" y="30102"/>
                      <a:pt x="50603" y="42488"/>
                      <a:pt x="51534" y="55261"/>
                    </a:cubicBezTo>
                    <a:cubicBezTo>
                      <a:pt x="51680" y="57905"/>
                      <a:pt x="49673" y="60165"/>
                      <a:pt x="47028" y="60311"/>
                    </a:cubicBezTo>
                    <a:cubicBezTo>
                      <a:pt x="47028" y="60311"/>
                      <a:pt x="47015" y="60311"/>
                      <a:pt x="47015" y="60311"/>
                    </a:cubicBezTo>
                    <a:close/>
                  </a:path>
                </a:pathLst>
              </a:custGeom>
              <a:solidFill>
                <a:srgbClr val="AF1C1C"/>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76" name="Freeform: Shape 175">
                <a:extLst>
                  <a:ext uri="{FF2B5EF4-FFF2-40B4-BE49-F238E27FC236}">
                    <a16:creationId xmlns:a16="http://schemas.microsoft.com/office/drawing/2014/main" id="{D2898E1B-BD30-DA67-88D8-FCCEBD439F0D}"/>
                  </a:ext>
                </a:extLst>
              </p:cNvPr>
              <p:cNvSpPr/>
              <p:nvPr/>
            </p:nvSpPr>
            <p:spPr>
              <a:xfrm>
                <a:off x="4455009" y="4438675"/>
                <a:ext cx="41188" cy="67484"/>
              </a:xfrm>
              <a:custGeom>
                <a:avLst/>
                <a:gdLst>
                  <a:gd name="csX0" fmla="*/ 35083 w 41188"/>
                  <a:gd name="csY0" fmla="*/ 67425 h 67484"/>
                  <a:gd name="csX1" fmla="*/ 35083 w 41188"/>
                  <a:gd name="csY1" fmla="*/ 67425 h 67484"/>
                  <a:gd name="csX2" fmla="*/ 31096 w 41188"/>
                  <a:gd name="csY2" fmla="*/ 61975 h 67484"/>
                  <a:gd name="csX3" fmla="*/ 27242 w 41188"/>
                  <a:gd name="csY3" fmla="*/ 28749 h 67484"/>
                  <a:gd name="csX4" fmla="*/ 3186 w 41188"/>
                  <a:gd name="csY4" fmla="*/ 9345 h 67484"/>
                  <a:gd name="csX5" fmla="*/ 262 w 41188"/>
                  <a:gd name="csY5" fmla="*/ 3245 h 67484"/>
                  <a:gd name="csX6" fmla="*/ 262 w 41188"/>
                  <a:gd name="csY6" fmla="*/ 3231 h 67484"/>
                  <a:gd name="csX7" fmla="*/ 6110 w 41188"/>
                  <a:gd name="csY7" fmla="*/ 215 h 67484"/>
                  <a:gd name="csX8" fmla="*/ 6375 w 41188"/>
                  <a:gd name="csY8" fmla="*/ 307 h 67484"/>
                  <a:gd name="csX9" fmla="*/ 36412 w 41188"/>
                  <a:gd name="csY9" fmla="*/ 25692 h 67484"/>
                  <a:gd name="csX10" fmla="*/ 40532 w 41188"/>
                  <a:gd name="csY10" fmla="*/ 63305 h 67484"/>
                  <a:gd name="csX11" fmla="*/ 35176 w 41188"/>
                  <a:gd name="csY11" fmla="*/ 67438 h 67484"/>
                  <a:gd name="csX12" fmla="*/ 35083 w 41188"/>
                  <a:gd name="csY12" fmla="*/ 67425 h 6748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Lst>
                <a:rect l="l" t="t" r="r" b="b"/>
                <a:pathLst>
                  <a:path w="41188" h="67484">
                    <a:moveTo>
                      <a:pt x="35083" y="67425"/>
                    </a:moveTo>
                    <a:lnTo>
                      <a:pt x="35083" y="67425"/>
                    </a:lnTo>
                    <a:cubicBezTo>
                      <a:pt x="32518" y="66946"/>
                      <a:pt x="30777" y="64567"/>
                      <a:pt x="31096" y="61975"/>
                    </a:cubicBezTo>
                    <a:cubicBezTo>
                      <a:pt x="32518" y="50745"/>
                      <a:pt x="31189" y="39355"/>
                      <a:pt x="27242" y="28749"/>
                    </a:cubicBezTo>
                    <a:cubicBezTo>
                      <a:pt x="23786" y="18648"/>
                      <a:pt x="8635" y="11339"/>
                      <a:pt x="3186" y="9345"/>
                    </a:cubicBezTo>
                    <a:cubicBezTo>
                      <a:pt x="687" y="8468"/>
                      <a:pt x="-615" y="5743"/>
                      <a:pt x="262" y="3245"/>
                    </a:cubicBezTo>
                    <a:cubicBezTo>
                      <a:pt x="262" y="3245"/>
                      <a:pt x="262" y="3231"/>
                      <a:pt x="262" y="3231"/>
                    </a:cubicBezTo>
                    <a:cubicBezTo>
                      <a:pt x="1046" y="786"/>
                      <a:pt x="3664" y="-570"/>
                      <a:pt x="6110" y="215"/>
                    </a:cubicBezTo>
                    <a:cubicBezTo>
                      <a:pt x="6203" y="241"/>
                      <a:pt x="6282" y="268"/>
                      <a:pt x="6375" y="307"/>
                    </a:cubicBezTo>
                    <a:cubicBezTo>
                      <a:pt x="7306" y="307"/>
                      <a:pt x="30697" y="9079"/>
                      <a:pt x="36412" y="25692"/>
                    </a:cubicBezTo>
                    <a:cubicBezTo>
                      <a:pt x="40731" y="37734"/>
                      <a:pt x="42140" y="50612"/>
                      <a:pt x="40532" y="63305"/>
                    </a:cubicBezTo>
                    <a:cubicBezTo>
                      <a:pt x="40200" y="65923"/>
                      <a:pt x="37794" y="67770"/>
                      <a:pt x="35176" y="67438"/>
                    </a:cubicBezTo>
                    <a:cubicBezTo>
                      <a:pt x="35149" y="67438"/>
                      <a:pt x="35110" y="67425"/>
                      <a:pt x="35083" y="67425"/>
                    </a:cubicBezTo>
                    <a:close/>
                  </a:path>
                </a:pathLst>
              </a:custGeom>
              <a:solidFill>
                <a:srgbClr val="CD3333"/>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77" name="Freeform: Shape 176">
                <a:extLst>
                  <a:ext uri="{FF2B5EF4-FFF2-40B4-BE49-F238E27FC236}">
                    <a16:creationId xmlns:a16="http://schemas.microsoft.com/office/drawing/2014/main" id="{DEF2BEFB-71FF-8222-8B90-79D87BAE5B4F}"/>
                  </a:ext>
                </a:extLst>
              </p:cNvPr>
              <p:cNvSpPr/>
              <p:nvPr/>
            </p:nvSpPr>
            <p:spPr>
              <a:xfrm>
                <a:off x="4449327" y="4438866"/>
                <a:ext cx="29429" cy="73382"/>
              </a:xfrm>
              <a:custGeom>
                <a:avLst/>
                <a:gdLst>
                  <a:gd name="csX0" fmla="*/ 22956 w 29429"/>
                  <a:gd name="csY0" fmla="*/ 73347 h 73382"/>
                  <a:gd name="csX1" fmla="*/ 22956 w 29429"/>
                  <a:gd name="csY1" fmla="*/ 73347 h 73382"/>
                  <a:gd name="csX2" fmla="*/ 18822 w 29429"/>
                  <a:gd name="csY2" fmla="*/ 67991 h 73382"/>
                  <a:gd name="csX3" fmla="*/ 18835 w 29429"/>
                  <a:gd name="csY3" fmla="*/ 67898 h 73382"/>
                  <a:gd name="csX4" fmla="*/ 18835 w 29429"/>
                  <a:gd name="csY4" fmla="*/ 30286 h 73382"/>
                  <a:gd name="csX5" fmla="*/ 2355 w 29429"/>
                  <a:gd name="csY5" fmla="*/ 9021 h 73382"/>
                  <a:gd name="csX6" fmla="*/ 628 w 29429"/>
                  <a:gd name="csY6" fmla="*/ 2509 h 73382"/>
                  <a:gd name="csX7" fmla="*/ 6901 w 29429"/>
                  <a:gd name="csY7" fmla="*/ 515 h 73382"/>
                  <a:gd name="csX8" fmla="*/ 7140 w 29429"/>
                  <a:gd name="csY8" fmla="*/ 648 h 73382"/>
                  <a:gd name="csX9" fmla="*/ 28272 w 29429"/>
                  <a:gd name="csY9" fmla="*/ 29223 h 73382"/>
                  <a:gd name="csX10" fmla="*/ 28272 w 29429"/>
                  <a:gd name="csY10" fmla="*/ 69094 h 73382"/>
                  <a:gd name="csX11" fmla="*/ 23009 w 29429"/>
                  <a:gd name="csY11" fmla="*/ 73347 h 73382"/>
                  <a:gd name="csX12" fmla="*/ 22956 w 29429"/>
                  <a:gd name="csY12" fmla="*/ 73347 h 7338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Lst>
                <a:rect l="l" t="t" r="r" b="b"/>
                <a:pathLst>
                  <a:path w="29429" h="73382">
                    <a:moveTo>
                      <a:pt x="22956" y="73347"/>
                    </a:moveTo>
                    <a:lnTo>
                      <a:pt x="22956" y="73347"/>
                    </a:lnTo>
                    <a:cubicBezTo>
                      <a:pt x="20337" y="73015"/>
                      <a:pt x="18490" y="70609"/>
                      <a:pt x="18822" y="67991"/>
                    </a:cubicBezTo>
                    <a:cubicBezTo>
                      <a:pt x="18822" y="67965"/>
                      <a:pt x="18835" y="67925"/>
                      <a:pt x="18835" y="67898"/>
                    </a:cubicBezTo>
                    <a:cubicBezTo>
                      <a:pt x="20311" y="55405"/>
                      <a:pt x="20311" y="42779"/>
                      <a:pt x="18835" y="30286"/>
                    </a:cubicBezTo>
                    <a:cubicBezTo>
                      <a:pt x="16510" y="21222"/>
                      <a:pt x="10542" y="13527"/>
                      <a:pt x="2355" y="9021"/>
                    </a:cubicBezTo>
                    <a:cubicBezTo>
                      <a:pt x="96" y="7692"/>
                      <a:pt x="-688" y="4781"/>
                      <a:pt x="628" y="2509"/>
                    </a:cubicBezTo>
                    <a:cubicBezTo>
                      <a:pt x="1810" y="223"/>
                      <a:pt x="4615" y="-668"/>
                      <a:pt x="6901" y="515"/>
                    </a:cubicBezTo>
                    <a:cubicBezTo>
                      <a:pt x="6980" y="555"/>
                      <a:pt x="7060" y="595"/>
                      <a:pt x="7140" y="648"/>
                    </a:cubicBezTo>
                    <a:cubicBezTo>
                      <a:pt x="17972" y="6682"/>
                      <a:pt x="25667" y="17102"/>
                      <a:pt x="28272" y="29223"/>
                    </a:cubicBezTo>
                    <a:cubicBezTo>
                      <a:pt x="29800" y="42473"/>
                      <a:pt x="29800" y="55844"/>
                      <a:pt x="28272" y="69094"/>
                    </a:cubicBezTo>
                    <a:cubicBezTo>
                      <a:pt x="27993" y="71726"/>
                      <a:pt x="25640" y="73626"/>
                      <a:pt x="23009" y="73347"/>
                    </a:cubicBezTo>
                    <a:cubicBezTo>
                      <a:pt x="22995" y="73347"/>
                      <a:pt x="22969" y="73347"/>
                      <a:pt x="22956" y="73347"/>
                    </a:cubicBezTo>
                    <a:close/>
                  </a:path>
                </a:pathLst>
              </a:custGeom>
              <a:solidFill>
                <a:srgbClr val="AF1C1C"/>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78" name="Freeform: Shape 177">
                <a:extLst>
                  <a:ext uri="{FF2B5EF4-FFF2-40B4-BE49-F238E27FC236}">
                    <a16:creationId xmlns:a16="http://schemas.microsoft.com/office/drawing/2014/main" id="{9B397AD6-8785-9907-A1AA-D944CEC67121}"/>
                  </a:ext>
                </a:extLst>
              </p:cNvPr>
              <p:cNvSpPr/>
              <p:nvPr/>
            </p:nvSpPr>
            <p:spPr>
              <a:xfrm>
                <a:off x="4443316" y="4437267"/>
                <a:ext cx="22340" cy="75547"/>
              </a:xfrm>
              <a:custGeom>
                <a:avLst/>
                <a:gdLst>
                  <a:gd name="csX0" fmla="*/ 8101 w 22340"/>
                  <a:gd name="csY0" fmla="*/ 75478 h 75547"/>
                  <a:gd name="csX1" fmla="*/ 6639 w 22340"/>
                  <a:gd name="csY1" fmla="*/ 75478 h 75547"/>
                  <a:gd name="csX2" fmla="*/ 3808 w 22340"/>
                  <a:gd name="csY2" fmla="*/ 69338 h 75547"/>
                  <a:gd name="csX3" fmla="*/ 3848 w 22340"/>
                  <a:gd name="csY3" fmla="*/ 69231 h 75547"/>
                  <a:gd name="csX4" fmla="*/ 12620 w 22340"/>
                  <a:gd name="csY4" fmla="*/ 32682 h 75547"/>
                  <a:gd name="csX5" fmla="*/ 1456 w 22340"/>
                  <a:gd name="csY5" fmla="*/ 8228 h 75547"/>
                  <a:gd name="csX6" fmla="*/ 1257 w 22340"/>
                  <a:gd name="csY6" fmla="*/ 1649 h 75547"/>
                  <a:gd name="csX7" fmla="*/ 1456 w 22340"/>
                  <a:gd name="csY7" fmla="*/ 1450 h 75547"/>
                  <a:gd name="csX8" fmla="*/ 7835 w 22340"/>
                  <a:gd name="csY8" fmla="*/ 1184 h 75547"/>
                  <a:gd name="csX9" fmla="*/ 8101 w 22340"/>
                  <a:gd name="csY9" fmla="*/ 1450 h 75547"/>
                  <a:gd name="csX10" fmla="*/ 22322 w 22340"/>
                  <a:gd name="csY10" fmla="*/ 34011 h 75547"/>
                  <a:gd name="csX11" fmla="*/ 13019 w 22340"/>
                  <a:gd name="csY11" fmla="*/ 72953 h 75547"/>
                  <a:gd name="csX12" fmla="*/ 8101 w 22340"/>
                  <a:gd name="csY12" fmla="*/ 75478 h 7554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Lst>
                <a:rect l="l" t="t" r="r" b="b"/>
                <a:pathLst>
                  <a:path w="22340" h="75547">
                    <a:moveTo>
                      <a:pt x="8101" y="75478"/>
                    </a:moveTo>
                    <a:lnTo>
                      <a:pt x="6639" y="75478"/>
                    </a:lnTo>
                    <a:cubicBezTo>
                      <a:pt x="4167" y="74561"/>
                      <a:pt x="2891" y="71810"/>
                      <a:pt x="3808" y="69338"/>
                    </a:cubicBezTo>
                    <a:cubicBezTo>
                      <a:pt x="3822" y="69298"/>
                      <a:pt x="3835" y="69258"/>
                      <a:pt x="3848" y="69231"/>
                    </a:cubicBezTo>
                    <a:cubicBezTo>
                      <a:pt x="8141" y="57416"/>
                      <a:pt x="11078" y="45162"/>
                      <a:pt x="12620" y="32682"/>
                    </a:cubicBezTo>
                    <a:cubicBezTo>
                      <a:pt x="12354" y="23352"/>
                      <a:pt x="8327" y="14541"/>
                      <a:pt x="1456" y="8228"/>
                    </a:cubicBezTo>
                    <a:cubicBezTo>
                      <a:pt x="-418" y="6473"/>
                      <a:pt x="-511" y="3523"/>
                      <a:pt x="1257" y="1649"/>
                    </a:cubicBezTo>
                    <a:cubicBezTo>
                      <a:pt x="1323" y="1583"/>
                      <a:pt x="1390" y="1516"/>
                      <a:pt x="1456" y="1450"/>
                    </a:cubicBezTo>
                    <a:cubicBezTo>
                      <a:pt x="3144" y="-384"/>
                      <a:pt x="6001" y="-504"/>
                      <a:pt x="7835" y="1184"/>
                    </a:cubicBezTo>
                    <a:cubicBezTo>
                      <a:pt x="7928" y="1277"/>
                      <a:pt x="8021" y="1357"/>
                      <a:pt x="8101" y="1450"/>
                    </a:cubicBezTo>
                    <a:cubicBezTo>
                      <a:pt x="17351" y="9716"/>
                      <a:pt x="22548" y="21611"/>
                      <a:pt x="22322" y="34011"/>
                    </a:cubicBezTo>
                    <a:cubicBezTo>
                      <a:pt x="20820" y="47329"/>
                      <a:pt x="17697" y="60406"/>
                      <a:pt x="13019" y="72953"/>
                    </a:cubicBezTo>
                    <a:cubicBezTo>
                      <a:pt x="12115" y="74787"/>
                      <a:pt x="10121" y="75810"/>
                      <a:pt x="8101" y="75478"/>
                    </a:cubicBezTo>
                    <a:close/>
                  </a:path>
                </a:pathLst>
              </a:custGeom>
              <a:solidFill>
                <a:srgbClr val="CD3333"/>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79" name="Freeform: Shape 178">
                <a:extLst>
                  <a:ext uri="{FF2B5EF4-FFF2-40B4-BE49-F238E27FC236}">
                    <a16:creationId xmlns:a16="http://schemas.microsoft.com/office/drawing/2014/main" id="{65536784-D7DC-E61D-1C42-DFD7831A31F9}"/>
                  </a:ext>
                </a:extLst>
              </p:cNvPr>
              <p:cNvSpPr/>
              <p:nvPr/>
            </p:nvSpPr>
            <p:spPr>
              <a:xfrm>
                <a:off x="4336117" y="4316800"/>
                <a:ext cx="25297" cy="64509"/>
              </a:xfrm>
              <a:custGeom>
                <a:avLst/>
                <a:gdLst>
                  <a:gd name="csX0" fmla="*/ 10704 w 25297"/>
                  <a:gd name="csY0" fmla="*/ 64502 h 64509"/>
                  <a:gd name="csX1" fmla="*/ 14691 w 25297"/>
                  <a:gd name="csY1" fmla="*/ 5359 h 64509"/>
                  <a:gd name="csX2" fmla="*/ 24792 w 25297"/>
                  <a:gd name="csY2" fmla="*/ 3232 h 64509"/>
                  <a:gd name="csX3" fmla="*/ 18412 w 25297"/>
                  <a:gd name="csY3" fmla="*/ 25560 h 64509"/>
                  <a:gd name="csX4" fmla="*/ 20406 w 25297"/>
                  <a:gd name="csY4" fmla="*/ 37788 h 64509"/>
                  <a:gd name="csX5" fmla="*/ 23064 w 25297"/>
                  <a:gd name="csY5" fmla="*/ 53072 h 64509"/>
                  <a:gd name="csX6" fmla="*/ 10704 w 25297"/>
                  <a:gd name="csY6" fmla="*/ 64502 h 645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5297" h="64509">
                    <a:moveTo>
                      <a:pt x="10704" y="64502"/>
                    </a:moveTo>
                    <a:cubicBezTo>
                      <a:pt x="10704" y="64502"/>
                      <a:pt x="-15877" y="39515"/>
                      <a:pt x="14691" y="5359"/>
                    </a:cubicBezTo>
                    <a:cubicBezTo>
                      <a:pt x="14691" y="5359"/>
                      <a:pt x="27982" y="-5141"/>
                      <a:pt x="24792" y="3232"/>
                    </a:cubicBezTo>
                    <a:cubicBezTo>
                      <a:pt x="21602" y="11605"/>
                      <a:pt x="11501" y="21706"/>
                      <a:pt x="18412" y="25560"/>
                    </a:cubicBezTo>
                    <a:cubicBezTo>
                      <a:pt x="25323" y="29415"/>
                      <a:pt x="17216" y="30212"/>
                      <a:pt x="20406" y="37788"/>
                    </a:cubicBezTo>
                    <a:cubicBezTo>
                      <a:pt x="23596" y="45363"/>
                      <a:pt x="25191" y="43901"/>
                      <a:pt x="23064" y="53072"/>
                    </a:cubicBezTo>
                    <a:cubicBezTo>
                      <a:pt x="21257" y="58800"/>
                      <a:pt x="16552" y="63146"/>
                      <a:pt x="10704" y="64502"/>
                    </a:cubicBezTo>
                    <a:close/>
                  </a:path>
                </a:pathLst>
              </a:custGeom>
              <a:solidFill>
                <a:srgbClr val="E82E2E"/>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80" name="Freeform: Shape 179">
                <a:extLst>
                  <a:ext uri="{FF2B5EF4-FFF2-40B4-BE49-F238E27FC236}">
                    <a16:creationId xmlns:a16="http://schemas.microsoft.com/office/drawing/2014/main" id="{EBFBC3F1-1C58-61DD-3BB2-84CC0D3C1121}"/>
                  </a:ext>
                </a:extLst>
              </p:cNvPr>
              <p:cNvSpPr/>
              <p:nvPr/>
            </p:nvSpPr>
            <p:spPr>
              <a:xfrm>
                <a:off x="4353305" y="4315279"/>
                <a:ext cx="35701" cy="70166"/>
              </a:xfrm>
              <a:custGeom>
                <a:avLst/>
                <a:gdLst>
                  <a:gd name="csX0" fmla="*/ 8002 w 35701"/>
                  <a:gd name="csY0" fmla="*/ 62302 h 70166"/>
                  <a:gd name="csX1" fmla="*/ 1623 w 35701"/>
                  <a:gd name="csY1" fmla="*/ 47549 h 70166"/>
                  <a:gd name="csX2" fmla="*/ 11856 w 35701"/>
                  <a:gd name="csY2" fmla="*/ 35189 h 70166"/>
                  <a:gd name="csX3" fmla="*/ 11856 w 35701"/>
                  <a:gd name="csY3" fmla="*/ 22696 h 70166"/>
                  <a:gd name="csX4" fmla="*/ 18502 w 35701"/>
                  <a:gd name="csY4" fmla="*/ 9405 h 70166"/>
                  <a:gd name="csX5" fmla="*/ 22622 w 35701"/>
                  <a:gd name="csY5" fmla="*/ 1298 h 70166"/>
                  <a:gd name="csX6" fmla="*/ 26343 w 35701"/>
                  <a:gd name="csY6" fmla="*/ 61903 h 70166"/>
                  <a:gd name="csX7" fmla="*/ 8002 w 35701"/>
                  <a:gd name="csY7" fmla="*/ 62302 h 7016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35701" h="70166">
                    <a:moveTo>
                      <a:pt x="8002" y="62302"/>
                    </a:moveTo>
                    <a:cubicBezTo>
                      <a:pt x="8002" y="62302"/>
                      <a:pt x="-4358" y="53796"/>
                      <a:pt x="1623" y="47549"/>
                    </a:cubicBezTo>
                    <a:cubicBezTo>
                      <a:pt x="7603" y="41303"/>
                      <a:pt x="14913" y="42765"/>
                      <a:pt x="11856" y="35189"/>
                    </a:cubicBezTo>
                    <a:cubicBezTo>
                      <a:pt x="8800" y="27613"/>
                      <a:pt x="7338" y="27879"/>
                      <a:pt x="11856" y="22696"/>
                    </a:cubicBezTo>
                    <a:cubicBezTo>
                      <a:pt x="16375" y="17513"/>
                      <a:pt x="20495" y="14722"/>
                      <a:pt x="18502" y="9405"/>
                    </a:cubicBezTo>
                    <a:cubicBezTo>
                      <a:pt x="16508" y="4089"/>
                      <a:pt x="16641" y="-2955"/>
                      <a:pt x="22622" y="1298"/>
                    </a:cubicBezTo>
                    <a:cubicBezTo>
                      <a:pt x="28602" y="5551"/>
                      <a:pt x="46545" y="43562"/>
                      <a:pt x="26343" y="61903"/>
                    </a:cubicBezTo>
                    <a:cubicBezTo>
                      <a:pt x="6141" y="80244"/>
                      <a:pt x="8002" y="62302"/>
                      <a:pt x="8002" y="62302"/>
                    </a:cubicBezTo>
                    <a:close/>
                  </a:path>
                </a:pathLst>
              </a:custGeom>
              <a:solidFill>
                <a:srgbClr val="DB2A2A"/>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81" name="Freeform: Shape 180">
                <a:extLst>
                  <a:ext uri="{FF2B5EF4-FFF2-40B4-BE49-F238E27FC236}">
                    <a16:creationId xmlns:a16="http://schemas.microsoft.com/office/drawing/2014/main" id="{860440BB-2D7B-1BBD-B0A6-531B9621C15D}"/>
                  </a:ext>
                </a:extLst>
              </p:cNvPr>
              <p:cNvSpPr/>
              <p:nvPr/>
            </p:nvSpPr>
            <p:spPr>
              <a:xfrm>
                <a:off x="4343000" y="4371753"/>
                <a:ext cx="37324" cy="49161"/>
              </a:xfrm>
              <a:custGeom>
                <a:avLst/>
                <a:gdLst>
                  <a:gd name="csX0" fmla="*/ 29737 w 37324"/>
                  <a:gd name="csY0" fmla="*/ 49154 h 49161"/>
                  <a:gd name="csX1" fmla="*/ 1163 w 37324"/>
                  <a:gd name="csY1" fmla="*/ 22573 h 49161"/>
                  <a:gd name="csX2" fmla="*/ 22295 w 37324"/>
                  <a:gd name="csY2" fmla="*/ 1042 h 49161"/>
                  <a:gd name="csX3" fmla="*/ 37180 w 37324"/>
                  <a:gd name="csY3" fmla="*/ 44502 h 49161"/>
                  <a:gd name="csX4" fmla="*/ 29737 w 37324"/>
                  <a:gd name="csY4" fmla="*/ 49154 h 49161"/>
                </a:gdLst>
                <a:ahLst/>
                <a:cxnLst>
                  <a:cxn ang="0">
                    <a:pos x="csX0" y="csY0"/>
                  </a:cxn>
                  <a:cxn ang="0">
                    <a:pos x="csX1" y="csY1"/>
                  </a:cxn>
                  <a:cxn ang="0">
                    <a:pos x="csX2" y="csY2"/>
                  </a:cxn>
                  <a:cxn ang="0">
                    <a:pos x="csX3" y="csY3"/>
                  </a:cxn>
                  <a:cxn ang="0">
                    <a:pos x="csX4" y="csY4"/>
                  </a:cxn>
                </a:cxnLst>
                <a:rect l="l" t="t" r="r" b="b"/>
                <a:pathLst>
                  <a:path w="37324" h="49161">
                    <a:moveTo>
                      <a:pt x="29737" y="49154"/>
                    </a:moveTo>
                    <a:cubicBezTo>
                      <a:pt x="15968" y="46376"/>
                      <a:pt x="4937" y="36103"/>
                      <a:pt x="1163" y="22573"/>
                    </a:cubicBezTo>
                    <a:cubicBezTo>
                      <a:pt x="-4286" y="112"/>
                      <a:pt x="10333" y="-1882"/>
                      <a:pt x="22295" y="1042"/>
                    </a:cubicBezTo>
                    <a:cubicBezTo>
                      <a:pt x="34256" y="3966"/>
                      <a:pt x="38110" y="43705"/>
                      <a:pt x="37180" y="44502"/>
                    </a:cubicBezTo>
                    <a:cubicBezTo>
                      <a:pt x="34775" y="46177"/>
                      <a:pt x="32302" y="47732"/>
                      <a:pt x="29737" y="49154"/>
                    </a:cubicBezTo>
                    <a:close/>
                  </a:path>
                </a:pathLst>
              </a:custGeom>
              <a:solidFill>
                <a:srgbClr val="BC2222"/>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82" name="Freeform: Shape 181">
                <a:extLst>
                  <a:ext uri="{FF2B5EF4-FFF2-40B4-BE49-F238E27FC236}">
                    <a16:creationId xmlns:a16="http://schemas.microsoft.com/office/drawing/2014/main" id="{AEB39D0F-5412-2DA3-04F1-96B5E06E6495}"/>
                  </a:ext>
                </a:extLst>
              </p:cNvPr>
              <p:cNvSpPr/>
              <p:nvPr/>
            </p:nvSpPr>
            <p:spPr>
              <a:xfrm>
                <a:off x="4369524" y="4411658"/>
                <a:ext cx="35309" cy="17763"/>
              </a:xfrm>
              <a:custGeom>
                <a:avLst/>
                <a:gdLst>
                  <a:gd name="csX0" fmla="*/ 12915 w 35309"/>
                  <a:gd name="csY0" fmla="*/ 478 h 17763"/>
                  <a:gd name="csX1" fmla="*/ 33515 w 35309"/>
                  <a:gd name="csY1" fmla="*/ 4465 h 17763"/>
                  <a:gd name="csX2" fmla="*/ 16237 w 35309"/>
                  <a:gd name="csY2" fmla="*/ 17755 h 17763"/>
                  <a:gd name="csX3" fmla="*/ 23 w 35309"/>
                  <a:gd name="csY3" fmla="*/ 10047 h 17763"/>
                  <a:gd name="csX4" fmla="*/ 12915 w 35309"/>
                  <a:gd name="csY4" fmla="*/ 478 h 17763"/>
                </a:gdLst>
                <a:ahLst/>
                <a:cxnLst>
                  <a:cxn ang="0">
                    <a:pos x="csX0" y="csY0"/>
                  </a:cxn>
                  <a:cxn ang="0">
                    <a:pos x="csX1" y="csY1"/>
                  </a:cxn>
                  <a:cxn ang="0">
                    <a:pos x="csX2" y="csY2"/>
                  </a:cxn>
                  <a:cxn ang="0">
                    <a:pos x="csX3" y="csY3"/>
                  </a:cxn>
                  <a:cxn ang="0">
                    <a:pos x="csX4" y="csY4"/>
                  </a:cxn>
                </a:cxnLst>
                <a:rect l="l" t="t" r="r" b="b"/>
                <a:pathLst>
                  <a:path w="35309" h="17763">
                    <a:moveTo>
                      <a:pt x="12915" y="478"/>
                    </a:moveTo>
                    <a:cubicBezTo>
                      <a:pt x="20038" y="-851"/>
                      <a:pt x="27401" y="571"/>
                      <a:pt x="33515" y="4465"/>
                    </a:cubicBezTo>
                    <a:cubicBezTo>
                      <a:pt x="40426" y="14300"/>
                      <a:pt x="25673" y="17755"/>
                      <a:pt x="16237" y="17755"/>
                    </a:cubicBezTo>
                    <a:cubicBezTo>
                      <a:pt x="6801" y="17755"/>
                      <a:pt x="554" y="13901"/>
                      <a:pt x="23" y="10047"/>
                    </a:cubicBezTo>
                    <a:cubicBezTo>
                      <a:pt x="-509" y="6193"/>
                      <a:pt x="5206" y="1541"/>
                      <a:pt x="12915" y="478"/>
                    </a:cubicBezTo>
                    <a:close/>
                  </a:path>
                </a:pathLst>
              </a:custGeom>
              <a:solidFill>
                <a:srgbClr val="DB2A2A"/>
              </a:solidFill>
              <a:ln w="13287" cap="flat">
                <a:no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grpSp>
      </p:grpSp>
      <p:grpSp>
        <p:nvGrpSpPr>
          <p:cNvPr id="199" name="Group 198">
            <a:extLst>
              <a:ext uri="{FF2B5EF4-FFF2-40B4-BE49-F238E27FC236}">
                <a16:creationId xmlns:a16="http://schemas.microsoft.com/office/drawing/2014/main" id="{EB5E71A9-4E1E-26FE-CF1D-AFA10E31D950}"/>
              </a:ext>
            </a:extLst>
          </p:cNvPr>
          <p:cNvGrpSpPr/>
          <p:nvPr/>
        </p:nvGrpSpPr>
        <p:grpSpPr>
          <a:xfrm>
            <a:off x="1431515" y="2076333"/>
            <a:ext cx="8941288" cy="4454891"/>
            <a:chOff x="2041794" y="2296139"/>
            <a:chExt cx="13411932" cy="6682336"/>
          </a:xfrm>
        </p:grpSpPr>
        <p:grpSp>
          <p:nvGrpSpPr>
            <p:cNvPr id="5" name="Group 2">
              <a:extLst>
                <a:ext uri="{FF2B5EF4-FFF2-40B4-BE49-F238E27FC236}">
                  <a16:creationId xmlns:a16="http://schemas.microsoft.com/office/drawing/2014/main" id="{AF807672-B00A-4C4A-9F53-120C4E7B43AB}"/>
                </a:ext>
              </a:extLst>
            </p:cNvPr>
            <p:cNvGrpSpPr/>
            <p:nvPr/>
          </p:nvGrpSpPr>
          <p:grpSpPr>
            <a:xfrm>
              <a:off x="7314973" y="2296139"/>
              <a:ext cx="2818667" cy="3451353"/>
              <a:chOff x="0" y="0"/>
              <a:chExt cx="742365" cy="908998"/>
            </a:xfrm>
            <a:solidFill>
              <a:schemeClr val="bg1">
                <a:lumMod val="95000"/>
              </a:schemeClr>
            </a:solidFill>
          </p:grpSpPr>
          <p:sp>
            <p:nvSpPr>
              <p:cNvPr id="8" name="Freeform 3">
                <a:extLst>
                  <a:ext uri="{FF2B5EF4-FFF2-40B4-BE49-F238E27FC236}">
                    <a16:creationId xmlns:a16="http://schemas.microsoft.com/office/drawing/2014/main" id="{32A95EEE-0511-C91E-2CF9-A06C3895799A}"/>
                  </a:ext>
                </a:extLst>
              </p:cNvPr>
              <p:cNvSpPr/>
              <p:nvPr/>
            </p:nvSpPr>
            <p:spPr>
              <a:xfrm>
                <a:off x="0" y="0"/>
                <a:ext cx="742365" cy="908998"/>
              </a:xfrm>
              <a:custGeom>
                <a:avLst/>
                <a:gdLst/>
                <a:ahLst/>
                <a:cxnLst/>
                <a:rect l="l" t="t" r="r" b="b"/>
                <a:pathLst>
                  <a:path w="742365" h="908998">
                    <a:moveTo>
                      <a:pt x="0" y="0"/>
                    </a:moveTo>
                    <a:lnTo>
                      <a:pt x="742365" y="0"/>
                    </a:lnTo>
                    <a:lnTo>
                      <a:pt x="742365" y="908998"/>
                    </a:lnTo>
                    <a:lnTo>
                      <a:pt x="0" y="908998"/>
                    </a:lnTo>
                    <a:close/>
                  </a:path>
                </a:pathLst>
              </a:custGeom>
              <a:gr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0" name="TextBox 4">
                <a:extLst>
                  <a:ext uri="{FF2B5EF4-FFF2-40B4-BE49-F238E27FC236}">
                    <a16:creationId xmlns:a16="http://schemas.microsoft.com/office/drawing/2014/main" id="{2A743FC6-17B7-C6ED-B911-419E05E516B1}"/>
                  </a:ext>
                </a:extLst>
              </p:cNvPr>
              <p:cNvSpPr txBox="1"/>
              <p:nvPr/>
            </p:nvSpPr>
            <p:spPr>
              <a:xfrm>
                <a:off x="0" y="9525"/>
                <a:ext cx="742365" cy="899473"/>
              </a:xfrm>
              <a:prstGeom prst="rect">
                <a:avLst/>
              </a:prstGeom>
              <a:grpFill/>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defTabSz="609570">
                  <a:lnSpc>
                    <a:spcPts val="1173"/>
                  </a:lnSpc>
                  <a:buClrTx/>
                </a:pPr>
                <a:endParaRPr sz="800">
                  <a:solidFill>
                    <a:prstClr val="black"/>
                  </a:solidFill>
                  <a:latin typeface="Calibri"/>
                </a:endParaRPr>
              </a:p>
            </p:txBody>
          </p:sp>
        </p:grpSp>
        <p:grpSp>
          <p:nvGrpSpPr>
            <p:cNvPr id="198" name="Group 197">
              <a:extLst>
                <a:ext uri="{FF2B5EF4-FFF2-40B4-BE49-F238E27FC236}">
                  <a16:creationId xmlns:a16="http://schemas.microsoft.com/office/drawing/2014/main" id="{5332C7C2-F9E9-6BA2-FA8F-8461430A018A}"/>
                </a:ext>
              </a:extLst>
            </p:cNvPr>
            <p:cNvGrpSpPr/>
            <p:nvPr/>
          </p:nvGrpSpPr>
          <p:grpSpPr>
            <a:xfrm>
              <a:off x="2041794" y="2531683"/>
              <a:ext cx="13411932" cy="6446792"/>
              <a:chOff x="2041794" y="2531683"/>
              <a:chExt cx="13411932" cy="6446792"/>
            </a:xfrm>
          </p:grpSpPr>
          <p:sp>
            <p:nvSpPr>
              <p:cNvPr id="108" name="Freeform 52">
                <a:extLst>
                  <a:ext uri="{FF2B5EF4-FFF2-40B4-BE49-F238E27FC236}">
                    <a16:creationId xmlns:a16="http://schemas.microsoft.com/office/drawing/2014/main" id="{44E949B4-4895-4A34-D177-DE7AAEE31E6F}"/>
                  </a:ext>
                </a:extLst>
              </p:cNvPr>
              <p:cNvSpPr/>
              <p:nvPr/>
            </p:nvSpPr>
            <p:spPr>
              <a:xfrm>
                <a:off x="2041794" y="6760515"/>
                <a:ext cx="3352983" cy="1107571"/>
              </a:xfrm>
              <a:custGeom>
                <a:avLst/>
                <a:gdLst/>
                <a:ahLst/>
                <a:cxnLst/>
                <a:rect l="l" t="t" r="r" b="b"/>
                <a:pathLst>
                  <a:path w="3352983" h="1107571">
                    <a:moveTo>
                      <a:pt x="0" y="0"/>
                    </a:moveTo>
                    <a:lnTo>
                      <a:pt x="1419316" y="0"/>
                    </a:lnTo>
                    <a:cubicBezTo>
                      <a:pt x="1561350" y="0"/>
                      <a:pt x="1676491" y="115141"/>
                      <a:pt x="1676491" y="257175"/>
                    </a:cubicBezTo>
                    <a:lnTo>
                      <a:pt x="1676491" y="850396"/>
                    </a:lnTo>
                    <a:cubicBezTo>
                      <a:pt x="1676491" y="992430"/>
                      <a:pt x="1791632" y="1107571"/>
                      <a:pt x="1933666" y="1107571"/>
                    </a:cubicBezTo>
                    <a:lnTo>
                      <a:pt x="3352983" y="1107571"/>
                    </a:lnTo>
                  </a:path>
                </a:pathLst>
              </a:custGeom>
              <a:ln w="38100" cap="flat">
                <a:solidFill>
                  <a:srgbClr val="E5E2DE"/>
                </a:solidFill>
                <a:prstDash val="sysDash"/>
                <a:headEnd type="none" w="sm" len="sm"/>
                <a:tailEnd type="none" w="sm" len="sm"/>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11" name="Freeform 55">
                <a:extLst>
                  <a:ext uri="{FF2B5EF4-FFF2-40B4-BE49-F238E27FC236}">
                    <a16:creationId xmlns:a16="http://schemas.microsoft.com/office/drawing/2014/main" id="{B9C4CC61-95D5-6939-2BBE-3EDA063C8826}"/>
                  </a:ext>
                </a:extLst>
              </p:cNvPr>
              <p:cNvSpPr/>
              <p:nvPr/>
            </p:nvSpPr>
            <p:spPr>
              <a:xfrm>
                <a:off x="12100743" y="6760515"/>
                <a:ext cx="3352983" cy="1107571"/>
              </a:xfrm>
              <a:custGeom>
                <a:avLst/>
                <a:gdLst/>
                <a:ahLst/>
                <a:cxnLst/>
                <a:rect l="l" t="t" r="r" b="b"/>
                <a:pathLst>
                  <a:path w="3352983" h="1107571">
                    <a:moveTo>
                      <a:pt x="0" y="1107571"/>
                    </a:moveTo>
                    <a:lnTo>
                      <a:pt x="1419316" y="1107571"/>
                    </a:lnTo>
                    <a:cubicBezTo>
                      <a:pt x="1487523" y="1107571"/>
                      <a:pt x="1552938" y="1080476"/>
                      <a:pt x="1601167" y="1032246"/>
                    </a:cubicBezTo>
                    <a:cubicBezTo>
                      <a:pt x="1649397" y="984017"/>
                      <a:pt x="1676491" y="918603"/>
                      <a:pt x="1676491" y="850396"/>
                    </a:cubicBezTo>
                    <a:lnTo>
                      <a:pt x="1676491" y="257175"/>
                    </a:lnTo>
                    <a:cubicBezTo>
                      <a:pt x="1676491" y="188968"/>
                      <a:pt x="1703586" y="123554"/>
                      <a:pt x="1751817" y="75325"/>
                    </a:cubicBezTo>
                    <a:cubicBezTo>
                      <a:pt x="1800047" y="27095"/>
                      <a:pt x="1865460" y="0"/>
                      <a:pt x="1933666" y="0"/>
                    </a:cubicBezTo>
                    <a:lnTo>
                      <a:pt x="3352983" y="0"/>
                    </a:lnTo>
                  </a:path>
                </a:pathLst>
              </a:custGeom>
              <a:ln w="38100" cap="flat">
                <a:solidFill>
                  <a:srgbClr val="E5E2DE"/>
                </a:solidFill>
                <a:prstDash val="sysDash"/>
                <a:headEnd type="none" w="sm" len="sm"/>
                <a:tailEnd type="none" w="sm" len="sm"/>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grpSp>
            <p:nvGrpSpPr>
              <p:cNvPr id="197" name="Group 196">
                <a:extLst>
                  <a:ext uri="{FF2B5EF4-FFF2-40B4-BE49-F238E27FC236}">
                    <a16:creationId xmlns:a16="http://schemas.microsoft.com/office/drawing/2014/main" id="{05942AED-AF2C-E741-DEFC-ACDF04C7634F}"/>
                  </a:ext>
                </a:extLst>
              </p:cNvPr>
              <p:cNvGrpSpPr/>
              <p:nvPr/>
            </p:nvGrpSpPr>
            <p:grpSpPr>
              <a:xfrm>
                <a:off x="3965809" y="2531683"/>
                <a:ext cx="9542701" cy="6446792"/>
                <a:chOff x="3965809" y="2531683"/>
                <a:chExt cx="9542701" cy="6446792"/>
              </a:xfrm>
            </p:grpSpPr>
            <p:grpSp>
              <p:nvGrpSpPr>
                <p:cNvPr id="11" name="Group 5">
                  <a:extLst>
                    <a:ext uri="{FF2B5EF4-FFF2-40B4-BE49-F238E27FC236}">
                      <a16:creationId xmlns:a16="http://schemas.microsoft.com/office/drawing/2014/main" id="{60616EE2-6524-9180-82BC-97F265D5A690}"/>
                    </a:ext>
                  </a:extLst>
                </p:cNvPr>
                <p:cNvGrpSpPr/>
                <p:nvPr/>
              </p:nvGrpSpPr>
              <p:grpSpPr>
                <a:xfrm>
                  <a:off x="10689843" y="3213912"/>
                  <a:ext cx="2818667" cy="3451353"/>
                  <a:chOff x="0" y="0"/>
                  <a:chExt cx="742365" cy="908998"/>
                </a:xfrm>
                <a:solidFill>
                  <a:schemeClr val="bg1">
                    <a:lumMod val="95000"/>
                  </a:schemeClr>
                </a:solidFill>
              </p:grpSpPr>
              <p:sp>
                <p:nvSpPr>
                  <p:cNvPr id="13" name="Freeform 6">
                    <a:extLst>
                      <a:ext uri="{FF2B5EF4-FFF2-40B4-BE49-F238E27FC236}">
                        <a16:creationId xmlns:a16="http://schemas.microsoft.com/office/drawing/2014/main" id="{B6DA2EDA-CC53-36A8-D54A-8B060936B700}"/>
                      </a:ext>
                    </a:extLst>
                  </p:cNvPr>
                  <p:cNvSpPr/>
                  <p:nvPr/>
                </p:nvSpPr>
                <p:spPr>
                  <a:xfrm>
                    <a:off x="0" y="0"/>
                    <a:ext cx="742365" cy="908998"/>
                  </a:xfrm>
                  <a:custGeom>
                    <a:avLst/>
                    <a:gdLst/>
                    <a:ahLst/>
                    <a:cxnLst/>
                    <a:rect l="l" t="t" r="r" b="b"/>
                    <a:pathLst>
                      <a:path w="742365" h="908998">
                        <a:moveTo>
                          <a:pt x="0" y="0"/>
                        </a:moveTo>
                        <a:lnTo>
                          <a:pt x="742365" y="0"/>
                        </a:lnTo>
                        <a:lnTo>
                          <a:pt x="742365" y="908998"/>
                        </a:lnTo>
                        <a:lnTo>
                          <a:pt x="0" y="908998"/>
                        </a:lnTo>
                        <a:close/>
                      </a:path>
                    </a:pathLst>
                  </a:custGeom>
                  <a:gr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4" name="TextBox 7">
                    <a:extLst>
                      <a:ext uri="{FF2B5EF4-FFF2-40B4-BE49-F238E27FC236}">
                        <a16:creationId xmlns:a16="http://schemas.microsoft.com/office/drawing/2014/main" id="{AA007A08-1815-2395-D97E-9F13ED3D5421}"/>
                      </a:ext>
                    </a:extLst>
                  </p:cNvPr>
                  <p:cNvSpPr txBox="1"/>
                  <p:nvPr/>
                </p:nvSpPr>
                <p:spPr>
                  <a:xfrm>
                    <a:off x="0" y="9525"/>
                    <a:ext cx="742365" cy="899473"/>
                  </a:xfrm>
                  <a:prstGeom prst="rect">
                    <a:avLst/>
                  </a:prstGeom>
                  <a:grpFill/>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defTabSz="609570">
                      <a:lnSpc>
                        <a:spcPts val="1173"/>
                      </a:lnSpc>
                      <a:buClrTx/>
                    </a:pPr>
                    <a:endParaRPr sz="800">
                      <a:solidFill>
                        <a:prstClr val="black"/>
                      </a:solidFill>
                      <a:latin typeface="Calibri"/>
                    </a:endParaRPr>
                  </a:p>
                </p:txBody>
              </p:sp>
            </p:grpSp>
            <p:grpSp>
              <p:nvGrpSpPr>
                <p:cNvPr id="77" name="Group 11">
                  <a:extLst>
                    <a:ext uri="{FF2B5EF4-FFF2-40B4-BE49-F238E27FC236}">
                      <a16:creationId xmlns:a16="http://schemas.microsoft.com/office/drawing/2014/main" id="{F933F424-C003-D5C9-C060-E82EA44FC6FE}"/>
                    </a:ext>
                  </a:extLst>
                </p:cNvPr>
                <p:cNvGrpSpPr/>
                <p:nvPr/>
              </p:nvGrpSpPr>
              <p:grpSpPr>
                <a:xfrm>
                  <a:off x="3985443" y="3177747"/>
                  <a:ext cx="2818667" cy="3451353"/>
                  <a:chOff x="0" y="0"/>
                  <a:chExt cx="742365" cy="908998"/>
                </a:xfrm>
                <a:solidFill>
                  <a:schemeClr val="bg1">
                    <a:lumMod val="95000"/>
                  </a:schemeClr>
                </a:solidFill>
              </p:grpSpPr>
              <p:sp>
                <p:nvSpPr>
                  <p:cNvPr id="81" name="Freeform 12">
                    <a:extLst>
                      <a:ext uri="{FF2B5EF4-FFF2-40B4-BE49-F238E27FC236}">
                        <a16:creationId xmlns:a16="http://schemas.microsoft.com/office/drawing/2014/main" id="{0CBBB466-790D-EEBE-9C8B-297C070EA01E}"/>
                      </a:ext>
                    </a:extLst>
                  </p:cNvPr>
                  <p:cNvSpPr/>
                  <p:nvPr/>
                </p:nvSpPr>
                <p:spPr>
                  <a:xfrm>
                    <a:off x="0" y="0"/>
                    <a:ext cx="742365" cy="908998"/>
                  </a:xfrm>
                  <a:custGeom>
                    <a:avLst/>
                    <a:gdLst/>
                    <a:ahLst/>
                    <a:cxnLst/>
                    <a:rect l="l" t="t" r="r" b="b"/>
                    <a:pathLst>
                      <a:path w="742365" h="908998">
                        <a:moveTo>
                          <a:pt x="0" y="0"/>
                        </a:moveTo>
                        <a:lnTo>
                          <a:pt x="742365" y="0"/>
                        </a:lnTo>
                        <a:lnTo>
                          <a:pt x="742365" y="908998"/>
                        </a:lnTo>
                        <a:lnTo>
                          <a:pt x="0" y="908998"/>
                        </a:lnTo>
                        <a:close/>
                      </a:path>
                    </a:pathLst>
                  </a:custGeom>
                  <a:gr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82" name="TextBox 13">
                    <a:extLst>
                      <a:ext uri="{FF2B5EF4-FFF2-40B4-BE49-F238E27FC236}">
                        <a16:creationId xmlns:a16="http://schemas.microsoft.com/office/drawing/2014/main" id="{46F766AE-F880-243E-F8EC-51F03EE0A998}"/>
                      </a:ext>
                    </a:extLst>
                  </p:cNvPr>
                  <p:cNvSpPr txBox="1"/>
                  <p:nvPr/>
                </p:nvSpPr>
                <p:spPr>
                  <a:xfrm>
                    <a:off x="0" y="9525"/>
                    <a:ext cx="742365" cy="899473"/>
                  </a:xfrm>
                  <a:prstGeom prst="rect">
                    <a:avLst/>
                  </a:prstGeom>
                  <a:grpFill/>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defTabSz="609570">
                      <a:lnSpc>
                        <a:spcPts val="1173"/>
                      </a:lnSpc>
                      <a:buClrTx/>
                    </a:pPr>
                    <a:endParaRPr sz="800">
                      <a:solidFill>
                        <a:prstClr val="black"/>
                      </a:solidFill>
                      <a:latin typeface="Calibri"/>
                    </a:endParaRPr>
                  </a:p>
                </p:txBody>
              </p:sp>
            </p:grpSp>
            <p:grpSp>
              <p:nvGrpSpPr>
                <p:cNvPr id="85" name="Group 24">
                  <a:extLst>
                    <a:ext uri="{FF2B5EF4-FFF2-40B4-BE49-F238E27FC236}">
                      <a16:creationId xmlns:a16="http://schemas.microsoft.com/office/drawing/2014/main" id="{AC009E58-6EE3-9CD6-363C-C66BF510FEAD}"/>
                    </a:ext>
                  </a:extLst>
                </p:cNvPr>
                <p:cNvGrpSpPr/>
                <p:nvPr/>
              </p:nvGrpSpPr>
              <p:grpSpPr>
                <a:xfrm>
                  <a:off x="4305059" y="5122712"/>
                  <a:ext cx="2208993" cy="2666998"/>
                  <a:chOff x="0" y="67725"/>
                  <a:chExt cx="2945322" cy="3556005"/>
                </a:xfrm>
              </p:grpSpPr>
              <p:grpSp>
                <p:nvGrpSpPr>
                  <p:cNvPr id="86" name="Group 25">
                    <a:extLst>
                      <a:ext uri="{FF2B5EF4-FFF2-40B4-BE49-F238E27FC236}">
                        <a16:creationId xmlns:a16="http://schemas.microsoft.com/office/drawing/2014/main" id="{6787F3F9-C123-EF51-43ED-F974D559A1E3}"/>
                      </a:ext>
                    </a:extLst>
                  </p:cNvPr>
                  <p:cNvGrpSpPr/>
                  <p:nvPr/>
                </p:nvGrpSpPr>
                <p:grpSpPr>
                  <a:xfrm>
                    <a:off x="738460" y="2610680"/>
                    <a:ext cx="1468402" cy="1013050"/>
                    <a:chOff x="0" y="65060"/>
                    <a:chExt cx="1410479" cy="973089"/>
                  </a:xfrm>
                </p:grpSpPr>
                <p:sp>
                  <p:nvSpPr>
                    <p:cNvPr id="92" name="Freeform 26">
                      <a:extLst>
                        <a:ext uri="{FF2B5EF4-FFF2-40B4-BE49-F238E27FC236}">
                          <a16:creationId xmlns:a16="http://schemas.microsoft.com/office/drawing/2014/main" id="{AF165CCB-363E-3AAC-1637-B5AB521A07EC}"/>
                        </a:ext>
                      </a:extLst>
                    </p:cNvPr>
                    <p:cNvSpPr/>
                    <p:nvPr/>
                  </p:nvSpPr>
                  <p:spPr>
                    <a:xfrm>
                      <a:off x="0" y="65060"/>
                      <a:ext cx="1410479" cy="973089"/>
                    </a:xfrm>
                    <a:custGeom>
                      <a:avLst/>
                      <a:gdLst/>
                      <a:ahLst/>
                      <a:cxnLst/>
                      <a:rect l="l" t="t" r="r" b="b"/>
                      <a:pathLst>
                        <a:path w="1410479" h="973089">
                          <a:moveTo>
                            <a:pt x="705240" y="973089"/>
                          </a:moveTo>
                          <a:lnTo>
                            <a:pt x="1410479" y="0"/>
                          </a:lnTo>
                          <a:lnTo>
                            <a:pt x="0" y="0"/>
                          </a:lnTo>
                          <a:lnTo>
                            <a:pt x="705240" y="973089"/>
                          </a:lnTo>
                          <a:close/>
                        </a:path>
                      </a:pathLst>
                    </a:custGeom>
                    <a:gradFill rotWithShape="1">
                      <a:gsLst>
                        <a:gs pos="0">
                          <a:srgbClr val="FFFFFF">
                            <a:alpha val="100000"/>
                          </a:srgbClr>
                        </a:gs>
                        <a:gs pos="100000">
                          <a:srgbClr val="FF8757">
                            <a:alpha val="100000"/>
                          </a:srgbClr>
                        </a:gs>
                      </a:gsLst>
                      <a:lin ang="5400000"/>
                    </a:gra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93" name="TextBox 27">
                      <a:extLst>
                        <a:ext uri="{FF2B5EF4-FFF2-40B4-BE49-F238E27FC236}">
                          <a16:creationId xmlns:a16="http://schemas.microsoft.com/office/drawing/2014/main" id="{2B133C84-C772-3235-351A-09B600637124}"/>
                        </a:ext>
                      </a:extLst>
                    </p:cNvPr>
                    <p:cNvSpPr txBox="1"/>
                    <p:nvPr/>
                  </p:nvSpPr>
                  <p:spPr>
                    <a:xfrm>
                      <a:off x="220387" y="79031"/>
                      <a:ext cx="969704" cy="442266"/>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defTabSz="609570">
                        <a:lnSpc>
                          <a:spcPts val="1173"/>
                        </a:lnSpc>
                        <a:buClrTx/>
                      </a:pPr>
                      <a:endParaRPr sz="800">
                        <a:solidFill>
                          <a:prstClr val="black"/>
                        </a:solidFill>
                        <a:latin typeface="Calibri"/>
                      </a:endParaRPr>
                    </a:p>
                  </p:txBody>
                </p:sp>
              </p:grpSp>
              <p:grpSp>
                <p:nvGrpSpPr>
                  <p:cNvPr id="87" name="Group 28">
                    <a:extLst>
                      <a:ext uri="{FF2B5EF4-FFF2-40B4-BE49-F238E27FC236}">
                        <a16:creationId xmlns:a16="http://schemas.microsoft.com/office/drawing/2014/main" id="{3658DF52-58D3-337B-0E8A-4756CF91BAFB}"/>
                      </a:ext>
                    </a:extLst>
                  </p:cNvPr>
                  <p:cNvGrpSpPr/>
                  <p:nvPr/>
                </p:nvGrpSpPr>
                <p:grpSpPr>
                  <a:xfrm>
                    <a:off x="0" y="67725"/>
                    <a:ext cx="2945322" cy="2945322"/>
                    <a:chOff x="0" y="18690"/>
                    <a:chExt cx="812800" cy="812800"/>
                  </a:xfrm>
                </p:grpSpPr>
                <p:sp>
                  <p:nvSpPr>
                    <p:cNvPr id="90" name="Freeform 29">
                      <a:extLst>
                        <a:ext uri="{FF2B5EF4-FFF2-40B4-BE49-F238E27FC236}">
                          <a16:creationId xmlns:a16="http://schemas.microsoft.com/office/drawing/2014/main" id="{EE1FD9B4-227B-02AB-03EF-E730632482B9}"/>
                        </a:ext>
                      </a:extLst>
                    </p:cNvPr>
                    <p:cNvSpPr/>
                    <p:nvPr/>
                  </p:nvSpPr>
                  <p:spPr>
                    <a:xfrm>
                      <a:off x="0" y="18690"/>
                      <a:ext cx="812800" cy="812800"/>
                    </a:xfrm>
                    <a:custGeom>
                      <a:avLst/>
                      <a:gdLst/>
                      <a:ahLst/>
                      <a:cxnLst/>
                      <a:rect l="l" t="t" r="r" b="b"/>
                      <a:pathLst>
                        <a:path w="812800" h="812800">
                          <a:moveTo>
                            <a:pt x="406400" y="0"/>
                          </a:moveTo>
                          <a:lnTo>
                            <a:pt x="812800" y="310462"/>
                          </a:lnTo>
                          <a:lnTo>
                            <a:pt x="657569" y="812800"/>
                          </a:lnTo>
                          <a:lnTo>
                            <a:pt x="155231" y="812800"/>
                          </a:lnTo>
                          <a:lnTo>
                            <a:pt x="0" y="310462"/>
                          </a:lnTo>
                          <a:lnTo>
                            <a:pt x="406400" y="0"/>
                          </a:lnTo>
                          <a:close/>
                        </a:path>
                      </a:pathLst>
                    </a:custGeom>
                    <a:solidFill>
                      <a:srgbClr val="FF8757"/>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91" name="TextBox 30">
                      <a:extLst>
                        <a:ext uri="{FF2B5EF4-FFF2-40B4-BE49-F238E27FC236}">
                          <a16:creationId xmlns:a16="http://schemas.microsoft.com/office/drawing/2014/main" id="{6A60D25E-851B-9892-D193-E65AC4860845}"/>
                        </a:ext>
                      </a:extLst>
                    </p:cNvPr>
                    <p:cNvSpPr txBox="1"/>
                    <p:nvPr/>
                  </p:nvSpPr>
                  <p:spPr>
                    <a:xfrm>
                      <a:off x="127000" y="212725"/>
                      <a:ext cx="558800" cy="549275"/>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defTabSz="609570">
                        <a:lnSpc>
                          <a:spcPts val="1173"/>
                        </a:lnSpc>
                        <a:buClrTx/>
                      </a:pPr>
                      <a:endParaRPr sz="800">
                        <a:solidFill>
                          <a:prstClr val="black"/>
                        </a:solidFill>
                        <a:latin typeface="Calibri"/>
                      </a:endParaRPr>
                    </a:p>
                  </p:txBody>
                </p:sp>
              </p:grpSp>
            </p:grpSp>
            <p:grpSp>
              <p:nvGrpSpPr>
                <p:cNvPr id="94" name="Group 31">
                  <a:extLst>
                    <a:ext uri="{FF2B5EF4-FFF2-40B4-BE49-F238E27FC236}">
                      <a16:creationId xmlns:a16="http://schemas.microsoft.com/office/drawing/2014/main" id="{1FCEC4D6-2259-27E0-14B5-F44059256AD1}"/>
                    </a:ext>
                  </a:extLst>
                </p:cNvPr>
                <p:cNvGrpSpPr/>
                <p:nvPr/>
              </p:nvGrpSpPr>
              <p:grpSpPr>
                <a:xfrm>
                  <a:off x="7643264" y="4114595"/>
                  <a:ext cx="2208993" cy="2666999"/>
                  <a:chOff x="0" y="81270"/>
                  <a:chExt cx="2945322" cy="3556006"/>
                </a:xfrm>
              </p:grpSpPr>
              <p:grpSp>
                <p:nvGrpSpPr>
                  <p:cNvPr id="95" name="Group 32">
                    <a:extLst>
                      <a:ext uri="{FF2B5EF4-FFF2-40B4-BE49-F238E27FC236}">
                        <a16:creationId xmlns:a16="http://schemas.microsoft.com/office/drawing/2014/main" id="{2685C9CD-DDB7-DEEE-4BEE-B28A879BB2AD}"/>
                      </a:ext>
                    </a:extLst>
                  </p:cNvPr>
                  <p:cNvGrpSpPr/>
                  <p:nvPr/>
                </p:nvGrpSpPr>
                <p:grpSpPr>
                  <a:xfrm>
                    <a:off x="738460" y="2624226"/>
                    <a:ext cx="1468402" cy="1013050"/>
                    <a:chOff x="0" y="78072"/>
                    <a:chExt cx="1410479" cy="973089"/>
                  </a:xfrm>
                </p:grpSpPr>
                <p:sp>
                  <p:nvSpPr>
                    <p:cNvPr id="99" name="Freeform 33">
                      <a:extLst>
                        <a:ext uri="{FF2B5EF4-FFF2-40B4-BE49-F238E27FC236}">
                          <a16:creationId xmlns:a16="http://schemas.microsoft.com/office/drawing/2014/main" id="{05E69E74-54F9-BBEB-0D72-5142CF8C382F}"/>
                        </a:ext>
                      </a:extLst>
                    </p:cNvPr>
                    <p:cNvSpPr/>
                    <p:nvPr/>
                  </p:nvSpPr>
                  <p:spPr>
                    <a:xfrm>
                      <a:off x="0" y="78072"/>
                      <a:ext cx="1410479" cy="973089"/>
                    </a:xfrm>
                    <a:custGeom>
                      <a:avLst/>
                      <a:gdLst/>
                      <a:ahLst/>
                      <a:cxnLst/>
                      <a:rect l="l" t="t" r="r" b="b"/>
                      <a:pathLst>
                        <a:path w="1410479" h="973089">
                          <a:moveTo>
                            <a:pt x="705240" y="973089"/>
                          </a:moveTo>
                          <a:lnTo>
                            <a:pt x="1410479" y="0"/>
                          </a:lnTo>
                          <a:lnTo>
                            <a:pt x="0" y="0"/>
                          </a:lnTo>
                          <a:lnTo>
                            <a:pt x="705240" y="973089"/>
                          </a:lnTo>
                          <a:close/>
                        </a:path>
                      </a:pathLst>
                    </a:custGeom>
                    <a:gradFill rotWithShape="1">
                      <a:gsLst>
                        <a:gs pos="0">
                          <a:srgbClr val="FFFFFF">
                            <a:alpha val="100000"/>
                          </a:srgbClr>
                        </a:gs>
                        <a:gs pos="100000">
                          <a:srgbClr val="FA6A96">
                            <a:alpha val="100000"/>
                          </a:srgbClr>
                        </a:gs>
                      </a:gsLst>
                      <a:lin ang="5400000"/>
                    </a:gra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00" name="TextBox 34">
                      <a:extLst>
                        <a:ext uri="{FF2B5EF4-FFF2-40B4-BE49-F238E27FC236}">
                          <a16:creationId xmlns:a16="http://schemas.microsoft.com/office/drawing/2014/main" id="{2C74FCF1-6396-5D92-C3DB-6E372528DA6D}"/>
                        </a:ext>
                      </a:extLst>
                    </p:cNvPr>
                    <p:cNvSpPr txBox="1"/>
                    <p:nvPr/>
                  </p:nvSpPr>
                  <p:spPr>
                    <a:xfrm>
                      <a:off x="220387" y="79031"/>
                      <a:ext cx="969704" cy="442266"/>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defTabSz="609570">
                        <a:lnSpc>
                          <a:spcPts val="1173"/>
                        </a:lnSpc>
                        <a:buClrTx/>
                      </a:pPr>
                      <a:endParaRPr sz="800">
                        <a:solidFill>
                          <a:prstClr val="black"/>
                        </a:solidFill>
                        <a:latin typeface="Calibri"/>
                      </a:endParaRPr>
                    </a:p>
                  </p:txBody>
                </p:sp>
              </p:grpSp>
              <p:grpSp>
                <p:nvGrpSpPr>
                  <p:cNvPr id="96" name="Group 35">
                    <a:extLst>
                      <a:ext uri="{FF2B5EF4-FFF2-40B4-BE49-F238E27FC236}">
                        <a16:creationId xmlns:a16="http://schemas.microsoft.com/office/drawing/2014/main" id="{C610428C-9276-AD1E-ED53-8A31BDF128D7}"/>
                      </a:ext>
                    </a:extLst>
                  </p:cNvPr>
                  <p:cNvGrpSpPr/>
                  <p:nvPr/>
                </p:nvGrpSpPr>
                <p:grpSpPr>
                  <a:xfrm>
                    <a:off x="0" y="81270"/>
                    <a:ext cx="2945322" cy="2945322"/>
                    <a:chOff x="0" y="22428"/>
                    <a:chExt cx="812800" cy="812800"/>
                  </a:xfrm>
                </p:grpSpPr>
                <p:sp>
                  <p:nvSpPr>
                    <p:cNvPr id="97" name="Freeform 36">
                      <a:extLst>
                        <a:ext uri="{FF2B5EF4-FFF2-40B4-BE49-F238E27FC236}">
                          <a16:creationId xmlns:a16="http://schemas.microsoft.com/office/drawing/2014/main" id="{F2E0EBD0-8E31-432B-997B-4E4BF636B5EC}"/>
                        </a:ext>
                      </a:extLst>
                    </p:cNvPr>
                    <p:cNvSpPr/>
                    <p:nvPr/>
                  </p:nvSpPr>
                  <p:spPr>
                    <a:xfrm>
                      <a:off x="0" y="22428"/>
                      <a:ext cx="812800" cy="812800"/>
                    </a:xfrm>
                    <a:custGeom>
                      <a:avLst/>
                      <a:gdLst/>
                      <a:ahLst/>
                      <a:cxnLst/>
                      <a:rect l="l" t="t" r="r" b="b"/>
                      <a:pathLst>
                        <a:path w="812800" h="812800">
                          <a:moveTo>
                            <a:pt x="406400" y="0"/>
                          </a:moveTo>
                          <a:lnTo>
                            <a:pt x="812800" y="310462"/>
                          </a:lnTo>
                          <a:lnTo>
                            <a:pt x="657569" y="812800"/>
                          </a:lnTo>
                          <a:lnTo>
                            <a:pt x="155231" y="812800"/>
                          </a:lnTo>
                          <a:lnTo>
                            <a:pt x="0" y="310462"/>
                          </a:lnTo>
                          <a:lnTo>
                            <a:pt x="406400" y="0"/>
                          </a:lnTo>
                          <a:close/>
                        </a:path>
                      </a:pathLst>
                    </a:custGeom>
                    <a:solidFill>
                      <a:srgbClr val="FA6A96"/>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98" name="TextBox 37">
                      <a:extLst>
                        <a:ext uri="{FF2B5EF4-FFF2-40B4-BE49-F238E27FC236}">
                          <a16:creationId xmlns:a16="http://schemas.microsoft.com/office/drawing/2014/main" id="{F803C398-3770-4793-F062-24FB18D98ED2}"/>
                        </a:ext>
                      </a:extLst>
                    </p:cNvPr>
                    <p:cNvSpPr txBox="1"/>
                    <p:nvPr/>
                  </p:nvSpPr>
                  <p:spPr>
                    <a:xfrm>
                      <a:off x="127000" y="212725"/>
                      <a:ext cx="558800" cy="549275"/>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defTabSz="609570">
                        <a:lnSpc>
                          <a:spcPts val="1173"/>
                        </a:lnSpc>
                        <a:buClrTx/>
                      </a:pPr>
                      <a:endParaRPr sz="800">
                        <a:solidFill>
                          <a:prstClr val="black"/>
                        </a:solidFill>
                        <a:latin typeface="Calibri"/>
                      </a:endParaRPr>
                    </a:p>
                  </p:txBody>
                </p:sp>
              </p:grpSp>
            </p:grpSp>
            <p:grpSp>
              <p:nvGrpSpPr>
                <p:cNvPr id="101" name="Group 38">
                  <a:extLst>
                    <a:ext uri="{FF2B5EF4-FFF2-40B4-BE49-F238E27FC236}">
                      <a16:creationId xmlns:a16="http://schemas.microsoft.com/office/drawing/2014/main" id="{BD153B0D-400A-59F6-D0A3-83127C9319EE}"/>
                    </a:ext>
                  </a:extLst>
                </p:cNvPr>
                <p:cNvGrpSpPr/>
                <p:nvPr/>
              </p:nvGrpSpPr>
              <p:grpSpPr>
                <a:xfrm>
                  <a:off x="10996247" y="5201086"/>
                  <a:ext cx="2208993" cy="2667002"/>
                  <a:chOff x="0" y="0"/>
                  <a:chExt cx="2945322" cy="3556000"/>
                </a:xfrm>
              </p:grpSpPr>
              <p:grpSp>
                <p:nvGrpSpPr>
                  <p:cNvPr id="102" name="Group 39">
                    <a:extLst>
                      <a:ext uri="{FF2B5EF4-FFF2-40B4-BE49-F238E27FC236}">
                        <a16:creationId xmlns:a16="http://schemas.microsoft.com/office/drawing/2014/main" id="{9A86B642-1982-5542-D27D-2D38D79929BE}"/>
                      </a:ext>
                    </a:extLst>
                  </p:cNvPr>
                  <p:cNvGrpSpPr/>
                  <p:nvPr/>
                </p:nvGrpSpPr>
                <p:grpSpPr>
                  <a:xfrm>
                    <a:off x="738460" y="2542950"/>
                    <a:ext cx="1468402" cy="1013050"/>
                    <a:chOff x="0" y="0"/>
                    <a:chExt cx="1410479" cy="973089"/>
                  </a:xfrm>
                </p:grpSpPr>
                <p:sp>
                  <p:nvSpPr>
                    <p:cNvPr id="106" name="Freeform 40">
                      <a:extLst>
                        <a:ext uri="{FF2B5EF4-FFF2-40B4-BE49-F238E27FC236}">
                          <a16:creationId xmlns:a16="http://schemas.microsoft.com/office/drawing/2014/main" id="{EAF07A22-7A30-3022-80A4-7A854A1B425B}"/>
                        </a:ext>
                      </a:extLst>
                    </p:cNvPr>
                    <p:cNvSpPr/>
                    <p:nvPr/>
                  </p:nvSpPr>
                  <p:spPr>
                    <a:xfrm>
                      <a:off x="0" y="0"/>
                      <a:ext cx="1410479" cy="973089"/>
                    </a:xfrm>
                    <a:custGeom>
                      <a:avLst/>
                      <a:gdLst/>
                      <a:ahLst/>
                      <a:cxnLst/>
                      <a:rect l="l" t="t" r="r" b="b"/>
                      <a:pathLst>
                        <a:path w="1410479" h="973089">
                          <a:moveTo>
                            <a:pt x="705240" y="973089"/>
                          </a:moveTo>
                          <a:lnTo>
                            <a:pt x="1410479" y="0"/>
                          </a:lnTo>
                          <a:lnTo>
                            <a:pt x="0" y="0"/>
                          </a:lnTo>
                          <a:lnTo>
                            <a:pt x="705240" y="973089"/>
                          </a:lnTo>
                          <a:close/>
                        </a:path>
                      </a:pathLst>
                    </a:custGeom>
                    <a:gradFill rotWithShape="1">
                      <a:gsLst>
                        <a:gs pos="0">
                          <a:srgbClr val="FFFFFF">
                            <a:alpha val="100000"/>
                          </a:srgbClr>
                        </a:gs>
                        <a:gs pos="100000">
                          <a:srgbClr val="B064EC">
                            <a:alpha val="100000"/>
                          </a:srgbClr>
                        </a:gs>
                      </a:gsLst>
                      <a:lin ang="5400000"/>
                    </a:gra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07" name="TextBox 41">
                      <a:extLst>
                        <a:ext uri="{FF2B5EF4-FFF2-40B4-BE49-F238E27FC236}">
                          <a16:creationId xmlns:a16="http://schemas.microsoft.com/office/drawing/2014/main" id="{A7928301-143B-E2A5-CDFC-4E293265E9AE}"/>
                        </a:ext>
                      </a:extLst>
                    </p:cNvPr>
                    <p:cNvSpPr txBox="1"/>
                    <p:nvPr/>
                  </p:nvSpPr>
                  <p:spPr>
                    <a:xfrm>
                      <a:off x="220387" y="79031"/>
                      <a:ext cx="969704" cy="442266"/>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defTabSz="609570">
                        <a:lnSpc>
                          <a:spcPts val="1173"/>
                        </a:lnSpc>
                        <a:buClrTx/>
                      </a:pPr>
                      <a:endParaRPr sz="800">
                        <a:solidFill>
                          <a:prstClr val="black"/>
                        </a:solidFill>
                        <a:latin typeface="Calibri"/>
                      </a:endParaRPr>
                    </a:p>
                  </p:txBody>
                </p:sp>
              </p:grpSp>
              <p:grpSp>
                <p:nvGrpSpPr>
                  <p:cNvPr id="103" name="Group 42">
                    <a:extLst>
                      <a:ext uri="{FF2B5EF4-FFF2-40B4-BE49-F238E27FC236}">
                        <a16:creationId xmlns:a16="http://schemas.microsoft.com/office/drawing/2014/main" id="{7B8E1F33-0993-BBAB-45FB-A415FE03037E}"/>
                      </a:ext>
                    </a:extLst>
                  </p:cNvPr>
                  <p:cNvGrpSpPr/>
                  <p:nvPr/>
                </p:nvGrpSpPr>
                <p:grpSpPr>
                  <a:xfrm>
                    <a:off x="0" y="0"/>
                    <a:ext cx="2945322" cy="2945322"/>
                    <a:chOff x="0" y="0"/>
                    <a:chExt cx="812800" cy="812800"/>
                  </a:xfrm>
                </p:grpSpPr>
                <p:sp>
                  <p:nvSpPr>
                    <p:cNvPr id="104" name="Freeform 43">
                      <a:extLst>
                        <a:ext uri="{FF2B5EF4-FFF2-40B4-BE49-F238E27FC236}">
                          <a16:creationId xmlns:a16="http://schemas.microsoft.com/office/drawing/2014/main" id="{8826ED89-D4C1-A274-1B89-B06719E1DBAD}"/>
                        </a:ext>
                      </a:extLst>
                    </p:cNvPr>
                    <p:cNvSpPr/>
                    <p:nvPr/>
                  </p:nvSpPr>
                  <p:spPr>
                    <a:xfrm>
                      <a:off x="0" y="0"/>
                      <a:ext cx="812800" cy="812800"/>
                    </a:xfrm>
                    <a:custGeom>
                      <a:avLst/>
                      <a:gdLst/>
                      <a:ahLst/>
                      <a:cxnLst/>
                      <a:rect l="l" t="t" r="r" b="b"/>
                      <a:pathLst>
                        <a:path w="812800" h="812800">
                          <a:moveTo>
                            <a:pt x="406400" y="0"/>
                          </a:moveTo>
                          <a:lnTo>
                            <a:pt x="812800" y="310462"/>
                          </a:lnTo>
                          <a:lnTo>
                            <a:pt x="657569" y="812800"/>
                          </a:lnTo>
                          <a:lnTo>
                            <a:pt x="155231" y="812800"/>
                          </a:lnTo>
                          <a:lnTo>
                            <a:pt x="0" y="310462"/>
                          </a:lnTo>
                          <a:lnTo>
                            <a:pt x="406400" y="0"/>
                          </a:lnTo>
                          <a:close/>
                        </a:path>
                      </a:pathLst>
                    </a:custGeom>
                    <a:solidFill>
                      <a:srgbClr val="B064EC"/>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05" name="TextBox 44">
                      <a:extLst>
                        <a:ext uri="{FF2B5EF4-FFF2-40B4-BE49-F238E27FC236}">
                          <a16:creationId xmlns:a16="http://schemas.microsoft.com/office/drawing/2014/main" id="{8BF98F5C-BDDF-CC58-11F1-D4C2DA5A6F5E}"/>
                        </a:ext>
                      </a:extLst>
                    </p:cNvPr>
                    <p:cNvSpPr txBox="1"/>
                    <p:nvPr/>
                  </p:nvSpPr>
                  <p:spPr>
                    <a:xfrm>
                      <a:off x="127000" y="212725"/>
                      <a:ext cx="558800" cy="549275"/>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defTabSz="609570">
                        <a:lnSpc>
                          <a:spcPts val="1173"/>
                        </a:lnSpc>
                        <a:buClrTx/>
                      </a:pPr>
                      <a:endParaRPr sz="800">
                        <a:solidFill>
                          <a:prstClr val="black"/>
                        </a:solidFill>
                        <a:latin typeface="Calibri"/>
                      </a:endParaRPr>
                    </a:p>
                  </p:txBody>
                </p:sp>
              </p:grpSp>
            </p:grpSp>
            <p:sp>
              <p:nvSpPr>
                <p:cNvPr id="109" name="Freeform 53">
                  <a:extLst>
                    <a:ext uri="{FF2B5EF4-FFF2-40B4-BE49-F238E27FC236}">
                      <a16:creationId xmlns:a16="http://schemas.microsoft.com/office/drawing/2014/main" id="{BA5C01CB-8552-0E13-A8B2-1FC8E8806D16}"/>
                    </a:ext>
                  </a:extLst>
                </p:cNvPr>
                <p:cNvSpPr/>
                <p:nvPr/>
              </p:nvSpPr>
              <p:spPr>
                <a:xfrm>
                  <a:off x="5394777" y="6760515"/>
                  <a:ext cx="3352983" cy="1107571"/>
                </a:xfrm>
                <a:custGeom>
                  <a:avLst/>
                  <a:gdLst/>
                  <a:ahLst/>
                  <a:cxnLst/>
                  <a:rect l="l" t="t" r="r" b="b"/>
                  <a:pathLst>
                    <a:path w="3352983" h="1107571">
                      <a:moveTo>
                        <a:pt x="0" y="1107571"/>
                      </a:moveTo>
                      <a:lnTo>
                        <a:pt x="1419317" y="1107571"/>
                      </a:lnTo>
                      <a:cubicBezTo>
                        <a:pt x="1487523" y="1107571"/>
                        <a:pt x="1552937" y="1080476"/>
                        <a:pt x="1601167" y="1032246"/>
                      </a:cubicBezTo>
                      <a:cubicBezTo>
                        <a:pt x="1649396" y="984017"/>
                        <a:pt x="1676492" y="918603"/>
                        <a:pt x="1676492" y="850396"/>
                      </a:cubicBezTo>
                      <a:lnTo>
                        <a:pt x="1676492" y="257175"/>
                      </a:lnTo>
                      <a:cubicBezTo>
                        <a:pt x="1676492" y="188968"/>
                        <a:pt x="1703587" y="123554"/>
                        <a:pt x="1751816" y="75325"/>
                      </a:cubicBezTo>
                      <a:cubicBezTo>
                        <a:pt x="1800046" y="27095"/>
                        <a:pt x="1865460" y="0"/>
                        <a:pt x="1933667" y="0"/>
                      </a:cubicBezTo>
                      <a:lnTo>
                        <a:pt x="3352983" y="0"/>
                      </a:lnTo>
                    </a:path>
                  </a:pathLst>
                </a:custGeom>
                <a:ln w="38100" cap="flat">
                  <a:solidFill>
                    <a:srgbClr val="E5E2DE"/>
                  </a:solidFill>
                  <a:prstDash val="sysDash"/>
                  <a:headEnd type="none" w="sm" len="sm"/>
                  <a:tailEnd type="none" w="sm" len="sm"/>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10" name="Freeform 54">
                  <a:extLst>
                    <a:ext uri="{FF2B5EF4-FFF2-40B4-BE49-F238E27FC236}">
                      <a16:creationId xmlns:a16="http://schemas.microsoft.com/office/drawing/2014/main" id="{8B3E9D36-57ED-1B0B-6FE9-4935A7F12086}"/>
                    </a:ext>
                  </a:extLst>
                </p:cNvPr>
                <p:cNvSpPr/>
                <p:nvPr/>
              </p:nvSpPr>
              <p:spPr>
                <a:xfrm>
                  <a:off x="8747760" y="6760515"/>
                  <a:ext cx="3352983" cy="1107571"/>
                </a:xfrm>
                <a:custGeom>
                  <a:avLst/>
                  <a:gdLst/>
                  <a:ahLst/>
                  <a:cxnLst/>
                  <a:rect l="l" t="t" r="r" b="b"/>
                  <a:pathLst>
                    <a:path w="3352983" h="1107571">
                      <a:moveTo>
                        <a:pt x="0" y="0"/>
                      </a:moveTo>
                      <a:lnTo>
                        <a:pt x="1419316" y="0"/>
                      </a:lnTo>
                      <a:cubicBezTo>
                        <a:pt x="1561350" y="0"/>
                        <a:pt x="1676491" y="115141"/>
                        <a:pt x="1676491" y="257175"/>
                      </a:cubicBezTo>
                      <a:lnTo>
                        <a:pt x="1676491" y="850396"/>
                      </a:lnTo>
                      <a:cubicBezTo>
                        <a:pt x="1676491" y="992430"/>
                        <a:pt x="1791633" y="1107571"/>
                        <a:pt x="1933666" y="1107571"/>
                      </a:cubicBezTo>
                      <a:lnTo>
                        <a:pt x="3352983" y="1107571"/>
                      </a:lnTo>
                    </a:path>
                  </a:pathLst>
                </a:custGeom>
                <a:ln w="38100" cap="flat">
                  <a:solidFill>
                    <a:srgbClr val="E5E2DE"/>
                  </a:solidFill>
                  <a:prstDash val="sysDash"/>
                  <a:headEnd type="none" w="sm" len="sm"/>
                  <a:tailEnd type="none" w="sm" len="sm"/>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grpSp>
              <p:nvGrpSpPr>
                <p:cNvPr id="132" name="Group 59">
                  <a:extLst>
                    <a:ext uri="{FF2B5EF4-FFF2-40B4-BE49-F238E27FC236}">
                      <a16:creationId xmlns:a16="http://schemas.microsoft.com/office/drawing/2014/main" id="{6023AA79-48CD-5141-90C9-7D7DB920E11A}"/>
                    </a:ext>
                  </a:extLst>
                </p:cNvPr>
                <p:cNvGrpSpPr/>
                <p:nvPr/>
              </p:nvGrpSpPr>
              <p:grpSpPr>
                <a:xfrm>
                  <a:off x="7839748" y="6930606"/>
                  <a:ext cx="1873587" cy="1031917"/>
                  <a:chOff x="0" y="19050"/>
                  <a:chExt cx="986625" cy="515535"/>
                </a:xfrm>
              </p:grpSpPr>
              <p:sp>
                <p:nvSpPr>
                  <p:cNvPr id="133" name="Freeform 60">
                    <a:extLst>
                      <a:ext uri="{FF2B5EF4-FFF2-40B4-BE49-F238E27FC236}">
                        <a16:creationId xmlns:a16="http://schemas.microsoft.com/office/drawing/2014/main" id="{39735CA4-09F2-E39E-DF01-22FCBCBA112A}"/>
                      </a:ext>
                    </a:extLst>
                  </p:cNvPr>
                  <p:cNvSpPr/>
                  <p:nvPr/>
                </p:nvSpPr>
                <p:spPr>
                  <a:xfrm>
                    <a:off x="0" y="38084"/>
                    <a:ext cx="986625" cy="407844"/>
                  </a:xfrm>
                  <a:custGeom>
                    <a:avLst/>
                    <a:gdLst/>
                    <a:ahLst/>
                    <a:cxnLst/>
                    <a:rect l="l" t="t" r="r" b="b"/>
                    <a:pathLst>
                      <a:path w="986625" h="426894">
                        <a:moveTo>
                          <a:pt x="783425" y="0"/>
                        </a:moveTo>
                        <a:cubicBezTo>
                          <a:pt x="895650" y="0"/>
                          <a:pt x="986625" y="95564"/>
                          <a:pt x="986625" y="213447"/>
                        </a:cubicBezTo>
                        <a:cubicBezTo>
                          <a:pt x="986625" y="331331"/>
                          <a:pt x="895650" y="426894"/>
                          <a:pt x="783425" y="426894"/>
                        </a:cubicBezTo>
                        <a:lnTo>
                          <a:pt x="203200" y="426894"/>
                        </a:lnTo>
                        <a:cubicBezTo>
                          <a:pt x="90976" y="426894"/>
                          <a:pt x="0" y="331331"/>
                          <a:pt x="0" y="213447"/>
                        </a:cubicBezTo>
                        <a:cubicBezTo>
                          <a:pt x="0" y="95564"/>
                          <a:pt x="90976" y="0"/>
                          <a:pt x="203200" y="0"/>
                        </a:cubicBezTo>
                        <a:close/>
                      </a:path>
                    </a:pathLst>
                  </a:custGeom>
                  <a:solidFill>
                    <a:srgbClr val="F5F4F8"/>
                  </a:solidFill>
                  <a:ln w="38100" cap="sq">
                    <a:solidFill>
                      <a:srgbClr val="FA6A96"/>
                    </a:solid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34" name="TextBox 61">
                    <a:extLst>
                      <a:ext uri="{FF2B5EF4-FFF2-40B4-BE49-F238E27FC236}">
                        <a16:creationId xmlns:a16="http://schemas.microsoft.com/office/drawing/2014/main" id="{4A1AEAEB-2B34-7258-A543-FFBAC9E46E36}"/>
                      </a:ext>
                    </a:extLst>
                  </p:cNvPr>
                  <p:cNvSpPr txBox="1"/>
                  <p:nvPr/>
                </p:nvSpPr>
                <p:spPr>
                  <a:xfrm>
                    <a:off x="0" y="19050"/>
                    <a:ext cx="986625" cy="515535"/>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defTabSz="609570">
                      <a:lnSpc>
                        <a:spcPts val="1319"/>
                      </a:lnSpc>
                      <a:buClrTx/>
                    </a:pPr>
                    <a:r>
                      <a:rPr lang="en-US" sz="2400" b="1" dirty="0">
                        <a:solidFill>
                          <a:srgbClr val="FA6A96"/>
                        </a:solidFill>
                        <a:latin typeface="TT Fors Bold"/>
                        <a:ea typeface="TT Fors Bold"/>
                        <a:cs typeface="TT Fors Bold"/>
                        <a:sym typeface="TT Fors Bold"/>
                      </a:rPr>
                      <a:t>JULY 28</a:t>
                    </a:r>
                  </a:p>
                  <a:p>
                    <a:pPr algn="ctr" defTabSz="609570">
                      <a:lnSpc>
                        <a:spcPts val="1319"/>
                      </a:lnSpc>
                      <a:buClrTx/>
                    </a:pPr>
                    <a:r>
                      <a:rPr lang="en-US" sz="2400" b="1" dirty="0">
                        <a:solidFill>
                          <a:srgbClr val="FA6A96"/>
                        </a:solidFill>
                        <a:latin typeface="TT Fors Bold"/>
                        <a:ea typeface="TT Fors Bold"/>
                        <a:cs typeface="TT Fors Bold"/>
                        <a:sym typeface="TT Fors Bold"/>
                      </a:rPr>
                      <a:t>12pm</a:t>
                    </a:r>
                  </a:p>
                </p:txBody>
              </p:sp>
            </p:grpSp>
            <p:grpSp>
              <p:nvGrpSpPr>
                <p:cNvPr id="135" name="Group 62">
                  <a:extLst>
                    <a:ext uri="{FF2B5EF4-FFF2-40B4-BE49-F238E27FC236}">
                      <a16:creationId xmlns:a16="http://schemas.microsoft.com/office/drawing/2014/main" id="{ECA7CD55-AD5B-5EE8-5E90-C39593D4D95C}"/>
                    </a:ext>
                  </a:extLst>
                </p:cNvPr>
                <p:cNvGrpSpPr/>
                <p:nvPr/>
              </p:nvGrpSpPr>
              <p:grpSpPr>
                <a:xfrm>
                  <a:off x="4395423" y="7909312"/>
                  <a:ext cx="1998703" cy="1069163"/>
                  <a:chOff x="-44242" y="-37642"/>
                  <a:chExt cx="1030867" cy="530298"/>
                </a:xfrm>
              </p:grpSpPr>
              <p:sp>
                <p:nvSpPr>
                  <p:cNvPr id="136" name="Freeform 63">
                    <a:extLst>
                      <a:ext uri="{FF2B5EF4-FFF2-40B4-BE49-F238E27FC236}">
                        <a16:creationId xmlns:a16="http://schemas.microsoft.com/office/drawing/2014/main" id="{010095B0-5367-D9F0-8493-86E1FDD83BCD}"/>
                      </a:ext>
                    </a:extLst>
                  </p:cNvPr>
                  <p:cNvSpPr/>
                  <p:nvPr/>
                </p:nvSpPr>
                <p:spPr>
                  <a:xfrm>
                    <a:off x="0" y="0"/>
                    <a:ext cx="986625" cy="426894"/>
                  </a:xfrm>
                  <a:custGeom>
                    <a:avLst/>
                    <a:gdLst/>
                    <a:ahLst/>
                    <a:cxnLst/>
                    <a:rect l="l" t="t" r="r" b="b"/>
                    <a:pathLst>
                      <a:path w="986625" h="426894">
                        <a:moveTo>
                          <a:pt x="783425" y="0"/>
                        </a:moveTo>
                        <a:cubicBezTo>
                          <a:pt x="895650" y="0"/>
                          <a:pt x="986625" y="95564"/>
                          <a:pt x="986625" y="213447"/>
                        </a:cubicBezTo>
                        <a:cubicBezTo>
                          <a:pt x="986625" y="331331"/>
                          <a:pt x="895650" y="426894"/>
                          <a:pt x="783425" y="426894"/>
                        </a:cubicBezTo>
                        <a:lnTo>
                          <a:pt x="203200" y="426894"/>
                        </a:lnTo>
                        <a:cubicBezTo>
                          <a:pt x="90976" y="426894"/>
                          <a:pt x="0" y="331331"/>
                          <a:pt x="0" y="213447"/>
                        </a:cubicBezTo>
                        <a:cubicBezTo>
                          <a:pt x="0" y="95564"/>
                          <a:pt x="90976" y="0"/>
                          <a:pt x="203200" y="0"/>
                        </a:cubicBezTo>
                        <a:close/>
                      </a:path>
                    </a:pathLst>
                  </a:custGeom>
                  <a:solidFill>
                    <a:srgbClr val="F5F4F8"/>
                  </a:solidFill>
                  <a:ln w="38100" cap="sq">
                    <a:solidFill>
                      <a:srgbClr val="FF8757"/>
                    </a:solid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37" name="TextBox 64">
                    <a:extLst>
                      <a:ext uri="{FF2B5EF4-FFF2-40B4-BE49-F238E27FC236}">
                        <a16:creationId xmlns:a16="http://schemas.microsoft.com/office/drawing/2014/main" id="{69F72853-4A9A-63FF-3782-2F6BA4356296}"/>
                      </a:ext>
                    </a:extLst>
                  </p:cNvPr>
                  <p:cNvSpPr txBox="1"/>
                  <p:nvPr/>
                </p:nvSpPr>
                <p:spPr>
                  <a:xfrm>
                    <a:off x="-44242" y="-37642"/>
                    <a:ext cx="1030867" cy="530298"/>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defTabSz="609570">
                      <a:lnSpc>
                        <a:spcPts val="1319"/>
                      </a:lnSpc>
                      <a:buClrTx/>
                    </a:pPr>
                    <a:r>
                      <a:rPr lang="en-US" sz="2400" b="1" dirty="0">
                        <a:solidFill>
                          <a:srgbClr val="FF8757"/>
                        </a:solidFill>
                        <a:latin typeface="TT Fors Bold"/>
                        <a:ea typeface="TT Fors Bold"/>
                        <a:cs typeface="TT Fors Bold"/>
                        <a:sym typeface="TT Fors Bold"/>
                      </a:rPr>
                      <a:t>JUNE 30</a:t>
                    </a:r>
                  </a:p>
                  <a:p>
                    <a:pPr algn="ctr" defTabSz="609570">
                      <a:lnSpc>
                        <a:spcPts val="1319"/>
                      </a:lnSpc>
                      <a:buClrTx/>
                    </a:pPr>
                    <a:r>
                      <a:rPr lang="en-US" sz="2400" b="1" dirty="0">
                        <a:solidFill>
                          <a:srgbClr val="FF8757"/>
                        </a:solidFill>
                        <a:latin typeface="TT Fors Bold"/>
                        <a:ea typeface="TT Fors Bold"/>
                        <a:cs typeface="TT Fors Bold"/>
                        <a:sym typeface="TT Fors Bold"/>
                      </a:rPr>
                      <a:t>12 pm</a:t>
                    </a:r>
                  </a:p>
                </p:txBody>
              </p:sp>
            </p:grpSp>
            <p:grpSp>
              <p:nvGrpSpPr>
                <p:cNvPr id="138" name="Group 65">
                  <a:extLst>
                    <a:ext uri="{FF2B5EF4-FFF2-40B4-BE49-F238E27FC236}">
                      <a16:creationId xmlns:a16="http://schemas.microsoft.com/office/drawing/2014/main" id="{0C42B386-4FD8-DB30-4D36-100A9CD8C38D}"/>
                    </a:ext>
                  </a:extLst>
                </p:cNvPr>
                <p:cNvGrpSpPr/>
                <p:nvPr/>
              </p:nvGrpSpPr>
              <p:grpSpPr>
                <a:xfrm>
                  <a:off x="10720081" y="7985204"/>
                  <a:ext cx="2767416" cy="825335"/>
                  <a:chOff x="-37375" y="-174109"/>
                  <a:chExt cx="1222348" cy="601003"/>
                </a:xfrm>
              </p:grpSpPr>
              <p:sp>
                <p:nvSpPr>
                  <p:cNvPr id="139" name="Freeform 66">
                    <a:extLst>
                      <a:ext uri="{FF2B5EF4-FFF2-40B4-BE49-F238E27FC236}">
                        <a16:creationId xmlns:a16="http://schemas.microsoft.com/office/drawing/2014/main" id="{E7024767-AB82-7E51-581A-A80B99CDAC19}"/>
                      </a:ext>
                    </a:extLst>
                  </p:cNvPr>
                  <p:cNvSpPr/>
                  <p:nvPr/>
                </p:nvSpPr>
                <p:spPr>
                  <a:xfrm>
                    <a:off x="0" y="-174109"/>
                    <a:ext cx="1184973" cy="601003"/>
                  </a:xfrm>
                  <a:custGeom>
                    <a:avLst/>
                    <a:gdLst/>
                    <a:ahLst/>
                    <a:cxnLst/>
                    <a:rect l="l" t="t" r="r" b="b"/>
                    <a:pathLst>
                      <a:path w="986625" h="426894">
                        <a:moveTo>
                          <a:pt x="783425" y="0"/>
                        </a:moveTo>
                        <a:cubicBezTo>
                          <a:pt x="895650" y="0"/>
                          <a:pt x="986625" y="95564"/>
                          <a:pt x="986625" y="213447"/>
                        </a:cubicBezTo>
                        <a:cubicBezTo>
                          <a:pt x="986625" y="331331"/>
                          <a:pt x="895650" y="426894"/>
                          <a:pt x="783425" y="426894"/>
                        </a:cubicBezTo>
                        <a:lnTo>
                          <a:pt x="203200" y="426894"/>
                        </a:lnTo>
                        <a:cubicBezTo>
                          <a:pt x="90976" y="426894"/>
                          <a:pt x="0" y="331331"/>
                          <a:pt x="0" y="213447"/>
                        </a:cubicBezTo>
                        <a:cubicBezTo>
                          <a:pt x="0" y="95564"/>
                          <a:pt x="90976" y="0"/>
                          <a:pt x="203200" y="0"/>
                        </a:cubicBezTo>
                        <a:close/>
                      </a:path>
                    </a:pathLst>
                  </a:custGeom>
                  <a:solidFill>
                    <a:srgbClr val="F5F4F8"/>
                  </a:solidFill>
                  <a:ln w="38100" cap="sq">
                    <a:solidFill>
                      <a:srgbClr val="B064EC"/>
                    </a:solidFill>
                    <a:prstDash val="solid"/>
                    <a:miter/>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40" name="TextBox 67">
                    <a:extLst>
                      <a:ext uri="{FF2B5EF4-FFF2-40B4-BE49-F238E27FC236}">
                        <a16:creationId xmlns:a16="http://schemas.microsoft.com/office/drawing/2014/main" id="{00813DC1-BB56-A6ED-2B3C-E1C1ADEB4217}"/>
                      </a:ext>
                    </a:extLst>
                  </p:cNvPr>
                  <p:cNvSpPr txBox="1"/>
                  <p:nvPr/>
                </p:nvSpPr>
                <p:spPr>
                  <a:xfrm>
                    <a:off x="-37375" y="32923"/>
                    <a:ext cx="1212551" cy="366227"/>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defTabSz="609570">
                      <a:lnSpc>
                        <a:spcPts val="1319"/>
                      </a:lnSpc>
                      <a:buClrTx/>
                    </a:pPr>
                    <a:r>
                      <a:rPr lang="en-US" sz="2400" b="1" dirty="0">
                        <a:solidFill>
                          <a:srgbClr val="B064EC"/>
                        </a:solidFill>
                        <a:latin typeface="TT Fors Bold"/>
                        <a:ea typeface="TT Fors Bold"/>
                        <a:cs typeface="TT Fors Bold"/>
                        <a:sym typeface="TT Fors Bold"/>
                      </a:rPr>
                      <a:t>AUGUST 25</a:t>
                    </a:r>
                  </a:p>
                  <a:p>
                    <a:pPr algn="ctr" defTabSz="609570">
                      <a:lnSpc>
                        <a:spcPts val="1319"/>
                      </a:lnSpc>
                      <a:buClrTx/>
                    </a:pPr>
                    <a:r>
                      <a:rPr lang="en-US" sz="2400" b="1" dirty="0">
                        <a:solidFill>
                          <a:srgbClr val="B064EC"/>
                        </a:solidFill>
                        <a:latin typeface="TT Fors Bold"/>
                        <a:ea typeface="TT Fors Bold"/>
                        <a:cs typeface="TT Fors Bold"/>
                        <a:sym typeface="TT Fors Bold"/>
                      </a:rPr>
                      <a:t>12pm</a:t>
                    </a:r>
                  </a:p>
                </p:txBody>
              </p:sp>
            </p:grpSp>
            <p:sp>
              <p:nvSpPr>
                <p:cNvPr id="144" name="TextBox 78">
                  <a:extLst>
                    <a:ext uri="{FF2B5EF4-FFF2-40B4-BE49-F238E27FC236}">
                      <a16:creationId xmlns:a16="http://schemas.microsoft.com/office/drawing/2014/main" id="{5B99949D-B281-D781-270A-AB127CC2C332}"/>
                    </a:ext>
                  </a:extLst>
                </p:cNvPr>
                <p:cNvSpPr txBox="1"/>
                <p:nvPr/>
              </p:nvSpPr>
              <p:spPr>
                <a:xfrm>
                  <a:off x="3965809" y="3459113"/>
                  <a:ext cx="2853454" cy="1477039"/>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defTabSz="609570">
                    <a:spcBef>
                      <a:spcPts val="400"/>
                    </a:spcBef>
                    <a:spcAft>
                      <a:spcPts val="400"/>
                    </a:spcAft>
                    <a:buClrTx/>
                  </a:pPr>
                  <a:r>
                    <a:rPr lang="en-US" sz="2133" b="1">
                      <a:solidFill>
                        <a:srgbClr val="000000"/>
                      </a:solidFill>
                      <a:latin typeface="TT Fors"/>
                      <a:ea typeface="TT Fors"/>
                      <a:cs typeface="TT Fors"/>
                      <a:sym typeface="TT Fors"/>
                    </a:rPr>
                    <a:t>Workshopping Small Tests </a:t>
                  </a:r>
                  <a:br>
                    <a:rPr lang="en-US" sz="2133" b="1">
                      <a:solidFill>
                        <a:srgbClr val="000000"/>
                      </a:solidFill>
                      <a:latin typeface="TT Fors"/>
                      <a:ea typeface="TT Fors"/>
                      <a:cs typeface="TT Fors"/>
                      <a:sym typeface="TT Fors"/>
                    </a:rPr>
                  </a:br>
                  <a:r>
                    <a:rPr lang="en-US" sz="2133" b="1">
                      <a:solidFill>
                        <a:srgbClr val="000000"/>
                      </a:solidFill>
                      <a:latin typeface="TT Fors"/>
                      <a:ea typeface="TT Fors"/>
                      <a:cs typeface="TT Fors"/>
                      <a:sym typeface="TT Fors"/>
                    </a:rPr>
                    <a:t>of Change</a:t>
                  </a:r>
                </a:p>
              </p:txBody>
            </p:sp>
            <p:sp>
              <p:nvSpPr>
                <p:cNvPr id="146" name="Freeform 54">
                  <a:extLst>
                    <a:ext uri="{FF2B5EF4-FFF2-40B4-BE49-F238E27FC236}">
                      <a16:creationId xmlns:a16="http://schemas.microsoft.com/office/drawing/2014/main" id="{13488FCB-9603-2C90-4E97-B9BA55695444}"/>
                    </a:ext>
                  </a:extLst>
                </p:cNvPr>
                <p:cNvSpPr/>
                <p:nvPr/>
              </p:nvSpPr>
              <p:spPr>
                <a:xfrm>
                  <a:off x="11470165" y="5852457"/>
                  <a:ext cx="1258079" cy="1141190"/>
                </a:xfrm>
                <a:custGeom>
                  <a:avLst/>
                  <a:gdLst/>
                  <a:ahLst/>
                  <a:cxnLst/>
                  <a:rect l="l" t="t" r="r" b="b"/>
                  <a:pathLst>
                    <a:path w="666094" h="518721">
                      <a:moveTo>
                        <a:pt x="0" y="0"/>
                      </a:moveTo>
                      <a:lnTo>
                        <a:pt x="666094" y="0"/>
                      </a:lnTo>
                      <a:lnTo>
                        <a:pt x="666094" y="518721"/>
                      </a:lnTo>
                      <a:lnTo>
                        <a:pt x="0" y="518721"/>
                      </a:lnTo>
                      <a:lnTo>
                        <a:pt x="0" y="0"/>
                      </a:lnTo>
                      <a:close/>
                    </a:path>
                  </a:pathLst>
                </a:custGeom>
                <a:blipFill>
                  <a:blip>
                    <a:extLst>
                      <a:ext uri="{96DAC541-7B7A-43D3-8B79-37D633B846F1}">
                        <asvg:svgBlip xmlns:asvg="http://schemas.microsoft.com/office/drawing/2016/SVG/main" r:embed="rId6"/>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47" name="TextBox 78">
                  <a:extLst>
                    <a:ext uri="{FF2B5EF4-FFF2-40B4-BE49-F238E27FC236}">
                      <a16:creationId xmlns:a16="http://schemas.microsoft.com/office/drawing/2014/main" id="{B87A410B-6518-EF97-C6F3-57F3CAD84E68}"/>
                    </a:ext>
                  </a:extLst>
                </p:cNvPr>
                <p:cNvSpPr txBox="1"/>
                <p:nvPr/>
              </p:nvSpPr>
              <p:spPr>
                <a:xfrm>
                  <a:off x="7320988" y="2531683"/>
                  <a:ext cx="2751511" cy="1107996"/>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defTabSz="609570">
                    <a:spcBef>
                      <a:spcPts val="400"/>
                    </a:spcBef>
                    <a:spcAft>
                      <a:spcPts val="400"/>
                    </a:spcAft>
                    <a:buClrTx/>
                  </a:pPr>
                  <a:r>
                    <a:rPr lang="en-US" sz="2400" b="1">
                      <a:solidFill>
                        <a:srgbClr val="000000"/>
                      </a:solidFill>
                      <a:latin typeface="TT Fors"/>
                      <a:ea typeface="TT Fors"/>
                      <a:cs typeface="TT Fors"/>
                      <a:sym typeface="TT Fors"/>
                    </a:rPr>
                    <a:t>PDSA </a:t>
                  </a:r>
                  <a:br>
                    <a:rPr lang="en-US" sz="2400" b="1">
                      <a:solidFill>
                        <a:srgbClr val="000000"/>
                      </a:solidFill>
                      <a:latin typeface="TT Fors"/>
                      <a:ea typeface="TT Fors"/>
                      <a:cs typeface="TT Fors"/>
                      <a:sym typeface="TT Fors"/>
                    </a:rPr>
                  </a:br>
                  <a:r>
                    <a:rPr lang="en-US" sz="2400" b="1">
                      <a:solidFill>
                        <a:srgbClr val="000000"/>
                      </a:solidFill>
                      <a:latin typeface="TT Fors"/>
                      <a:ea typeface="TT Fors"/>
                      <a:cs typeface="TT Fors"/>
                      <a:sym typeface="TT Fors"/>
                    </a:rPr>
                    <a:t>in Action</a:t>
                  </a:r>
                </a:p>
              </p:txBody>
            </p:sp>
            <p:sp>
              <p:nvSpPr>
                <p:cNvPr id="187" name="TextBox 78">
                  <a:extLst>
                    <a:ext uri="{FF2B5EF4-FFF2-40B4-BE49-F238E27FC236}">
                      <a16:creationId xmlns:a16="http://schemas.microsoft.com/office/drawing/2014/main" id="{D7CBDDCE-9B8C-28DA-9D1B-C58947762E94}"/>
                    </a:ext>
                  </a:extLst>
                </p:cNvPr>
                <p:cNvSpPr txBox="1"/>
                <p:nvPr/>
              </p:nvSpPr>
              <p:spPr>
                <a:xfrm>
                  <a:off x="10817536" y="3459113"/>
                  <a:ext cx="2653935" cy="1107996"/>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defTabSz="609570">
                    <a:spcBef>
                      <a:spcPts val="400"/>
                    </a:spcBef>
                    <a:spcAft>
                      <a:spcPts val="400"/>
                    </a:spcAft>
                    <a:buClrTx/>
                  </a:pPr>
                  <a:r>
                    <a:rPr lang="en-US" sz="2400" b="1">
                      <a:solidFill>
                        <a:srgbClr val="000000"/>
                      </a:solidFill>
                      <a:latin typeface="TT Fors"/>
                      <a:ea typeface="TT Fors"/>
                      <a:cs typeface="TT Fors"/>
                      <a:sym typeface="TT Fors"/>
                    </a:rPr>
                    <a:t>Telling Stories </a:t>
                  </a:r>
                  <a:br>
                    <a:rPr lang="en-US" sz="2400" b="1">
                      <a:solidFill>
                        <a:srgbClr val="000000"/>
                      </a:solidFill>
                      <a:latin typeface="TT Fors"/>
                      <a:ea typeface="TT Fors"/>
                      <a:cs typeface="TT Fors"/>
                      <a:sym typeface="TT Fors"/>
                    </a:rPr>
                  </a:br>
                  <a:r>
                    <a:rPr lang="en-US" sz="2400" b="1">
                      <a:solidFill>
                        <a:srgbClr val="000000"/>
                      </a:solidFill>
                      <a:latin typeface="TT Fors"/>
                      <a:ea typeface="TT Fors"/>
                      <a:cs typeface="TT Fors"/>
                      <a:sym typeface="TT Fors"/>
                    </a:rPr>
                    <a:t>with Data</a:t>
                  </a:r>
                </a:p>
              </p:txBody>
            </p:sp>
            <p:sp>
              <p:nvSpPr>
                <p:cNvPr id="191" name="Freeform 69">
                  <a:extLst>
                    <a:ext uri="{FF2B5EF4-FFF2-40B4-BE49-F238E27FC236}">
                      <a16:creationId xmlns:a16="http://schemas.microsoft.com/office/drawing/2014/main" id="{E08FBF5E-0E86-DF0B-D727-6B2CA530F08B}"/>
                    </a:ext>
                  </a:extLst>
                </p:cNvPr>
                <p:cNvSpPr/>
                <p:nvPr/>
              </p:nvSpPr>
              <p:spPr>
                <a:xfrm>
                  <a:off x="8130045" y="4600331"/>
                  <a:ext cx="1280319" cy="1433623"/>
                </a:xfrm>
                <a:custGeom>
                  <a:avLst/>
                  <a:gdLst/>
                  <a:ahLst/>
                  <a:cxnLst/>
                  <a:rect l="l" t="t" r="r" b="b"/>
                  <a:pathLst>
                    <a:path w="411287" h="411287">
                      <a:moveTo>
                        <a:pt x="0" y="0"/>
                      </a:moveTo>
                      <a:lnTo>
                        <a:pt x="411286" y="0"/>
                      </a:lnTo>
                      <a:lnTo>
                        <a:pt x="411286" y="411287"/>
                      </a:lnTo>
                      <a:lnTo>
                        <a:pt x="0" y="411287"/>
                      </a:lnTo>
                      <a:lnTo>
                        <a:pt x="0" y="0"/>
                      </a:lnTo>
                      <a:close/>
                    </a:path>
                  </a:pathLst>
                </a:custGeom>
                <a:blipFill>
                  <a:blip>
                    <a:extLst>
                      <a:ext uri="{96DAC541-7B7A-43D3-8B79-37D633B846F1}">
                        <asvg:svgBlip xmlns:asvg="http://schemas.microsoft.com/office/drawing/2016/SVG/main" r:embed="rId7"/>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grpSp>
        </p:grpSp>
      </p:grpSp>
      <p:sp>
        <p:nvSpPr>
          <p:cNvPr id="194" name="Freeform 11">
            <a:extLst>
              <a:ext uri="{FF2B5EF4-FFF2-40B4-BE49-F238E27FC236}">
                <a16:creationId xmlns:a16="http://schemas.microsoft.com/office/drawing/2014/main" id="{A390051A-2DC0-AA7A-0149-06DB90B52373}"/>
              </a:ext>
            </a:extLst>
          </p:cNvPr>
          <p:cNvSpPr/>
          <p:nvPr/>
        </p:nvSpPr>
        <p:spPr>
          <a:xfrm rot="20168420">
            <a:off x="261654" y="1947324"/>
            <a:ext cx="1617776" cy="803495"/>
          </a:xfrm>
          <a:custGeom>
            <a:avLst/>
            <a:gdLst/>
            <a:ahLst/>
            <a:cxnLst/>
            <a:rect l="l" t="t" r="r" b="b"/>
            <a:pathLst>
              <a:path w="2426664" h="1205243">
                <a:moveTo>
                  <a:pt x="0" y="0"/>
                </a:moveTo>
                <a:lnTo>
                  <a:pt x="2426664" y="0"/>
                </a:lnTo>
                <a:lnTo>
                  <a:pt x="2426664" y="1205243"/>
                </a:lnTo>
                <a:lnTo>
                  <a:pt x="0" y="1205243"/>
                </a:lnTo>
                <a:lnTo>
                  <a:pt x="0" y="0"/>
                </a:lnTo>
                <a:close/>
              </a:path>
            </a:pathLst>
          </a:custGeom>
          <a:blipFill>
            <a:blip>
              <a:extLst>
                <a:ext uri="{96DAC541-7B7A-43D3-8B79-37D633B846F1}">
                  <asvg:svgBlip xmlns:asvg="http://schemas.microsoft.com/office/drawing/2016/SVG/main" r:embed="rId8"/>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95" name="Freeform 13">
            <a:extLst>
              <a:ext uri="{FF2B5EF4-FFF2-40B4-BE49-F238E27FC236}">
                <a16:creationId xmlns:a16="http://schemas.microsoft.com/office/drawing/2014/main" id="{701010A3-E408-D56F-EECE-AE4388E48CCB}"/>
              </a:ext>
            </a:extLst>
          </p:cNvPr>
          <p:cNvSpPr/>
          <p:nvPr/>
        </p:nvSpPr>
        <p:spPr>
          <a:xfrm>
            <a:off x="-30269" y="3601453"/>
            <a:ext cx="2363089" cy="2516544"/>
          </a:xfrm>
          <a:custGeom>
            <a:avLst/>
            <a:gdLst/>
            <a:ahLst/>
            <a:cxnLst/>
            <a:rect l="l" t="t" r="r" b="b"/>
            <a:pathLst>
              <a:path w="4318491" h="4167344">
                <a:moveTo>
                  <a:pt x="0" y="0"/>
                </a:moveTo>
                <a:lnTo>
                  <a:pt x="4318491" y="0"/>
                </a:lnTo>
                <a:lnTo>
                  <a:pt x="4318491" y="4167344"/>
                </a:lnTo>
                <a:lnTo>
                  <a:pt x="0" y="4167344"/>
                </a:lnTo>
                <a:lnTo>
                  <a:pt x="0" y="0"/>
                </a:lnTo>
                <a:close/>
              </a:path>
            </a:pathLst>
          </a:custGeom>
          <a:blipFill>
            <a:blip>
              <a:extLst>
                <a:ext uri="{96DAC541-7B7A-43D3-8B79-37D633B846F1}">
                  <asvg:svgBlip xmlns:asvg="http://schemas.microsoft.com/office/drawing/2016/SVG/main" r:embed="rId9"/>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196" name="Freeform 14">
            <a:extLst>
              <a:ext uri="{FF2B5EF4-FFF2-40B4-BE49-F238E27FC236}">
                <a16:creationId xmlns:a16="http://schemas.microsoft.com/office/drawing/2014/main" id="{399CCFAE-87E0-0137-4639-7127721C63A6}"/>
              </a:ext>
            </a:extLst>
          </p:cNvPr>
          <p:cNvSpPr/>
          <p:nvPr/>
        </p:nvSpPr>
        <p:spPr>
          <a:xfrm rot="962375">
            <a:off x="9892999" y="4251037"/>
            <a:ext cx="1284808" cy="1778281"/>
          </a:xfrm>
          <a:custGeom>
            <a:avLst/>
            <a:gdLst/>
            <a:ahLst/>
            <a:cxnLst/>
            <a:rect l="l" t="t" r="r" b="b"/>
            <a:pathLst>
              <a:path w="1927212" h="2667421">
                <a:moveTo>
                  <a:pt x="0" y="0"/>
                </a:moveTo>
                <a:lnTo>
                  <a:pt x="1927212" y="0"/>
                </a:lnTo>
                <a:lnTo>
                  <a:pt x="1927212" y="2667421"/>
                </a:lnTo>
                <a:lnTo>
                  <a:pt x="0" y="2667421"/>
                </a:lnTo>
                <a:lnTo>
                  <a:pt x="0" y="0"/>
                </a:lnTo>
                <a:close/>
              </a:path>
            </a:pathLst>
          </a:custGeom>
          <a:blipFill>
            <a:blip>
              <a:extLst>
                <a:ext uri="{96DAC541-7B7A-43D3-8B79-37D633B846F1}">
                  <asvg:svgBlip xmlns:asvg="http://schemas.microsoft.com/office/drawing/2016/SVG/main" r:embed="rId10"/>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
        <p:nvSpPr>
          <p:cNvPr id="200" name="Freeform 47"/>
          <p:cNvSpPr/>
          <p:nvPr/>
        </p:nvSpPr>
        <p:spPr>
          <a:xfrm>
            <a:off x="3164429" y="4254047"/>
            <a:ext cx="1027827" cy="949673"/>
          </a:xfrm>
          <a:custGeom>
            <a:avLst/>
            <a:gdLst/>
            <a:ahLst/>
            <a:cxnLst/>
            <a:rect l="l" t="t" r="r" b="b"/>
            <a:pathLst>
              <a:path w="4125113" h="4114800">
                <a:moveTo>
                  <a:pt x="0" y="0"/>
                </a:moveTo>
                <a:lnTo>
                  <a:pt x="4125113" y="0"/>
                </a:lnTo>
                <a:lnTo>
                  <a:pt x="4125113" y="4114800"/>
                </a:lnTo>
                <a:lnTo>
                  <a:pt x="0" y="4114800"/>
                </a:lnTo>
                <a:lnTo>
                  <a:pt x="0" y="0"/>
                </a:lnTo>
                <a:close/>
              </a:path>
            </a:pathLst>
          </a:custGeom>
          <a:blipFill>
            <a:blip>
              <a:extLst>
                <a:ext uri="{96DAC541-7B7A-43D3-8B79-37D633B846F1}">
                  <asvg:svgBlip xmlns:asvg="http://schemas.microsoft.com/office/drawing/2016/SVG/main" r:embed="rId11"/>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609570">
              <a:buClrTx/>
            </a:pPr>
            <a:endParaRPr lang="en-US" sz="800">
              <a:solidFill>
                <a:prstClr val="black"/>
              </a:solidFill>
              <a:latin typeface="Calibri"/>
            </a:endParaRPr>
          </a:p>
        </p:txBody>
      </p:sp>
    </p:spTree>
    <p:extLst>
      <p:ext uri="{BB962C8B-B14F-4D97-AF65-F5344CB8AC3E}">
        <p14:creationId xmlns:p14="http://schemas.microsoft.com/office/powerpoint/2010/main" val="28479887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2CACDF-64F6-7DBA-8A4B-C55AE14365D9}"/>
            </a:ext>
          </a:extLst>
        </p:cNvPr>
        <p:cNvGrpSpPr/>
        <p:nvPr/>
      </p:nvGrpSpPr>
      <p:grpSpPr>
        <a:xfrm>
          <a:off x="0" y="0"/>
          <a:ext cx="0" cy="0"/>
          <a:chOff x="0" y="0"/>
          <a:chExt cx="0" cy="0"/>
        </a:xfrm>
      </p:grpSpPr>
      <p:sp>
        <p:nvSpPr>
          <p:cNvPr id="16" name="Google Shape;51686;p18">
            <a:extLst>
              <a:ext uri="{FF2B5EF4-FFF2-40B4-BE49-F238E27FC236}">
                <a16:creationId xmlns:a16="http://schemas.microsoft.com/office/drawing/2014/main" id="{54F6227E-F43B-DB4A-2707-10B081C5A3CF}"/>
              </a:ext>
            </a:extLst>
          </p:cNvPr>
          <p:cNvSpPr txBox="1"/>
          <p:nvPr/>
        </p:nvSpPr>
        <p:spPr>
          <a:xfrm>
            <a:off x="36834" y="1403158"/>
            <a:ext cx="8718435" cy="5123394"/>
          </a:xfrm>
          <a:prstGeom prst="rect">
            <a:avLst/>
          </a:prstGeom>
          <a:solidFill>
            <a:schemeClr val="lt1"/>
          </a:solidFill>
          <a:ln>
            <a:noFill/>
          </a:ln>
        </p:spPr>
        <p:txBody>
          <a:bodyPr spcFirstLastPara="1" wrap="square" lIns="60950" tIns="30467" rIns="60950" bIns="30467" anchor="t" anchorCtr="0">
            <a:no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304831" indent="-228623" defTabSz="914446">
              <a:spcBef>
                <a:spcPts val="667"/>
              </a:spcBef>
              <a:buClr>
                <a:srgbClr val="F5668F"/>
              </a:buClr>
              <a:buSzPts val="2400"/>
              <a:buFont typeface="Arial"/>
              <a:buChar char="•"/>
            </a:pPr>
            <a:r>
              <a:rPr lang="en-US" sz="2400" dirty="0">
                <a:solidFill>
                  <a:prstClr val="black"/>
                </a:solidFill>
                <a:latin typeface="Calibri"/>
                <a:ea typeface="Calibri"/>
                <a:cs typeface="Calibri"/>
                <a:sym typeface="Calibri"/>
              </a:rPr>
              <a:t>The free 4-Week training equips hospital teams to engage patients and families meaningfully in maternal health quality improvement</a:t>
            </a:r>
            <a:endParaRPr lang="en-US" sz="2400" dirty="0">
              <a:solidFill>
                <a:prstClr val="black"/>
              </a:solidFill>
              <a:latin typeface="Calibri"/>
              <a:ea typeface="Calibri"/>
              <a:cs typeface="Calibri"/>
            </a:endParaRPr>
          </a:p>
          <a:p>
            <a:pPr marL="304831" indent="-228623" defTabSz="914446">
              <a:spcBef>
                <a:spcPts val="667"/>
              </a:spcBef>
              <a:buClr>
                <a:srgbClr val="F5668F"/>
              </a:buClr>
              <a:buSzPts val="2400"/>
              <a:buFont typeface="Arial"/>
              <a:buChar char="•"/>
            </a:pPr>
            <a:r>
              <a:rPr lang="en-US" sz="2800" b="1" dirty="0">
                <a:solidFill>
                  <a:prstClr val="black"/>
                </a:solidFill>
                <a:latin typeface="Calibri"/>
                <a:ea typeface="Calibri"/>
                <a:cs typeface="Calibri"/>
                <a:sym typeface="Calibri"/>
              </a:rPr>
              <a:t>Free Training for first 50 hospital teams to sign up</a:t>
            </a:r>
            <a:endParaRPr sz="2800" dirty="0">
              <a:solidFill>
                <a:prstClr val="black"/>
              </a:solidFill>
              <a:latin typeface="Calibri"/>
              <a:ea typeface="Calibri"/>
              <a:cs typeface="Calibri"/>
            </a:endParaRPr>
          </a:p>
          <a:p>
            <a:pPr marL="609660" lvl="1" indent="-228623" defTabSz="914446">
              <a:spcBef>
                <a:spcPts val="667"/>
              </a:spcBef>
              <a:buClr>
                <a:srgbClr val="4F81BD"/>
              </a:buClr>
              <a:buSzPts val="2400"/>
              <a:buFont typeface="Arial"/>
              <a:buChar char="•"/>
            </a:pPr>
            <a:r>
              <a:rPr lang="en-US" sz="2400" dirty="0">
                <a:solidFill>
                  <a:prstClr val="black"/>
                </a:solidFill>
                <a:latin typeface="Calibri"/>
                <a:ea typeface="Calibri"/>
                <a:cs typeface="Calibri"/>
                <a:sym typeface="Calibri"/>
              </a:rPr>
              <a:t>4 weekly 1-hour live Zoom sessions, optional self-paced sessions</a:t>
            </a:r>
            <a:endParaRPr sz="622" dirty="0">
              <a:solidFill>
                <a:prstClr val="black"/>
              </a:solidFill>
              <a:latin typeface="Calibri"/>
            </a:endParaRPr>
          </a:p>
          <a:p>
            <a:pPr marL="304831" indent="-228623" defTabSz="914446">
              <a:spcBef>
                <a:spcPts val="667"/>
              </a:spcBef>
              <a:buClr>
                <a:srgbClr val="F5668F"/>
              </a:buClr>
              <a:buSzPts val="2400"/>
              <a:buFont typeface="Arial"/>
              <a:buChar char="•"/>
            </a:pPr>
            <a:r>
              <a:rPr lang="en-US" sz="2400" b="1" dirty="0">
                <a:solidFill>
                  <a:prstClr val="black"/>
                </a:solidFill>
                <a:latin typeface="Calibri"/>
                <a:ea typeface="Calibri"/>
                <a:cs typeface="Calibri"/>
                <a:sym typeface="Calibri"/>
              </a:rPr>
              <a:t>Hospital Benefits</a:t>
            </a:r>
            <a:endParaRPr lang="en-US" sz="2400" dirty="0">
              <a:solidFill>
                <a:prstClr val="black"/>
              </a:solidFill>
              <a:latin typeface="Calibri"/>
              <a:ea typeface="Calibri"/>
              <a:cs typeface="Calibri"/>
            </a:endParaRPr>
          </a:p>
          <a:p>
            <a:pPr marL="609660" lvl="1" indent="-228623" defTabSz="914446">
              <a:spcBef>
                <a:spcPts val="667"/>
              </a:spcBef>
              <a:buClr>
                <a:srgbClr val="4F81BD"/>
              </a:buClr>
              <a:buSzPts val="2400"/>
              <a:buFont typeface="Arial"/>
              <a:buChar char="•"/>
            </a:pPr>
            <a:r>
              <a:rPr lang="en-US" sz="2400" dirty="0">
                <a:solidFill>
                  <a:prstClr val="black"/>
                </a:solidFill>
                <a:latin typeface="Calibri"/>
                <a:ea typeface="Calibri"/>
                <a:cs typeface="Calibri"/>
                <a:sym typeface="Calibri"/>
              </a:rPr>
              <a:t>5 free Patient Family Partner training coupons per hospital</a:t>
            </a:r>
            <a:endParaRPr sz="2400" dirty="0">
              <a:solidFill>
                <a:prstClr val="black"/>
              </a:solidFill>
              <a:latin typeface="Calibri"/>
              <a:ea typeface="Calibri"/>
              <a:cs typeface="Calibri"/>
            </a:endParaRPr>
          </a:p>
          <a:p>
            <a:pPr marL="609660" lvl="1" indent="-228623" defTabSz="914446">
              <a:spcBef>
                <a:spcPts val="667"/>
              </a:spcBef>
              <a:buClr>
                <a:srgbClr val="4F81BD"/>
              </a:buClr>
              <a:buSzPts val="2400"/>
              <a:buFont typeface="Arial"/>
              <a:buChar char="•"/>
            </a:pPr>
            <a:r>
              <a:rPr lang="en-US" sz="2400" dirty="0">
                <a:solidFill>
                  <a:prstClr val="black"/>
                </a:solidFill>
                <a:latin typeface="Calibri"/>
                <a:ea typeface="Calibri"/>
                <a:cs typeface="Calibri"/>
                <a:sym typeface="Calibri"/>
              </a:rPr>
              <a:t>Technical assistance: 30-min kickoff + ongoing support</a:t>
            </a:r>
            <a:endParaRPr sz="2400" dirty="0">
              <a:solidFill>
                <a:prstClr val="black"/>
              </a:solidFill>
              <a:latin typeface="Calibri"/>
              <a:ea typeface="Calibri"/>
              <a:cs typeface="Calibri"/>
            </a:endParaRPr>
          </a:p>
          <a:p>
            <a:pPr marL="609660" lvl="1" indent="-228623" defTabSz="914446">
              <a:spcBef>
                <a:spcPts val="667"/>
              </a:spcBef>
              <a:buClr>
                <a:srgbClr val="4F81BD"/>
              </a:buClr>
              <a:buSzPts val="2400"/>
              <a:buFont typeface="Arial"/>
              <a:buChar char="•"/>
            </a:pPr>
            <a:r>
              <a:rPr lang="en-US" sz="2400" dirty="0">
                <a:solidFill>
                  <a:prstClr val="black"/>
                </a:solidFill>
                <a:latin typeface="Calibri"/>
                <a:ea typeface="Calibri"/>
                <a:cs typeface="Calibri"/>
                <a:sym typeface="Calibri"/>
              </a:rPr>
              <a:t>Builds strong, sustainable patient and family partners</a:t>
            </a:r>
            <a:endParaRPr lang="en-US" sz="2400" dirty="0">
              <a:solidFill>
                <a:prstClr val="black"/>
              </a:solidFill>
              <a:latin typeface="Calibri"/>
              <a:ea typeface="Calibri"/>
              <a:cs typeface="Calibri"/>
            </a:endParaRPr>
          </a:p>
        </p:txBody>
      </p:sp>
      <p:sp>
        <p:nvSpPr>
          <p:cNvPr id="7" name="TextBox 7">
            <a:extLst>
              <a:ext uri="{FF2B5EF4-FFF2-40B4-BE49-F238E27FC236}">
                <a16:creationId xmlns:a16="http://schemas.microsoft.com/office/drawing/2014/main" id="{D0A0B8CD-EAC8-3BF5-5B89-ECFDD2C3B2E8}"/>
              </a:ext>
            </a:extLst>
          </p:cNvPr>
          <p:cNvSpPr txBox="1"/>
          <p:nvPr/>
        </p:nvSpPr>
        <p:spPr>
          <a:xfrm>
            <a:off x="260037" y="195936"/>
            <a:ext cx="7655789" cy="1785104"/>
          </a:xfrm>
          <a:prstGeom prst="rect">
            <a:avLst/>
          </a:prstGeom>
        </p:spPr>
        <p:txBody>
          <a:bodyPr wrap="square" lIns="0" tIns="0" rIns="0" bIns="0" rtlCol="0" anchor="t">
            <a:sp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defTabSz="914446">
              <a:buClrTx/>
            </a:pPr>
            <a:r>
              <a:rPr lang="en-US" sz="3600" b="1" dirty="0">
                <a:solidFill>
                  <a:srgbClr val="1C498B"/>
                </a:solidFill>
                <a:latin typeface="Calibri"/>
                <a:ea typeface="Calibri"/>
                <a:cs typeface="Calibri"/>
                <a:sym typeface="The Seasons Bold"/>
              </a:rPr>
              <a:t>Mommas Voices Hospital Team Training Opportunity – Summer 2026</a:t>
            </a:r>
            <a:endParaRPr lang="en-US" sz="3600" dirty="0">
              <a:solidFill>
                <a:prstClr val="black"/>
              </a:solidFill>
              <a:latin typeface="Calibri"/>
            </a:endParaRPr>
          </a:p>
          <a:p>
            <a:pPr defTabSz="914446">
              <a:buClrTx/>
            </a:pPr>
            <a:endParaRPr lang="en-US" sz="4400" b="1" dirty="0">
              <a:solidFill>
                <a:srgbClr val="1C498B"/>
              </a:solidFill>
              <a:latin typeface="Calibri"/>
              <a:ea typeface="Calibri"/>
              <a:cs typeface="Calibri"/>
            </a:endParaRPr>
          </a:p>
        </p:txBody>
      </p:sp>
      <p:pic>
        <p:nvPicPr>
          <p:cNvPr id="9" name="Picture 8" descr="A blue and red curved line&#10;&#10;AI-generated content may be incorrect.">
            <a:extLst>
              <a:ext uri="{FF2B5EF4-FFF2-40B4-BE49-F238E27FC236}">
                <a16:creationId xmlns:a16="http://schemas.microsoft.com/office/drawing/2014/main" id="{BDC638B9-6CD2-BE5B-BD38-867955F7D40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671868" y="-1176"/>
            <a:ext cx="3531305" cy="952500"/>
          </a:xfrm>
          <a:prstGeom prst="rect">
            <a:avLst/>
          </a:prstGeom>
        </p:spPr>
      </p:pic>
      <p:pic>
        <p:nvPicPr>
          <p:cNvPr id="12" name="Picture 11" descr="A logo with a map and text&#10;&#10;AI-generated content may be incorrect.">
            <a:extLst>
              <a:ext uri="{FF2B5EF4-FFF2-40B4-BE49-F238E27FC236}">
                <a16:creationId xmlns:a16="http://schemas.microsoft.com/office/drawing/2014/main" id="{FDFA5C9C-1102-AC45-19C8-7E42CFB8607B}"/>
              </a:ext>
            </a:extLst>
          </p:cNvPr>
          <p:cNvPicPr>
            <a:picLocks noChangeAspect="1"/>
          </p:cNvPicPr>
          <p:nvPr/>
        </p:nvPicPr>
        <p:blipFill>
          <a:blip r:embed="rId3" cstate="email">
            <a:extLst>
              <a:ext uri="{28A0092B-C50C-407E-A947-70E740481C1C}">
                <a14:useLocalDpi xmlns:a14="http://schemas.microsoft.com/office/drawing/2010/main"/>
              </a:ext>
            </a:extLst>
          </a:blip>
          <a:srcRect r="-244"/>
          <a:stretch>
            <a:fillRect/>
          </a:stretch>
        </p:blipFill>
        <p:spPr>
          <a:xfrm>
            <a:off x="10339920" y="3552"/>
            <a:ext cx="1446409" cy="719901"/>
          </a:xfrm>
          <a:prstGeom prst="rect">
            <a:avLst/>
          </a:prstGeom>
        </p:spPr>
      </p:pic>
      <p:pic>
        <p:nvPicPr>
          <p:cNvPr id="11" name="Google Shape;51687;p18">
            <a:extLst>
              <a:ext uri="{FF2B5EF4-FFF2-40B4-BE49-F238E27FC236}">
                <a16:creationId xmlns:a16="http://schemas.microsoft.com/office/drawing/2014/main" id="{CB253BFF-6D47-B179-6E4C-FE488DB73D30}"/>
              </a:ext>
            </a:extLst>
          </p:cNvPr>
          <p:cNvPicPr preferRelativeResize="0"/>
          <p:nvPr/>
        </p:nvPicPr>
        <p:blipFill rotWithShape="1">
          <a:blip r:embed="rId4" cstate="email">
            <a:alphaModFix/>
            <a:extLst>
              <a:ext uri="{28A0092B-C50C-407E-A947-70E740481C1C}">
                <a14:useLocalDpi xmlns:a14="http://schemas.microsoft.com/office/drawing/2010/main"/>
              </a:ext>
            </a:extLst>
          </a:blip>
          <a:srcRect/>
          <a:stretch>
            <a:fillRect/>
          </a:stretch>
        </p:blipFill>
        <p:spPr>
          <a:xfrm>
            <a:off x="8655564" y="-771072"/>
            <a:ext cx="3531305" cy="2972405"/>
          </a:xfrm>
          <a:prstGeom prst="rect">
            <a:avLst/>
          </a:prstGeom>
          <a:noFill/>
          <a:ln>
            <a:noFill/>
          </a:ln>
        </p:spPr>
      </p:pic>
      <p:pic>
        <p:nvPicPr>
          <p:cNvPr id="13" name="Google Shape;51688;p18" descr="A group of people looking at a tablet&#10;&#10;AI-generated content may be incorrect.">
            <a:extLst>
              <a:ext uri="{FF2B5EF4-FFF2-40B4-BE49-F238E27FC236}">
                <a16:creationId xmlns:a16="http://schemas.microsoft.com/office/drawing/2014/main" id="{A89FFE74-4FD5-0ABF-CDEE-3EF85EA9DF11}"/>
              </a:ext>
            </a:extLst>
          </p:cNvPr>
          <p:cNvPicPr preferRelativeResize="0"/>
          <p:nvPr/>
        </p:nvPicPr>
        <p:blipFill rotWithShape="1">
          <a:blip r:embed="rId5">
            <a:alphaModFix/>
          </a:blip>
          <a:srcRect/>
          <a:stretch/>
        </p:blipFill>
        <p:spPr>
          <a:xfrm>
            <a:off x="8030122" y="4391060"/>
            <a:ext cx="4150213" cy="2323366"/>
          </a:xfrm>
          <a:prstGeom prst="rect">
            <a:avLst/>
          </a:prstGeom>
          <a:noFill/>
          <a:ln>
            <a:noFill/>
          </a:ln>
        </p:spPr>
      </p:pic>
      <p:pic>
        <p:nvPicPr>
          <p:cNvPr id="8" name="Picture 61" descr="A qr code on a black background&#10;&#10;AI-generated content may be incorrect.">
            <a:extLst>
              <a:ext uri="{FF2B5EF4-FFF2-40B4-BE49-F238E27FC236}">
                <a16:creationId xmlns:a16="http://schemas.microsoft.com/office/drawing/2014/main" id="{78DB5E5C-418A-4C19-A463-94EB548CF27D}"/>
              </a:ext>
            </a:extLst>
          </p:cNvPr>
          <p:cNvPicPr>
            <a:picLocks noChangeAspect="1"/>
          </p:cNvPicPr>
          <p:nvPr/>
        </p:nvPicPr>
        <p:blipFill>
          <a:blip r:embed="rId6"/>
          <a:stretch>
            <a:fillRect/>
          </a:stretch>
        </p:blipFill>
        <p:spPr>
          <a:xfrm>
            <a:off x="4791059" y="5279648"/>
            <a:ext cx="1769535" cy="1737504"/>
          </a:xfrm>
          <a:prstGeom prst="rect">
            <a:avLst/>
          </a:prstGeom>
        </p:spPr>
      </p:pic>
      <p:sp>
        <p:nvSpPr>
          <p:cNvPr id="2" name="TextBox 1">
            <a:extLst>
              <a:ext uri="{FF2B5EF4-FFF2-40B4-BE49-F238E27FC236}">
                <a16:creationId xmlns:a16="http://schemas.microsoft.com/office/drawing/2014/main" id="{B13DD67F-3067-40AE-B216-0001ADF392DF}"/>
              </a:ext>
            </a:extLst>
          </p:cNvPr>
          <p:cNvSpPr txBox="1"/>
          <p:nvPr/>
        </p:nvSpPr>
        <p:spPr>
          <a:xfrm>
            <a:off x="3021523" y="5635604"/>
            <a:ext cx="1769535" cy="1015663"/>
          </a:xfrm>
          <a:prstGeom prst="rect">
            <a:avLst/>
          </a:prstGeom>
          <a:solidFill>
            <a:schemeClr val="tx2">
              <a:lumMod val="75000"/>
              <a:lumOff val="25000"/>
            </a:schemeClr>
          </a:solidFill>
        </p:spPr>
        <p:txBody>
          <a:bodyPr wrap="square" rtlCol="0">
            <a:sp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defTabSz="914446">
              <a:buClrTx/>
            </a:pPr>
            <a:r>
              <a:rPr lang="en-US" sz="2000">
                <a:solidFill>
                  <a:prstClr val="white"/>
                </a:solidFill>
                <a:latin typeface="Calibri"/>
              </a:rPr>
              <a:t>Sign up here to get your team registered</a:t>
            </a:r>
          </a:p>
        </p:txBody>
      </p:sp>
      <p:pic>
        <p:nvPicPr>
          <p:cNvPr id="10" name="Google Shape;25029;p63" descr="Two women standing in front of a sign with post it notes&#10;&#10;AI-generated content may be incorrect.">
            <a:extLst>
              <a:ext uri="{FF2B5EF4-FFF2-40B4-BE49-F238E27FC236}">
                <a16:creationId xmlns:a16="http://schemas.microsoft.com/office/drawing/2014/main" id="{BCD512FE-28C7-4F53-8D69-1E787A6AA081}"/>
              </a:ext>
            </a:extLst>
          </p:cNvPr>
          <p:cNvPicPr preferRelativeResize="0"/>
          <p:nvPr/>
        </p:nvPicPr>
        <p:blipFill rotWithShape="1">
          <a:blip r:embed="rId7">
            <a:alphaModFix/>
          </a:blip>
          <a:srcRect/>
          <a:stretch/>
        </p:blipFill>
        <p:spPr>
          <a:xfrm>
            <a:off x="9445150" y="1496341"/>
            <a:ext cx="2341179" cy="2504905"/>
          </a:xfrm>
          <a:prstGeom prst="rect">
            <a:avLst/>
          </a:prstGeom>
          <a:noFill/>
          <a:ln>
            <a:noFill/>
          </a:ln>
        </p:spPr>
      </p:pic>
    </p:spTree>
    <p:extLst>
      <p:ext uri="{BB962C8B-B14F-4D97-AF65-F5344CB8AC3E}">
        <p14:creationId xmlns:p14="http://schemas.microsoft.com/office/powerpoint/2010/main" val="3544826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20561"/>
        <p:cNvGrpSpPr/>
        <p:nvPr/>
      </p:nvGrpSpPr>
      <p:grpSpPr>
        <a:xfrm>
          <a:off x="0" y="0"/>
          <a:ext cx="0" cy="0"/>
          <a:chOff x="0" y="0"/>
          <a:chExt cx="0" cy="0"/>
        </a:xfrm>
      </p:grpSpPr>
      <p:sp>
        <p:nvSpPr>
          <p:cNvPr id="20562" name="Google Shape;20562;p49"/>
          <p:cNvSpPr txBox="1">
            <a:spLocks noGrp="1"/>
          </p:cNvSpPr>
          <p:nvPr>
            <p:ph type="title"/>
          </p:nvPr>
        </p:nvSpPr>
        <p:spPr>
          <a:xfrm>
            <a:off x="269822" y="35867"/>
            <a:ext cx="10889245" cy="1053419"/>
          </a:xfrm>
          <a:prstGeom prst="rect">
            <a:avLst/>
          </a:prstGeom>
          <a:noFill/>
          <a:ln>
            <a:noFill/>
          </a:ln>
        </p:spPr>
        <p:txBody>
          <a:bodyPr spcFirstLastPara="1" wrap="square" lIns="60950" tIns="30467" rIns="60950" bIns="30467"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marL="0" lvl="0" indent="0" algn="l" rtl="0">
              <a:lnSpc>
                <a:spcPct val="100000"/>
              </a:lnSpc>
              <a:spcBef>
                <a:spcPts val="0"/>
              </a:spcBef>
              <a:spcAft>
                <a:spcPts val="0"/>
              </a:spcAft>
              <a:buClr>
                <a:schemeClr val="accent1"/>
              </a:buClr>
              <a:buSzPts val="1800"/>
              <a:buNone/>
            </a:pPr>
            <a:r>
              <a:rPr lang="en-US" sz="4400" b="1">
                <a:solidFill>
                  <a:schemeClr val="accent1"/>
                </a:solidFill>
                <a:latin typeface="Calibri"/>
                <a:ea typeface="Calibri"/>
                <a:cs typeface="Calibri"/>
              </a:rPr>
              <a:t>Trauma-Informed Care Trainings</a:t>
            </a:r>
          </a:p>
        </p:txBody>
      </p:sp>
      <p:sp>
        <p:nvSpPr>
          <p:cNvPr id="20563" name="Google Shape;20563;p49"/>
          <p:cNvSpPr txBox="1">
            <a:spLocks noGrp="1"/>
          </p:cNvSpPr>
          <p:nvPr>
            <p:ph type="body" idx="1"/>
          </p:nvPr>
        </p:nvSpPr>
        <p:spPr>
          <a:xfrm>
            <a:off x="159287" y="899351"/>
            <a:ext cx="9309391" cy="4525623"/>
          </a:xfrm>
          <a:prstGeom prst="rect">
            <a:avLst/>
          </a:prstGeom>
          <a:noFill/>
          <a:ln>
            <a:noFill/>
          </a:ln>
        </p:spPr>
        <p:txBody>
          <a:bodyPr spcFirstLastPara="1" wrap="square" lIns="60950" tIns="30467" rIns="60950" bIns="30467"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marL="457200" lvl="0" indent="-342900" algn="l" rtl="0">
              <a:lnSpc>
                <a:spcPct val="100000"/>
              </a:lnSpc>
              <a:spcBef>
                <a:spcPts val="1000"/>
              </a:spcBef>
              <a:spcAft>
                <a:spcPts val="0"/>
              </a:spcAft>
              <a:buSzPts val="3600"/>
              <a:buChar char="•"/>
            </a:pPr>
            <a:r>
              <a:rPr lang="en-US" sz="2400">
                <a:solidFill>
                  <a:srgbClr val="22262A"/>
                </a:solidFill>
                <a:latin typeface="Calibri"/>
                <a:ea typeface="Calibri"/>
                <a:cs typeface="Calibri"/>
              </a:rPr>
              <a:t>ILPQC is sponsoring four trauma-informed care trainings led by </a:t>
            </a:r>
            <a:br>
              <a:rPr lang="en-US" sz="2400" dirty="0">
                <a:latin typeface="Calibri"/>
                <a:ea typeface="Calibri"/>
                <a:cs typeface="Calibri"/>
              </a:rPr>
            </a:br>
            <a:r>
              <a:rPr lang="en-US" sz="2400">
                <a:solidFill>
                  <a:srgbClr val="22262A"/>
                </a:solidFill>
                <a:latin typeface="Calibri"/>
                <a:ea typeface="Calibri"/>
                <a:cs typeface="Calibri"/>
              </a:rPr>
              <a:t>Dr. Tracey Vogel, an Obstetric Anesthesiologist, trained sexual assault counselor, and the creator and Director of the Perinatal Trauma-informed Care Clinic in Pittsburgh, PA, for anyone on your QI team</a:t>
            </a:r>
            <a:br>
              <a:rPr lang="en-US" sz="2400" dirty="0">
                <a:latin typeface="Calibri"/>
                <a:ea typeface="Calibri"/>
                <a:cs typeface="Calibri"/>
              </a:rPr>
            </a:br>
            <a:endParaRPr lang="en-US" sz="2400">
              <a:solidFill>
                <a:srgbClr val="22262A"/>
              </a:solidFill>
              <a:latin typeface="Calibri"/>
              <a:ea typeface="Calibri"/>
              <a:cs typeface="Calibri"/>
            </a:endParaRPr>
          </a:p>
          <a:p>
            <a:pPr marL="457200" lvl="0" indent="-342900" algn="l" rtl="0">
              <a:lnSpc>
                <a:spcPct val="100000"/>
              </a:lnSpc>
              <a:spcBef>
                <a:spcPts val="1000"/>
              </a:spcBef>
              <a:spcAft>
                <a:spcPts val="0"/>
              </a:spcAft>
              <a:buSzPts val="3600"/>
              <a:buChar char="•"/>
            </a:pPr>
            <a:r>
              <a:rPr lang="en-US" sz="2400" b="1">
                <a:solidFill>
                  <a:srgbClr val="22262A"/>
                </a:solidFill>
                <a:latin typeface="Calibri"/>
                <a:ea typeface="Calibri"/>
                <a:cs typeface="Calibri"/>
              </a:rPr>
              <a:t>What: 4 half-day in-person trainings</a:t>
            </a:r>
            <a:r>
              <a:rPr lang="en-US" sz="2400">
                <a:solidFill>
                  <a:srgbClr val="22262A"/>
                </a:solidFill>
                <a:latin typeface="Calibri"/>
                <a:ea typeface="Calibri"/>
                <a:cs typeface="Calibri"/>
              </a:rPr>
              <a:t>: 2 in Chicago &amp; 2 central IL</a:t>
            </a:r>
          </a:p>
          <a:p>
            <a:pPr marL="457200" lvl="0" indent="-342900" algn="l" rtl="0">
              <a:lnSpc>
                <a:spcPct val="100000"/>
              </a:lnSpc>
              <a:spcBef>
                <a:spcPts val="1000"/>
              </a:spcBef>
              <a:spcAft>
                <a:spcPts val="0"/>
              </a:spcAft>
              <a:buSzPts val="3600"/>
              <a:buChar char="•"/>
            </a:pPr>
            <a:r>
              <a:rPr lang="en-US" sz="2400" b="1">
                <a:solidFill>
                  <a:srgbClr val="22262A"/>
                </a:solidFill>
                <a:latin typeface="Calibri"/>
                <a:ea typeface="Calibri"/>
                <a:cs typeface="Calibri"/>
              </a:rPr>
              <a:t>When: </a:t>
            </a:r>
            <a:endParaRPr sz="900">
              <a:latin typeface="Calibri"/>
              <a:ea typeface="Calibri"/>
              <a:cs typeface="Calibri"/>
            </a:endParaRPr>
          </a:p>
          <a:p>
            <a:pPr marL="914400" lvl="1" indent="-342900" algn="l" rtl="0">
              <a:lnSpc>
                <a:spcPct val="100000"/>
              </a:lnSpc>
              <a:spcBef>
                <a:spcPts val="400"/>
              </a:spcBef>
              <a:spcAft>
                <a:spcPts val="0"/>
              </a:spcAft>
              <a:buSzPts val="3600"/>
              <a:buChar char="•"/>
            </a:pPr>
            <a:r>
              <a:rPr lang="en-US" sz="2400" b="1">
                <a:solidFill>
                  <a:srgbClr val="22262A"/>
                </a:solidFill>
                <a:latin typeface="Calibri"/>
                <a:ea typeface="Calibri"/>
                <a:cs typeface="Calibri"/>
              </a:rPr>
              <a:t>Chicago dates: </a:t>
            </a:r>
            <a:r>
              <a:rPr lang="en-US" sz="2400">
                <a:solidFill>
                  <a:srgbClr val="22262A"/>
                </a:solidFill>
                <a:latin typeface="Calibri"/>
                <a:ea typeface="Calibri"/>
                <a:cs typeface="Calibri"/>
              </a:rPr>
              <a:t>July 15th and September 10th</a:t>
            </a:r>
            <a:endParaRPr sz="900">
              <a:latin typeface="Calibri"/>
              <a:ea typeface="Calibri"/>
              <a:cs typeface="Calibri"/>
            </a:endParaRPr>
          </a:p>
          <a:p>
            <a:pPr marL="914400" lvl="1" indent="-342900" algn="l" rtl="0">
              <a:lnSpc>
                <a:spcPct val="100000"/>
              </a:lnSpc>
              <a:spcBef>
                <a:spcPts val="400"/>
              </a:spcBef>
              <a:spcAft>
                <a:spcPts val="0"/>
              </a:spcAft>
              <a:buSzPts val="3600"/>
              <a:buChar char="•"/>
            </a:pPr>
            <a:r>
              <a:rPr lang="en-US" sz="2400" b="1">
                <a:solidFill>
                  <a:srgbClr val="22262A"/>
                </a:solidFill>
                <a:latin typeface="Calibri"/>
                <a:ea typeface="Calibri"/>
                <a:cs typeface="Calibri"/>
              </a:rPr>
              <a:t>Central IL dates: </a:t>
            </a:r>
            <a:r>
              <a:rPr lang="en-US" sz="2400">
                <a:solidFill>
                  <a:srgbClr val="22262A"/>
                </a:solidFill>
                <a:latin typeface="Calibri"/>
                <a:ea typeface="Calibri"/>
                <a:cs typeface="Calibri"/>
              </a:rPr>
              <a:t>TBD</a:t>
            </a:r>
            <a:endParaRPr sz="900">
              <a:latin typeface="Calibri"/>
              <a:ea typeface="Calibri"/>
              <a:cs typeface="Calibri"/>
            </a:endParaRPr>
          </a:p>
          <a:p>
            <a:pPr marL="457200" lvl="0" indent="-342900" algn="l" rtl="0">
              <a:lnSpc>
                <a:spcPct val="100000"/>
              </a:lnSpc>
              <a:spcBef>
                <a:spcPts val="1000"/>
              </a:spcBef>
              <a:spcAft>
                <a:spcPts val="0"/>
              </a:spcAft>
              <a:buSzPts val="3600"/>
              <a:buChar char="•"/>
            </a:pPr>
            <a:r>
              <a:rPr lang="en-US" sz="2400" b="1">
                <a:solidFill>
                  <a:srgbClr val="22262A"/>
                </a:solidFill>
                <a:latin typeface="Calibri"/>
                <a:ea typeface="Calibri"/>
                <a:cs typeface="Calibri"/>
              </a:rPr>
              <a:t>Where: </a:t>
            </a:r>
            <a:endParaRPr sz="900">
              <a:latin typeface="Calibri"/>
              <a:ea typeface="Calibri"/>
              <a:cs typeface="Calibri"/>
            </a:endParaRPr>
          </a:p>
          <a:p>
            <a:pPr marL="914400" lvl="1" indent="-342900" algn="l" rtl="0">
              <a:lnSpc>
                <a:spcPct val="100000"/>
              </a:lnSpc>
              <a:spcBef>
                <a:spcPts val="400"/>
              </a:spcBef>
              <a:spcAft>
                <a:spcPts val="0"/>
              </a:spcAft>
              <a:buSzPts val="3600"/>
              <a:buChar char="•"/>
            </a:pPr>
            <a:r>
              <a:rPr lang="en-US" sz="2400" b="1">
                <a:solidFill>
                  <a:srgbClr val="22262A"/>
                </a:solidFill>
                <a:latin typeface="Calibri"/>
                <a:ea typeface="Calibri"/>
                <a:cs typeface="Calibri"/>
              </a:rPr>
              <a:t>Chicago location: </a:t>
            </a:r>
            <a:r>
              <a:rPr lang="en-US" sz="2400">
                <a:solidFill>
                  <a:srgbClr val="22262A"/>
                </a:solidFill>
                <a:latin typeface="Calibri"/>
                <a:ea typeface="Calibri"/>
                <a:cs typeface="Calibri"/>
              </a:rPr>
              <a:t>Glenbrook Hospital, Glenview, IL</a:t>
            </a:r>
            <a:endParaRPr sz="900">
              <a:latin typeface="Calibri"/>
              <a:ea typeface="Calibri"/>
              <a:cs typeface="Calibri"/>
            </a:endParaRPr>
          </a:p>
          <a:p>
            <a:pPr marL="914400" lvl="1" indent="-342900" algn="l" rtl="0">
              <a:lnSpc>
                <a:spcPct val="100000"/>
              </a:lnSpc>
              <a:spcBef>
                <a:spcPts val="400"/>
              </a:spcBef>
              <a:spcAft>
                <a:spcPts val="0"/>
              </a:spcAft>
              <a:buSzPts val="3600"/>
              <a:buChar char="•"/>
            </a:pPr>
            <a:r>
              <a:rPr lang="en-US" sz="2400" b="1">
                <a:solidFill>
                  <a:srgbClr val="22262A"/>
                </a:solidFill>
                <a:latin typeface="Calibri"/>
                <a:ea typeface="Calibri"/>
                <a:cs typeface="Calibri"/>
              </a:rPr>
              <a:t>Central IL locations: </a:t>
            </a:r>
            <a:r>
              <a:rPr lang="en-US" sz="2400">
                <a:solidFill>
                  <a:srgbClr val="22262A"/>
                </a:solidFill>
                <a:latin typeface="Calibri"/>
                <a:ea typeface="Calibri"/>
                <a:cs typeface="Calibri"/>
              </a:rPr>
              <a:t>Central Illinois, locations TBD</a:t>
            </a:r>
            <a:endParaRPr sz="900">
              <a:latin typeface="Calibri"/>
              <a:ea typeface="Calibri"/>
              <a:cs typeface="Calibri"/>
            </a:endParaRPr>
          </a:p>
          <a:p>
            <a:pPr marL="114300" lvl="0" indent="0" algn="l" rtl="0">
              <a:lnSpc>
                <a:spcPct val="100000"/>
              </a:lnSpc>
              <a:spcBef>
                <a:spcPts val="1000"/>
              </a:spcBef>
              <a:spcAft>
                <a:spcPts val="0"/>
              </a:spcAft>
              <a:buSzPts val="1800"/>
              <a:buNone/>
            </a:pPr>
            <a:endParaRPr sz="2400" dirty="0">
              <a:solidFill>
                <a:srgbClr val="4B545E"/>
              </a:solidFill>
              <a:latin typeface="Calibri"/>
              <a:ea typeface="Calibri"/>
              <a:cs typeface="Calibri"/>
            </a:endParaRPr>
          </a:p>
        </p:txBody>
      </p:sp>
      <p:sp>
        <p:nvSpPr>
          <p:cNvPr id="20564" name="Google Shape;20564;p49"/>
          <p:cNvSpPr txBox="1">
            <a:spLocks noGrp="1"/>
          </p:cNvSpPr>
          <p:nvPr>
            <p:ph type="sldNum" idx="12"/>
          </p:nvPr>
        </p:nvSpPr>
        <p:spPr>
          <a:xfrm>
            <a:off x="8839198" y="6356351"/>
            <a:ext cx="2743200" cy="365125"/>
          </a:xfrm>
          <a:prstGeom prst="rect">
            <a:avLst/>
          </a:prstGeom>
          <a:noFill/>
          <a:ln>
            <a:noFill/>
          </a:ln>
        </p:spPr>
        <p:txBody>
          <a:bodyPr spcFirstLastPara="1" wrap="square" lIns="60950" tIns="30467" rIns="60950" bIns="30467"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622"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622"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622"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622"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622"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622"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622"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622"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622" b="0" i="0" u="none" strike="noStrike" cap="none">
                <a:solidFill>
                  <a:srgbClr val="000000"/>
                </a:solidFill>
                <a:latin typeface="Arial"/>
                <a:ea typeface="Arial"/>
                <a:cs typeface="Arial"/>
                <a:sym typeface="Arial"/>
              </a:defRPr>
            </a:lvl9pPr>
          </a:lstStyle>
          <a:p>
            <a:pPr marL="0" lvl="0" indent="0" algn="r" rtl="0">
              <a:spcBef>
                <a:spcPts val="0"/>
              </a:spcBef>
              <a:spcAft>
                <a:spcPts val="0"/>
              </a:spcAft>
              <a:buClr>
                <a:srgbClr val="919497"/>
              </a:buClr>
              <a:buSzPts val="1800"/>
              <a:buFont typeface="Calibri"/>
              <a:buNone/>
            </a:pPr>
            <a:fld id="{00000000-1234-1234-1234-123412341234}" type="slidenum">
              <a:rPr lang="en-US"/>
              <a:pPr marL="0" lvl="0" indent="0" algn="r" rtl="0">
                <a:spcBef>
                  <a:spcPts val="0"/>
                </a:spcBef>
                <a:spcAft>
                  <a:spcPts val="0"/>
                </a:spcAft>
                <a:buClr>
                  <a:srgbClr val="919497"/>
                </a:buClr>
                <a:buSzPts val="1800"/>
                <a:buFont typeface="Calibri"/>
                <a:buNone/>
              </a:pPr>
              <a:t>26</a:t>
            </a:fld>
            <a:endParaRPr/>
          </a:p>
        </p:txBody>
      </p:sp>
      <p:sp>
        <p:nvSpPr>
          <p:cNvPr id="20565" name="Google Shape;20565;p49"/>
          <p:cNvSpPr/>
          <p:nvPr/>
        </p:nvSpPr>
        <p:spPr>
          <a:xfrm>
            <a:off x="7335078" y="4260471"/>
            <a:ext cx="4856922" cy="1336678"/>
          </a:xfrm>
          <a:prstGeom prst="ellipse">
            <a:avLst/>
          </a:prstGeom>
          <a:solidFill>
            <a:schemeClr val="accent1"/>
          </a:solidFill>
          <a:ln w="25400" cap="flat" cmpd="sng">
            <a:solidFill>
              <a:srgbClr val="0B1E3A"/>
            </a:solidFill>
            <a:prstDash val="solid"/>
            <a:round/>
            <a:headEnd type="none" w="sm" len="sm"/>
            <a:tailEnd type="none" w="sm" len="sm"/>
          </a:ln>
        </p:spPr>
        <p:txBody>
          <a:bodyPr spcFirstLastPara="1" wrap="square" lIns="60950" tIns="30467" rIns="60950" bIns="30467"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r>
              <a:rPr lang="en-US" sz="2133" b="1">
                <a:solidFill>
                  <a:srgbClr val="FFFFFF"/>
                </a:solidFill>
                <a:latin typeface="Arial"/>
                <a:ea typeface="Arial"/>
                <a:cs typeface="Arial"/>
                <a:sym typeface="Arial"/>
              </a:rPr>
              <a:t>Stop by the ILPQC table if you are interested or fill out this form!</a:t>
            </a:r>
            <a:endParaRPr sz="800"/>
          </a:p>
        </p:txBody>
      </p:sp>
      <p:sp>
        <p:nvSpPr>
          <p:cNvPr id="20566" name="Google Shape;20566;p49"/>
          <p:cNvSpPr/>
          <p:nvPr/>
        </p:nvSpPr>
        <p:spPr>
          <a:xfrm>
            <a:off x="8777988" y="2724009"/>
            <a:ext cx="2865621" cy="2451528"/>
          </a:xfrm>
          <a:custGeom>
            <a:avLst/>
            <a:gdLst/>
            <a:ahLst/>
            <a:cxnLst/>
            <a:rect l="l" t="t" r="r" b="b"/>
            <a:pathLst>
              <a:path w="4742379" h="4114800" extrusionOk="0">
                <a:moveTo>
                  <a:pt x="0" y="0"/>
                </a:moveTo>
                <a:lnTo>
                  <a:pt x="4742378" y="0"/>
                </a:lnTo>
                <a:lnTo>
                  <a:pt x="4742378" y="4114800"/>
                </a:lnTo>
                <a:lnTo>
                  <a:pt x="0" y="4114800"/>
                </a:lnTo>
                <a:lnTo>
                  <a:pt x="0" y="0"/>
                </a:lnTo>
                <a:close/>
              </a:path>
            </a:pathLst>
          </a:custGeom>
          <a:noFill/>
          <a:ln>
            <a:noFill/>
          </a:ln>
        </p:spPr>
        <p:txBody>
          <a:bodyPr spcFirstLastPara="1" wrap="square" lIns="60950" tIns="30467" rIns="60950" bIns="30467"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marL="0" marR="0" lvl="0" indent="0" algn="l" rtl="0">
              <a:spcBef>
                <a:spcPts val="0"/>
              </a:spcBef>
              <a:spcAft>
                <a:spcPts val="0"/>
              </a:spcAft>
              <a:buNone/>
            </a:pPr>
            <a:endParaRPr sz="1200">
              <a:solidFill>
                <a:schemeClr val="dk1"/>
              </a:solidFill>
              <a:latin typeface="Arial"/>
              <a:ea typeface="Arial"/>
              <a:cs typeface="Arial"/>
              <a:sym typeface="Arial"/>
            </a:endParaRPr>
          </a:p>
        </p:txBody>
      </p:sp>
      <p:pic>
        <p:nvPicPr>
          <p:cNvPr id="5" name="Picture 2">
            <a:extLst>
              <a:ext uri="{FF2B5EF4-FFF2-40B4-BE49-F238E27FC236}">
                <a16:creationId xmlns:a16="http://schemas.microsoft.com/office/drawing/2014/main" id="{79B76BD8-D8CF-8BF2-BC38-247191A4E921}"/>
              </a:ext>
            </a:extLst>
          </p:cNvPr>
          <p:cNvPicPr>
            <a:picLocks noChangeAspect="1"/>
          </p:cNvPicPr>
          <p:nvPr/>
        </p:nvPicPr>
        <p:blipFill>
          <a:blip r:embed="rId3"/>
          <a:stretch>
            <a:fillRect/>
          </a:stretch>
        </p:blipFill>
        <p:spPr>
          <a:xfrm>
            <a:off x="10564017" y="5002564"/>
            <a:ext cx="1353787" cy="1353787"/>
          </a:xfrm>
          <a:prstGeom prst="rect">
            <a:avLst/>
          </a:prstGeom>
        </p:spPr>
      </p:pic>
      <p:pic>
        <p:nvPicPr>
          <p:cNvPr id="4" name="Picture 3">
            <a:extLst>
              <a:ext uri="{FF2B5EF4-FFF2-40B4-BE49-F238E27FC236}">
                <a16:creationId xmlns:a16="http://schemas.microsoft.com/office/drawing/2014/main" id="{736A7A19-5E96-8992-3154-1F2F8FCF3863}"/>
              </a:ext>
            </a:extLst>
          </p:cNvPr>
          <p:cNvPicPr>
            <a:picLocks noChangeAspect="1"/>
          </p:cNvPicPr>
          <p:nvPr/>
        </p:nvPicPr>
        <p:blipFill>
          <a:blip r:embed="rId4"/>
          <a:stretch>
            <a:fillRect/>
          </a:stretch>
        </p:blipFill>
        <p:spPr>
          <a:xfrm>
            <a:off x="9623745" y="1682463"/>
            <a:ext cx="1880544" cy="2116490"/>
          </a:xfrm>
          <a:prstGeom prst="rect">
            <a:avLst/>
          </a:prstGeom>
        </p:spPr>
      </p:pic>
      <p:sp>
        <p:nvSpPr>
          <p:cNvPr id="6" name="TextBox 5">
            <a:extLst>
              <a:ext uri="{FF2B5EF4-FFF2-40B4-BE49-F238E27FC236}">
                <a16:creationId xmlns:a16="http://schemas.microsoft.com/office/drawing/2014/main" id="{3D885848-4A7D-F294-C3D7-68A7FDDCF8E9}"/>
              </a:ext>
            </a:extLst>
          </p:cNvPr>
          <p:cNvSpPr txBox="1"/>
          <p:nvPr/>
        </p:nvSpPr>
        <p:spPr>
          <a:xfrm>
            <a:off x="9632753" y="3795885"/>
            <a:ext cx="1956269" cy="338554"/>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algn="ctr"/>
            <a:r>
              <a:rPr lang="en-US" sz="1600"/>
              <a:t>Dr. Tracey Vogel</a:t>
            </a:r>
          </a:p>
        </p:txBody>
      </p:sp>
    </p:spTree>
    <p:extLst>
      <p:ext uri="{BB962C8B-B14F-4D97-AF65-F5344CB8AC3E}">
        <p14:creationId xmlns:p14="http://schemas.microsoft.com/office/powerpoint/2010/main" val="18626318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20100"/>
        <p:cNvGrpSpPr/>
        <p:nvPr/>
      </p:nvGrpSpPr>
      <p:grpSpPr>
        <a:xfrm>
          <a:off x="0" y="0"/>
          <a:ext cx="0" cy="0"/>
          <a:chOff x="0" y="0"/>
          <a:chExt cx="0" cy="0"/>
        </a:xfrm>
      </p:grpSpPr>
      <p:pic>
        <p:nvPicPr>
          <p:cNvPr id="20101" name="Google Shape;20101;p23"/>
          <p:cNvPicPr preferRelativeResize="0"/>
          <p:nvPr/>
        </p:nvPicPr>
        <p:blipFill rotWithShape="1">
          <a:blip r:embed="rId3">
            <a:alphaModFix/>
          </a:blip>
          <a:srcRect/>
          <a:stretch/>
        </p:blipFill>
        <p:spPr>
          <a:xfrm>
            <a:off x="61843" y="469"/>
            <a:ext cx="12130157" cy="6848006"/>
          </a:xfrm>
          <a:prstGeom prst="rect">
            <a:avLst/>
          </a:prstGeom>
          <a:noFill/>
          <a:ln>
            <a:noFill/>
          </a:ln>
        </p:spPr>
      </p:pic>
      <p:sp>
        <p:nvSpPr>
          <p:cNvPr id="20102" name="Google Shape;20102;p23"/>
          <p:cNvSpPr txBox="1">
            <a:spLocks noGrp="1"/>
          </p:cNvSpPr>
          <p:nvPr>
            <p:ph type="title"/>
          </p:nvPr>
        </p:nvSpPr>
        <p:spPr>
          <a:xfrm>
            <a:off x="0" y="-131831"/>
            <a:ext cx="2290354" cy="1505879"/>
          </a:xfrm>
          <a:prstGeom prst="rect">
            <a:avLst/>
          </a:prstGeom>
          <a:noFill/>
          <a:ln>
            <a:noFill/>
          </a:ln>
        </p:spPr>
        <p:txBody>
          <a:bodyPr spcFirstLastPara="1" wrap="square" lIns="60933" tIns="30467" rIns="60933" bIns="30467" anchor="ctr" anchorCtr="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marL="0" lvl="0" indent="0" algn="ctr" rtl="0">
              <a:lnSpc>
                <a:spcPct val="127500"/>
              </a:lnSpc>
              <a:spcBef>
                <a:spcPts val="0"/>
              </a:spcBef>
              <a:spcAft>
                <a:spcPts val="0"/>
              </a:spcAft>
              <a:buClr>
                <a:srgbClr val="1C498B"/>
              </a:buClr>
              <a:buSzPct val="100000"/>
              <a:buFont typeface="Calibri"/>
              <a:buNone/>
            </a:pPr>
            <a:r>
              <a:rPr lang="en-US" sz="3600" b="1" dirty="0">
                <a:solidFill>
                  <a:srgbClr val="1C498B"/>
                </a:solidFill>
                <a:latin typeface="DM Sans"/>
                <a:ea typeface="Calibri"/>
                <a:cs typeface="Calibri"/>
                <a:sym typeface="Calibri"/>
              </a:rPr>
              <a:t>We Are All ILPQC!</a:t>
            </a:r>
            <a:endParaRPr lang="en-US" sz="3600" dirty="0">
              <a:latin typeface="DM Sans"/>
            </a:endParaRPr>
          </a:p>
        </p:txBody>
      </p:sp>
    </p:spTree>
    <p:extLst>
      <p:ext uri="{BB962C8B-B14F-4D97-AF65-F5344CB8AC3E}">
        <p14:creationId xmlns:p14="http://schemas.microsoft.com/office/powerpoint/2010/main" val="917380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112AC-9AFF-AAD5-9587-5353876320C9}"/>
            </a:ext>
          </a:extLst>
        </p:cNvPr>
        <p:cNvGrpSpPr/>
        <p:nvPr/>
      </p:nvGrpSpPr>
      <p:grpSpPr>
        <a:xfrm>
          <a:off x="0" y="0"/>
          <a:ext cx="0" cy="0"/>
          <a:chOff x="0" y="0"/>
          <a:chExt cx="0" cy="0"/>
        </a:xfrm>
      </p:grpSpPr>
      <p:sp>
        <p:nvSpPr>
          <p:cNvPr id="7" name="TextBox 7">
            <a:extLst>
              <a:ext uri="{FF2B5EF4-FFF2-40B4-BE49-F238E27FC236}">
                <a16:creationId xmlns:a16="http://schemas.microsoft.com/office/drawing/2014/main" id="{1CACF46E-2E44-A8AB-DD70-FAE9A2206A0D}"/>
              </a:ext>
            </a:extLst>
          </p:cNvPr>
          <p:cNvSpPr txBox="1"/>
          <p:nvPr/>
        </p:nvSpPr>
        <p:spPr>
          <a:xfrm>
            <a:off x="7303767" y="416307"/>
            <a:ext cx="4481351" cy="2050946"/>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5413"/>
              </a:lnSpc>
            </a:pPr>
            <a:r>
              <a:rPr lang="en-US" sz="4000" b="1">
                <a:solidFill>
                  <a:srgbClr val="1C498B"/>
                </a:solidFill>
                <a:latin typeface="DM Sans"/>
                <a:ea typeface="Calibri"/>
                <a:cs typeface="Calibri"/>
                <a:sym typeface="The Seasons Bold"/>
              </a:rPr>
              <a:t>ILPQC Share the Love Donation Drive</a:t>
            </a:r>
            <a:endParaRPr lang="en-US" sz="4000" b="1">
              <a:solidFill>
                <a:srgbClr val="1C498B"/>
              </a:solidFill>
              <a:latin typeface="DM Sans"/>
              <a:ea typeface="Calibri"/>
              <a:cs typeface="Calibri"/>
            </a:endParaRPr>
          </a:p>
        </p:txBody>
      </p:sp>
      <p:sp>
        <p:nvSpPr>
          <p:cNvPr id="8" name="TextBox 8">
            <a:extLst>
              <a:ext uri="{FF2B5EF4-FFF2-40B4-BE49-F238E27FC236}">
                <a16:creationId xmlns:a16="http://schemas.microsoft.com/office/drawing/2014/main" id="{F684B807-E26A-BA97-D63E-32CE533A5D4E}"/>
              </a:ext>
            </a:extLst>
          </p:cNvPr>
          <p:cNvSpPr txBox="1"/>
          <p:nvPr/>
        </p:nvSpPr>
        <p:spPr>
          <a:xfrm>
            <a:off x="6960617" y="2552192"/>
            <a:ext cx="5160013" cy="3323987"/>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spcBef>
                <a:spcPct val="0"/>
              </a:spcBef>
            </a:pPr>
            <a:r>
              <a:rPr lang="en-US" sz="3500" dirty="0">
                <a:latin typeface="DM Sans"/>
              </a:rPr>
              <a:t>The Parent Place is an organization located in Springfield, IL dedicated to promoting positive parenting and family stability.</a:t>
            </a:r>
            <a:endParaRPr lang="en-US" sz="3500" dirty="0">
              <a:solidFill>
                <a:srgbClr val="1C498B"/>
              </a:solidFill>
              <a:latin typeface="DM Sans"/>
              <a:ea typeface="Calibri"/>
              <a:cs typeface="Calibri"/>
            </a:endParaRPr>
          </a:p>
        </p:txBody>
      </p:sp>
      <p:sp>
        <p:nvSpPr>
          <p:cNvPr id="5" name="TextBox 8">
            <a:extLst>
              <a:ext uri="{FF2B5EF4-FFF2-40B4-BE49-F238E27FC236}">
                <a16:creationId xmlns:a16="http://schemas.microsoft.com/office/drawing/2014/main" id="{61E09130-3E5B-E086-280A-8FFF0D9A505B}"/>
              </a:ext>
            </a:extLst>
          </p:cNvPr>
          <p:cNvSpPr txBox="1"/>
          <p:nvPr/>
        </p:nvSpPr>
        <p:spPr>
          <a:xfrm>
            <a:off x="236557" y="5065459"/>
            <a:ext cx="6158233" cy="615553"/>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spcBef>
                <a:spcPct val="0"/>
              </a:spcBef>
            </a:pPr>
            <a:r>
              <a:rPr lang="en-US" sz="2000" dirty="0">
                <a:latin typeface="DM Sans"/>
              </a:rPr>
              <a:t>Thank you all for your generous donations! You are making a difference in the lives of Illinois families.</a:t>
            </a:r>
            <a:endParaRPr lang="en-US" sz="2000" dirty="0">
              <a:solidFill>
                <a:srgbClr val="1C498B"/>
              </a:solidFill>
              <a:latin typeface="DM Sans"/>
              <a:ea typeface="Calibri"/>
              <a:cs typeface="Calibri"/>
            </a:endParaRPr>
          </a:p>
        </p:txBody>
      </p:sp>
      <p:pic>
        <p:nvPicPr>
          <p:cNvPr id="2050" name="Picture 2">
            <a:extLst>
              <a:ext uri="{FF2B5EF4-FFF2-40B4-BE49-F238E27FC236}">
                <a16:creationId xmlns:a16="http://schemas.microsoft.com/office/drawing/2014/main" id="{4306FEF5-43B7-CF4C-0776-9404E038720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0152" y="247721"/>
            <a:ext cx="6154638" cy="4737025"/>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descr="A close-up of flowers in grass&#10;&#10;AI-generated content may be incorrect.">
            <a:extLst>
              <a:ext uri="{FF2B5EF4-FFF2-40B4-BE49-F238E27FC236}">
                <a16:creationId xmlns:a16="http://schemas.microsoft.com/office/drawing/2014/main" id="{CA84B46C-7891-A90B-A9D4-C576AC38DAE2}"/>
              </a:ext>
            </a:extLst>
          </p:cNvPr>
          <p:cNvSpPr/>
          <p:nvPr/>
        </p:nvSpPr>
        <p:spPr>
          <a:xfrm>
            <a:off x="-1330827" y="5568442"/>
            <a:ext cx="7848600" cy="1543558"/>
          </a:xfrm>
          <a:custGeom>
            <a:avLst/>
            <a:gdLst/>
            <a:ahLst/>
            <a:cxnLst/>
            <a:rect l="l" t="t" r="r" b="b"/>
            <a:pathLst>
              <a:path w="11772900" h="2315337">
                <a:moveTo>
                  <a:pt x="0" y="0"/>
                </a:moveTo>
                <a:lnTo>
                  <a:pt x="11772900" y="0"/>
                </a:lnTo>
                <a:lnTo>
                  <a:pt x="11772900" y="2315337"/>
                </a:lnTo>
                <a:lnTo>
                  <a:pt x="0" y="2315337"/>
                </a:lnTo>
                <a:lnTo>
                  <a:pt x="0" y="0"/>
                </a:lnTo>
                <a:close/>
              </a:path>
            </a:pathLst>
          </a:custGeom>
          <a:blipFill>
            <a:blip r:embed="rId3"/>
            <a:stretch>
              <a:fillRect/>
            </a:stretch>
          </a:blipFill>
        </p:spPr>
        <p:txBody>
          <a:bodyPr/>
          <a:lstStyle/>
          <a:p>
            <a:endParaRPr lang="en-US"/>
          </a:p>
        </p:txBody>
      </p:sp>
      <p:sp>
        <p:nvSpPr>
          <p:cNvPr id="12" name="Freeform 14" descr="A close-up of flowers in grass&#10;&#10;AI-generated content may be incorrect.">
            <a:extLst>
              <a:ext uri="{FF2B5EF4-FFF2-40B4-BE49-F238E27FC236}">
                <a16:creationId xmlns:a16="http://schemas.microsoft.com/office/drawing/2014/main" id="{E0FEE1FE-4102-FABD-FDA0-C3554EB3D613}"/>
              </a:ext>
            </a:extLst>
          </p:cNvPr>
          <p:cNvSpPr/>
          <p:nvPr/>
        </p:nvSpPr>
        <p:spPr>
          <a:xfrm>
            <a:off x="5923598" y="5568442"/>
            <a:ext cx="7848600" cy="1543558"/>
          </a:xfrm>
          <a:custGeom>
            <a:avLst/>
            <a:gdLst/>
            <a:ahLst/>
            <a:cxnLst/>
            <a:rect l="l" t="t" r="r" b="b"/>
            <a:pathLst>
              <a:path w="11772900" h="2315337">
                <a:moveTo>
                  <a:pt x="0" y="0"/>
                </a:moveTo>
                <a:lnTo>
                  <a:pt x="11772900" y="0"/>
                </a:lnTo>
                <a:lnTo>
                  <a:pt x="11772900" y="2315337"/>
                </a:lnTo>
                <a:lnTo>
                  <a:pt x="0" y="2315337"/>
                </a:lnTo>
                <a:lnTo>
                  <a:pt x="0" y="0"/>
                </a:lnTo>
                <a:close/>
              </a:path>
            </a:pathLst>
          </a:custGeom>
          <a:blipFill>
            <a:blip r:embed="rId3"/>
            <a:stretch>
              <a:fillRect/>
            </a:stretch>
          </a:blipFill>
        </p:spPr>
        <p:txBody>
          <a:bodyPr/>
          <a:lstStyle/>
          <a:p>
            <a:endParaRPr lang="en-US"/>
          </a:p>
        </p:txBody>
      </p:sp>
    </p:spTree>
    <p:extLst>
      <p:ext uri="{BB962C8B-B14F-4D97-AF65-F5344CB8AC3E}">
        <p14:creationId xmlns:p14="http://schemas.microsoft.com/office/powerpoint/2010/main" val="13677008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 name="Rectangle 179">
            <a:extLst>
              <a:ext uri="{FF2B5EF4-FFF2-40B4-BE49-F238E27FC236}">
                <a16:creationId xmlns:a16="http://schemas.microsoft.com/office/drawing/2014/main" id="{E3141A81-ADEF-A0A5-CB5D-C3F2830FC3A9}"/>
              </a:ext>
            </a:extLst>
          </p:cNvPr>
          <p:cNvSpPr/>
          <p:nvPr/>
        </p:nvSpPr>
        <p:spPr>
          <a:xfrm>
            <a:off x="7202905" y="0"/>
            <a:ext cx="4989095" cy="168421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endParaRPr lang="en-US" sz="800"/>
          </a:p>
        </p:txBody>
      </p:sp>
      <p:sp>
        <p:nvSpPr>
          <p:cNvPr id="181" name="Freeform 5"/>
          <p:cNvSpPr/>
          <p:nvPr/>
        </p:nvSpPr>
        <p:spPr>
          <a:xfrm flipH="1">
            <a:off x="9543268" y="0"/>
            <a:ext cx="2657173" cy="2802298"/>
          </a:xfrm>
          <a:custGeom>
            <a:avLst/>
            <a:gdLst/>
            <a:ahLst/>
            <a:cxnLst/>
            <a:rect l="l" t="t" r="r" b="b"/>
            <a:pathLst>
              <a:path w="5242286" h="5890953">
                <a:moveTo>
                  <a:pt x="5242286" y="0"/>
                </a:moveTo>
                <a:lnTo>
                  <a:pt x="0" y="0"/>
                </a:lnTo>
                <a:lnTo>
                  <a:pt x="0" y="5890953"/>
                </a:lnTo>
                <a:lnTo>
                  <a:pt x="5242286" y="5890953"/>
                </a:lnTo>
                <a:lnTo>
                  <a:pt x="5242286" y="0"/>
                </a:lnTo>
                <a:close/>
              </a:path>
            </a:pathLst>
          </a:custGeom>
          <a:blipFill>
            <a:blip r:embed="rId3"/>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178" name="Rectangle 177">
            <a:extLst>
              <a:ext uri="{FF2B5EF4-FFF2-40B4-BE49-F238E27FC236}">
                <a16:creationId xmlns:a16="http://schemas.microsoft.com/office/drawing/2014/main" id="{1D3147C9-2552-9B14-7F0B-E2AAD19B584F}"/>
              </a:ext>
            </a:extLst>
          </p:cNvPr>
          <p:cNvSpPr/>
          <p:nvPr/>
        </p:nvSpPr>
        <p:spPr>
          <a:xfrm>
            <a:off x="0" y="5799221"/>
            <a:ext cx="12192000" cy="105877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endParaRPr lang="en-US" sz="800"/>
          </a:p>
        </p:txBody>
      </p:sp>
      <p:sp>
        <p:nvSpPr>
          <p:cNvPr id="2" name="Title 1">
            <a:extLst>
              <a:ext uri="{FF2B5EF4-FFF2-40B4-BE49-F238E27FC236}">
                <a16:creationId xmlns:a16="http://schemas.microsoft.com/office/drawing/2014/main" id="{D1567BDA-8347-3A8C-CC1B-0CA02EB91268}"/>
              </a:ext>
            </a:extLst>
          </p:cNvPr>
          <p:cNvSpPr>
            <a:spLocks noGrp="1"/>
          </p:cNvSpPr>
          <p:nvPr>
            <p:ph type="title"/>
          </p:nvPr>
        </p:nvSpPr>
        <p:spPr>
          <a:xfrm>
            <a:off x="3022855" y="723078"/>
            <a:ext cx="5988051" cy="1325559"/>
          </a:xfrm>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r>
              <a:rPr lang="en-US" sz="5200">
                <a:solidFill>
                  <a:srgbClr val="FF99CC"/>
                </a:solidFill>
              </a:rPr>
              <a:t>May is Mental Health Awareness Month</a:t>
            </a:r>
          </a:p>
        </p:txBody>
      </p:sp>
      <p:sp>
        <p:nvSpPr>
          <p:cNvPr id="12" name="Freeform 7">
            <a:extLst>
              <a:ext uri="{FF2B5EF4-FFF2-40B4-BE49-F238E27FC236}">
                <a16:creationId xmlns:a16="http://schemas.microsoft.com/office/drawing/2014/main" id="{1AA8333E-6FB7-BEAC-9B81-24006E02827F}"/>
              </a:ext>
            </a:extLst>
          </p:cNvPr>
          <p:cNvSpPr/>
          <p:nvPr/>
        </p:nvSpPr>
        <p:spPr>
          <a:xfrm flipH="1">
            <a:off x="10100488" y="4664314"/>
            <a:ext cx="2280737" cy="2531427"/>
          </a:xfrm>
          <a:custGeom>
            <a:avLst/>
            <a:gdLst/>
            <a:ahLst/>
            <a:cxnLst/>
            <a:rect l="l" t="t" r="r" b="b"/>
            <a:pathLst>
              <a:path w="3914599" h="4284103">
                <a:moveTo>
                  <a:pt x="3914599" y="0"/>
                </a:moveTo>
                <a:lnTo>
                  <a:pt x="0" y="0"/>
                </a:lnTo>
                <a:lnTo>
                  <a:pt x="0" y="4284103"/>
                </a:lnTo>
                <a:lnTo>
                  <a:pt x="3914599" y="4284103"/>
                </a:lnTo>
                <a:lnTo>
                  <a:pt x="3914599" y="0"/>
                </a:lnTo>
                <a:close/>
              </a:path>
            </a:pathLst>
          </a:custGeom>
          <a:blipFill>
            <a:blip>
              <a:extLst>
                <a:ext uri="{96DAC541-7B7A-43D3-8B79-37D633B846F1}">
                  <asvg:svgBlip xmlns:asvg="http://schemas.microsoft.com/office/drawing/2016/SVG/main" r:embed="rId4"/>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13" name="Freeform 24">
            <a:extLst>
              <a:ext uri="{FF2B5EF4-FFF2-40B4-BE49-F238E27FC236}">
                <a16:creationId xmlns:a16="http://schemas.microsoft.com/office/drawing/2014/main" id="{9E677290-A511-0ABC-45CE-AE5D9E2E96CA}"/>
              </a:ext>
            </a:extLst>
          </p:cNvPr>
          <p:cNvSpPr/>
          <p:nvPr/>
        </p:nvSpPr>
        <p:spPr>
          <a:xfrm>
            <a:off x="-121606" y="5324030"/>
            <a:ext cx="2256035" cy="1543273"/>
          </a:xfrm>
          <a:custGeom>
            <a:avLst/>
            <a:gdLst/>
            <a:ahLst/>
            <a:cxnLst/>
            <a:rect l="l" t="t" r="r" b="b"/>
            <a:pathLst>
              <a:path w="2657709" h="1376697">
                <a:moveTo>
                  <a:pt x="0" y="0"/>
                </a:moveTo>
                <a:lnTo>
                  <a:pt x="2657709" y="0"/>
                </a:lnTo>
                <a:lnTo>
                  <a:pt x="2657709" y="1376698"/>
                </a:lnTo>
                <a:lnTo>
                  <a:pt x="0" y="1376698"/>
                </a:lnTo>
                <a:lnTo>
                  <a:pt x="0" y="0"/>
                </a:lnTo>
                <a:close/>
              </a:path>
            </a:pathLst>
          </a:custGeom>
          <a:blipFill>
            <a:blip>
              <a:extLst>
                <a:ext uri="{96DAC541-7B7A-43D3-8B79-37D633B846F1}">
                  <asvg:svgBlip xmlns:asvg="http://schemas.microsoft.com/office/drawing/2016/SVG/main" r:embed="rId5"/>
                </a:ext>
              </a:extLst>
            </a:blip>
            <a:stretch>
              <a:fillRect b="-138332"/>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24" name="Freeform 3">
            <a:extLst>
              <a:ext uri="{FF2B5EF4-FFF2-40B4-BE49-F238E27FC236}">
                <a16:creationId xmlns:a16="http://schemas.microsoft.com/office/drawing/2014/main" id="{0A5A30A0-E4B1-1DA1-13C4-70F36D83BE1A}"/>
              </a:ext>
            </a:extLst>
          </p:cNvPr>
          <p:cNvSpPr/>
          <p:nvPr/>
        </p:nvSpPr>
        <p:spPr>
          <a:xfrm flipH="1" flipV="1">
            <a:off x="0" y="-12306"/>
            <a:ext cx="2657171" cy="2988116"/>
          </a:xfrm>
          <a:custGeom>
            <a:avLst/>
            <a:gdLst/>
            <a:ahLst/>
            <a:cxnLst/>
            <a:rect l="l" t="t" r="r" b="b"/>
            <a:pathLst>
              <a:path w="3291635" h="3698467">
                <a:moveTo>
                  <a:pt x="3291635" y="3698467"/>
                </a:moveTo>
                <a:lnTo>
                  <a:pt x="0" y="3698467"/>
                </a:lnTo>
                <a:lnTo>
                  <a:pt x="0" y="0"/>
                </a:lnTo>
                <a:lnTo>
                  <a:pt x="3291635" y="0"/>
                </a:lnTo>
                <a:lnTo>
                  <a:pt x="3291635" y="3698467"/>
                </a:lnTo>
                <a:close/>
              </a:path>
            </a:pathLst>
          </a:custGeom>
          <a:blipFill>
            <a:blip>
              <a:extLst>
                <a:ext uri="{96DAC541-7B7A-43D3-8B79-37D633B846F1}">
                  <asvg:svgBlip xmlns:asvg="http://schemas.microsoft.com/office/drawing/2016/SVG/main" r:embed="rId6"/>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grpSp>
        <p:nvGrpSpPr>
          <p:cNvPr id="18" name="Group 17">
            <a:extLst>
              <a:ext uri="{FF2B5EF4-FFF2-40B4-BE49-F238E27FC236}">
                <a16:creationId xmlns:a16="http://schemas.microsoft.com/office/drawing/2014/main" id="{F7C6AF1D-B811-D265-7B13-58229DE00463}"/>
              </a:ext>
            </a:extLst>
          </p:cNvPr>
          <p:cNvGrpSpPr/>
          <p:nvPr/>
        </p:nvGrpSpPr>
        <p:grpSpPr>
          <a:xfrm>
            <a:off x="289090" y="437263"/>
            <a:ext cx="1680674" cy="2803632"/>
            <a:chOff x="936717" y="912414"/>
            <a:chExt cx="2414584" cy="4021292"/>
          </a:xfrm>
        </p:grpSpPr>
        <p:sp>
          <p:nvSpPr>
            <p:cNvPr id="19" name="Freeform 4"/>
            <p:cNvSpPr/>
            <p:nvPr/>
          </p:nvSpPr>
          <p:spPr>
            <a:xfrm rot="-5400000">
              <a:off x="1242287" y="2940425"/>
              <a:ext cx="1803444" cy="2183117"/>
            </a:xfrm>
            <a:custGeom>
              <a:avLst/>
              <a:gdLst/>
              <a:ahLst/>
              <a:cxnLst/>
              <a:rect l="l" t="t" r="r" b="b"/>
              <a:pathLst>
                <a:path w="1803444" h="2183117">
                  <a:moveTo>
                    <a:pt x="0" y="0"/>
                  </a:moveTo>
                  <a:lnTo>
                    <a:pt x="1803444" y="0"/>
                  </a:lnTo>
                  <a:lnTo>
                    <a:pt x="1803444" y="2183117"/>
                  </a:lnTo>
                  <a:lnTo>
                    <a:pt x="0" y="2183117"/>
                  </a:lnTo>
                  <a:lnTo>
                    <a:pt x="0" y="0"/>
                  </a:lnTo>
                  <a:close/>
                </a:path>
              </a:pathLst>
            </a:custGeom>
            <a:blipFill>
              <a:blip>
                <a:extLst>
                  <a:ext uri="{96DAC541-7B7A-43D3-8B79-37D633B846F1}">
                    <asvg:svgBlip xmlns:asvg="http://schemas.microsoft.com/office/drawing/2016/SVG/main" r:embed="rId7"/>
                  </a:ext>
                </a:extLst>
              </a:blip>
              <a:stretch>
                <a:fillRect l="-9738" t="-4269" r="-2667" b="-4653"/>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20" name="Freeform 5"/>
            <p:cNvSpPr/>
            <p:nvPr/>
          </p:nvSpPr>
          <p:spPr>
            <a:xfrm>
              <a:off x="936717" y="912414"/>
              <a:ext cx="2414584" cy="2980968"/>
            </a:xfrm>
            <a:custGeom>
              <a:avLst/>
              <a:gdLst/>
              <a:ahLst/>
              <a:cxnLst/>
              <a:rect l="l" t="t" r="r" b="b"/>
              <a:pathLst>
                <a:path w="2414584" h="2980968">
                  <a:moveTo>
                    <a:pt x="0" y="0"/>
                  </a:moveTo>
                  <a:lnTo>
                    <a:pt x="2414584" y="0"/>
                  </a:lnTo>
                  <a:lnTo>
                    <a:pt x="2414584" y="2980968"/>
                  </a:lnTo>
                  <a:lnTo>
                    <a:pt x="0" y="2980968"/>
                  </a:lnTo>
                  <a:lnTo>
                    <a:pt x="0" y="0"/>
                  </a:lnTo>
                  <a:close/>
                </a:path>
              </a:pathLst>
            </a:custGeom>
            <a:blipFill>
              <a:blip>
                <a:extLst>
                  <a:ext uri="{96DAC541-7B7A-43D3-8B79-37D633B846F1}">
                    <asvg:svgBlip xmlns:asvg="http://schemas.microsoft.com/office/drawing/2016/SVG/main" r:embed="rId5"/>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21" name="Freeform 16"/>
            <p:cNvSpPr/>
            <p:nvPr/>
          </p:nvSpPr>
          <p:spPr>
            <a:xfrm>
              <a:off x="1328615" y="3966559"/>
              <a:ext cx="220699" cy="259646"/>
            </a:xfrm>
            <a:custGeom>
              <a:avLst/>
              <a:gdLst/>
              <a:ahLst/>
              <a:cxnLst/>
              <a:rect l="l" t="t" r="r" b="b"/>
              <a:pathLst>
                <a:path w="220699" h="259646">
                  <a:moveTo>
                    <a:pt x="0" y="0"/>
                  </a:moveTo>
                  <a:lnTo>
                    <a:pt x="220699" y="0"/>
                  </a:lnTo>
                  <a:lnTo>
                    <a:pt x="220699" y="259647"/>
                  </a:lnTo>
                  <a:lnTo>
                    <a:pt x="0" y="259647"/>
                  </a:lnTo>
                  <a:lnTo>
                    <a:pt x="0" y="0"/>
                  </a:lnTo>
                  <a:close/>
                </a:path>
              </a:pathLst>
            </a:custGeom>
            <a:blipFill>
              <a:blip>
                <a:extLst>
                  <a:ext uri="{96DAC541-7B7A-43D3-8B79-37D633B846F1}">
                    <asvg:svgBlip xmlns:asvg="http://schemas.microsoft.com/office/drawing/2016/SVG/main" r:embed="rId8"/>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22" name="Freeform 17"/>
            <p:cNvSpPr/>
            <p:nvPr/>
          </p:nvSpPr>
          <p:spPr>
            <a:xfrm>
              <a:off x="2896349" y="3488450"/>
              <a:ext cx="152329" cy="179211"/>
            </a:xfrm>
            <a:custGeom>
              <a:avLst/>
              <a:gdLst/>
              <a:ahLst/>
              <a:cxnLst/>
              <a:rect l="l" t="t" r="r" b="b"/>
              <a:pathLst>
                <a:path w="152329" h="179211">
                  <a:moveTo>
                    <a:pt x="0" y="0"/>
                  </a:moveTo>
                  <a:lnTo>
                    <a:pt x="152329" y="0"/>
                  </a:lnTo>
                  <a:lnTo>
                    <a:pt x="152329" y="179211"/>
                  </a:lnTo>
                  <a:lnTo>
                    <a:pt x="0" y="179211"/>
                  </a:lnTo>
                  <a:lnTo>
                    <a:pt x="0" y="0"/>
                  </a:lnTo>
                  <a:close/>
                </a:path>
              </a:pathLst>
            </a:custGeom>
            <a:blipFill>
              <a:blip>
                <a:extLst>
                  <a:ext uri="{96DAC541-7B7A-43D3-8B79-37D633B846F1}">
                    <asvg:svgBlip xmlns:asvg="http://schemas.microsoft.com/office/drawing/2016/SVG/main" r:embed="rId8"/>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23" name="Freeform 20"/>
            <p:cNvSpPr/>
            <p:nvPr/>
          </p:nvSpPr>
          <p:spPr>
            <a:xfrm>
              <a:off x="2584385" y="4518137"/>
              <a:ext cx="128687" cy="151397"/>
            </a:xfrm>
            <a:custGeom>
              <a:avLst/>
              <a:gdLst/>
              <a:ahLst/>
              <a:cxnLst/>
              <a:rect l="l" t="t" r="r" b="b"/>
              <a:pathLst>
                <a:path w="128687" h="151397">
                  <a:moveTo>
                    <a:pt x="0" y="0"/>
                  </a:moveTo>
                  <a:lnTo>
                    <a:pt x="128687" y="0"/>
                  </a:lnTo>
                  <a:lnTo>
                    <a:pt x="128687" y="151396"/>
                  </a:lnTo>
                  <a:lnTo>
                    <a:pt x="0" y="151396"/>
                  </a:lnTo>
                  <a:lnTo>
                    <a:pt x="0" y="0"/>
                  </a:lnTo>
                  <a:close/>
                </a:path>
              </a:pathLst>
            </a:custGeom>
            <a:blipFill>
              <a:blip>
                <a:extLst>
                  <a:ext uri="{96DAC541-7B7A-43D3-8B79-37D633B846F1}">
                    <asvg:svgBlip xmlns:asvg="http://schemas.microsoft.com/office/drawing/2016/SVG/main" r:embed="rId8"/>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grpSp>
      <p:sp>
        <p:nvSpPr>
          <p:cNvPr id="174" name="Freeform 5"/>
          <p:cNvSpPr/>
          <p:nvPr/>
        </p:nvSpPr>
        <p:spPr>
          <a:xfrm>
            <a:off x="5981051" y="3589966"/>
            <a:ext cx="3198532" cy="2412796"/>
          </a:xfrm>
          <a:custGeom>
            <a:avLst/>
            <a:gdLst/>
            <a:ahLst/>
            <a:cxnLst/>
            <a:rect l="l" t="t" r="r" b="b"/>
            <a:pathLst>
              <a:path w="3108960" h="2145182">
                <a:moveTo>
                  <a:pt x="0" y="0"/>
                </a:moveTo>
                <a:lnTo>
                  <a:pt x="3108960" y="0"/>
                </a:lnTo>
                <a:lnTo>
                  <a:pt x="3108960" y="2145182"/>
                </a:lnTo>
                <a:lnTo>
                  <a:pt x="0" y="2145182"/>
                </a:lnTo>
                <a:lnTo>
                  <a:pt x="0" y="0"/>
                </a:lnTo>
                <a:close/>
              </a:path>
            </a:pathLst>
          </a:custGeom>
          <a:blipFill>
            <a:blip>
              <a:extLst>
                <a:ext uri="{96DAC541-7B7A-43D3-8B79-37D633B846F1}">
                  <asvg:svgBlip xmlns:asvg="http://schemas.microsoft.com/office/drawing/2016/SVG/main" r:embed="rId9"/>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176" name="Freeform 4"/>
          <p:cNvSpPr/>
          <p:nvPr/>
        </p:nvSpPr>
        <p:spPr>
          <a:xfrm>
            <a:off x="9543268" y="2442604"/>
            <a:ext cx="1114441" cy="1613099"/>
          </a:xfrm>
          <a:custGeom>
            <a:avLst/>
            <a:gdLst/>
            <a:ahLst/>
            <a:cxnLst/>
            <a:rect l="l" t="t" r="r" b="b"/>
            <a:pathLst>
              <a:path w="1461766" h="2118502">
                <a:moveTo>
                  <a:pt x="0" y="0"/>
                </a:moveTo>
                <a:lnTo>
                  <a:pt x="1461767" y="0"/>
                </a:lnTo>
                <a:lnTo>
                  <a:pt x="1461767" y="2118502"/>
                </a:lnTo>
                <a:lnTo>
                  <a:pt x="0" y="2118502"/>
                </a:lnTo>
                <a:lnTo>
                  <a:pt x="0" y="0"/>
                </a:lnTo>
                <a:close/>
              </a:path>
            </a:pathLst>
          </a:custGeom>
          <a:blipFill>
            <a:blip r:embed="rId10"/>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177" name="Freeform 8"/>
          <p:cNvSpPr/>
          <p:nvPr/>
        </p:nvSpPr>
        <p:spPr>
          <a:xfrm flipH="1">
            <a:off x="2702252" y="2836069"/>
            <a:ext cx="3057283" cy="3899519"/>
          </a:xfrm>
          <a:custGeom>
            <a:avLst/>
            <a:gdLst/>
            <a:ahLst/>
            <a:cxnLst/>
            <a:rect l="l" t="t" r="r" b="b"/>
            <a:pathLst>
              <a:path w="2567091" h="3029016">
                <a:moveTo>
                  <a:pt x="2567091" y="0"/>
                </a:moveTo>
                <a:lnTo>
                  <a:pt x="0" y="0"/>
                </a:lnTo>
                <a:lnTo>
                  <a:pt x="0" y="3029016"/>
                </a:lnTo>
                <a:lnTo>
                  <a:pt x="2567091" y="3029016"/>
                </a:lnTo>
                <a:lnTo>
                  <a:pt x="2567091" y="0"/>
                </a:lnTo>
                <a:close/>
              </a:path>
            </a:pathLst>
          </a:custGeom>
          <a:blipFill>
            <a:blip r:embed="rId11"/>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179" name="Freeform 6">
            <a:extLst>
              <a:ext uri="{FF2B5EF4-FFF2-40B4-BE49-F238E27FC236}">
                <a16:creationId xmlns:a16="http://schemas.microsoft.com/office/drawing/2014/main" id="{53A5CC8F-D58A-ADC6-EF62-6492B21E2787}"/>
              </a:ext>
            </a:extLst>
          </p:cNvPr>
          <p:cNvSpPr/>
          <p:nvPr/>
        </p:nvSpPr>
        <p:spPr>
          <a:xfrm>
            <a:off x="2648733" y="154933"/>
            <a:ext cx="6727859" cy="2465645"/>
          </a:xfrm>
          <a:custGeom>
            <a:avLst/>
            <a:gdLst/>
            <a:ahLst/>
            <a:cxnLst/>
            <a:rect l="l" t="t" r="r" b="b"/>
            <a:pathLst>
              <a:path w="2576112" h="1320257">
                <a:moveTo>
                  <a:pt x="0" y="0"/>
                </a:moveTo>
                <a:lnTo>
                  <a:pt x="2576112" y="0"/>
                </a:lnTo>
                <a:lnTo>
                  <a:pt x="2576112" y="1320258"/>
                </a:lnTo>
                <a:lnTo>
                  <a:pt x="0" y="1320258"/>
                </a:lnTo>
                <a:lnTo>
                  <a:pt x="0" y="0"/>
                </a:lnTo>
                <a:close/>
              </a:path>
            </a:pathLst>
          </a:custGeom>
          <a:blipFill>
            <a:blip>
              <a:extLst>
                <a:ext uri="{96DAC541-7B7A-43D3-8B79-37D633B846F1}">
                  <asvg:svgBlip xmlns:asvg="http://schemas.microsoft.com/office/drawing/2016/SVG/main" r:embed="rId12"/>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Tree>
    <p:extLst>
      <p:ext uri="{BB962C8B-B14F-4D97-AF65-F5344CB8AC3E}">
        <p14:creationId xmlns:p14="http://schemas.microsoft.com/office/powerpoint/2010/main" val="3576361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127D68-2B30-FE8D-71E3-BAF9A5334D44}"/>
            </a:ext>
          </a:extLst>
        </p:cNvPr>
        <p:cNvGrpSpPr/>
        <p:nvPr/>
      </p:nvGrpSpPr>
      <p:grpSpPr>
        <a:xfrm>
          <a:off x="0" y="0"/>
          <a:ext cx="0" cy="0"/>
          <a:chOff x="0" y="0"/>
          <a:chExt cx="0" cy="0"/>
        </a:xfrm>
      </p:grpSpPr>
      <p:sp>
        <p:nvSpPr>
          <p:cNvPr id="7" name="TextBox 7">
            <a:extLst>
              <a:ext uri="{FF2B5EF4-FFF2-40B4-BE49-F238E27FC236}">
                <a16:creationId xmlns:a16="http://schemas.microsoft.com/office/drawing/2014/main" id="{FDE43EE7-3106-0200-42D0-F053283F3E2E}"/>
              </a:ext>
            </a:extLst>
          </p:cNvPr>
          <p:cNvSpPr txBox="1"/>
          <p:nvPr/>
        </p:nvSpPr>
        <p:spPr>
          <a:xfrm>
            <a:off x="405673" y="218864"/>
            <a:ext cx="8541926" cy="665952"/>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l">
              <a:lnSpc>
                <a:spcPts val="5413"/>
              </a:lnSpc>
            </a:pPr>
            <a:r>
              <a:rPr lang="en-US" sz="4000" b="1" dirty="0">
                <a:solidFill>
                  <a:srgbClr val="1C498B"/>
                </a:solidFill>
                <a:latin typeface="DM Sans"/>
                <a:ea typeface="Calibri"/>
                <a:cs typeface="Calibri"/>
                <a:sym typeface="The Seasons Bold"/>
              </a:rPr>
              <a:t>Welcome Back to Springfield!</a:t>
            </a:r>
            <a:endParaRPr lang="en-US" sz="4000" b="1" dirty="0">
              <a:solidFill>
                <a:srgbClr val="1C498B"/>
              </a:solidFill>
              <a:latin typeface="DM Sans"/>
              <a:ea typeface="Calibri"/>
              <a:cs typeface="Calibri"/>
            </a:endParaRPr>
          </a:p>
        </p:txBody>
      </p:sp>
      <p:pic>
        <p:nvPicPr>
          <p:cNvPr id="9" name="Picture 8" descr="A blue and red curved line&#10;&#10;AI-generated content may be incorrect.">
            <a:extLst>
              <a:ext uri="{FF2B5EF4-FFF2-40B4-BE49-F238E27FC236}">
                <a16:creationId xmlns:a16="http://schemas.microsoft.com/office/drawing/2014/main" id="{4E75BBBA-E74A-DB88-316F-72F72779EE9F}"/>
              </a:ext>
            </a:extLst>
          </p:cNvPr>
          <p:cNvPicPr>
            <a:picLocks noChangeAspect="1"/>
          </p:cNvPicPr>
          <p:nvPr/>
        </p:nvPicPr>
        <p:blipFill>
          <a:blip r:embed="rId2"/>
          <a:stretch>
            <a:fillRect/>
          </a:stretch>
        </p:blipFill>
        <p:spPr>
          <a:xfrm>
            <a:off x="8671866" y="-1176"/>
            <a:ext cx="3531305" cy="952500"/>
          </a:xfrm>
          <a:prstGeom prst="rect">
            <a:avLst/>
          </a:prstGeom>
        </p:spPr>
      </p:pic>
      <p:pic>
        <p:nvPicPr>
          <p:cNvPr id="12" name="Picture 11" descr="A logo with a map and text&#10;&#10;AI-generated content may be incorrect.">
            <a:extLst>
              <a:ext uri="{FF2B5EF4-FFF2-40B4-BE49-F238E27FC236}">
                <a16:creationId xmlns:a16="http://schemas.microsoft.com/office/drawing/2014/main" id="{06BFFC1A-EBF8-2D88-3AAF-98CE38A29872}"/>
              </a:ext>
            </a:extLst>
          </p:cNvPr>
          <p:cNvPicPr>
            <a:picLocks noChangeAspect="1"/>
          </p:cNvPicPr>
          <p:nvPr/>
        </p:nvPicPr>
        <p:blipFill>
          <a:blip r:embed="rId3"/>
          <a:srcRect t="154" r="-244" b="3921"/>
          <a:stretch>
            <a:fillRect/>
          </a:stretch>
        </p:blipFill>
        <p:spPr>
          <a:xfrm>
            <a:off x="10339918" y="3550"/>
            <a:ext cx="1446409" cy="719901"/>
          </a:xfrm>
          <a:prstGeom prst="rect">
            <a:avLst/>
          </a:prstGeom>
        </p:spPr>
      </p:pic>
      <p:pic>
        <p:nvPicPr>
          <p:cNvPr id="4098" name="Picture 2">
            <a:extLst>
              <a:ext uri="{FF2B5EF4-FFF2-40B4-BE49-F238E27FC236}">
                <a16:creationId xmlns:a16="http://schemas.microsoft.com/office/drawing/2014/main" id="{90E54EB0-D483-BAE5-CF6B-BC92E5DB9F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7774" y="1333893"/>
            <a:ext cx="4764017" cy="3170024"/>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41E0C790-0A7E-DFB2-BDED-693EEEB4B97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98519" y="3143529"/>
            <a:ext cx="2511928" cy="290406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a:extLst>
              <a:ext uri="{FF2B5EF4-FFF2-40B4-BE49-F238E27FC236}">
                <a16:creationId xmlns:a16="http://schemas.microsoft.com/office/drawing/2014/main" id="{BA538C1C-80AD-1EF1-04B7-DC7B60CA51B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36543" b="19225"/>
          <a:stretch>
            <a:fillRect/>
          </a:stretch>
        </p:blipFill>
        <p:spPr bwMode="auto">
          <a:xfrm>
            <a:off x="277774" y="4593960"/>
            <a:ext cx="6015012" cy="1994965"/>
          </a:xfrm>
          <a:prstGeom prst="rect">
            <a:avLst/>
          </a:prstGeom>
          <a:noFill/>
          <a:extLst>
            <a:ext uri="{909E8E84-426E-40DD-AFC4-6F175D3DCCD1}">
              <a14:hiddenFill xmlns:a14="http://schemas.microsoft.com/office/drawing/2010/main">
                <a:solidFill>
                  <a:srgbClr val="FFFFFF"/>
                </a:solidFill>
              </a14:hiddenFill>
            </a:ext>
          </a:extLst>
        </p:spPr>
      </p:pic>
      <p:pic>
        <p:nvPicPr>
          <p:cNvPr id="4110" name="Picture 14">
            <a:extLst>
              <a:ext uri="{FF2B5EF4-FFF2-40B4-BE49-F238E27FC236}">
                <a16:creationId xmlns:a16="http://schemas.microsoft.com/office/drawing/2014/main" id="{B7EB1D71-6717-5CA1-8E90-14D8A1D1C2A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5713"/>
          <a:stretch>
            <a:fillRect/>
          </a:stretch>
        </p:blipFill>
        <p:spPr bwMode="auto">
          <a:xfrm>
            <a:off x="5099050" y="1159902"/>
            <a:ext cx="2972858" cy="1878861"/>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Rounded Corners 4">
            <a:extLst>
              <a:ext uri="{FF2B5EF4-FFF2-40B4-BE49-F238E27FC236}">
                <a16:creationId xmlns:a16="http://schemas.microsoft.com/office/drawing/2014/main" id="{038FBEA9-D370-8D47-39C2-3071A2916904}"/>
              </a:ext>
            </a:extLst>
          </p:cNvPr>
          <p:cNvSpPr/>
          <p:nvPr/>
        </p:nvSpPr>
        <p:spPr>
          <a:xfrm>
            <a:off x="8346507" y="1333893"/>
            <a:ext cx="3506826" cy="1110813"/>
          </a:xfrm>
          <a:prstGeom prst="roundRect">
            <a:avLst/>
          </a:prstGeom>
          <a:solidFill>
            <a:srgbClr val="F14A5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r>
              <a:rPr lang="en-US" sz="2133">
                <a:solidFill>
                  <a:schemeClr val="tx1"/>
                </a:solidFill>
                <a:latin typeface="DM Sans"/>
              </a:rPr>
              <a:t>Celebrating </a:t>
            </a:r>
            <a:r>
              <a:rPr lang="en-US" sz="2133" b="1">
                <a:solidFill>
                  <a:schemeClr val="tx1"/>
                </a:solidFill>
                <a:latin typeface="DM Sans"/>
              </a:rPr>
              <a:t>12 years</a:t>
            </a:r>
            <a:r>
              <a:rPr lang="en-US" sz="2133">
                <a:solidFill>
                  <a:schemeClr val="tx1"/>
                </a:solidFill>
                <a:latin typeface="DM Sans"/>
              </a:rPr>
              <a:t> of ILPQC Face-to-Face meetings!</a:t>
            </a:r>
          </a:p>
        </p:txBody>
      </p:sp>
      <p:sp>
        <p:nvSpPr>
          <p:cNvPr id="10" name="Rectangle: Rounded Corners 9">
            <a:extLst>
              <a:ext uri="{FF2B5EF4-FFF2-40B4-BE49-F238E27FC236}">
                <a16:creationId xmlns:a16="http://schemas.microsoft.com/office/drawing/2014/main" id="{B0AD6EB3-A5F9-579C-A816-656F813B1E5C}"/>
              </a:ext>
            </a:extLst>
          </p:cNvPr>
          <p:cNvSpPr/>
          <p:nvPr/>
        </p:nvSpPr>
        <p:spPr>
          <a:xfrm>
            <a:off x="8360884" y="2770656"/>
            <a:ext cx="3506826" cy="1916588"/>
          </a:xfrm>
          <a:prstGeom prst="roundRect">
            <a:avLst/>
          </a:prstGeom>
          <a:solidFill>
            <a:srgbClr val="F9C1BF"/>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r>
              <a:rPr lang="en-US" sz="2100" b="1" u="sng">
                <a:latin typeface="DM Sans"/>
              </a:rPr>
              <a:t>THANK YOU! </a:t>
            </a:r>
          </a:p>
          <a:p>
            <a:pPr algn="ctr"/>
            <a:r>
              <a:rPr lang="en-US" sz="2133">
                <a:solidFill>
                  <a:schemeClr val="tx1"/>
                </a:solidFill>
                <a:latin typeface="DM Sans"/>
              </a:rPr>
              <a:t>to our hospital teams, clinicians, patients, community partners, and public health leaders </a:t>
            </a:r>
          </a:p>
        </p:txBody>
      </p:sp>
      <p:sp>
        <p:nvSpPr>
          <p:cNvPr id="11" name="Rectangle: Rounded Corners 10">
            <a:extLst>
              <a:ext uri="{FF2B5EF4-FFF2-40B4-BE49-F238E27FC236}">
                <a16:creationId xmlns:a16="http://schemas.microsoft.com/office/drawing/2014/main" id="{FB6BA115-E74B-91BA-7D1E-859B0340DEF1}"/>
              </a:ext>
            </a:extLst>
          </p:cNvPr>
          <p:cNvSpPr/>
          <p:nvPr/>
        </p:nvSpPr>
        <p:spPr>
          <a:xfrm>
            <a:off x="8370555" y="4975473"/>
            <a:ext cx="3506826" cy="873587"/>
          </a:xfrm>
          <a:prstGeom prst="roundRect">
            <a:avLst/>
          </a:prstGeom>
          <a:solidFill>
            <a:srgbClr val="E6CF3C"/>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r>
              <a:rPr lang="en-US" sz="2133">
                <a:solidFill>
                  <a:schemeClr val="tx1"/>
                </a:solidFill>
                <a:latin typeface="DM Sans"/>
              </a:rPr>
              <a:t>You make this work possible!</a:t>
            </a:r>
          </a:p>
        </p:txBody>
      </p:sp>
      <p:sp>
        <p:nvSpPr>
          <p:cNvPr id="3" name="Freeform 14" descr="A close-up of flowers in grass&#10;&#10;AI-generated content may be incorrect.">
            <a:extLst>
              <a:ext uri="{FF2B5EF4-FFF2-40B4-BE49-F238E27FC236}">
                <a16:creationId xmlns:a16="http://schemas.microsoft.com/office/drawing/2014/main" id="{B85F1389-86AC-0EB6-9114-2B5DE3AC5EFB}"/>
              </a:ext>
            </a:extLst>
          </p:cNvPr>
          <p:cNvSpPr/>
          <p:nvPr/>
        </p:nvSpPr>
        <p:spPr>
          <a:xfrm>
            <a:off x="-646981" y="5797042"/>
            <a:ext cx="7848600" cy="1543558"/>
          </a:xfrm>
          <a:custGeom>
            <a:avLst/>
            <a:gdLst/>
            <a:ahLst/>
            <a:cxnLst/>
            <a:rect l="l" t="t" r="r" b="b"/>
            <a:pathLst>
              <a:path w="11772900" h="2315337">
                <a:moveTo>
                  <a:pt x="0" y="0"/>
                </a:moveTo>
                <a:lnTo>
                  <a:pt x="11772900" y="0"/>
                </a:lnTo>
                <a:lnTo>
                  <a:pt x="11772900" y="2315337"/>
                </a:lnTo>
                <a:lnTo>
                  <a:pt x="0" y="2315337"/>
                </a:lnTo>
                <a:lnTo>
                  <a:pt x="0" y="0"/>
                </a:lnTo>
                <a:close/>
              </a:path>
            </a:pathLst>
          </a:custGeom>
          <a:blipFill>
            <a:blip r:embed="rId8"/>
            <a:stretch>
              <a:fillRect/>
            </a:stretch>
          </a:blipFill>
        </p:spPr>
        <p:txBody>
          <a:bodyPr/>
          <a:lstStyle/>
          <a:p>
            <a:endParaRPr lang="en-US"/>
          </a:p>
        </p:txBody>
      </p:sp>
      <p:sp>
        <p:nvSpPr>
          <p:cNvPr id="6" name="Freeform 14" descr="A close-up of flowers in grass&#10;&#10;AI-generated content may be incorrect.">
            <a:extLst>
              <a:ext uri="{FF2B5EF4-FFF2-40B4-BE49-F238E27FC236}">
                <a16:creationId xmlns:a16="http://schemas.microsoft.com/office/drawing/2014/main" id="{3A1806D7-5497-CAC0-1D28-591CD4B699A7}"/>
              </a:ext>
            </a:extLst>
          </p:cNvPr>
          <p:cNvSpPr/>
          <p:nvPr/>
        </p:nvSpPr>
        <p:spPr>
          <a:xfrm>
            <a:off x="6558598" y="5797042"/>
            <a:ext cx="7848600" cy="1543558"/>
          </a:xfrm>
          <a:custGeom>
            <a:avLst/>
            <a:gdLst/>
            <a:ahLst/>
            <a:cxnLst/>
            <a:rect l="l" t="t" r="r" b="b"/>
            <a:pathLst>
              <a:path w="11772900" h="2315337">
                <a:moveTo>
                  <a:pt x="0" y="0"/>
                </a:moveTo>
                <a:lnTo>
                  <a:pt x="11772900" y="0"/>
                </a:lnTo>
                <a:lnTo>
                  <a:pt x="11772900" y="2315337"/>
                </a:lnTo>
                <a:lnTo>
                  <a:pt x="0" y="2315337"/>
                </a:lnTo>
                <a:lnTo>
                  <a:pt x="0" y="0"/>
                </a:lnTo>
                <a:close/>
              </a:path>
            </a:pathLst>
          </a:custGeom>
          <a:blipFill>
            <a:blip r:embed="rId8"/>
            <a:stretch>
              <a:fillRect/>
            </a:stretch>
          </a:blipFill>
        </p:spPr>
        <p:txBody>
          <a:bodyPr/>
          <a:lstStyle/>
          <a:p>
            <a:endParaRPr lang="en-US"/>
          </a:p>
        </p:txBody>
      </p:sp>
    </p:spTree>
    <p:extLst>
      <p:ext uri="{BB962C8B-B14F-4D97-AF65-F5344CB8AC3E}">
        <p14:creationId xmlns:p14="http://schemas.microsoft.com/office/powerpoint/2010/main" val="21147839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D2A265-B6D6-53BA-57EE-9CE4451B751A}"/>
            </a:ext>
          </a:extLst>
        </p:cNvPr>
        <p:cNvGrpSpPr/>
        <p:nvPr/>
      </p:nvGrpSpPr>
      <p:grpSpPr>
        <a:xfrm>
          <a:off x="0" y="0"/>
          <a:ext cx="0" cy="0"/>
          <a:chOff x="0" y="0"/>
          <a:chExt cx="0" cy="0"/>
        </a:xfrm>
      </p:grpSpPr>
      <p:sp>
        <p:nvSpPr>
          <p:cNvPr id="5" name="Freeform 5">
            <a:extLst>
              <a:ext uri="{FF2B5EF4-FFF2-40B4-BE49-F238E27FC236}">
                <a16:creationId xmlns:a16="http://schemas.microsoft.com/office/drawing/2014/main" id="{A3060E96-09E0-3F94-E03A-C592C487D708}"/>
              </a:ext>
            </a:extLst>
          </p:cNvPr>
          <p:cNvSpPr/>
          <p:nvPr/>
        </p:nvSpPr>
        <p:spPr>
          <a:xfrm rot="3945137">
            <a:off x="-2324102" y="2018146"/>
            <a:ext cx="7501581" cy="3573481"/>
          </a:xfrm>
          <a:custGeom>
            <a:avLst/>
            <a:gdLst/>
            <a:ahLst/>
            <a:cxnLst/>
            <a:rect l="l" t="t" r="r" b="b"/>
            <a:pathLst>
              <a:path w="11252372" h="5360221">
                <a:moveTo>
                  <a:pt x="0" y="0"/>
                </a:moveTo>
                <a:lnTo>
                  <a:pt x="11252372" y="0"/>
                </a:lnTo>
                <a:lnTo>
                  <a:pt x="11252372" y="5360221"/>
                </a:lnTo>
                <a:lnTo>
                  <a:pt x="0" y="5360221"/>
                </a:lnTo>
                <a:lnTo>
                  <a:pt x="0" y="0"/>
                </a:lnTo>
                <a:close/>
              </a:path>
            </a:pathLst>
          </a:custGeom>
          <a:blipFill>
            <a:blip>
              <a:extLst>
                <a:ext uri="{96DAC541-7B7A-43D3-8B79-37D633B846F1}">
                  <asvg:svgBlip xmlns:asvg="http://schemas.microsoft.com/office/drawing/2016/SVG/main" r:embed="rId3"/>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11" name="Freeform 6">
            <a:extLst>
              <a:ext uri="{FF2B5EF4-FFF2-40B4-BE49-F238E27FC236}">
                <a16:creationId xmlns:a16="http://schemas.microsoft.com/office/drawing/2014/main" id="{CA623C68-0A94-2466-48D3-AC59EF681F7B}"/>
              </a:ext>
            </a:extLst>
          </p:cNvPr>
          <p:cNvSpPr/>
          <p:nvPr/>
        </p:nvSpPr>
        <p:spPr>
          <a:xfrm rot="3827022">
            <a:off x="7115331" y="781650"/>
            <a:ext cx="7531599" cy="3587780"/>
          </a:xfrm>
          <a:custGeom>
            <a:avLst/>
            <a:gdLst/>
            <a:ahLst/>
            <a:cxnLst/>
            <a:rect l="l" t="t" r="r" b="b"/>
            <a:pathLst>
              <a:path w="11297399" h="5381670">
                <a:moveTo>
                  <a:pt x="0" y="0"/>
                </a:moveTo>
                <a:lnTo>
                  <a:pt x="11297400" y="0"/>
                </a:lnTo>
                <a:lnTo>
                  <a:pt x="11297400" y="5381670"/>
                </a:lnTo>
                <a:lnTo>
                  <a:pt x="0" y="5381670"/>
                </a:lnTo>
                <a:lnTo>
                  <a:pt x="0" y="0"/>
                </a:lnTo>
                <a:close/>
              </a:path>
            </a:pathLst>
          </a:custGeom>
          <a:blipFill>
            <a:blip>
              <a:extLst>
                <a:ext uri="{96DAC541-7B7A-43D3-8B79-37D633B846F1}">
                  <asvg:svgBlip xmlns:asvg="http://schemas.microsoft.com/office/drawing/2016/SVG/main" r:embed="rId3"/>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8" name="Freeform: Shape 7">
            <a:extLst>
              <a:ext uri="{FF2B5EF4-FFF2-40B4-BE49-F238E27FC236}">
                <a16:creationId xmlns:a16="http://schemas.microsoft.com/office/drawing/2014/main" id="{D20CF66F-B642-138B-D9D1-AC07459B7382}"/>
              </a:ext>
            </a:extLst>
          </p:cNvPr>
          <p:cNvSpPr/>
          <p:nvPr/>
        </p:nvSpPr>
        <p:spPr>
          <a:xfrm>
            <a:off x="346008" y="1258562"/>
            <a:ext cx="4597782" cy="4458601"/>
          </a:xfrm>
          <a:custGeom>
            <a:avLst/>
            <a:gdLst>
              <a:gd name="connsiteX0" fmla="*/ 4942973 w 4942972"/>
              <a:gd name="connsiteY0" fmla="*/ 2471487 h 4942973"/>
              <a:gd name="connsiteX1" fmla="*/ 2471487 w 4942972"/>
              <a:gd name="connsiteY1" fmla="*/ 4942974 h 4942973"/>
              <a:gd name="connsiteX2" fmla="*/ 0 w 4942972"/>
              <a:gd name="connsiteY2" fmla="*/ 2471487 h 4942973"/>
              <a:gd name="connsiteX3" fmla="*/ 2471487 w 4942972"/>
              <a:gd name="connsiteY3" fmla="*/ 0 h 4942973"/>
              <a:gd name="connsiteX4" fmla="*/ 4942973 w 4942972"/>
              <a:gd name="connsiteY4" fmla="*/ 2471487 h 4942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2972" h="4942973">
                <a:moveTo>
                  <a:pt x="4942973" y="2471487"/>
                </a:moveTo>
                <a:cubicBezTo>
                  <a:pt x="4942973" y="3836451"/>
                  <a:pt x="3836451" y="4942974"/>
                  <a:pt x="2471487" y="4942974"/>
                </a:cubicBezTo>
                <a:cubicBezTo>
                  <a:pt x="1106522" y="4942974"/>
                  <a:pt x="0" y="3836451"/>
                  <a:pt x="0" y="2471487"/>
                </a:cubicBezTo>
                <a:cubicBezTo>
                  <a:pt x="0" y="1106523"/>
                  <a:pt x="1106522" y="0"/>
                  <a:pt x="2471487" y="0"/>
                </a:cubicBezTo>
                <a:cubicBezTo>
                  <a:pt x="3836451" y="0"/>
                  <a:pt x="4942973" y="1106523"/>
                  <a:pt x="4942973" y="2471487"/>
                </a:cubicBezTo>
                <a:close/>
              </a:path>
            </a:pathLst>
          </a:custGeom>
          <a:solidFill>
            <a:schemeClr val="bg1">
              <a:lumMod val="95000"/>
            </a:schemeClr>
          </a:solidFill>
          <a:ln w="19117" cap="flat">
            <a:noFill/>
            <a:prstDash val="solid"/>
            <a:miter/>
          </a:ln>
        </p:spPr>
        <p:txBody>
          <a:bodyPr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457223"/>
            <a:endParaRPr lang="en-IN" sz="900">
              <a:solidFill>
                <a:srgbClr val="000000"/>
              </a:solidFill>
              <a:latin typeface="Segoe UI" panose="020B0502040204020203" pitchFamily="34" charset="0"/>
              <a:cs typeface="Segoe UI" panose="020B0502040204020203" pitchFamily="34" charset="0"/>
            </a:endParaRPr>
          </a:p>
        </p:txBody>
      </p:sp>
      <p:sp>
        <p:nvSpPr>
          <p:cNvPr id="50" name="Oval 49">
            <a:extLst>
              <a:ext uri="{FF2B5EF4-FFF2-40B4-BE49-F238E27FC236}">
                <a16:creationId xmlns:a16="http://schemas.microsoft.com/office/drawing/2014/main" id="{C8E9E20D-2823-BB55-FB78-EF89058D0D5C}"/>
              </a:ext>
            </a:extLst>
          </p:cNvPr>
          <p:cNvSpPr/>
          <p:nvPr/>
        </p:nvSpPr>
        <p:spPr>
          <a:xfrm>
            <a:off x="3387195" y="2740917"/>
            <a:ext cx="1141262" cy="1113093"/>
          </a:xfrm>
          <a:prstGeom prst="ellipse">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endParaRPr lang="en-US" sz="800"/>
          </a:p>
        </p:txBody>
      </p:sp>
      <p:sp>
        <p:nvSpPr>
          <p:cNvPr id="49" name="Oval 48">
            <a:extLst>
              <a:ext uri="{FF2B5EF4-FFF2-40B4-BE49-F238E27FC236}">
                <a16:creationId xmlns:a16="http://schemas.microsoft.com/office/drawing/2014/main" id="{78F9D15E-BF17-D0EE-4D6C-312ED7FDA4CB}"/>
              </a:ext>
            </a:extLst>
          </p:cNvPr>
          <p:cNvSpPr/>
          <p:nvPr/>
        </p:nvSpPr>
        <p:spPr>
          <a:xfrm>
            <a:off x="2006033" y="4288728"/>
            <a:ext cx="1152055" cy="1113093"/>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endParaRPr lang="en-US" sz="800"/>
          </a:p>
        </p:txBody>
      </p:sp>
      <p:sp>
        <p:nvSpPr>
          <p:cNvPr id="47" name="Oval 46">
            <a:extLst>
              <a:ext uri="{FF2B5EF4-FFF2-40B4-BE49-F238E27FC236}">
                <a16:creationId xmlns:a16="http://schemas.microsoft.com/office/drawing/2014/main" id="{82ECCE69-A977-F44B-3614-33D54FD0338A}"/>
              </a:ext>
            </a:extLst>
          </p:cNvPr>
          <p:cNvSpPr/>
          <p:nvPr/>
        </p:nvSpPr>
        <p:spPr>
          <a:xfrm>
            <a:off x="607218" y="2872454"/>
            <a:ext cx="1139925" cy="1113093"/>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endParaRPr lang="en-US" sz="800"/>
          </a:p>
        </p:txBody>
      </p:sp>
      <p:sp>
        <p:nvSpPr>
          <p:cNvPr id="46" name="Oval 45">
            <a:extLst>
              <a:ext uri="{FF2B5EF4-FFF2-40B4-BE49-F238E27FC236}">
                <a16:creationId xmlns:a16="http://schemas.microsoft.com/office/drawing/2014/main" id="{35F1EF17-81AB-9E2E-82FF-FCF90EFA02E8}"/>
              </a:ext>
            </a:extLst>
          </p:cNvPr>
          <p:cNvSpPr/>
          <p:nvPr/>
        </p:nvSpPr>
        <p:spPr>
          <a:xfrm>
            <a:off x="2006033" y="1474822"/>
            <a:ext cx="1162547" cy="1113093"/>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endParaRPr lang="en-US" sz="800"/>
          </a:p>
        </p:txBody>
      </p:sp>
      <p:pic>
        <p:nvPicPr>
          <p:cNvPr id="9" name="Picture 8" descr="A blue and red curved line&#10;&#10;AI-generated content may be incorrect.">
            <a:extLst>
              <a:ext uri="{FF2B5EF4-FFF2-40B4-BE49-F238E27FC236}">
                <a16:creationId xmlns:a16="http://schemas.microsoft.com/office/drawing/2014/main" id="{55FFFBD9-1375-CBAF-8CA5-0A5B4F90C094}"/>
              </a:ext>
            </a:extLst>
          </p:cNvPr>
          <p:cNvPicPr>
            <a:picLocks noChangeAspect="1"/>
          </p:cNvPicPr>
          <p:nvPr/>
        </p:nvPicPr>
        <p:blipFill>
          <a:blip r:embed="rId4"/>
          <a:stretch>
            <a:fillRect/>
          </a:stretch>
        </p:blipFill>
        <p:spPr>
          <a:xfrm>
            <a:off x="8671866" y="-1176"/>
            <a:ext cx="3531305" cy="952500"/>
          </a:xfrm>
          <a:prstGeom prst="rect">
            <a:avLst/>
          </a:prstGeom>
        </p:spPr>
      </p:pic>
      <p:pic>
        <p:nvPicPr>
          <p:cNvPr id="12" name="Picture 11" descr="A logo with a map and text&#10;&#10;AI-generated content may be incorrect.">
            <a:extLst>
              <a:ext uri="{FF2B5EF4-FFF2-40B4-BE49-F238E27FC236}">
                <a16:creationId xmlns:a16="http://schemas.microsoft.com/office/drawing/2014/main" id="{8CFEF7EE-C81E-B7D6-B18C-49E57EBB37E6}"/>
              </a:ext>
            </a:extLst>
          </p:cNvPr>
          <p:cNvPicPr>
            <a:picLocks noChangeAspect="1"/>
          </p:cNvPicPr>
          <p:nvPr/>
        </p:nvPicPr>
        <p:blipFill>
          <a:blip r:embed="rId5"/>
          <a:srcRect t="154" r="-244" b="3921"/>
          <a:stretch>
            <a:fillRect/>
          </a:stretch>
        </p:blipFill>
        <p:spPr>
          <a:xfrm>
            <a:off x="10339918" y="3550"/>
            <a:ext cx="1446409" cy="719901"/>
          </a:xfrm>
          <a:prstGeom prst="rect">
            <a:avLst/>
          </a:prstGeom>
        </p:spPr>
      </p:pic>
      <p:sp>
        <p:nvSpPr>
          <p:cNvPr id="10" name="Freeform: Shape 9">
            <a:extLst>
              <a:ext uri="{FF2B5EF4-FFF2-40B4-BE49-F238E27FC236}">
                <a16:creationId xmlns:a16="http://schemas.microsoft.com/office/drawing/2014/main" id="{D75B4F1C-FE8C-3464-045C-33A0833BFF11}"/>
              </a:ext>
            </a:extLst>
          </p:cNvPr>
          <p:cNvSpPr/>
          <p:nvPr/>
        </p:nvSpPr>
        <p:spPr>
          <a:xfrm rot="16558799">
            <a:off x="2015207" y="2828994"/>
            <a:ext cx="1185111" cy="1227318"/>
          </a:xfrm>
          <a:custGeom>
            <a:avLst/>
            <a:gdLst>
              <a:gd name="connsiteX0" fmla="*/ 1340863 w 1340953"/>
              <a:gd name="connsiteY0" fmla="*/ 670326 h 1340953"/>
              <a:gd name="connsiteX1" fmla="*/ 670387 w 1340953"/>
              <a:gd name="connsiteY1" fmla="*/ 1340802 h 1340953"/>
              <a:gd name="connsiteX2" fmla="*/ -90 w 1340953"/>
              <a:gd name="connsiteY2" fmla="*/ 670326 h 1340953"/>
              <a:gd name="connsiteX3" fmla="*/ 670387 w 1340953"/>
              <a:gd name="connsiteY3" fmla="*/ -151 h 1340953"/>
              <a:gd name="connsiteX4" fmla="*/ 1340863 w 1340953"/>
              <a:gd name="connsiteY4" fmla="*/ 670326 h 1340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0953" h="1340953">
                <a:moveTo>
                  <a:pt x="1340863" y="670326"/>
                </a:moveTo>
                <a:cubicBezTo>
                  <a:pt x="1340863" y="1040620"/>
                  <a:pt x="1040681" y="1340802"/>
                  <a:pt x="670387" y="1340802"/>
                </a:cubicBezTo>
                <a:cubicBezTo>
                  <a:pt x="300093" y="1340802"/>
                  <a:pt x="-90" y="1040620"/>
                  <a:pt x="-90" y="670326"/>
                </a:cubicBezTo>
                <a:cubicBezTo>
                  <a:pt x="-90" y="300032"/>
                  <a:pt x="300093" y="-151"/>
                  <a:pt x="670387" y="-151"/>
                </a:cubicBezTo>
                <a:cubicBezTo>
                  <a:pt x="1040681" y="-151"/>
                  <a:pt x="1340863" y="300032"/>
                  <a:pt x="1340863" y="670326"/>
                </a:cubicBezTo>
                <a:close/>
              </a:path>
            </a:pathLst>
          </a:custGeom>
          <a:solidFill>
            <a:srgbClr val="FFFFFF"/>
          </a:solidFill>
          <a:ln w="19117" cap="flat">
            <a:noFill/>
            <a:prstDash val="solid"/>
            <a:miter/>
          </a:ln>
        </p:spPr>
        <p:txBody>
          <a:bodyPr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457223"/>
            <a:endParaRPr lang="en-IN" sz="900">
              <a:solidFill>
                <a:srgbClr val="000000"/>
              </a:solidFill>
              <a:latin typeface="Segoe UI" panose="020B0502040204020203" pitchFamily="34" charset="0"/>
              <a:cs typeface="Segoe UI" panose="020B0502040204020203" pitchFamily="34" charset="0"/>
            </a:endParaRPr>
          </a:p>
        </p:txBody>
      </p:sp>
      <p:sp>
        <p:nvSpPr>
          <p:cNvPr id="13" name="Freeform: Shape 12">
            <a:extLst>
              <a:ext uri="{FF2B5EF4-FFF2-40B4-BE49-F238E27FC236}">
                <a16:creationId xmlns:a16="http://schemas.microsoft.com/office/drawing/2014/main" id="{5DC3426D-80B7-9136-B32B-EBEF9FCB3D60}"/>
              </a:ext>
            </a:extLst>
          </p:cNvPr>
          <p:cNvSpPr/>
          <p:nvPr/>
        </p:nvSpPr>
        <p:spPr>
          <a:xfrm>
            <a:off x="1548815" y="2403438"/>
            <a:ext cx="178233" cy="172103"/>
          </a:xfrm>
          <a:custGeom>
            <a:avLst/>
            <a:gdLst>
              <a:gd name="connsiteX0" fmla="*/ 194645 w 194735"/>
              <a:gd name="connsiteY0" fmla="*/ 97025 h 194734"/>
              <a:gd name="connsiteX1" fmla="*/ 97469 w 194735"/>
              <a:gd name="connsiteY1" fmla="*/ 194584 h 194734"/>
              <a:gd name="connsiteX2" fmla="*/ -90 w 194735"/>
              <a:gd name="connsiteY2" fmla="*/ 97408 h 194734"/>
              <a:gd name="connsiteX3" fmla="*/ 97087 w 194735"/>
              <a:gd name="connsiteY3" fmla="*/ -150 h 194734"/>
              <a:gd name="connsiteX4" fmla="*/ 97278 w 194735"/>
              <a:gd name="connsiteY4" fmla="*/ -150 h 194734"/>
              <a:gd name="connsiteX5" fmla="*/ 194645 w 194735"/>
              <a:gd name="connsiteY5" fmla="*/ 97025 h 19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735" h="194734">
                <a:moveTo>
                  <a:pt x="194645" y="97025"/>
                </a:moveTo>
                <a:cubicBezTo>
                  <a:pt x="194760" y="150798"/>
                  <a:pt x="151241" y="194470"/>
                  <a:pt x="97469" y="194584"/>
                </a:cubicBezTo>
                <a:cubicBezTo>
                  <a:pt x="43697" y="194699"/>
                  <a:pt x="25" y="151180"/>
                  <a:pt x="-90" y="97408"/>
                </a:cubicBezTo>
                <a:cubicBezTo>
                  <a:pt x="-205" y="43636"/>
                  <a:pt x="43314" y="-36"/>
                  <a:pt x="97087" y="-150"/>
                </a:cubicBezTo>
                <a:cubicBezTo>
                  <a:pt x="97144" y="-150"/>
                  <a:pt x="97220" y="-150"/>
                  <a:pt x="97278" y="-150"/>
                </a:cubicBezTo>
                <a:cubicBezTo>
                  <a:pt x="150973" y="-150"/>
                  <a:pt x="194530" y="43330"/>
                  <a:pt x="194645" y="97025"/>
                </a:cubicBezTo>
                <a:close/>
              </a:path>
            </a:pathLst>
          </a:custGeom>
          <a:solidFill>
            <a:schemeClr val="bg1"/>
          </a:solidFill>
          <a:ln w="19117" cap="flat">
            <a:noFill/>
            <a:prstDash val="solid"/>
            <a:miter/>
          </a:ln>
        </p:spPr>
        <p:txBody>
          <a:bodyPr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457223"/>
            <a:endParaRPr lang="en-IN" sz="900">
              <a:solidFill>
                <a:srgbClr val="000000"/>
              </a:solidFill>
              <a:latin typeface="Segoe UI" panose="020B0502040204020203" pitchFamily="34" charset="0"/>
              <a:cs typeface="Segoe UI" panose="020B0502040204020203" pitchFamily="34" charset="0"/>
            </a:endParaRPr>
          </a:p>
        </p:txBody>
      </p:sp>
      <p:sp>
        <p:nvSpPr>
          <p:cNvPr id="15" name="Freeform: Shape 14">
            <a:extLst>
              <a:ext uri="{FF2B5EF4-FFF2-40B4-BE49-F238E27FC236}">
                <a16:creationId xmlns:a16="http://schemas.microsoft.com/office/drawing/2014/main" id="{3F75E229-71A9-9E72-58C8-23A0871A6013}"/>
              </a:ext>
            </a:extLst>
          </p:cNvPr>
          <p:cNvSpPr/>
          <p:nvPr/>
        </p:nvSpPr>
        <p:spPr>
          <a:xfrm>
            <a:off x="1548814" y="4494035"/>
            <a:ext cx="178233" cy="172103"/>
          </a:xfrm>
          <a:custGeom>
            <a:avLst/>
            <a:gdLst>
              <a:gd name="connsiteX0" fmla="*/ 194645 w 194734"/>
              <a:gd name="connsiteY0" fmla="*/ 97217 h 194734"/>
              <a:gd name="connsiteX1" fmla="*/ 97278 w 194734"/>
              <a:gd name="connsiteY1" fmla="*/ 194584 h 194734"/>
              <a:gd name="connsiteX2" fmla="*/ -90 w 194734"/>
              <a:gd name="connsiteY2" fmla="*/ 97217 h 194734"/>
              <a:gd name="connsiteX3" fmla="*/ 97278 w 194734"/>
              <a:gd name="connsiteY3" fmla="*/ -150 h 194734"/>
              <a:gd name="connsiteX4" fmla="*/ 194645 w 194734"/>
              <a:gd name="connsiteY4" fmla="*/ 97217 h 194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734" h="194734">
                <a:moveTo>
                  <a:pt x="194645" y="97217"/>
                </a:moveTo>
                <a:cubicBezTo>
                  <a:pt x="194645" y="150989"/>
                  <a:pt x="151050" y="194584"/>
                  <a:pt x="97278" y="194584"/>
                </a:cubicBezTo>
                <a:cubicBezTo>
                  <a:pt x="43505" y="194584"/>
                  <a:pt x="-90" y="150989"/>
                  <a:pt x="-90" y="97217"/>
                </a:cubicBezTo>
                <a:cubicBezTo>
                  <a:pt x="-90" y="43445"/>
                  <a:pt x="43505" y="-150"/>
                  <a:pt x="97278" y="-150"/>
                </a:cubicBezTo>
                <a:cubicBezTo>
                  <a:pt x="151050" y="-150"/>
                  <a:pt x="194645" y="43445"/>
                  <a:pt x="194645" y="97217"/>
                </a:cubicBezTo>
                <a:close/>
              </a:path>
            </a:pathLst>
          </a:custGeom>
          <a:solidFill>
            <a:schemeClr val="bg1"/>
          </a:solidFill>
          <a:ln w="19117" cap="flat">
            <a:noFill/>
            <a:prstDash val="solid"/>
            <a:miter/>
          </a:ln>
        </p:spPr>
        <p:txBody>
          <a:bodyPr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457223"/>
            <a:endParaRPr lang="en-IN" sz="900">
              <a:solidFill>
                <a:srgbClr val="000000"/>
              </a:solidFill>
              <a:latin typeface="Segoe UI" panose="020B0502040204020203" pitchFamily="34" charset="0"/>
              <a:cs typeface="Segoe UI" panose="020B0502040204020203" pitchFamily="34" charset="0"/>
            </a:endParaRPr>
          </a:p>
        </p:txBody>
      </p:sp>
      <p:sp>
        <p:nvSpPr>
          <p:cNvPr id="16" name="Freeform: Shape 15">
            <a:extLst>
              <a:ext uri="{FF2B5EF4-FFF2-40B4-BE49-F238E27FC236}">
                <a16:creationId xmlns:a16="http://schemas.microsoft.com/office/drawing/2014/main" id="{42D82142-C73F-0736-95AE-D54C83D2B02D}"/>
              </a:ext>
            </a:extLst>
          </p:cNvPr>
          <p:cNvSpPr/>
          <p:nvPr/>
        </p:nvSpPr>
        <p:spPr>
          <a:xfrm>
            <a:off x="3598138" y="4494035"/>
            <a:ext cx="178233" cy="172103"/>
          </a:xfrm>
          <a:custGeom>
            <a:avLst/>
            <a:gdLst>
              <a:gd name="connsiteX0" fmla="*/ 194645 w 194734"/>
              <a:gd name="connsiteY0" fmla="*/ 97217 h 194734"/>
              <a:gd name="connsiteX1" fmla="*/ 97278 w 194734"/>
              <a:gd name="connsiteY1" fmla="*/ 194584 h 194734"/>
              <a:gd name="connsiteX2" fmla="*/ -90 w 194734"/>
              <a:gd name="connsiteY2" fmla="*/ 97217 h 194734"/>
              <a:gd name="connsiteX3" fmla="*/ 97278 w 194734"/>
              <a:gd name="connsiteY3" fmla="*/ -150 h 194734"/>
              <a:gd name="connsiteX4" fmla="*/ 194645 w 194734"/>
              <a:gd name="connsiteY4" fmla="*/ 97217 h 194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734" h="194734">
                <a:moveTo>
                  <a:pt x="194645" y="97217"/>
                </a:moveTo>
                <a:cubicBezTo>
                  <a:pt x="194645" y="150989"/>
                  <a:pt x="151050" y="194584"/>
                  <a:pt x="97278" y="194584"/>
                </a:cubicBezTo>
                <a:cubicBezTo>
                  <a:pt x="43505" y="194584"/>
                  <a:pt x="-90" y="150989"/>
                  <a:pt x="-90" y="97217"/>
                </a:cubicBezTo>
                <a:cubicBezTo>
                  <a:pt x="-90" y="43445"/>
                  <a:pt x="43505" y="-150"/>
                  <a:pt x="97278" y="-150"/>
                </a:cubicBezTo>
                <a:cubicBezTo>
                  <a:pt x="151050" y="-150"/>
                  <a:pt x="194645" y="43445"/>
                  <a:pt x="194645" y="97217"/>
                </a:cubicBezTo>
                <a:close/>
              </a:path>
            </a:pathLst>
          </a:custGeom>
          <a:solidFill>
            <a:schemeClr val="bg1"/>
          </a:solidFill>
          <a:ln w="19117" cap="flat">
            <a:noFill/>
            <a:prstDash val="solid"/>
            <a:miter/>
          </a:ln>
        </p:spPr>
        <p:txBody>
          <a:bodyPr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457223"/>
            <a:endParaRPr lang="en-IN" sz="900">
              <a:solidFill>
                <a:srgbClr val="000000"/>
              </a:solidFill>
              <a:latin typeface="Segoe UI" panose="020B0502040204020203" pitchFamily="34" charset="0"/>
              <a:cs typeface="Segoe UI" panose="020B0502040204020203" pitchFamily="34" charset="0"/>
            </a:endParaRPr>
          </a:p>
        </p:txBody>
      </p:sp>
      <p:pic>
        <p:nvPicPr>
          <p:cNvPr id="24" name="Picture 10" descr="Team Achievement Icons - Free SVG &amp; PNG Team Achievement ...">
            <a:extLst>
              <a:ext uri="{FF2B5EF4-FFF2-40B4-BE49-F238E27FC236}">
                <a16:creationId xmlns:a16="http://schemas.microsoft.com/office/drawing/2014/main" id="{25E2F01D-B5E1-3048-7961-31C2E633113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63504" y="3110235"/>
            <a:ext cx="688513" cy="664835"/>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6" descr="Certificate - Free education icons">
            <a:extLst>
              <a:ext uri="{FF2B5EF4-FFF2-40B4-BE49-F238E27FC236}">
                <a16:creationId xmlns:a16="http://schemas.microsoft.com/office/drawing/2014/main" id="{DBBD28A9-7D65-DC6F-9C28-C82964394E92}"/>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879254" y="3051058"/>
            <a:ext cx="690495" cy="690495"/>
          </a:xfrm>
          <a:prstGeom prst="rect">
            <a:avLst/>
          </a:prstGeom>
          <a:noFill/>
        </p:spPr>
      </p:pic>
      <p:sp>
        <p:nvSpPr>
          <p:cNvPr id="82" name="Google Shape;12528;p89">
            <a:extLst>
              <a:ext uri="{FF2B5EF4-FFF2-40B4-BE49-F238E27FC236}">
                <a16:creationId xmlns:a16="http://schemas.microsoft.com/office/drawing/2014/main" id="{BA5B6BA4-9249-D58E-433D-396C1D745327}"/>
              </a:ext>
            </a:extLst>
          </p:cNvPr>
          <p:cNvSpPr/>
          <p:nvPr/>
        </p:nvSpPr>
        <p:spPr>
          <a:xfrm>
            <a:off x="3657768" y="2941192"/>
            <a:ext cx="663057" cy="692497"/>
          </a:xfrm>
          <a:custGeom>
            <a:avLst/>
            <a:gdLst/>
            <a:ahLst/>
            <a:cxnLst/>
            <a:rect l="l" t="t" r="r" b="b"/>
            <a:pathLst>
              <a:path w="11752" h="11721" extrusionOk="0">
                <a:moveTo>
                  <a:pt x="6490" y="662"/>
                </a:moveTo>
                <a:cubicBezTo>
                  <a:pt x="6711" y="662"/>
                  <a:pt x="6868" y="820"/>
                  <a:pt x="6868" y="1009"/>
                </a:cubicBezTo>
                <a:lnTo>
                  <a:pt x="6868" y="1355"/>
                </a:lnTo>
                <a:lnTo>
                  <a:pt x="5167" y="1355"/>
                </a:lnTo>
                <a:cubicBezTo>
                  <a:pt x="4600" y="1355"/>
                  <a:pt x="4127" y="1828"/>
                  <a:pt x="4127" y="2395"/>
                </a:cubicBezTo>
                <a:lnTo>
                  <a:pt x="4127" y="2773"/>
                </a:lnTo>
                <a:lnTo>
                  <a:pt x="3088" y="2773"/>
                </a:lnTo>
                <a:cubicBezTo>
                  <a:pt x="2993" y="2773"/>
                  <a:pt x="2867" y="2836"/>
                  <a:pt x="2836" y="2899"/>
                </a:cubicBezTo>
                <a:lnTo>
                  <a:pt x="2048" y="3687"/>
                </a:lnTo>
                <a:lnTo>
                  <a:pt x="2048" y="3151"/>
                </a:lnTo>
                <a:cubicBezTo>
                  <a:pt x="2048" y="2931"/>
                  <a:pt x="1891" y="2773"/>
                  <a:pt x="1702" y="2773"/>
                </a:cubicBezTo>
                <a:lnTo>
                  <a:pt x="1040" y="2773"/>
                </a:lnTo>
                <a:cubicBezTo>
                  <a:pt x="819" y="2773"/>
                  <a:pt x="662" y="2616"/>
                  <a:pt x="662" y="2427"/>
                </a:cubicBezTo>
                <a:lnTo>
                  <a:pt x="662" y="1009"/>
                </a:lnTo>
                <a:cubicBezTo>
                  <a:pt x="662" y="820"/>
                  <a:pt x="819" y="662"/>
                  <a:pt x="1040" y="662"/>
                </a:cubicBezTo>
                <a:close/>
                <a:moveTo>
                  <a:pt x="10649" y="1986"/>
                </a:moveTo>
                <a:cubicBezTo>
                  <a:pt x="10838" y="1986"/>
                  <a:pt x="10995" y="2143"/>
                  <a:pt x="10995" y="2364"/>
                </a:cubicBezTo>
                <a:lnTo>
                  <a:pt x="10995" y="3781"/>
                </a:lnTo>
                <a:cubicBezTo>
                  <a:pt x="10995" y="3970"/>
                  <a:pt x="10838" y="4128"/>
                  <a:pt x="10649" y="4128"/>
                </a:cubicBezTo>
                <a:lnTo>
                  <a:pt x="8601" y="4128"/>
                </a:lnTo>
                <a:cubicBezTo>
                  <a:pt x="8412" y="4128"/>
                  <a:pt x="8255" y="4285"/>
                  <a:pt x="8255" y="4474"/>
                </a:cubicBezTo>
                <a:lnTo>
                  <a:pt x="8255" y="5041"/>
                </a:lnTo>
                <a:lnTo>
                  <a:pt x="7404" y="4191"/>
                </a:lnTo>
                <a:cubicBezTo>
                  <a:pt x="7372" y="4159"/>
                  <a:pt x="7246" y="4128"/>
                  <a:pt x="7183" y="4128"/>
                </a:cubicBezTo>
                <a:lnTo>
                  <a:pt x="5136" y="4128"/>
                </a:lnTo>
                <a:cubicBezTo>
                  <a:pt x="4947" y="4128"/>
                  <a:pt x="4789" y="3970"/>
                  <a:pt x="4789" y="3781"/>
                </a:cubicBezTo>
                <a:lnTo>
                  <a:pt x="4789" y="2364"/>
                </a:lnTo>
                <a:cubicBezTo>
                  <a:pt x="4789" y="2143"/>
                  <a:pt x="4947" y="1986"/>
                  <a:pt x="5136" y="1986"/>
                </a:cubicBezTo>
                <a:close/>
                <a:moveTo>
                  <a:pt x="3088" y="6207"/>
                </a:moveTo>
                <a:cubicBezTo>
                  <a:pt x="3623" y="6207"/>
                  <a:pt x="4096" y="6680"/>
                  <a:pt x="4096" y="7247"/>
                </a:cubicBezTo>
                <a:cubicBezTo>
                  <a:pt x="4096" y="7782"/>
                  <a:pt x="3623" y="8255"/>
                  <a:pt x="3088" y="8255"/>
                </a:cubicBezTo>
                <a:cubicBezTo>
                  <a:pt x="2521" y="8255"/>
                  <a:pt x="2048" y="7782"/>
                  <a:pt x="2048" y="7247"/>
                </a:cubicBezTo>
                <a:cubicBezTo>
                  <a:pt x="2048" y="6648"/>
                  <a:pt x="2489" y="6207"/>
                  <a:pt x="3088" y="6207"/>
                </a:cubicBezTo>
                <a:close/>
                <a:moveTo>
                  <a:pt x="8601" y="6207"/>
                </a:moveTo>
                <a:cubicBezTo>
                  <a:pt x="9137" y="6207"/>
                  <a:pt x="9609" y="6648"/>
                  <a:pt x="9609" y="7247"/>
                </a:cubicBezTo>
                <a:cubicBezTo>
                  <a:pt x="9609" y="7782"/>
                  <a:pt x="9137" y="8255"/>
                  <a:pt x="8601" y="8255"/>
                </a:cubicBezTo>
                <a:cubicBezTo>
                  <a:pt x="8003" y="8255"/>
                  <a:pt x="7530" y="7782"/>
                  <a:pt x="7530" y="7247"/>
                </a:cubicBezTo>
                <a:cubicBezTo>
                  <a:pt x="7530" y="6680"/>
                  <a:pt x="8003" y="6207"/>
                  <a:pt x="8601" y="6207"/>
                </a:cubicBezTo>
                <a:close/>
                <a:moveTo>
                  <a:pt x="3749" y="8980"/>
                </a:moveTo>
                <a:cubicBezTo>
                  <a:pt x="4695" y="8980"/>
                  <a:pt x="5451" y="9704"/>
                  <a:pt x="5451" y="10649"/>
                </a:cubicBezTo>
                <a:lnTo>
                  <a:pt x="5451" y="11027"/>
                </a:lnTo>
                <a:lnTo>
                  <a:pt x="630" y="11027"/>
                </a:lnTo>
                <a:lnTo>
                  <a:pt x="630" y="10649"/>
                </a:lnTo>
                <a:lnTo>
                  <a:pt x="662" y="10649"/>
                </a:lnTo>
                <a:cubicBezTo>
                  <a:pt x="662" y="9704"/>
                  <a:pt x="1418" y="8980"/>
                  <a:pt x="2363" y="8980"/>
                </a:cubicBezTo>
                <a:close/>
                <a:moveTo>
                  <a:pt x="9369" y="8976"/>
                </a:moveTo>
                <a:cubicBezTo>
                  <a:pt x="10266" y="8976"/>
                  <a:pt x="10995" y="9740"/>
                  <a:pt x="10995" y="10649"/>
                </a:cubicBezTo>
                <a:lnTo>
                  <a:pt x="10995" y="11027"/>
                </a:lnTo>
                <a:lnTo>
                  <a:pt x="6144" y="11027"/>
                </a:lnTo>
                <a:lnTo>
                  <a:pt x="6144" y="10649"/>
                </a:lnTo>
                <a:cubicBezTo>
                  <a:pt x="6144" y="9704"/>
                  <a:pt x="6900" y="8980"/>
                  <a:pt x="7845" y="8980"/>
                </a:cubicBezTo>
                <a:lnTo>
                  <a:pt x="9263" y="8980"/>
                </a:lnTo>
                <a:cubicBezTo>
                  <a:pt x="9298" y="8977"/>
                  <a:pt x="9334" y="8976"/>
                  <a:pt x="9369" y="8976"/>
                </a:cubicBezTo>
                <a:close/>
                <a:moveTo>
                  <a:pt x="1040" y="1"/>
                </a:moveTo>
                <a:cubicBezTo>
                  <a:pt x="473" y="1"/>
                  <a:pt x="0" y="473"/>
                  <a:pt x="0" y="1009"/>
                </a:cubicBezTo>
                <a:lnTo>
                  <a:pt x="0" y="2427"/>
                </a:lnTo>
                <a:cubicBezTo>
                  <a:pt x="0" y="2994"/>
                  <a:pt x="473" y="3466"/>
                  <a:pt x="1040" y="3466"/>
                </a:cubicBezTo>
                <a:lnTo>
                  <a:pt x="1386" y="3466"/>
                </a:lnTo>
                <a:lnTo>
                  <a:pt x="1386" y="4474"/>
                </a:lnTo>
                <a:cubicBezTo>
                  <a:pt x="1386" y="4688"/>
                  <a:pt x="1546" y="4829"/>
                  <a:pt x="1727" y="4829"/>
                </a:cubicBezTo>
                <a:cubicBezTo>
                  <a:pt x="1813" y="4829"/>
                  <a:pt x="1904" y="4797"/>
                  <a:pt x="1985" y="4726"/>
                </a:cubicBezTo>
                <a:lnTo>
                  <a:pt x="3245" y="3466"/>
                </a:lnTo>
                <a:lnTo>
                  <a:pt x="4096" y="3466"/>
                </a:lnTo>
                <a:lnTo>
                  <a:pt x="4096" y="3813"/>
                </a:lnTo>
                <a:cubicBezTo>
                  <a:pt x="4096" y="4348"/>
                  <a:pt x="4568" y="4821"/>
                  <a:pt x="5136" y="4821"/>
                </a:cubicBezTo>
                <a:lnTo>
                  <a:pt x="7057" y="4821"/>
                </a:lnTo>
                <a:lnTo>
                  <a:pt x="7908" y="5672"/>
                </a:lnTo>
                <a:cubicBezTo>
                  <a:pt x="7341" y="5924"/>
                  <a:pt x="6868" y="6522"/>
                  <a:pt x="6868" y="7247"/>
                </a:cubicBezTo>
                <a:cubicBezTo>
                  <a:pt x="6868" y="7625"/>
                  <a:pt x="7026" y="8034"/>
                  <a:pt x="7278" y="8349"/>
                </a:cubicBezTo>
                <a:cubicBezTo>
                  <a:pt x="6648" y="8507"/>
                  <a:pt x="6144" y="8885"/>
                  <a:pt x="5829" y="9452"/>
                </a:cubicBezTo>
                <a:cubicBezTo>
                  <a:pt x="5514" y="8917"/>
                  <a:pt x="5010" y="8539"/>
                  <a:pt x="4411" y="8381"/>
                </a:cubicBezTo>
                <a:cubicBezTo>
                  <a:pt x="4663" y="8066"/>
                  <a:pt x="4821" y="7719"/>
                  <a:pt x="4821" y="7278"/>
                </a:cubicBezTo>
                <a:cubicBezTo>
                  <a:pt x="4821" y="6333"/>
                  <a:pt x="4064" y="5577"/>
                  <a:pt x="3119" y="5577"/>
                </a:cubicBezTo>
                <a:cubicBezTo>
                  <a:pt x="2174" y="5577"/>
                  <a:pt x="1418" y="6333"/>
                  <a:pt x="1418" y="7278"/>
                </a:cubicBezTo>
                <a:cubicBezTo>
                  <a:pt x="1418" y="7719"/>
                  <a:pt x="1576" y="8097"/>
                  <a:pt x="1828" y="8381"/>
                </a:cubicBezTo>
                <a:cubicBezTo>
                  <a:pt x="788" y="8665"/>
                  <a:pt x="32" y="9610"/>
                  <a:pt x="32" y="10712"/>
                </a:cubicBezTo>
                <a:lnTo>
                  <a:pt x="32" y="11374"/>
                </a:lnTo>
                <a:cubicBezTo>
                  <a:pt x="32" y="11563"/>
                  <a:pt x="189" y="11721"/>
                  <a:pt x="410" y="11721"/>
                </a:cubicBezTo>
                <a:lnTo>
                  <a:pt x="11374" y="11721"/>
                </a:lnTo>
                <a:cubicBezTo>
                  <a:pt x="11594" y="11721"/>
                  <a:pt x="11752" y="11563"/>
                  <a:pt x="11752" y="11374"/>
                </a:cubicBezTo>
                <a:lnTo>
                  <a:pt x="11752" y="10712"/>
                </a:lnTo>
                <a:cubicBezTo>
                  <a:pt x="11752" y="9610"/>
                  <a:pt x="10995" y="8665"/>
                  <a:pt x="9956" y="8381"/>
                </a:cubicBezTo>
                <a:cubicBezTo>
                  <a:pt x="10208" y="8066"/>
                  <a:pt x="10365" y="7719"/>
                  <a:pt x="10365" y="7278"/>
                </a:cubicBezTo>
                <a:cubicBezTo>
                  <a:pt x="10365" y="6459"/>
                  <a:pt x="9767" y="5735"/>
                  <a:pt x="8979" y="5577"/>
                </a:cubicBezTo>
                <a:lnTo>
                  <a:pt x="8979" y="4884"/>
                </a:lnTo>
                <a:lnTo>
                  <a:pt x="10649" y="4884"/>
                </a:lnTo>
                <a:lnTo>
                  <a:pt x="10649" y="4821"/>
                </a:lnTo>
                <a:cubicBezTo>
                  <a:pt x="11185" y="4821"/>
                  <a:pt x="11657" y="4348"/>
                  <a:pt x="11657" y="3813"/>
                </a:cubicBezTo>
                <a:lnTo>
                  <a:pt x="11657" y="2395"/>
                </a:lnTo>
                <a:cubicBezTo>
                  <a:pt x="11657" y="1828"/>
                  <a:pt x="11185" y="1355"/>
                  <a:pt x="10649" y="1355"/>
                </a:cubicBezTo>
                <a:lnTo>
                  <a:pt x="7530" y="1355"/>
                </a:lnTo>
                <a:lnTo>
                  <a:pt x="7530" y="1009"/>
                </a:lnTo>
                <a:cubicBezTo>
                  <a:pt x="7530" y="473"/>
                  <a:pt x="7057" y="1"/>
                  <a:pt x="6490" y="1"/>
                </a:cubicBezTo>
                <a:close/>
              </a:path>
            </a:pathLst>
          </a:custGeom>
          <a:solidFill>
            <a:schemeClr val="bg1"/>
          </a:solidFill>
          <a:ln>
            <a:noFill/>
          </a:ln>
        </p:spPr>
        <p:txBody>
          <a:bodyPr spcFirstLastPara="1" wrap="square" lIns="60950" tIns="60950" rIns="60950" bIns="60950" anchor="ctr" anchorCtr="0">
            <a:no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457212">
              <a:spcBef>
                <a:spcPct val="0"/>
              </a:spcBef>
              <a:spcAft>
                <a:spcPct val="0"/>
              </a:spcAft>
              <a:defRPr/>
            </a:pPr>
            <a:endParaRPr sz="800">
              <a:solidFill>
                <a:prstClr val="black">
                  <a:lumMod val="85000"/>
                  <a:lumOff val="15000"/>
                </a:prstClr>
              </a:solidFill>
              <a:latin typeface="Segoe"/>
              <a:cs typeface="Arial"/>
            </a:endParaRPr>
          </a:p>
        </p:txBody>
      </p:sp>
      <p:pic>
        <p:nvPicPr>
          <p:cNvPr id="91" name="Picture 90" descr="A close up of a logo&#10;&#10;Description generated with very high confidence">
            <a:extLst>
              <a:ext uri="{FF2B5EF4-FFF2-40B4-BE49-F238E27FC236}">
                <a16:creationId xmlns:a16="http://schemas.microsoft.com/office/drawing/2014/main" id="{D6A8A7A9-36DB-C51A-770A-4F5514BCBF49}"/>
              </a:ext>
            </a:extLst>
          </p:cNvPr>
          <p:cNvPicPr>
            <a:picLocks noChangeAspect="1"/>
          </p:cNvPicPr>
          <p:nvPr/>
        </p:nvPicPr>
        <p:blipFill>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91880" y="4504982"/>
            <a:ext cx="737138" cy="737138"/>
          </a:xfrm>
          <a:prstGeom prst="rect">
            <a:avLst/>
          </a:prstGeom>
        </p:spPr>
      </p:pic>
      <p:pic>
        <p:nvPicPr>
          <p:cNvPr id="92" name="Picture 2" descr="Calendar - Free time and date icons">
            <a:extLst>
              <a:ext uri="{FF2B5EF4-FFF2-40B4-BE49-F238E27FC236}">
                <a16:creationId xmlns:a16="http://schemas.microsoft.com/office/drawing/2014/main" id="{D0CEC6A0-55C8-9410-8069-FA55DF3228A8}"/>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222154" y="1643451"/>
            <a:ext cx="744418" cy="744418"/>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7">
            <a:extLst>
              <a:ext uri="{FF2B5EF4-FFF2-40B4-BE49-F238E27FC236}">
                <a16:creationId xmlns:a16="http://schemas.microsoft.com/office/drawing/2014/main" id="{A1AFEC6E-76E9-9590-3471-0481DA5A3736}"/>
              </a:ext>
            </a:extLst>
          </p:cNvPr>
          <p:cNvSpPr txBox="1"/>
          <p:nvPr/>
        </p:nvSpPr>
        <p:spPr>
          <a:xfrm>
            <a:off x="1296778" y="159625"/>
            <a:ext cx="8209114" cy="692497"/>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nSpc>
                <a:spcPts val="5413"/>
              </a:lnSpc>
            </a:pPr>
            <a:r>
              <a:rPr lang="en-US" sz="5000" b="1">
                <a:solidFill>
                  <a:srgbClr val="1C498B"/>
                </a:solidFill>
                <a:latin typeface="Calibri"/>
                <a:ea typeface="Calibri"/>
                <a:cs typeface="Calibri"/>
                <a:sym typeface="The Seasons Bold"/>
              </a:rPr>
              <a:t>ILPQC Wrap Up</a:t>
            </a:r>
            <a:endParaRPr lang="en-US" sz="5000" b="1">
              <a:solidFill>
                <a:srgbClr val="1C498B"/>
              </a:solidFill>
              <a:latin typeface="Calibri"/>
              <a:ea typeface="Calibri"/>
              <a:cs typeface="Calibri"/>
            </a:endParaRPr>
          </a:p>
        </p:txBody>
      </p:sp>
      <p:grpSp>
        <p:nvGrpSpPr>
          <p:cNvPr id="23" name="Group 22">
            <a:extLst>
              <a:ext uri="{FF2B5EF4-FFF2-40B4-BE49-F238E27FC236}">
                <a16:creationId xmlns:a16="http://schemas.microsoft.com/office/drawing/2014/main" id="{0DBA3906-3E0C-00D4-142C-DD32B4611211}"/>
              </a:ext>
            </a:extLst>
          </p:cNvPr>
          <p:cNvGrpSpPr/>
          <p:nvPr/>
        </p:nvGrpSpPr>
        <p:grpSpPr>
          <a:xfrm>
            <a:off x="5395262" y="969310"/>
            <a:ext cx="6244242" cy="5014942"/>
            <a:chOff x="8792622" y="1742744"/>
            <a:chExt cx="7696723" cy="6987983"/>
          </a:xfrm>
        </p:grpSpPr>
        <p:sp>
          <p:nvSpPr>
            <p:cNvPr id="14" name="Freeform: Shape 13">
              <a:extLst>
                <a:ext uri="{FF2B5EF4-FFF2-40B4-BE49-F238E27FC236}">
                  <a16:creationId xmlns:a16="http://schemas.microsoft.com/office/drawing/2014/main" id="{C31648F5-427D-5861-23A5-9D90FE194B6D}"/>
                </a:ext>
              </a:extLst>
            </p:cNvPr>
            <p:cNvSpPr/>
            <p:nvPr/>
          </p:nvSpPr>
          <p:spPr>
            <a:xfrm>
              <a:off x="10437180" y="5014198"/>
              <a:ext cx="502402" cy="477965"/>
            </a:xfrm>
            <a:custGeom>
              <a:avLst/>
              <a:gdLst>
                <a:gd name="connsiteX0" fmla="*/ 194645 w 194735"/>
                <a:gd name="connsiteY0" fmla="*/ 97025 h 194734"/>
                <a:gd name="connsiteX1" fmla="*/ 97469 w 194735"/>
                <a:gd name="connsiteY1" fmla="*/ 194584 h 194734"/>
                <a:gd name="connsiteX2" fmla="*/ -90 w 194735"/>
                <a:gd name="connsiteY2" fmla="*/ 97408 h 194734"/>
                <a:gd name="connsiteX3" fmla="*/ 97086 w 194735"/>
                <a:gd name="connsiteY3" fmla="*/ -150 h 194734"/>
                <a:gd name="connsiteX4" fmla="*/ 97278 w 194735"/>
                <a:gd name="connsiteY4" fmla="*/ -150 h 194734"/>
                <a:gd name="connsiteX5" fmla="*/ 194645 w 194735"/>
                <a:gd name="connsiteY5" fmla="*/ 97025 h 19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735" h="194734">
                  <a:moveTo>
                    <a:pt x="194645" y="97025"/>
                  </a:moveTo>
                  <a:cubicBezTo>
                    <a:pt x="194760" y="150798"/>
                    <a:pt x="151241" y="194470"/>
                    <a:pt x="97469" y="194584"/>
                  </a:cubicBezTo>
                  <a:cubicBezTo>
                    <a:pt x="43697" y="194699"/>
                    <a:pt x="25" y="151180"/>
                    <a:pt x="-90" y="97408"/>
                  </a:cubicBezTo>
                  <a:cubicBezTo>
                    <a:pt x="-185" y="43636"/>
                    <a:pt x="43314" y="-36"/>
                    <a:pt x="97086" y="-150"/>
                  </a:cubicBezTo>
                  <a:cubicBezTo>
                    <a:pt x="97143" y="-150"/>
                    <a:pt x="97220" y="-150"/>
                    <a:pt x="97278" y="-150"/>
                  </a:cubicBezTo>
                  <a:cubicBezTo>
                    <a:pt x="150973" y="-150"/>
                    <a:pt x="194530" y="43330"/>
                    <a:pt x="194645" y="97025"/>
                  </a:cubicBezTo>
                  <a:close/>
                </a:path>
              </a:pathLst>
            </a:custGeom>
            <a:solidFill>
              <a:schemeClr val="bg1"/>
            </a:solidFill>
            <a:ln w="19117" cap="flat">
              <a:noFill/>
              <a:prstDash val="solid"/>
              <a:miter/>
            </a:ln>
          </p:spPr>
          <p:txBody>
            <a:bodyPr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457223"/>
              <a:endParaRPr lang="en-IN" sz="900">
                <a:solidFill>
                  <a:srgbClr val="000000"/>
                </a:solidFill>
                <a:latin typeface="Segoe UI" panose="020B0502040204020203" pitchFamily="34" charset="0"/>
                <a:cs typeface="Segoe UI" panose="020B0502040204020203" pitchFamily="34" charset="0"/>
              </a:endParaRPr>
            </a:p>
          </p:txBody>
        </p:sp>
        <p:sp>
          <p:nvSpPr>
            <p:cNvPr id="51" name="Freeform: Shape 50">
              <a:extLst>
                <a:ext uri="{FF2B5EF4-FFF2-40B4-BE49-F238E27FC236}">
                  <a16:creationId xmlns:a16="http://schemas.microsoft.com/office/drawing/2014/main" id="{AC077AEB-DA54-5862-4BFA-A16F68A8B9D9}"/>
                </a:ext>
              </a:extLst>
            </p:cNvPr>
            <p:cNvSpPr/>
            <p:nvPr/>
          </p:nvSpPr>
          <p:spPr>
            <a:xfrm>
              <a:off x="8792622" y="1742744"/>
              <a:ext cx="7696723" cy="1546749"/>
            </a:xfrm>
            <a:custGeom>
              <a:avLst/>
              <a:gdLst>
                <a:gd name="connsiteX0" fmla="*/ 4903860 w 5460990"/>
                <a:gd name="connsiteY0" fmla="*/ 1113740 h 1113890"/>
                <a:gd name="connsiteX1" fmla="*/ 556951 w 5460990"/>
                <a:gd name="connsiteY1" fmla="*/ 1113740 h 1113890"/>
                <a:gd name="connsiteX2" fmla="*/ -90 w 5460990"/>
                <a:gd name="connsiteY2" fmla="*/ 556699 h 1113890"/>
                <a:gd name="connsiteX3" fmla="*/ -90 w 5460990"/>
                <a:gd name="connsiteY3" fmla="*/ 556699 h 1113890"/>
                <a:gd name="connsiteX4" fmla="*/ 556760 w 5460990"/>
                <a:gd name="connsiteY4" fmla="*/ -150 h 1113890"/>
                <a:gd name="connsiteX5" fmla="*/ 556951 w 5460990"/>
                <a:gd name="connsiteY5" fmla="*/ -150 h 1113890"/>
                <a:gd name="connsiteX6" fmla="*/ 4903860 w 5460990"/>
                <a:gd name="connsiteY6" fmla="*/ -150 h 1113890"/>
                <a:gd name="connsiteX7" fmla="*/ 5460900 w 5460990"/>
                <a:gd name="connsiteY7" fmla="*/ 556508 h 1113890"/>
                <a:gd name="connsiteX8" fmla="*/ 5460900 w 5460990"/>
                <a:gd name="connsiteY8" fmla="*/ 556699 h 1113890"/>
                <a:gd name="connsiteX9" fmla="*/ 5460900 w 5460990"/>
                <a:gd name="connsiteY9" fmla="*/ 556699 h 1113890"/>
                <a:gd name="connsiteX10" fmla="*/ 4904243 w 5460990"/>
                <a:gd name="connsiteY10" fmla="*/ 1113740 h 1113890"/>
                <a:gd name="connsiteX11" fmla="*/ 4903860 w 5460990"/>
                <a:gd name="connsiteY11" fmla="*/ 1113740 h 111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60990" h="1113890">
                  <a:moveTo>
                    <a:pt x="4903860" y="1113740"/>
                  </a:moveTo>
                  <a:lnTo>
                    <a:pt x="556951" y="1113740"/>
                  </a:lnTo>
                  <a:cubicBezTo>
                    <a:pt x="249297" y="1113740"/>
                    <a:pt x="-90" y="864353"/>
                    <a:pt x="-90" y="556699"/>
                  </a:cubicBezTo>
                  <a:lnTo>
                    <a:pt x="-90" y="556699"/>
                  </a:lnTo>
                  <a:cubicBezTo>
                    <a:pt x="-90" y="249160"/>
                    <a:pt x="249220" y="-150"/>
                    <a:pt x="556760" y="-150"/>
                  </a:cubicBezTo>
                  <a:cubicBezTo>
                    <a:pt x="556817" y="-150"/>
                    <a:pt x="556894" y="-150"/>
                    <a:pt x="556951" y="-150"/>
                  </a:cubicBezTo>
                  <a:lnTo>
                    <a:pt x="4903860" y="-150"/>
                  </a:lnTo>
                  <a:cubicBezTo>
                    <a:pt x="5211400" y="-265"/>
                    <a:pt x="5460786" y="248969"/>
                    <a:pt x="5460900" y="556508"/>
                  </a:cubicBezTo>
                  <a:cubicBezTo>
                    <a:pt x="5460900" y="556565"/>
                    <a:pt x="5460900" y="556642"/>
                    <a:pt x="5460900" y="556699"/>
                  </a:cubicBezTo>
                  <a:lnTo>
                    <a:pt x="5460900" y="556699"/>
                  </a:lnTo>
                  <a:cubicBezTo>
                    <a:pt x="5461016" y="864239"/>
                    <a:pt x="5211782" y="1113625"/>
                    <a:pt x="4904243" y="1113740"/>
                  </a:cubicBezTo>
                  <a:cubicBezTo>
                    <a:pt x="4904108" y="1113740"/>
                    <a:pt x="4903994" y="1113740"/>
                    <a:pt x="4903860" y="1113740"/>
                  </a:cubicBezTo>
                  <a:close/>
                </a:path>
              </a:pathLst>
            </a:custGeom>
            <a:solidFill>
              <a:schemeClr val="accent1">
                <a:lumMod val="40000"/>
                <a:lumOff val="60000"/>
              </a:schemeClr>
            </a:solidFill>
            <a:ln w="19117" cap="flat">
              <a:noFill/>
              <a:prstDash val="solid"/>
              <a:miter/>
            </a:ln>
          </p:spPr>
          <p:txBody>
            <a:bodyPr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457223"/>
              <a:endParaRPr lang="en-IN" sz="900">
                <a:solidFill>
                  <a:srgbClr val="000000"/>
                </a:solidFill>
                <a:latin typeface="Segoe UI" panose="020B0502040204020203" pitchFamily="34" charset="0"/>
                <a:cs typeface="Segoe UI" panose="020B0502040204020203" pitchFamily="34" charset="0"/>
              </a:endParaRPr>
            </a:p>
          </p:txBody>
        </p:sp>
        <p:sp>
          <p:nvSpPr>
            <p:cNvPr id="52" name="Freeform: Shape 51">
              <a:extLst>
                <a:ext uri="{FF2B5EF4-FFF2-40B4-BE49-F238E27FC236}">
                  <a16:creationId xmlns:a16="http://schemas.microsoft.com/office/drawing/2014/main" id="{7503C5F8-3E27-8644-264B-9FC43B345615}"/>
                </a:ext>
              </a:extLst>
            </p:cNvPr>
            <p:cNvSpPr/>
            <p:nvPr/>
          </p:nvSpPr>
          <p:spPr>
            <a:xfrm>
              <a:off x="8974604" y="1914606"/>
              <a:ext cx="1212150" cy="1194261"/>
            </a:xfrm>
            <a:custGeom>
              <a:avLst/>
              <a:gdLst>
                <a:gd name="connsiteX0" fmla="*/ 860047 w 860046"/>
                <a:gd name="connsiteY0" fmla="*/ 430023 h 860046"/>
                <a:gd name="connsiteX1" fmla="*/ 430023 w 860046"/>
                <a:gd name="connsiteY1" fmla="*/ 860047 h 860046"/>
                <a:gd name="connsiteX2" fmla="*/ 0 w 860046"/>
                <a:gd name="connsiteY2" fmla="*/ 430023 h 860046"/>
                <a:gd name="connsiteX3" fmla="*/ 430023 w 860046"/>
                <a:gd name="connsiteY3" fmla="*/ 0 h 860046"/>
                <a:gd name="connsiteX4" fmla="*/ 860047 w 860046"/>
                <a:gd name="connsiteY4" fmla="*/ 430023 h 8600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046" h="860046">
                  <a:moveTo>
                    <a:pt x="860047" y="430023"/>
                  </a:moveTo>
                  <a:cubicBezTo>
                    <a:pt x="860047" y="667519"/>
                    <a:pt x="667519" y="860047"/>
                    <a:pt x="430023" y="860047"/>
                  </a:cubicBezTo>
                  <a:cubicBezTo>
                    <a:pt x="192528" y="860047"/>
                    <a:pt x="0" y="667519"/>
                    <a:pt x="0" y="430023"/>
                  </a:cubicBezTo>
                  <a:cubicBezTo>
                    <a:pt x="0" y="192528"/>
                    <a:pt x="192528" y="0"/>
                    <a:pt x="430023" y="0"/>
                  </a:cubicBezTo>
                  <a:cubicBezTo>
                    <a:pt x="667519" y="0"/>
                    <a:pt x="860047" y="192528"/>
                    <a:pt x="860047" y="430023"/>
                  </a:cubicBezTo>
                  <a:close/>
                </a:path>
              </a:pathLst>
            </a:custGeom>
            <a:solidFill>
              <a:schemeClr val="accent1"/>
            </a:solidFill>
            <a:ln w="19117" cap="flat">
              <a:noFill/>
              <a:prstDash val="solid"/>
              <a:miter/>
            </a:ln>
          </p:spPr>
          <p:txBody>
            <a:bodyPr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457223"/>
              <a:endParaRPr lang="en-IN" sz="900">
                <a:solidFill>
                  <a:srgbClr val="000000"/>
                </a:solidFill>
                <a:latin typeface="Segoe UI" panose="020B0502040204020203" pitchFamily="34" charset="0"/>
                <a:cs typeface="Segoe UI" panose="020B0502040204020203" pitchFamily="34" charset="0"/>
              </a:endParaRPr>
            </a:p>
          </p:txBody>
        </p:sp>
        <p:sp>
          <p:nvSpPr>
            <p:cNvPr id="53" name="Freeform: Shape 52">
              <a:extLst>
                <a:ext uri="{FF2B5EF4-FFF2-40B4-BE49-F238E27FC236}">
                  <a16:creationId xmlns:a16="http://schemas.microsoft.com/office/drawing/2014/main" id="{15D9372F-368E-0B13-33DA-21B93745754F}"/>
                </a:ext>
              </a:extLst>
            </p:cNvPr>
            <p:cNvSpPr/>
            <p:nvPr/>
          </p:nvSpPr>
          <p:spPr>
            <a:xfrm>
              <a:off x="8792622" y="3565037"/>
              <a:ext cx="7696723" cy="1546749"/>
            </a:xfrm>
            <a:custGeom>
              <a:avLst/>
              <a:gdLst>
                <a:gd name="connsiteX0" fmla="*/ 4903860 w 5460990"/>
                <a:gd name="connsiteY0" fmla="*/ 1113740 h 1113890"/>
                <a:gd name="connsiteX1" fmla="*/ 556951 w 5460990"/>
                <a:gd name="connsiteY1" fmla="*/ 1113740 h 1113890"/>
                <a:gd name="connsiteX2" fmla="*/ -90 w 5460990"/>
                <a:gd name="connsiteY2" fmla="*/ 556699 h 1113890"/>
                <a:gd name="connsiteX3" fmla="*/ -90 w 5460990"/>
                <a:gd name="connsiteY3" fmla="*/ 556699 h 1113890"/>
                <a:gd name="connsiteX4" fmla="*/ 556760 w 5460990"/>
                <a:gd name="connsiteY4" fmla="*/ -150 h 1113890"/>
                <a:gd name="connsiteX5" fmla="*/ 556951 w 5460990"/>
                <a:gd name="connsiteY5" fmla="*/ -150 h 1113890"/>
                <a:gd name="connsiteX6" fmla="*/ 4903860 w 5460990"/>
                <a:gd name="connsiteY6" fmla="*/ -150 h 1113890"/>
                <a:gd name="connsiteX7" fmla="*/ 5460900 w 5460990"/>
                <a:gd name="connsiteY7" fmla="*/ 556508 h 1113890"/>
                <a:gd name="connsiteX8" fmla="*/ 5460900 w 5460990"/>
                <a:gd name="connsiteY8" fmla="*/ 556699 h 1113890"/>
                <a:gd name="connsiteX9" fmla="*/ 5460900 w 5460990"/>
                <a:gd name="connsiteY9" fmla="*/ 556699 h 1113890"/>
                <a:gd name="connsiteX10" fmla="*/ 4904243 w 5460990"/>
                <a:gd name="connsiteY10" fmla="*/ 1113740 h 1113890"/>
                <a:gd name="connsiteX11" fmla="*/ 4903860 w 5460990"/>
                <a:gd name="connsiteY11" fmla="*/ 1113740 h 111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60990" h="1113890">
                  <a:moveTo>
                    <a:pt x="4903860" y="1113740"/>
                  </a:moveTo>
                  <a:lnTo>
                    <a:pt x="556951" y="1113740"/>
                  </a:lnTo>
                  <a:cubicBezTo>
                    <a:pt x="249297" y="1113740"/>
                    <a:pt x="-90" y="864353"/>
                    <a:pt x="-90" y="556699"/>
                  </a:cubicBezTo>
                  <a:lnTo>
                    <a:pt x="-90" y="556699"/>
                  </a:lnTo>
                  <a:cubicBezTo>
                    <a:pt x="-90" y="249160"/>
                    <a:pt x="249220" y="-150"/>
                    <a:pt x="556760" y="-150"/>
                  </a:cubicBezTo>
                  <a:cubicBezTo>
                    <a:pt x="556817" y="-150"/>
                    <a:pt x="556894" y="-150"/>
                    <a:pt x="556951" y="-150"/>
                  </a:cubicBezTo>
                  <a:lnTo>
                    <a:pt x="4903860" y="-150"/>
                  </a:lnTo>
                  <a:cubicBezTo>
                    <a:pt x="5211400" y="-265"/>
                    <a:pt x="5460786" y="248969"/>
                    <a:pt x="5460900" y="556508"/>
                  </a:cubicBezTo>
                  <a:cubicBezTo>
                    <a:pt x="5460900" y="556565"/>
                    <a:pt x="5460900" y="556642"/>
                    <a:pt x="5460900" y="556699"/>
                  </a:cubicBezTo>
                  <a:lnTo>
                    <a:pt x="5460900" y="556699"/>
                  </a:lnTo>
                  <a:cubicBezTo>
                    <a:pt x="5461016" y="864239"/>
                    <a:pt x="5211782" y="1113625"/>
                    <a:pt x="4904243" y="1113740"/>
                  </a:cubicBezTo>
                  <a:cubicBezTo>
                    <a:pt x="4904108" y="1113740"/>
                    <a:pt x="4903994" y="1113740"/>
                    <a:pt x="4903860" y="1113740"/>
                  </a:cubicBezTo>
                  <a:close/>
                </a:path>
              </a:pathLst>
            </a:custGeom>
            <a:solidFill>
              <a:schemeClr val="accent2">
                <a:lumMod val="40000"/>
                <a:lumOff val="60000"/>
              </a:schemeClr>
            </a:solidFill>
            <a:ln w="19117" cap="flat">
              <a:noFill/>
              <a:prstDash val="solid"/>
              <a:miter/>
            </a:ln>
          </p:spPr>
          <p:txBody>
            <a:bodyPr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457223"/>
              <a:endParaRPr lang="en-IN" sz="900">
                <a:solidFill>
                  <a:srgbClr val="000000"/>
                </a:solidFill>
                <a:latin typeface="Segoe UI" panose="020B0502040204020203" pitchFamily="34" charset="0"/>
                <a:cs typeface="Segoe UI" panose="020B0502040204020203" pitchFamily="34" charset="0"/>
              </a:endParaRPr>
            </a:p>
          </p:txBody>
        </p:sp>
        <p:sp>
          <p:nvSpPr>
            <p:cNvPr id="54" name="Freeform: Shape 53">
              <a:extLst>
                <a:ext uri="{FF2B5EF4-FFF2-40B4-BE49-F238E27FC236}">
                  <a16:creationId xmlns:a16="http://schemas.microsoft.com/office/drawing/2014/main" id="{CA1C08B7-0759-2BB7-5D13-F6274D2177B5}"/>
                </a:ext>
              </a:extLst>
            </p:cNvPr>
            <p:cNvSpPr/>
            <p:nvPr/>
          </p:nvSpPr>
          <p:spPr>
            <a:xfrm>
              <a:off x="8974604" y="3736899"/>
              <a:ext cx="1212150" cy="1194261"/>
            </a:xfrm>
            <a:custGeom>
              <a:avLst/>
              <a:gdLst>
                <a:gd name="connsiteX0" fmla="*/ 860047 w 860046"/>
                <a:gd name="connsiteY0" fmla="*/ 430023 h 860046"/>
                <a:gd name="connsiteX1" fmla="*/ 430023 w 860046"/>
                <a:gd name="connsiteY1" fmla="*/ 860047 h 860046"/>
                <a:gd name="connsiteX2" fmla="*/ 0 w 860046"/>
                <a:gd name="connsiteY2" fmla="*/ 430023 h 860046"/>
                <a:gd name="connsiteX3" fmla="*/ 430023 w 860046"/>
                <a:gd name="connsiteY3" fmla="*/ 0 h 860046"/>
                <a:gd name="connsiteX4" fmla="*/ 860047 w 860046"/>
                <a:gd name="connsiteY4" fmla="*/ 430023 h 8600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046" h="860046">
                  <a:moveTo>
                    <a:pt x="860047" y="430023"/>
                  </a:moveTo>
                  <a:cubicBezTo>
                    <a:pt x="860047" y="667519"/>
                    <a:pt x="667519" y="860047"/>
                    <a:pt x="430023" y="860047"/>
                  </a:cubicBezTo>
                  <a:cubicBezTo>
                    <a:pt x="192528" y="860047"/>
                    <a:pt x="0" y="667519"/>
                    <a:pt x="0" y="430023"/>
                  </a:cubicBezTo>
                  <a:cubicBezTo>
                    <a:pt x="0" y="192528"/>
                    <a:pt x="192528" y="0"/>
                    <a:pt x="430023" y="0"/>
                  </a:cubicBezTo>
                  <a:cubicBezTo>
                    <a:pt x="667519" y="0"/>
                    <a:pt x="860047" y="192528"/>
                    <a:pt x="860047" y="430023"/>
                  </a:cubicBezTo>
                  <a:close/>
                </a:path>
              </a:pathLst>
            </a:custGeom>
            <a:solidFill>
              <a:schemeClr val="accent2"/>
            </a:solidFill>
            <a:ln w="19117" cap="flat">
              <a:noFill/>
              <a:prstDash val="solid"/>
              <a:miter/>
            </a:ln>
          </p:spPr>
          <p:txBody>
            <a:bodyPr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457223"/>
              <a:endParaRPr lang="en-IN" sz="900">
                <a:solidFill>
                  <a:srgbClr val="000000"/>
                </a:solidFill>
                <a:latin typeface="Segoe UI" panose="020B0502040204020203" pitchFamily="34" charset="0"/>
                <a:cs typeface="Segoe UI" panose="020B0502040204020203" pitchFamily="34" charset="0"/>
              </a:endParaRPr>
            </a:p>
          </p:txBody>
        </p:sp>
        <p:sp>
          <p:nvSpPr>
            <p:cNvPr id="55" name="Freeform: Shape 54">
              <a:extLst>
                <a:ext uri="{FF2B5EF4-FFF2-40B4-BE49-F238E27FC236}">
                  <a16:creationId xmlns:a16="http://schemas.microsoft.com/office/drawing/2014/main" id="{249DFF0E-F55C-E791-7F63-FBD678A7B5A6}"/>
                </a:ext>
              </a:extLst>
            </p:cNvPr>
            <p:cNvSpPr/>
            <p:nvPr/>
          </p:nvSpPr>
          <p:spPr>
            <a:xfrm>
              <a:off x="8792622" y="5387330"/>
              <a:ext cx="7696723" cy="1546749"/>
            </a:xfrm>
            <a:custGeom>
              <a:avLst/>
              <a:gdLst>
                <a:gd name="connsiteX0" fmla="*/ 4903860 w 5460990"/>
                <a:gd name="connsiteY0" fmla="*/ 1113740 h 1113890"/>
                <a:gd name="connsiteX1" fmla="*/ 556951 w 5460990"/>
                <a:gd name="connsiteY1" fmla="*/ 1113740 h 1113890"/>
                <a:gd name="connsiteX2" fmla="*/ -90 w 5460990"/>
                <a:gd name="connsiteY2" fmla="*/ 556699 h 1113890"/>
                <a:gd name="connsiteX3" fmla="*/ -90 w 5460990"/>
                <a:gd name="connsiteY3" fmla="*/ 556699 h 1113890"/>
                <a:gd name="connsiteX4" fmla="*/ 556760 w 5460990"/>
                <a:gd name="connsiteY4" fmla="*/ -150 h 1113890"/>
                <a:gd name="connsiteX5" fmla="*/ 556951 w 5460990"/>
                <a:gd name="connsiteY5" fmla="*/ -150 h 1113890"/>
                <a:gd name="connsiteX6" fmla="*/ 4903860 w 5460990"/>
                <a:gd name="connsiteY6" fmla="*/ -150 h 1113890"/>
                <a:gd name="connsiteX7" fmla="*/ 5460900 w 5460990"/>
                <a:gd name="connsiteY7" fmla="*/ 556508 h 1113890"/>
                <a:gd name="connsiteX8" fmla="*/ 5460900 w 5460990"/>
                <a:gd name="connsiteY8" fmla="*/ 556699 h 1113890"/>
                <a:gd name="connsiteX9" fmla="*/ 5460900 w 5460990"/>
                <a:gd name="connsiteY9" fmla="*/ 556699 h 1113890"/>
                <a:gd name="connsiteX10" fmla="*/ 4904243 w 5460990"/>
                <a:gd name="connsiteY10" fmla="*/ 1113740 h 1113890"/>
                <a:gd name="connsiteX11" fmla="*/ 4903860 w 5460990"/>
                <a:gd name="connsiteY11" fmla="*/ 1113740 h 111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60990" h="1113890">
                  <a:moveTo>
                    <a:pt x="4903860" y="1113740"/>
                  </a:moveTo>
                  <a:lnTo>
                    <a:pt x="556951" y="1113740"/>
                  </a:lnTo>
                  <a:cubicBezTo>
                    <a:pt x="249297" y="1113740"/>
                    <a:pt x="-90" y="864353"/>
                    <a:pt x="-90" y="556699"/>
                  </a:cubicBezTo>
                  <a:lnTo>
                    <a:pt x="-90" y="556699"/>
                  </a:lnTo>
                  <a:cubicBezTo>
                    <a:pt x="-90" y="249160"/>
                    <a:pt x="249220" y="-150"/>
                    <a:pt x="556760" y="-150"/>
                  </a:cubicBezTo>
                  <a:cubicBezTo>
                    <a:pt x="556817" y="-150"/>
                    <a:pt x="556894" y="-150"/>
                    <a:pt x="556951" y="-150"/>
                  </a:cubicBezTo>
                  <a:lnTo>
                    <a:pt x="4903860" y="-150"/>
                  </a:lnTo>
                  <a:cubicBezTo>
                    <a:pt x="5211400" y="-265"/>
                    <a:pt x="5460786" y="248969"/>
                    <a:pt x="5460900" y="556508"/>
                  </a:cubicBezTo>
                  <a:cubicBezTo>
                    <a:pt x="5460900" y="556565"/>
                    <a:pt x="5460900" y="556642"/>
                    <a:pt x="5460900" y="556699"/>
                  </a:cubicBezTo>
                  <a:lnTo>
                    <a:pt x="5460900" y="556699"/>
                  </a:lnTo>
                  <a:cubicBezTo>
                    <a:pt x="5461016" y="864239"/>
                    <a:pt x="5211782" y="1113625"/>
                    <a:pt x="4904243" y="1113740"/>
                  </a:cubicBezTo>
                  <a:cubicBezTo>
                    <a:pt x="4904108" y="1113740"/>
                    <a:pt x="4903994" y="1113740"/>
                    <a:pt x="4903860" y="1113740"/>
                  </a:cubicBezTo>
                  <a:close/>
                </a:path>
              </a:pathLst>
            </a:custGeom>
            <a:solidFill>
              <a:schemeClr val="accent3"/>
            </a:solidFill>
            <a:ln w="19117" cap="flat">
              <a:solidFill>
                <a:schemeClr val="accent3"/>
              </a:solidFill>
              <a:prstDash val="solid"/>
              <a:miter/>
            </a:ln>
          </p:spPr>
          <p:txBody>
            <a:bodyPr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457223"/>
              <a:endParaRPr lang="en-IN" sz="900">
                <a:solidFill>
                  <a:srgbClr val="000000"/>
                </a:solidFill>
                <a:latin typeface="Segoe UI" panose="020B0502040204020203" pitchFamily="34" charset="0"/>
                <a:cs typeface="Segoe UI" panose="020B0502040204020203" pitchFamily="34" charset="0"/>
              </a:endParaRPr>
            </a:p>
          </p:txBody>
        </p:sp>
        <p:sp>
          <p:nvSpPr>
            <p:cNvPr id="56" name="Freeform: Shape 55">
              <a:extLst>
                <a:ext uri="{FF2B5EF4-FFF2-40B4-BE49-F238E27FC236}">
                  <a16:creationId xmlns:a16="http://schemas.microsoft.com/office/drawing/2014/main" id="{0B490D58-742F-8513-B0A0-1CCD9C12DBA3}"/>
                </a:ext>
              </a:extLst>
            </p:cNvPr>
            <p:cNvSpPr/>
            <p:nvPr/>
          </p:nvSpPr>
          <p:spPr>
            <a:xfrm>
              <a:off x="8974604" y="5559192"/>
              <a:ext cx="1212150" cy="1194261"/>
            </a:xfrm>
            <a:custGeom>
              <a:avLst/>
              <a:gdLst>
                <a:gd name="connsiteX0" fmla="*/ 860047 w 860046"/>
                <a:gd name="connsiteY0" fmla="*/ 430023 h 860046"/>
                <a:gd name="connsiteX1" fmla="*/ 430023 w 860046"/>
                <a:gd name="connsiteY1" fmla="*/ 860047 h 860046"/>
                <a:gd name="connsiteX2" fmla="*/ 0 w 860046"/>
                <a:gd name="connsiteY2" fmla="*/ 430023 h 860046"/>
                <a:gd name="connsiteX3" fmla="*/ 430023 w 860046"/>
                <a:gd name="connsiteY3" fmla="*/ 0 h 860046"/>
                <a:gd name="connsiteX4" fmla="*/ 860047 w 860046"/>
                <a:gd name="connsiteY4" fmla="*/ 430023 h 8600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046" h="860046">
                  <a:moveTo>
                    <a:pt x="860047" y="430023"/>
                  </a:moveTo>
                  <a:cubicBezTo>
                    <a:pt x="860047" y="667519"/>
                    <a:pt x="667519" y="860047"/>
                    <a:pt x="430023" y="860047"/>
                  </a:cubicBezTo>
                  <a:cubicBezTo>
                    <a:pt x="192528" y="860047"/>
                    <a:pt x="0" y="667519"/>
                    <a:pt x="0" y="430023"/>
                  </a:cubicBezTo>
                  <a:cubicBezTo>
                    <a:pt x="0" y="192528"/>
                    <a:pt x="192528" y="0"/>
                    <a:pt x="430023" y="0"/>
                  </a:cubicBezTo>
                  <a:cubicBezTo>
                    <a:pt x="667519" y="0"/>
                    <a:pt x="860047" y="192528"/>
                    <a:pt x="860047" y="430023"/>
                  </a:cubicBezTo>
                  <a:close/>
                </a:path>
              </a:pathLst>
            </a:custGeom>
            <a:solidFill>
              <a:schemeClr val="accent3">
                <a:lumMod val="60000"/>
                <a:lumOff val="40000"/>
              </a:schemeClr>
            </a:solidFill>
            <a:ln w="19117" cap="flat">
              <a:noFill/>
              <a:prstDash val="solid"/>
              <a:miter/>
            </a:ln>
          </p:spPr>
          <p:txBody>
            <a:bodyPr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457223"/>
              <a:endParaRPr lang="en-IN" sz="900">
                <a:solidFill>
                  <a:srgbClr val="000000"/>
                </a:solidFill>
                <a:latin typeface="Segoe UI" panose="020B0502040204020203" pitchFamily="34" charset="0"/>
                <a:cs typeface="Segoe UI" panose="020B0502040204020203" pitchFamily="34" charset="0"/>
              </a:endParaRPr>
            </a:p>
          </p:txBody>
        </p:sp>
        <p:sp>
          <p:nvSpPr>
            <p:cNvPr id="57" name="Freeform: Shape 56">
              <a:extLst>
                <a:ext uri="{FF2B5EF4-FFF2-40B4-BE49-F238E27FC236}">
                  <a16:creationId xmlns:a16="http://schemas.microsoft.com/office/drawing/2014/main" id="{217D5D1E-DDD3-0C34-F4B9-2F69B4783574}"/>
                </a:ext>
              </a:extLst>
            </p:cNvPr>
            <p:cNvSpPr/>
            <p:nvPr/>
          </p:nvSpPr>
          <p:spPr>
            <a:xfrm>
              <a:off x="8792622" y="7183978"/>
              <a:ext cx="7696723" cy="1546749"/>
            </a:xfrm>
            <a:custGeom>
              <a:avLst/>
              <a:gdLst>
                <a:gd name="connsiteX0" fmla="*/ 4903860 w 5460990"/>
                <a:gd name="connsiteY0" fmla="*/ 1113740 h 1113890"/>
                <a:gd name="connsiteX1" fmla="*/ 556951 w 5460990"/>
                <a:gd name="connsiteY1" fmla="*/ 1113740 h 1113890"/>
                <a:gd name="connsiteX2" fmla="*/ -90 w 5460990"/>
                <a:gd name="connsiteY2" fmla="*/ 556699 h 1113890"/>
                <a:gd name="connsiteX3" fmla="*/ -90 w 5460990"/>
                <a:gd name="connsiteY3" fmla="*/ 556699 h 1113890"/>
                <a:gd name="connsiteX4" fmla="*/ 556760 w 5460990"/>
                <a:gd name="connsiteY4" fmla="*/ -150 h 1113890"/>
                <a:gd name="connsiteX5" fmla="*/ 556951 w 5460990"/>
                <a:gd name="connsiteY5" fmla="*/ -150 h 1113890"/>
                <a:gd name="connsiteX6" fmla="*/ 4903860 w 5460990"/>
                <a:gd name="connsiteY6" fmla="*/ -150 h 1113890"/>
                <a:gd name="connsiteX7" fmla="*/ 5460900 w 5460990"/>
                <a:gd name="connsiteY7" fmla="*/ 556508 h 1113890"/>
                <a:gd name="connsiteX8" fmla="*/ 5460900 w 5460990"/>
                <a:gd name="connsiteY8" fmla="*/ 556699 h 1113890"/>
                <a:gd name="connsiteX9" fmla="*/ 5460900 w 5460990"/>
                <a:gd name="connsiteY9" fmla="*/ 556699 h 1113890"/>
                <a:gd name="connsiteX10" fmla="*/ 4904243 w 5460990"/>
                <a:gd name="connsiteY10" fmla="*/ 1113740 h 1113890"/>
                <a:gd name="connsiteX11" fmla="*/ 4903860 w 5460990"/>
                <a:gd name="connsiteY11" fmla="*/ 1113740 h 111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60990" h="1113890">
                  <a:moveTo>
                    <a:pt x="4903860" y="1113740"/>
                  </a:moveTo>
                  <a:lnTo>
                    <a:pt x="556951" y="1113740"/>
                  </a:lnTo>
                  <a:cubicBezTo>
                    <a:pt x="249297" y="1113740"/>
                    <a:pt x="-90" y="864353"/>
                    <a:pt x="-90" y="556699"/>
                  </a:cubicBezTo>
                  <a:lnTo>
                    <a:pt x="-90" y="556699"/>
                  </a:lnTo>
                  <a:cubicBezTo>
                    <a:pt x="-90" y="249160"/>
                    <a:pt x="249220" y="-150"/>
                    <a:pt x="556760" y="-150"/>
                  </a:cubicBezTo>
                  <a:cubicBezTo>
                    <a:pt x="556817" y="-150"/>
                    <a:pt x="556894" y="-150"/>
                    <a:pt x="556951" y="-150"/>
                  </a:cubicBezTo>
                  <a:lnTo>
                    <a:pt x="4903860" y="-150"/>
                  </a:lnTo>
                  <a:cubicBezTo>
                    <a:pt x="5211400" y="-265"/>
                    <a:pt x="5460786" y="248969"/>
                    <a:pt x="5460900" y="556508"/>
                  </a:cubicBezTo>
                  <a:cubicBezTo>
                    <a:pt x="5460900" y="556565"/>
                    <a:pt x="5460900" y="556642"/>
                    <a:pt x="5460900" y="556699"/>
                  </a:cubicBezTo>
                  <a:lnTo>
                    <a:pt x="5460900" y="556699"/>
                  </a:lnTo>
                  <a:cubicBezTo>
                    <a:pt x="5461016" y="864239"/>
                    <a:pt x="5211782" y="1113625"/>
                    <a:pt x="4904243" y="1113740"/>
                  </a:cubicBezTo>
                  <a:cubicBezTo>
                    <a:pt x="4904108" y="1113740"/>
                    <a:pt x="4903994" y="1113740"/>
                    <a:pt x="4903860" y="1113740"/>
                  </a:cubicBezTo>
                  <a:close/>
                </a:path>
              </a:pathLst>
            </a:custGeom>
            <a:solidFill>
              <a:schemeClr val="accent6">
                <a:lumMod val="40000"/>
                <a:lumOff val="60000"/>
              </a:schemeClr>
            </a:solidFill>
            <a:ln w="19117" cap="flat">
              <a:noFill/>
              <a:prstDash val="solid"/>
              <a:miter/>
            </a:ln>
          </p:spPr>
          <p:txBody>
            <a:bodyPr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457223"/>
              <a:endParaRPr lang="en-IN" sz="900">
                <a:solidFill>
                  <a:srgbClr val="000000"/>
                </a:solidFill>
                <a:latin typeface="Segoe UI" panose="020B0502040204020203" pitchFamily="34" charset="0"/>
                <a:cs typeface="Segoe UI" panose="020B0502040204020203" pitchFamily="34" charset="0"/>
              </a:endParaRPr>
            </a:p>
          </p:txBody>
        </p:sp>
        <p:sp>
          <p:nvSpPr>
            <p:cNvPr id="58" name="Freeform: Shape 57">
              <a:extLst>
                <a:ext uri="{FF2B5EF4-FFF2-40B4-BE49-F238E27FC236}">
                  <a16:creationId xmlns:a16="http://schemas.microsoft.com/office/drawing/2014/main" id="{1CB1BA78-9699-A8DD-4741-A9A5D9F27BC6}"/>
                </a:ext>
              </a:extLst>
            </p:cNvPr>
            <p:cNvSpPr/>
            <p:nvPr/>
          </p:nvSpPr>
          <p:spPr>
            <a:xfrm>
              <a:off x="8974604" y="7381484"/>
              <a:ext cx="1212150" cy="1194261"/>
            </a:xfrm>
            <a:custGeom>
              <a:avLst/>
              <a:gdLst>
                <a:gd name="connsiteX0" fmla="*/ 860047 w 860046"/>
                <a:gd name="connsiteY0" fmla="*/ 430023 h 860046"/>
                <a:gd name="connsiteX1" fmla="*/ 430023 w 860046"/>
                <a:gd name="connsiteY1" fmla="*/ 860047 h 860046"/>
                <a:gd name="connsiteX2" fmla="*/ 0 w 860046"/>
                <a:gd name="connsiteY2" fmla="*/ 430023 h 860046"/>
                <a:gd name="connsiteX3" fmla="*/ 430023 w 860046"/>
                <a:gd name="connsiteY3" fmla="*/ 0 h 860046"/>
                <a:gd name="connsiteX4" fmla="*/ 860047 w 860046"/>
                <a:gd name="connsiteY4" fmla="*/ 430023 h 8600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046" h="860046">
                  <a:moveTo>
                    <a:pt x="860047" y="430023"/>
                  </a:moveTo>
                  <a:cubicBezTo>
                    <a:pt x="860047" y="667519"/>
                    <a:pt x="667519" y="860047"/>
                    <a:pt x="430023" y="860047"/>
                  </a:cubicBezTo>
                  <a:cubicBezTo>
                    <a:pt x="192528" y="860047"/>
                    <a:pt x="0" y="667519"/>
                    <a:pt x="0" y="430023"/>
                  </a:cubicBezTo>
                  <a:cubicBezTo>
                    <a:pt x="0" y="192528"/>
                    <a:pt x="192528" y="0"/>
                    <a:pt x="430023" y="0"/>
                  </a:cubicBezTo>
                  <a:cubicBezTo>
                    <a:pt x="667519" y="0"/>
                    <a:pt x="860047" y="192528"/>
                    <a:pt x="860047" y="430023"/>
                  </a:cubicBezTo>
                  <a:close/>
                </a:path>
              </a:pathLst>
            </a:custGeom>
            <a:solidFill>
              <a:schemeClr val="accent6"/>
            </a:solidFill>
            <a:ln w="19117" cap="flat">
              <a:noFill/>
              <a:prstDash val="solid"/>
              <a:miter/>
            </a:ln>
          </p:spPr>
          <p:txBody>
            <a:bodyPr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457223"/>
              <a:endParaRPr lang="en-IN" sz="900">
                <a:solidFill>
                  <a:srgbClr val="000000"/>
                </a:solidFill>
                <a:latin typeface="Segoe UI" panose="020B0502040204020203" pitchFamily="34" charset="0"/>
                <a:cs typeface="Segoe UI" panose="020B0502040204020203" pitchFamily="34" charset="0"/>
              </a:endParaRPr>
            </a:p>
          </p:txBody>
        </p:sp>
        <p:sp>
          <p:nvSpPr>
            <p:cNvPr id="59" name="TextBox 58">
              <a:extLst>
                <a:ext uri="{FF2B5EF4-FFF2-40B4-BE49-F238E27FC236}">
                  <a16:creationId xmlns:a16="http://schemas.microsoft.com/office/drawing/2014/main" id="{59EFA2FB-26FD-2F2F-B4FF-701AC1B6E66C}"/>
                </a:ext>
              </a:extLst>
            </p:cNvPr>
            <p:cNvSpPr txBox="1"/>
            <p:nvPr/>
          </p:nvSpPr>
          <p:spPr>
            <a:xfrm>
              <a:off x="10240939" y="1919225"/>
              <a:ext cx="5778895" cy="1226309"/>
            </a:xfrm>
            <a:prstGeom prst="rect">
              <a:avLst/>
            </a:prstGeom>
            <a:noFill/>
          </p:spPr>
          <p:txBody>
            <a:bodyPr wrap="square" rtlCol="0">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defTabSz="457223"/>
              <a:r>
                <a:rPr lang="en-US" sz="2667" b="1">
                  <a:solidFill>
                    <a:schemeClr val="accent1">
                      <a:lumMod val="75000"/>
                    </a:schemeClr>
                  </a:solidFill>
                  <a:latin typeface="+mj-lt"/>
                  <a:cs typeface="Segoe UI" panose="020B0502040204020203" pitchFamily="34" charset="0"/>
                </a:rPr>
                <a:t>Get ready for a </a:t>
              </a:r>
              <a:r>
                <a:rPr lang="en-US" sz="2667" b="1">
                  <a:solidFill>
                    <a:schemeClr val="bg1"/>
                  </a:solidFill>
                  <a:latin typeface="+mj-lt"/>
                  <a:cs typeface="Segoe UI" panose="020B0502040204020203" pitchFamily="34" charset="0"/>
                </a:rPr>
                <a:t>fun day </a:t>
              </a:r>
              <a:r>
                <a:rPr lang="en-US" sz="2667" b="1">
                  <a:solidFill>
                    <a:schemeClr val="accent1">
                      <a:lumMod val="75000"/>
                    </a:schemeClr>
                  </a:solidFill>
                  <a:latin typeface="+mj-lt"/>
                  <a:cs typeface="Segoe UI" panose="020B0502040204020203" pitchFamily="34" charset="0"/>
                </a:rPr>
                <a:t>of learning and collaboration!</a:t>
              </a:r>
              <a:endParaRPr lang="en-IN" sz="2667" b="1">
                <a:solidFill>
                  <a:schemeClr val="accent1">
                    <a:lumMod val="75000"/>
                  </a:schemeClr>
                </a:solidFill>
                <a:latin typeface="+mj-lt"/>
                <a:cs typeface="Segoe UI" panose="020B0502040204020203" pitchFamily="34" charset="0"/>
              </a:endParaRPr>
            </a:p>
          </p:txBody>
        </p:sp>
        <p:sp>
          <p:nvSpPr>
            <p:cNvPr id="60" name="TextBox 59">
              <a:extLst>
                <a:ext uri="{FF2B5EF4-FFF2-40B4-BE49-F238E27FC236}">
                  <a16:creationId xmlns:a16="http://schemas.microsoft.com/office/drawing/2014/main" id="{ECE5FC4E-71D7-85DF-84E0-D864DE9D9043}"/>
                </a:ext>
              </a:extLst>
            </p:cNvPr>
            <p:cNvSpPr txBox="1"/>
            <p:nvPr/>
          </p:nvSpPr>
          <p:spPr>
            <a:xfrm>
              <a:off x="10027499" y="3563138"/>
              <a:ext cx="6219502" cy="1625572"/>
            </a:xfrm>
            <a:prstGeom prst="rect">
              <a:avLst/>
            </a:prstGeom>
            <a:noFill/>
          </p:spPr>
          <p:txBody>
            <a:bodyPr wrap="square" rtlCol="0">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defTabSz="457223"/>
              <a:r>
                <a:rPr lang="en-US" sz="2400" b="1">
                  <a:solidFill>
                    <a:schemeClr val="accent2">
                      <a:lumMod val="50000"/>
                    </a:schemeClr>
                  </a:solidFill>
                  <a:latin typeface="+mj-lt"/>
                  <a:cs typeface="Segoe UI" panose="020B0502040204020203" pitchFamily="34" charset="0"/>
                </a:rPr>
                <a:t>Get excited to </a:t>
              </a:r>
              <a:r>
                <a:rPr lang="en-US" sz="2400" b="1">
                  <a:solidFill>
                    <a:schemeClr val="accent3">
                      <a:lumMod val="20000"/>
                      <a:lumOff val="80000"/>
                    </a:schemeClr>
                  </a:solidFill>
                  <a:latin typeface="+mj-lt"/>
                  <a:cs typeface="Segoe UI" panose="020B0502040204020203" pitchFamily="34" charset="0"/>
                </a:rPr>
                <a:t>celebrate hospital team success</a:t>
              </a:r>
              <a:r>
                <a:rPr lang="en-US" sz="2400" b="1">
                  <a:solidFill>
                    <a:schemeClr val="accent2">
                      <a:lumMod val="20000"/>
                      <a:lumOff val="80000"/>
                    </a:schemeClr>
                  </a:solidFill>
                  <a:latin typeface="+mj-lt"/>
                  <a:cs typeface="Segoe UI" panose="020B0502040204020203" pitchFamily="34" charset="0"/>
                </a:rPr>
                <a:t> </a:t>
              </a:r>
              <a:r>
                <a:rPr lang="en-US" sz="2400" b="1">
                  <a:solidFill>
                    <a:schemeClr val="accent2">
                      <a:lumMod val="50000"/>
                    </a:schemeClr>
                  </a:solidFill>
                  <a:latin typeface="+mj-lt"/>
                  <a:cs typeface="Segoe UI" panose="020B0502040204020203" pitchFamily="34" charset="0"/>
                </a:rPr>
                <a:t>and storyboards </a:t>
              </a:r>
              <a:br>
                <a:rPr lang="en-US" sz="2400" b="1">
                  <a:solidFill>
                    <a:schemeClr val="accent2">
                      <a:lumMod val="50000"/>
                    </a:schemeClr>
                  </a:solidFill>
                  <a:latin typeface="+mj-lt"/>
                  <a:cs typeface="Segoe UI" panose="020B0502040204020203" pitchFamily="34" charset="0"/>
                </a:rPr>
              </a:br>
              <a:r>
                <a:rPr lang="en-US" sz="2400" b="1">
                  <a:solidFill>
                    <a:schemeClr val="accent2">
                      <a:lumMod val="50000"/>
                    </a:schemeClr>
                  </a:solidFill>
                  <a:latin typeface="+mj-lt"/>
                  <a:cs typeface="Segoe UI" panose="020B0502040204020203" pitchFamily="34" charset="0"/>
                </a:rPr>
                <a:t>from around the state!</a:t>
              </a:r>
              <a:endParaRPr lang="en-IN" sz="2400" b="1">
                <a:solidFill>
                  <a:schemeClr val="accent2">
                    <a:lumMod val="50000"/>
                  </a:schemeClr>
                </a:solidFill>
                <a:latin typeface="+mj-lt"/>
                <a:cs typeface="Segoe UI" panose="020B0502040204020203" pitchFamily="34" charset="0"/>
              </a:endParaRPr>
            </a:p>
          </p:txBody>
        </p:sp>
        <p:sp>
          <p:nvSpPr>
            <p:cNvPr id="61" name="TextBox 60">
              <a:extLst>
                <a:ext uri="{FF2B5EF4-FFF2-40B4-BE49-F238E27FC236}">
                  <a16:creationId xmlns:a16="http://schemas.microsoft.com/office/drawing/2014/main" id="{AE736319-295E-5DE6-242B-9F1E5B0B70D6}"/>
                </a:ext>
              </a:extLst>
            </p:cNvPr>
            <p:cNvSpPr txBox="1"/>
            <p:nvPr/>
          </p:nvSpPr>
          <p:spPr>
            <a:xfrm>
              <a:off x="10186754" y="5630992"/>
              <a:ext cx="6060247" cy="1112235"/>
            </a:xfrm>
            <a:prstGeom prst="rect">
              <a:avLst/>
            </a:prstGeom>
            <a:noFill/>
          </p:spPr>
          <p:txBody>
            <a:bodyPr wrap="square" rtlCol="0">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defTabSz="457223"/>
              <a:r>
                <a:rPr lang="en-US" sz="2400" b="1">
                  <a:solidFill>
                    <a:schemeClr val="accent3">
                      <a:lumMod val="20000"/>
                      <a:lumOff val="80000"/>
                    </a:schemeClr>
                  </a:solidFill>
                  <a:latin typeface="+mj-lt"/>
                  <a:cs typeface="Segoe UI" panose="020B0502040204020203" pitchFamily="34" charset="0"/>
                </a:rPr>
                <a:t>Prepare to share and learn in two engaging breakout sessions</a:t>
              </a:r>
              <a:endParaRPr lang="en-IN" sz="2400" b="1">
                <a:solidFill>
                  <a:schemeClr val="accent3">
                    <a:lumMod val="20000"/>
                    <a:lumOff val="80000"/>
                  </a:schemeClr>
                </a:solidFill>
                <a:latin typeface="+mj-lt"/>
                <a:cs typeface="Segoe UI" panose="020B0502040204020203" pitchFamily="34" charset="0"/>
              </a:endParaRPr>
            </a:p>
          </p:txBody>
        </p:sp>
        <p:sp>
          <p:nvSpPr>
            <p:cNvPr id="62" name="TextBox 61">
              <a:extLst>
                <a:ext uri="{FF2B5EF4-FFF2-40B4-BE49-F238E27FC236}">
                  <a16:creationId xmlns:a16="http://schemas.microsoft.com/office/drawing/2014/main" id="{C991F48D-569C-6053-09B3-519A98A4EF39}"/>
                </a:ext>
              </a:extLst>
            </p:cNvPr>
            <p:cNvSpPr txBox="1"/>
            <p:nvPr/>
          </p:nvSpPr>
          <p:spPr>
            <a:xfrm>
              <a:off x="10059936" y="7291955"/>
              <a:ext cx="6428156" cy="1112234"/>
            </a:xfrm>
            <a:prstGeom prst="rect">
              <a:avLst/>
            </a:prstGeom>
            <a:noFill/>
          </p:spPr>
          <p:txBody>
            <a:bodyPr wrap="square" rtlCol="0">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fontAlgn="base"/>
              <a:r>
                <a:rPr lang="en-US" sz="2400" b="1">
                  <a:solidFill>
                    <a:schemeClr val="accent6">
                      <a:lumMod val="50000"/>
                    </a:schemeClr>
                  </a:solidFill>
                  <a:latin typeface="+mj-lt"/>
                </a:rPr>
                <a:t>We hope you meet </a:t>
              </a:r>
              <a:r>
                <a:rPr lang="en-US" sz="2400" b="1">
                  <a:solidFill>
                    <a:schemeClr val="accent6">
                      <a:lumMod val="75000"/>
                    </a:schemeClr>
                  </a:solidFill>
                  <a:latin typeface="+mj-lt"/>
                </a:rPr>
                <a:t>new colleagues, get inspired </a:t>
              </a:r>
              <a:r>
                <a:rPr lang="en-US" sz="2400" b="1">
                  <a:solidFill>
                    <a:schemeClr val="accent6">
                      <a:lumMod val="50000"/>
                    </a:schemeClr>
                  </a:solidFill>
                  <a:latin typeface="+mj-lt"/>
                </a:rPr>
                <a:t>to make change happen!</a:t>
              </a:r>
            </a:p>
          </p:txBody>
        </p:sp>
        <p:sp>
          <p:nvSpPr>
            <p:cNvPr id="18" name="Freeform 60">
              <a:extLst>
                <a:ext uri="{FF2B5EF4-FFF2-40B4-BE49-F238E27FC236}">
                  <a16:creationId xmlns:a16="http://schemas.microsoft.com/office/drawing/2014/main" id="{D66A60E8-6C15-1FDF-AE79-8CCC07A38CDE}"/>
                </a:ext>
              </a:extLst>
            </p:cNvPr>
            <p:cNvSpPr/>
            <p:nvPr/>
          </p:nvSpPr>
          <p:spPr>
            <a:xfrm>
              <a:off x="9171117" y="2073952"/>
              <a:ext cx="800728" cy="782448"/>
            </a:xfrm>
            <a:custGeom>
              <a:avLst/>
              <a:gdLst/>
              <a:ahLst/>
              <a:cxnLst/>
              <a:rect l="l" t="t" r="r" b="b"/>
              <a:pathLst>
                <a:path w="691717" h="626868">
                  <a:moveTo>
                    <a:pt x="0" y="0"/>
                  </a:moveTo>
                  <a:lnTo>
                    <a:pt x="691717" y="0"/>
                  </a:lnTo>
                  <a:lnTo>
                    <a:pt x="691717" y="626868"/>
                  </a:lnTo>
                  <a:lnTo>
                    <a:pt x="0" y="626868"/>
                  </a:lnTo>
                  <a:lnTo>
                    <a:pt x="0" y="0"/>
                  </a:lnTo>
                  <a:close/>
                </a:path>
              </a:pathLst>
            </a:custGeom>
            <a:blipFill>
              <a:blip>
                <a:extLst>
                  <a:ext uri="{96DAC541-7B7A-43D3-8B79-37D633B846F1}">
                    <asvg:svgBlip xmlns:asvg="http://schemas.microsoft.com/office/drawing/2016/SVG/main" r:embed="rId13"/>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19" name="Freeform 60">
              <a:extLst>
                <a:ext uri="{FF2B5EF4-FFF2-40B4-BE49-F238E27FC236}">
                  <a16:creationId xmlns:a16="http://schemas.microsoft.com/office/drawing/2014/main" id="{ADE0FF85-B219-47CD-DD60-C7510CF73257}"/>
                </a:ext>
              </a:extLst>
            </p:cNvPr>
            <p:cNvSpPr/>
            <p:nvPr/>
          </p:nvSpPr>
          <p:spPr>
            <a:xfrm>
              <a:off x="9144000" y="3959926"/>
              <a:ext cx="800728" cy="782448"/>
            </a:xfrm>
            <a:custGeom>
              <a:avLst/>
              <a:gdLst/>
              <a:ahLst/>
              <a:cxnLst/>
              <a:rect l="l" t="t" r="r" b="b"/>
              <a:pathLst>
                <a:path w="691717" h="626868">
                  <a:moveTo>
                    <a:pt x="0" y="0"/>
                  </a:moveTo>
                  <a:lnTo>
                    <a:pt x="691717" y="0"/>
                  </a:lnTo>
                  <a:lnTo>
                    <a:pt x="691717" y="626868"/>
                  </a:lnTo>
                  <a:lnTo>
                    <a:pt x="0" y="626868"/>
                  </a:lnTo>
                  <a:lnTo>
                    <a:pt x="0" y="0"/>
                  </a:lnTo>
                  <a:close/>
                </a:path>
              </a:pathLst>
            </a:custGeom>
            <a:blipFill>
              <a:blip>
                <a:extLst>
                  <a:ext uri="{96DAC541-7B7A-43D3-8B79-37D633B846F1}">
                    <asvg:svgBlip xmlns:asvg="http://schemas.microsoft.com/office/drawing/2016/SVG/main" r:embed="rId13"/>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20" name="Freeform 60">
              <a:extLst>
                <a:ext uri="{FF2B5EF4-FFF2-40B4-BE49-F238E27FC236}">
                  <a16:creationId xmlns:a16="http://schemas.microsoft.com/office/drawing/2014/main" id="{603ED2A0-0D91-BA3F-CA00-EEECA1AF6F10}"/>
                </a:ext>
              </a:extLst>
            </p:cNvPr>
            <p:cNvSpPr/>
            <p:nvPr/>
          </p:nvSpPr>
          <p:spPr>
            <a:xfrm>
              <a:off x="9160985" y="5765098"/>
              <a:ext cx="800728" cy="782448"/>
            </a:xfrm>
            <a:custGeom>
              <a:avLst/>
              <a:gdLst/>
              <a:ahLst/>
              <a:cxnLst/>
              <a:rect l="l" t="t" r="r" b="b"/>
              <a:pathLst>
                <a:path w="691717" h="626868">
                  <a:moveTo>
                    <a:pt x="0" y="0"/>
                  </a:moveTo>
                  <a:lnTo>
                    <a:pt x="691717" y="0"/>
                  </a:lnTo>
                  <a:lnTo>
                    <a:pt x="691717" y="626868"/>
                  </a:lnTo>
                  <a:lnTo>
                    <a:pt x="0" y="626868"/>
                  </a:lnTo>
                  <a:lnTo>
                    <a:pt x="0" y="0"/>
                  </a:lnTo>
                  <a:close/>
                </a:path>
              </a:pathLst>
            </a:custGeom>
            <a:blipFill>
              <a:blip>
                <a:extLst>
                  <a:ext uri="{96DAC541-7B7A-43D3-8B79-37D633B846F1}">
                    <asvg:svgBlip xmlns:asvg="http://schemas.microsoft.com/office/drawing/2016/SVG/main" r:embed="rId13"/>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21" name="Freeform 60">
              <a:extLst>
                <a:ext uri="{FF2B5EF4-FFF2-40B4-BE49-F238E27FC236}">
                  <a16:creationId xmlns:a16="http://schemas.microsoft.com/office/drawing/2014/main" id="{60CB3BD3-9EF6-E4A4-E765-8432F8BF7494}"/>
                </a:ext>
              </a:extLst>
            </p:cNvPr>
            <p:cNvSpPr/>
            <p:nvPr/>
          </p:nvSpPr>
          <p:spPr>
            <a:xfrm>
              <a:off x="9177970" y="7570270"/>
              <a:ext cx="800728" cy="782448"/>
            </a:xfrm>
            <a:custGeom>
              <a:avLst/>
              <a:gdLst/>
              <a:ahLst/>
              <a:cxnLst/>
              <a:rect l="l" t="t" r="r" b="b"/>
              <a:pathLst>
                <a:path w="691717" h="626868">
                  <a:moveTo>
                    <a:pt x="0" y="0"/>
                  </a:moveTo>
                  <a:lnTo>
                    <a:pt x="691717" y="0"/>
                  </a:lnTo>
                  <a:lnTo>
                    <a:pt x="691717" y="626868"/>
                  </a:lnTo>
                  <a:lnTo>
                    <a:pt x="0" y="626868"/>
                  </a:lnTo>
                  <a:lnTo>
                    <a:pt x="0" y="0"/>
                  </a:lnTo>
                  <a:close/>
                </a:path>
              </a:pathLst>
            </a:custGeom>
            <a:blipFill>
              <a:blip>
                <a:extLst>
                  <a:ext uri="{96DAC541-7B7A-43D3-8B79-37D633B846F1}">
                    <asvg:svgBlip xmlns:asvg="http://schemas.microsoft.com/office/drawing/2016/SVG/main" r:embed="rId13"/>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grpSp>
      <p:sp>
        <p:nvSpPr>
          <p:cNvPr id="22" name="Freeform 17"/>
          <p:cNvSpPr/>
          <p:nvPr/>
        </p:nvSpPr>
        <p:spPr>
          <a:xfrm rot="156884">
            <a:off x="158714" y="232813"/>
            <a:ext cx="1043557" cy="1180897"/>
          </a:xfrm>
          <a:custGeom>
            <a:avLst/>
            <a:gdLst/>
            <a:ahLst/>
            <a:cxnLst/>
            <a:rect l="l" t="t" r="r" b="b"/>
            <a:pathLst>
              <a:path w="10275513" h="10224135">
                <a:moveTo>
                  <a:pt x="0" y="0"/>
                </a:moveTo>
                <a:lnTo>
                  <a:pt x="10275513" y="0"/>
                </a:lnTo>
                <a:lnTo>
                  <a:pt x="10275513" y="10224135"/>
                </a:lnTo>
                <a:lnTo>
                  <a:pt x="0" y="10224135"/>
                </a:lnTo>
                <a:lnTo>
                  <a:pt x="0" y="0"/>
                </a:lnTo>
                <a:close/>
              </a:path>
            </a:pathLst>
          </a:custGeom>
          <a:blipFill>
            <a:blip>
              <a:extLst>
                <a:ext uri="{96DAC541-7B7A-43D3-8B79-37D633B846F1}">
                  <asvg:svgBlip xmlns:asvg="http://schemas.microsoft.com/office/drawing/2016/SVG/main" r:embed="rId14"/>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3" name="Freeform 2">
            <a:extLst>
              <a:ext uri="{FF2B5EF4-FFF2-40B4-BE49-F238E27FC236}">
                <a16:creationId xmlns:a16="http://schemas.microsoft.com/office/drawing/2014/main" id="{2A6C526A-3802-8FEF-456D-1CA00E2D6B77}"/>
              </a:ext>
            </a:extLst>
          </p:cNvPr>
          <p:cNvSpPr/>
          <p:nvPr/>
        </p:nvSpPr>
        <p:spPr>
          <a:xfrm>
            <a:off x="8938000" y="5962980"/>
            <a:ext cx="5672817" cy="2581132"/>
          </a:xfrm>
          <a:custGeom>
            <a:avLst/>
            <a:gdLst/>
            <a:ahLst/>
            <a:cxnLst/>
            <a:rect l="l" t="t" r="r" b="b"/>
            <a:pathLst>
              <a:path w="8509226" h="3871698">
                <a:moveTo>
                  <a:pt x="0" y="0"/>
                </a:moveTo>
                <a:lnTo>
                  <a:pt x="8509226" y="0"/>
                </a:lnTo>
                <a:lnTo>
                  <a:pt x="8509226" y="3871698"/>
                </a:lnTo>
                <a:lnTo>
                  <a:pt x="0" y="3871698"/>
                </a:lnTo>
                <a:lnTo>
                  <a:pt x="0" y="0"/>
                </a:lnTo>
                <a:close/>
              </a:path>
            </a:pathLst>
          </a:custGeom>
          <a:blipFill>
            <a:blip>
              <a:extLst>
                <a:ext uri="{96DAC541-7B7A-43D3-8B79-37D633B846F1}">
                  <asvg:svgBlip xmlns:asvg="http://schemas.microsoft.com/office/drawing/2016/SVG/main" r:embed="rId15"/>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4" name="Freeform 3">
            <a:extLst>
              <a:ext uri="{FF2B5EF4-FFF2-40B4-BE49-F238E27FC236}">
                <a16:creationId xmlns:a16="http://schemas.microsoft.com/office/drawing/2014/main" id="{3A247BF1-9D46-B0EC-D70F-432FE760E37C}"/>
              </a:ext>
            </a:extLst>
          </p:cNvPr>
          <p:cNvSpPr/>
          <p:nvPr/>
        </p:nvSpPr>
        <p:spPr>
          <a:xfrm>
            <a:off x="-2407635" y="5962980"/>
            <a:ext cx="5672817" cy="2581132"/>
          </a:xfrm>
          <a:custGeom>
            <a:avLst/>
            <a:gdLst/>
            <a:ahLst/>
            <a:cxnLst/>
            <a:rect l="l" t="t" r="r" b="b"/>
            <a:pathLst>
              <a:path w="8509226" h="3871698">
                <a:moveTo>
                  <a:pt x="0" y="0"/>
                </a:moveTo>
                <a:lnTo>
                  <a:pt x="8509227" y="0"/>
                </a:lnTo>
                <a:lnTo>
                  <a:pt x="8509227" y="3871698"/>
                </a:lnTo>
                <a:lnTo>
                  <a:pt x="0" y="3871698"/>
                </a:lnTo>
                <a:lnTo>
                  <a:pt x="0" y="0"/>
                </a:lnTo>
                <a:close/>
              </a:path>
            </a:pathLst>
          </a:custGeom>
          <a:blipFill>
            <a:blip>
              <a:extLst>
                <a:ext uri="{96DAC541-7B7A-43D3-8B79-37D633B846F1}">
                  <asvg:svgBlip xmlns:asvg="http://schemas.microsoft.com/office/drawing/2016/SVG/main" r:embed="rId15"/>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6" name="Freeform 4">
            <a:extLst>
              <a:ext uri="{FF2B5EF4-FFF2-40B4-BE49-F238E27FC236}">
                <a16:creationId xmlns:a16="http://schemas.microsoft.com/office/drawing/2014/main" id="{25C79C6B-50F8-B905-02ED-DE58FB0F3020}"/>
              </a:ext>
            </a:extLst>
          </p:cNvPr>
          <p:cNvSpPr/>
          <p:nvPr/>
        </p:nvSpPr>
        <p:spPr>
          <a:xfrm flipH="1">
            <a:off x="3265183" y="5962980"/>
            <a:ext cx="5672817" cy="2581132"/>
          </a:xfrm>
          <a:custGeom>
            <a:avLst/>
            <a:gdLst/>
            <a:ahLst/>
            <a:cxnLst/>
            <a:rect l="l" t="t" r="r" b="b"/>
            <a:pathLst>
              <a:path w="8509226" h="3871698">
                <a:moveTo>
                  <a:pt x="8509226" y="0"/>
                </a:moveTo>
                <a:lnTo>
                  <a:pt x="0" y="0"/>
                </a:lnTo>
                <a:lnTo>
                  <a:pt x="0" y="3871698"/>
                </a:lnTo>
                <a:lnTo>
                  <a:pt x="8509226" y="3871698"/>
                </a:lnTo>
                <a:lnTo>
                  <a:pt x="8509226" y="0"/>
                </a:lnTo>
                <a:close/>
              </a:path>
            </a:pathLst>
          </a:custGeom>
          <a:blipFill>
            <a:blip>
              <a:extLst>
                <a:ext uri="{96DAC541-7B7A-43D3-8B79-37D633B846F1}">
                  <asvg:svgBlip xmlns:asvg="http://schemas.microsoft.com/office/drawing/2016/SVG/main" r:embed="rId15"/>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17" name="Freeform 6">
            <a:extLst>
              <a:ext uri="{FF2B5EF4-FFF2-40B4-BE49-F238E27FC236}">
                <a16:creationId xmlns:a16="http://schemas.microsoft.com/office/drawing/2014/main" id="{FD7E408E-ED08-54AA-5F3B-EE6D5818F921}"/>
              </a:ext>
            </a:extLst>
          </p:cNvPr>
          <p:cNvSpPr/>
          <p:nvPr/>
        </p:nvSpPr>
        <p:spPr>
          <a:xfrm rot="2946881">
            <a:off x="11201704" y="6040746"/>
            <a:ext cx="449002" cy="532413"/>
          </a:xfrm>
          <a:custGeom>
            <a:avLst/>
            <a:gdLst/>
            <a:ahLst/>
            <a:cxnLst/>
            <a:rect l="l" t="t" r="r" b="b"/>
            <a:pathLst>
              <a:path w="673503" h="798620">
                <a:moveTo>
                  <a:pt x="0" y="0"/>
                </a:moveTo>
                <a:lnTo>
                  <a:pt x="673503" y="0"/>
                </a:lnTo>
                <a:lnTo>
                  <a:pt x="673503" y="798620"/>
                </a:lnTo>
                <a:lnTo>
                  <a:pt x="0" y="798620"/>
                </a:lnTo>
                <a:lnTo>
                  <a:pt x="0" y="0"/>
                </a:lnTo>
                <a:close/>
              </a:path>
            </a:pathLst>
          </a:custGeom>
          <a:blipFill>
            <a:blip r:embed="rId16"/>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Tree>
    <p:extLst>
      <p:ext uri="{BB962C8B-B14F-4D97-AF65-F5344CB8AC3E}">
        <p14:creationId xmlns:p14="http://schemas.microsoft.com/office/powerpoint/2010/main" val="88036787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714386-79C5-830A-2324-3A4CE9D53468}"/>
            </a:ext>
          </a:extLst>
        </p:cNvPr>
        <p:cNvGrpSpPr/>
        <p:nvPr/>
      </p:nvGrpSpPr>
      <p:grpSpPr>
        <a:xfrm>
          <a:off x="0" y="0"/>
          <a:ext cx="0" cy="0"/>
          <a:chOff x="0" y="0"/>
          <a:chExt cx="0" cy="0"/>
        </a:xfrm>
      </p:grpSpPr>
      <p:pic>
        <p:nvPicPr>
          <p:cNvPr id="4" name="Picture 3" descr="A close-up of a person&#10;&#10;AI-generated content may be incorrect.">
            <a:extLst>
              <a:ext uri="{FF2B5EF4-FFF2-40B4-BE49-F238E27FC236}">
                <a16:creationId xmlns:a16="http://schemas.microsoft.com/office/drawing/2014/main" id="{094FC3D5-6EB5-8BA1-F2C4-73F696B790BA}"/>
              </a:ext>
            </a:extLst>
          </p:cNvPr>
          <p:cNvPicPr>
            <a:picLocks noChangeAspect="1"/>
          </p:cNvPicPr>
          <p:nvPr/>
        </p:nvPicPr>
        <p:blipFill>
          <a:blip r:embed="rId3"/>
          <a:stretch>
            <a:fillRect/>
          </a:stretch>
        </p:blipFill>
        <p:spPr>
          <a:xfrm>
            <a:off x="7146230" y="1417267"/>
            <a:ext cx="4013080" cy="4022605"/>
          </a:xfrm>
          <a:prstGeom prst="rect">
            <a:avLst/>
          </a:prstGeom>
        </p:spPr>
      </p:pic>
      <p:sp>
        <p:nvSpPr>
          <p:cNvPr id="3" name="Google Shape;16689;p276">
            <a:extLst>
              <a:ext uri="{FF2B5EF4-FFF2-40B4-BE49-F238E27FC236}">
                <a16:creationId xmlns:a16="http://schemas.microsoft.com/office/drawing/2014/main" id="{BD6061E4-D266-5037-7BED-878CD680321D}"/>
              </a:ext>
            </a:extLst>
          </p:cNvPr>
          <p:cNvSpPr txBox="1">
            <a:spLocks noGrp="1"/>
          </p:cNvSpPr>
          <p:nvPr/>
        </p:nvSpPr>
        <p:spPr>
          <a:xfrm>
            <a:off x="1420384" y="1222537"/>
            <a:ext cx="6244790" cy="1826339"/>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4000"/>
              <a:buFont typeface="Calibri"/>
              <a:buNone/>
              <a:defRPr sz="4000" b="1"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lvl="0" indent="0" algn="l" rtl="0">
              <a:lnSpc>
                <a:spcPct val="100000"/>
              </a:lnSpc>
              <a:spcBef>
                <a:spcPts val="0"/>
              </a:spcBef>
              <a:spcAft>
                <a:spcPts val="0"/>
              </a:spcAft>
              <a:buClr>
                <a:schemeClr val="accent1"/>
              </a:buClr>
              <a:buSzPts val="4000"/>
              <a:buFont typeface="Calibri"/>
              <a:buNone/>
            </a:pPr>
            <a:r>
              <a:rPr lang="en-US" b="0">
                <a:solidFill>
                  <a:schemeClr val="accent1"/>
                </a:solidFill>
                <a:latin typeface="DM Sans"/>
                <a:ea typeface="DM Sans"/>
                <a:cs typeface="DM Sans"/>
                <a:sym typeface="DM Sans"/>
              </a:rPr>
              <a:t>Welcome Address</a:t>
            </a:r>
            <a:endParaRPr>
              <a:latin typeface="DM Sans"/>
              <a:ea typeface="DM Sans"/>
              <a:cs typeface="DM Sans"/>
              <a:sym typeface="DM Sans"/>
            </a:endParaRPr>
          </a:p>
        </p:txBody>
      </p:sp>
      <p:sp>
        <p:nvSpPr>
          <p:cNvPr id="5" name="Google Shape;16690;p276">
            <a:extLst>
              <a:ext uri="{FF2B5EF4-FFF2-40B4-BE49-F238E27FC236}">
                <a16:creationId xmlns:a16="http://schemas.microsoft.com/office/drawing/2014/main" id="{F6F0F848-EDB0-CEA7-5E3B-3962857CEFF5}"/>
              </a:ext>
            </a:extLst>
          </p:cNvPr>
          <p:cNvSpPr txBox="1">
            <a:spLocks noGrp="1"/>
          </p:cNvSpPr>
          <p:nvPr/>
        </p:nvSpPr>
        <p:spPr>
          <a:xfrm>
            <a:off x="1435417" y="3227818"/>
            <a:ext cx="5711840" cy="1983754"/>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81000" algn="l" rtl="0">
              <a:lnSpc>
                <a:spcPct val="100000"/>
              </a:lnSpc>
              <a:spcBef>
                <a:spcPts val="1000"/>
              </a:spcBef>
              <a:spcAft>
                <a:spcPts val="0"/>
              </a:spcAft>
              <a:buClr>
                <a:schemeClr val="accent2"/>
              </a:buClr>
              <a:buSzPts val="2400"/>
              <a:buFont typeface="Arial"/>
              <a:buNone/>
              <a:defRPr sz="2400" b="0" i="0" u="none" strike="noStrike" cap="none">
                <a:solidFill>
                  <a:schemeClr val="dk1"/>
                </a:solidFill>
                <a:latin typeface="Calibri"/>
                <a:ea typeface="Calibri"/>
                <a:cs typeface="Calibri"/>
                <a:sym typeface="Calibri"/>
              </a:defRPr>
            </a:lvl1pPr>
            <a:lvl2pPr marL="914400" marR="0" lvl="1" indent="-355600" algn="ctr" rtl="0">
              <a:lnSpc>
                <a:spcPct val="100000"/>
              </a:lnSpc>
              <a:spcBef>
                <a:spcPts val="1000"/>
              </a:spcBef>
              <a:spcAft>
                <a:spcPts val="0"/>
              </a:spcAft>
              <a:buClr>
                <a:schemeClr val="accent1"/>
              </a:buClr>
              <a:buSzPts val="2000"/>
              <a:buFont typeface="Arial"/>
              <a:buNone/>
              <a:defRPr sz="2000" b="0" i="0" u="none" strike="noStrike" cap="none">
                <a:solidFill>
                  <a:schemeClr val="dk1"/>
                </a:solidFill>
                <a:latin typeface="Calibri"/>
                <a:ea typeface="Calibri"/>
                <a:cs typeface="Calibri"/>
                <a:sym typeface="Calibri"/>
              </a:defRPr>
            </a:lvl2pPr>
            <a:lvl3pPr marL="1371600" marR="0" lvl="2" indent="-342900" algn="ctr" rtl="0">
              <a:lnSpc>
                <a:spcPct val="100000"/>
              </a:lnSpc>
              <a:spcBef>
                <a:spcPts val="1000"/>
              </a:spcBef>
              <a:spcAft>
                <a:spcPts val="0"/>
              </a:spcAft>
              <a:buClr>
                <a:schemeClr val="accent2"/>
              </a:buClr>
              <a:buSzPts val="1800"/>
              <a:buFont typeface="Arial"/>
              <a:buNone/>
              <a:defRPr sz="1800" b="0" i="0" u="none" strike="noStrike" cap="none">
                <a:solidFill>
                  <a:schemeClr val="dk1"/>
                </a:solidFill>
                <a:latin typeface="Calibri"/>
                <a:ea typeface="Calibri"/>
                <a:cs typeface="Calibri"/>
                <a:sym typeface="Calibri"/>
              </a:defRPr>
            </a:lvl3pPr>
            <a:lvl4pPr marL="1828800" marR="0" lvl="3" indent="-330200" algn="ctr" rtl="0">
              <a:lnSpc>
                <a:spcPct val="100000"/>
              </a:lnSpc>
              <a:spcBef>
                <a:spcPts val="1000"/>
              </a:spcBef>
              <a:spcAft>
                <a:spcPts val="0"/>
              </a:spcAft>
              <a:buClr>
                <a:schemeClr val="accent2"/>
              </a:buClr>
              <a:buSzPts val="1600"/>
              <a:buFont typeface="Arial"/>
              <a:buNone/>
              <a:defRPr sz="1600" b="0" i="0" u="none" strike="noStrike" cap="none">
                <a:solidFill>
                  <a:schemeClr val="dk1"/>
                </a:solidFill>
                <a:latin typeface="Calibri"/>
                <a:ea typeface="Calibri"/>
                <a:cs typeface="Calibri"/>
                <a:sym typeface="Calibri"/>
              </a:defRPr>
            </a:lvl4pPr>
            <a:lvl5pPr marL="2286000" marR="0" lvl="4" indent="-330200" algn="ctr" rtl="0">
              <a:lnSpc>
                <a:spcPct val="100000"/>
              </a:lnSpc>
              <a:spcBef>
                <a:spcPts val="1000"/>
              </a:spcBef>
              <a:spcAft>
                <a:spcPts val="0"/>
              </a:spcAft>
              <a:buClr>
                <a:schemeClr val="accent2"/>
              </a:buClr>
              <a:buSzPts val="1600"/>
              <a:buFont typeface="Arial"/>
              <a:buNone/>
              <a:defRPr sz="1600" b="0" i="0" u="none" strike="noStrike" cap="none">
                <a:solidFill>
                  <a:schemeClr val="dk1"/>
                </a:solidFill>
                <a:latin typeface="Calibri"/>
                <a:ea typeface="Calibri"/>
                <a:cs typeface="Calibri"/>
                <a:sym typeface="Calibri"/>
              </a:defRPr>
            </a:lvl5pPr>
            <a:lvl6pPr marL="2743200" marR="0" lvl="5" indent="-342900" algn="ctr" rtl="0">
              <a:lnSpc>
                <a:spcPct val="90000"/>
              </a:lnSpc>
              <a:spcBef>
                <a:spcPts val="10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6pPr>
            <a:lvl7pPr marL="3200400" marR="0" lvl="6"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7pPr>
            <a:lvl8pPr marL="3657600" marR="0" lvl="7"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8pPr>
            <a:lvl9pPr marL="4114800" marR="0" lvl="8"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9pPr>
          </a:lstStyle>
          <a:p>
            <a:pPr marL="0" indent="0"/>
            <a:r>
              <a:rPr lang="en-US" sz="3000" b="1" dirty="0">
                <a:latin typeface="DM Sans"/>
                <a:ea typeface="DM Sans"/>
                <a:cs typeface="DM Sans"/>
                <a:sym typeface="DM Sans"/>
              </a:rPr>
              <a:t>Lily J. Lou, MD, </a:t>
            </a:r>
            <a:r>
              <a:rPr lang="en-US" sz="3000" b="1">
                <a:latin typeface="DM Sans"/>
                <a:ea typeface="DM Sans"/>
                <a:cs typeface="DM Sans"/>
                <a:sym typeface="DM Sans"/>
              </a:rPr>
              <a:t>FAAP</a:t>
            </a:r>
            <a:endParaRPr lang="en-US" sz="3000" b="1" dirty="0">
              <a:latin typeface="DM Sans"/>
              <a:ea typeface="DM Sans"/>
              <a:cs typeface="DM Sans"/>
            </a:endParaRPr>
          </a:p>
          <a:p>
            <a:pPr marL="0" indent="0"/>
            <a:r>
              <a:rPr lang="en-US" sz="2200">
                <a:latin typeface="DM Sans"/>
                <a:ea typeface="DM Sans"/>
                <a:cs typeface="DM Sans"/>
              </a:rPr>
              <a:t>Neonatologist and Public Health Leader</a:t>
            </a:r>
          </a:p>
          <a:p>
            <a:pPr marL="0" indent="0"/>
            <a:r>
              <a:rPr lang="en-US" sz="2200">
                <a:latin typeface="DM Sans"/>
                <a:ea typeface="DM Sans"/>
                <a:cs typeface="DM Sans"/>
              </a:rPr>
              <a:t>University of Illinois Hospital and Health Sciences</a:t>
            </a:r>
            <a:endParaRPr lang="en-US" sz="2200" dirty="0">
              <a:latin typeface="DM Sans"/>
              <a:ea typeface="DM Sans"/>
              <a:cs typeface="DM Sans"/>
            </a:endParaRPr>
          </a:p>
        </p:txBody>
      </p:sp>
    </p:spTree>
    <p:extLst>
      <p:ext uri="{BB962C8B-B14F-4D97-AF65-F5344CB8AC3E}">
        <p14:creationId xmlns:p14="http://schemas.microsoft.com/office/powerpoint/2010/main" val="40513622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vert="horz" lIns="91440" tIns="45720" rIns="91440" bIns="45720" rtlCol="0" anchor="ctr"/>
          <a:lstStyle>
            <a:defPPr>
              <a:defRPr lang="en-US"/>
            </a:defPPr>
            <a:lvl1pPr marL="0" algn="l" defTabSz="406380" rtl="0" eaLnBrk="1" latinLnBrk="0" hangingPunct="1">
              <a:defRPr sz="800" kern="1200">
                <a:solidFill>
                  <a:schemeClr val="tx1"/>
                </a:solidFill>
                <a:latin typeface="+mn-lt"/>
                <a:ea typeface="+mn-ea"/>
                <a:cs typeface="+mn-cs"/>
              </a:defRPr>
            </a:lvl1pPr>
            <a:lvl2pPr marL="203190" algn="l" defTabSz="406380" rtl="0" eaLnBrk="1" latinLnBrk="0" hangingPunct="1">
              <a:defRPr sz="800" kern="1200">
                <a:solidFill>
                  <a:schemeClr val="tx1"/>
                </a:solidFill>
                <a:latin typeface="+mn-lt"/>
                <a:ea typeface="+mn-ea"/>
                <a:cs typeface="+mn-cs"/>
              </a:defRPr>
            </a:lvl2pPr>
            <a:lvl3pPr marL="406380" algn="l" defTabSz="406380" rtl="0" eaLnBrk="1" latinLnBrk="0" hangingPunct="1">
              <a:defRPr sz="800" kern="1200">
                <a:solidFill>
                  <a:schemeClr val="tx1"/>
                </a:solidFill>
                <a:latin typeface="+mn-lt"/>
                <a:ea typeface="+mn-ea"/>
                <a:cs typeface="+mn-cs"/>
              </a:defRPr>
            </a:lvl3pPr>
            <a:lvl4pPr marL="609570" algn="l" defTabSz="406380" rtl="0" eaLnBrk="1" latinLnBrk="0" hangingPunct="1">
              <a:defRPr sz="800" kern="1200">
                <a:solidFill>
                  <a:schemeClr val="tx1"/>
                </a:solidFill>
                <a:latin typeface="+mn-lt"/>
                <a:ea typeface="+mn-ea"/>
                <a:cs typeface="+mn-cs"/>
              </a:defRPr>
            </a:lvl4pPr>
            <a:lvl5pPr marL="812759" algn="l" defTabSz="406380" rtl="0" eaLnBrk="1" latinLnBrk="0" hangingPunct="1">
              <a:defRPr sz="800" kern="1200">
                <a:solidFill>
                  <a:schemeClr val="tx1"/>
                </a:solidFill>
                <a:latin typeface="+mn-lt"/>
                <a:ea typeface="+mn-ea"/>
                <a:cs typeface="+mn-cs"/>
              </a:defRPr>
            </a:lvl5pPr>
            <a:lvl6pPr marL="1015949" algn="l" defTabSz="406380" rtl="0" eaLnBrk="1" latinLnBrk="0" hangingPunct="1">
              <a:defRPr sz="800" kern="1200">
                <a:solidFill>
                  <a:schemeClr val="tx1"/>
                </a:solidFill>
                <a:latin typeface="+mn-lt"/>
                <a:ea typeface="+mn-ea"/>
                <a:cs typeface="+mn-cs"/>
              </a:defRPr>
            </a:lvl6pPr>
            <a:lvl7pPr marL="1219139" algn="l" defTabSz="406380" rtl="0" eaLnBrk="1" latinLnBrk="0" hangingPunct="1">
              <a:defRPr sz="800" kern="1200">
                <a:solidFill>
                  <a:schemeClr val="tx1"/>
                </a:solidFill>
                <a:latin typeface="+mn-lt"/>
                <a:ea typeface="+mn-ea"/>
                <a:cs typeface="+mn-cs"/>
              </a:defRPr>
            </a:lvl7pPr>
            <a:lvl8pPr marL="1422329" algn="l" defTabSz="406380" rtl="0" eaLnBrk="1" latinLnBrk="0" hangingPunct="1">
              <a:defRPr sz="800" kern="1200">
                <a:solidFill>
                  <a:schemeClr val="tx1"/>
                </a:solidFill>
                <a:latin typeface="+mn-lt"/>
                <a:ea typeface="+mn-ea"/>
                <a:cs typeface="+mn-cs"/>
              </a:defRPr>
            </a:lvl8pPr>
            <a:lvl9pPr marL="1625519" algn="l" defTabSz="406380" rtl="0" eaLnBrk="1" latinLnBrk="0" hangingPunct="1">
              <a:defRPr sz="800" kern="1200">
                <a:solidFill>
                  <a:schemeClr val="tx1"/>
                </a:solidFill>
                <a:latin typeface="+mn-lt"/>
                <a:ea typeface="+mn-ea"/>
                <a:cs typeface="+mn-cs"/>
              </a:defRPr>
            </a:lvl9pPr>
          </a:lstStyle>
          <a:p>
            <a:pPr defTabSz="914446">
              <a:defRPr/>
            </a:pPr>
            <a:fld id="{DD61438B-8B14-4971-AB6A-3757660C84C2}" type="slidenum">
              <a:rPr lang="en-US" sz="1000">
                <a:latin typeface="Arial" panose="020B0604020202020204" pitchFamily="34" charset="0"/>
                <a:cs typeface="Arial" panose="020B0604020202020204" pitchFamily="34" charset="0"/>
              </a:rPr>
              <a:pPr defTabSz="914446">
                <a:defRPr/>
              </a:pPr>
              <a:t>4</a:t>
            </a:fld>
            <a:endParaRPr lang="en-US" sz="1000">
              <a:latin typeface="Arial" panose="020B0604020202020204" pitchFamily="34" charset="0"/>
              <a:cs typeface="Arial" panose="020B0604020202020204" pitchFamily="34" charset="0"/>
            </a:endParaRPr>
          </a:p>
        </p:txBody>
      </p:sp>
      <p:sp>
        <p:nvSpPr>
          <p:cNvPr id="5" name="Google Shape;24018;p5">
            <a:extLst>
              <a:ext uri="{FF2B5EF4-FFF2-40B4-BE49-F238E27FC236}">
                <a16:creationId xmlns:a16="http://schemas.microsoft.com/office/drawing/2014/main" id="{3AEA2F2D-E30B-8E2E-F654-761CC6670669}"/>
              </a:ext>
            </a:extLst>
          </p:cNvPr>
          <p:cNvSpPr txBox="1"/>
          <p:nvPr/>
        </p:nvSpPr>
        <p:spPr>
          <a:xfrm>
            <a:off x="448702" y="1290009"/>
            <a:ext cx="9933548" cy="2862296"/>
          </a:xfrm>
          <a:prstGeom prst="rect">
            <a:avLst/>
          </a:prstGeom>
          <a:noFill/>
          <a:ln>
            <a:noFill/>
          </a:ln>
        </p:spPr>
        <p:txBody>
          <a:bodyPr spcFirstLastPara="1" wrap="square" lIns="60950" tIns="30467" rIns="60950" bIns="30467" anchor="t" anchorCtr="0">
            <a:spAutoFit/>
          </a:bodyPr>
          <a:lstStyle/>
          <a:p>
            <a:pPr>
              <a:buClr>
                <a:srgbClr val="000000"/>
              </a:buClr>
              <a:buSzPts val="2100"/>
            </a:pPr>
            <a:r>
              <a:rPr lang="en-US" sz="1400" b="1" dirty="0">
                <a:solidFill>
                  <a:srgbClr val="02255B"/>
                </a:solidFill>
                <a:latin typeface="Arial"/>
                <a:ea typeface="Arial"/>
                <a:cs typeface="Arial"/>
                <a:sym typeface="Arial"/>
              </a:rPr>
              <a:t>The planning team and speakers report no financial relationships with ineligible companies. </a:t>
            </a:r>
            <a:endParaRPr sz="933" dirty="0">
              <a:solidFill>
                <a:srgbClr val="000000"/>
              </a:solidFill>
              <a:latin typeface="Arial"/>
              <a:ea typeface="Arial"/>
              <a:cs typeface="Arial"/>
              <a:sym typeface="Arial"/>
            </a:endParaRPr>
          </a:p>
          <a:p>
            <a:pPr>
              <a:buClr>
                <a:srgbClr val="000000"/>
              </a:buClr>
              <a:buSzPts val="2100"/>
            </a:pPr>
            <a:endParaRPr sz="1400" b="1" dirty="0">
              <a:solidFill>
                <a:srgbClr val="02255B"/>
              </a:solidFill>
              <a:latin typeface="Arial"/>
              <a:ea typeface="Arial"/>
              <a:cs typeface="Arial"/>
              <a:sym typeface="Arial"/>
            </a:endParaRPr>
          </a:p>
          <a:p>
            <a:pPr>
              <a:buClr>
                <a:srgbClr val="000000"/>
              </a:buClr>
              <a:buSzPts val="2100"/>
            </a:pPr>
            <a:r>
              <a:rPr lang="en-US" sz="1400" dirty="0">
                <a:solidFill>
                  <a:srgbClr val="02255B"/>
                </a:solidFill>
                <a:latin typeface="Arial"/>
                <a:ea typeface="Arial"/>
                <a:cs typeface="Arial"/>
                <a:sym typeface="Arial"/>
              </a:rPr>
              <a:t>In support of improving patient care, this activity has been planned and implemented by the Illinois Perinatal Quality Collaborative (ILPQC) and SSM Health. SSM Health is jointly accredited by the Accreditation Council for Continuing Medical Education (ACCME), the Accreditation Council for Pharmacy Education (ACPE), and the American Nurses Credentialing Center (ANCC), to provide continuing education for the healthcare team. As a Jointly Accredited Organization, SSM Health is approved to offer social work continuing education by the Association of Social Work Boards (ASWB) Approved Continuing Education (ACE) program. Organizations, not individual courses, are approved under this program. Regulatory boards are the final authority on courses accepted for continuing education credit.</a:t>
            </a:r>
            <a:endParaRPr sz="933" dirty="0">
              <a:solidFill>
                <a:srgbClr val="000000"/>
              </a:solidFill>
              <a:latin typeface="Arial"/>
              <a:ea typeface="Arial"/>
              <a:cs typeface="Arial"/>
              <a:sym typeface="Arial"/>
            </a:endParaRPr>
          </a:p>
          <a:p>
            <a:pPr>
              <a:buClr>
                <a:srgbClr val="000000"/>
              </a:buClr>
              <a:buSzPts val="2100"/>
            </a:pPr>
            <a:endParaRPr sz="1400" dirty="0">
              <a:solidFill>
                <a:srgbClr val="02255B"/>
              </a:solidFill>
              <a:latin typeface="Arial"/>
              <a:ea typeface="Arial"/>
              <a:cs typeface="Arial"/>
              <a:sym typeface="Arial"/>
            </a:endParaRPr>
          </a:p>
          <a:p>
            <a:pPr>
              <a:buClr>
                <a:srgbClr val="000000"/>
              </a:buClr>
              <a:buSzPts val="2100"/>
            </a:pPr>
            <a:r>
              <a:rPr lang="en-US" sz="1400" i="1" dirty="0">
                <a:solidFill>
                  <a:srgbClr val="02255B"/>
                </a:solidFill>
                <a:latin typeface="Arial"/>
                <a:ea typeface="Arial"/>
                <a:cs typeface="Arial"/>
                <a:sym typeface="Arial"/>
              </a:rPr>
              <a:t>SSM Health designates this live activity for a maximum of 5.0 ANCC contact hours and </a:t>
            </a:r>
            <a:r>
              <a:rPr lang="en-US" sz="1400" b="1" i="1" dirty="0">
                <a:solidFill>
                  <a:srgbClr val="02255B"/>
                </a:solidFill>
                <a:latin typeface="Arial"/>
                <a:ea typeface="Arial"/>
                <a:cs typeface="Arial"/>
                <a:sym typeface="Arial"/>
              </a:rPr>
              <a:t>5.0 AMA PRA Category 1 Credits™. </a:t>
            </a:r>
            <a:r>
              <a:rPr lang="en-US" sz="1400" i="1" dirty="0">
                <a:solidFill>
                  <a:srgbClr val="02255B"/>
                </a:solidFill>
                <a:latin typeface="Arial"/>
                <a:ea typeface="Arial"/>
                <a:cs typeface="Arial"/>
                <a:sym typeface="Arial"/>
              </a:rPr>
              <a:t>Physicians should claim only the credit commensurate with the extent of their participation in the activity. Social workers completing this course receive 5.0 education credits.</a:t>
            </a:r>
            <a:endParaRPr sz="933" dirty="0">
              <a:solidFill>
                <a:srgbClr val="000000"/>
              </a:solidFill>
              <a:latin typeface="Arial"/>
              <a:ea typeface="Arial"/>
              <a:cs typeface="Arial"/>
              <a:sym typeface="Arial"/>
            </a:endParaRPr>
          </a:p>
        </p:txBody>
      </p:sp>
      <p:pic>
        <p:nvPicPr>
          <p:cNvPr id="8" name="Google Shape;24019;p5" descr="http://www.jointaccreditation.org/sites/default/files/Jointly%2520Accredited%2520Provider%2520TM_0.png">
            <a:extLst>
              <a:ext uri="{FF2B5EF4-FFF2-40B4-BE49-F238E27FC236}">
                <a16:creationId xmlns:a16="http://schemas.microsoft.com/office/drawing/2014/main" id="{810FA8F7-1ECD-2833-81BC-2293C43D31D3}"/>
              </a:ext>
            </a:extLst>
          </p:cNvPr>
          <p:cNvPicPr preferRelativeResize="0"/>
          <p:nvPr/>
        </p:nvPicPr>
        <p:blipFill rotWithShape="1">
          <a:blip r:embed="rId5">
            <a:alphaModFix/>
          </a:blip>
          <a:srcRect/>
          <a:stretch/>
        </p:blipFill>
        <p:spPr>
          <a:xfrm>
            <a:off x="517941" y="4848226"/>
            <a:ext cx="2234785" cy="1362625"/>
          </a:xfrm>
          <a:prstGeom prst="rect">
            <a:avLst/>
          </a:prstGeom>
          <a:noFill/>
          <a:ln>
            <a:noFill/>
          </a:ln>
        </p:spPr>
      </p:pic>
      <p:sp>
        <p:nvSpPr>
          <p:cNvPr id="10" name="Google Shape;24020;p5">
            <a:extLst>
              <a:ext uri="{FF2B5EF4-FFF2-40B4-BE49-F238E27FC236}">
                <a16:creationId xmlns:a16="http://schemas.microsoft.com/office/drawing/2014/main" id="{32DCB848-2287-8E9F-33C9-2894BCDFB0F2}"/>
              </a:ext>
            </a:extLst>
          </p:cNvPr>
          <p:cNvSpPr txBox="1"/>
          <p:nvPr/>
        </p:nvSpPr>
        <p:spPr>
          <a:xfrm>
            <a:off x="448702" y="362376"/>
            <a:ext cx="9689548" cy="569548"/>
          </a:xfrm>
          <a:prstGeom prst="rect">
            <a:avLst/>
          </a:prstGeom>
          <a:noFill/>
          <a:ln>
            <a:noFill/>
          </a:ln>
        </p:spPr>
        <p:txBody>
          <a:bodyPr spcFirstLastPara="1" wrap="square" lIns="91433" tIns="45717" rIns="91433" bIns="45717" anchor="b" anchorCtr="0">
            <a:normAutofit fontScale="77500" lnSpcReduction="20000"/>
          </a:bodyPr>
          <a:lstStyle/>
          <a:p>
            <a:pPr>
              <a:lnSpc>
                <a:spcPct val="110000"/>
              </a:lnSpc>
              <a:buClr>
                <a:srgbClr val="02255B"/>
              </a:buClr>
              <a:buSzPct val="100000"/>
            </a:pPr>
            <a:r>
              <a:rPr lang="en-US" sz="4000">
                <a:solidFill>
                  <a:srgbClr val="02255B"/>
                </a:solidFill>
                <a:latin typeface="Arial"/>
                <a:ea typeface="Arial"/>
                <a:cs typeface="Arial"/>
                <a:sym typeface="Arial"/>
              </a:rPr>
              <a:t>Joint Accreditation Statement &amp; Disclosure Information</a:t>
            </a:r>
            <a:endParaRPr sz="933">
              <a:solidFill>
                <a:srgbClr val="000000"/>
              </a:solidFill>
              <a:latin typeface="Arial"/>
              <a:ea typeface="Arial"/>
              <a:cs typeface="Arial"/>
              <a:sym typeface="Arial"/>
            </a:endParaRPr>
          </a:p>
        </p:txBody>
      </p:sp>
      <p:pic>
        <p:nvPicPr>
          <p:cNvPr id="12" name="Google Shape;24021;p5" descr="https://www.eeds.com/images/logos/ASWB_ACE_Logo.png">
            <a:extLst>
              <a:ext uri="{FF2B5EF4-FFF2-40B4-BE49-F238E27FC236}">
                <a16:creationId xmlns:a16="http://schemas.microsoft.com/office/drawing/2014/main" id="{C1F8DFB3-8DF2-72EE-E82E-EE9C8D8A153A}"/>
              </a:ext>
            </a:extLst>
          </p:cNvPr>
          <p:cNvPicPr preferRelativeResize="0"/>
          <p:nvPr/>
        </p:nvPicPr>
        <p:blipFill rotWithShape="1">
          <a:blip r:embed="rId6">
            <a:alphaModFix/>
          </a:blip>
          <a:srcRect/>
          <a:stretch/>
        </p:blipFill>
        <p:spPr>
          <a:xfrm>
            <a:off x="2851674" y="5332374"/>
            <a:ext cx="2311779" cy="878476"/>
          </a:xfrm>
          <a:prstGeom prst="rect">
            <a:avLst/>
          </a:prstGeom>
          <a:noFill/>
          <a:ln>
            <a:noFill/>
          </a:ln>
        </p:spPr>
      </p:pic>
    </p:spTree>
    <p:custDataLst>
      <p:tags r:id="rId1"/>
    </p:custDataLst>
    <p:extLst>
      <p:ext uri="{BB962C8B-B14F-4D97-AF65-F5344CB8AC3E}">
        <p14:creationId xmlns:p14="http://schemas.microsoft.com/office/powerpoint/2010/main" val="1697623069"/>
      </p:ext>
    </p:extLst>
  </p:cSld>
  <p:clrMapOvr>
    <a:masterClrMapping/>
  </p:clrMapOvr>
  <p:extLst>
    <p:ext uri="{6950BFC3-D8DA-4A85-94F7-54DA5524770B}">
      <p188:commentRel xmlns:p188="http://schemas.microsoft.com/office/powerpoint/2018/8/main" r:id="rId4"/>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CE2CF75-1AE4-FD9A-1540-528B8EF9FE6C}"/>
              </a:ext>
            </a:extLst>
          </p:cNvPr>
          <p:cNvSpPr txBox="1"/>
          <p:nvPr/>
        </p:nvSpPr>
        <p:spPr>
          <a:xfrm>
            <a:off x="8839203" y="6356352"/>
            <a:ext cx="2743200" cy="365129"/>
          </a:xfrm>
          <a:prstGeom prst="rect">
            <a:avLst/>
          </a:prstGeom>
          <a:noFill/>
          <a:ln cap="flat">
            <a:noFill/>
          </a:ln>
        </p:spPr>
        <p:txBody>
          <a:bodyPr vert="horz" wrap="square" lIns="91440" tIns="45720" rIns="91440" bIns="45720" anchor="ctr" anchorCtr="0" compatLnSpc="1">
            <a:no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r" defTabSz="914446">
              <a:defRPr sz="1800" b="0" i="0" u="none" strike="noStrike" kern="0" cap="none" spc="0" baseline="0">
                <a:solidFill>
                  <a:srgbClr val="000000"/>
                </a:solidFill>
                <a:uFillTx/>
              </a:defRPr>
            </a:pPr>
            <a:fld id="{78CF3A36-D1DD-434C-80A0-752E4D6F9A39}" type="slidenum">
              <a:rPr sz="1800" kern="0">
                <a:solidFill>
                  <a:srgbClr val="000000"/>
                </a:solidFill>
                <a:latin typeface="Aptos" panose="02110004020202020204"/>
              </a:rPr>
              <a:pPr algn="r" defTabSz="914446">
                <a:defRPr sz="1800" b="0" i="0" u="none" strike="noStrike" kern="0" cap="none" spc="0" baseline="0">
                  <a:solidFill>
                    <a:srgbClr val="000000"/>
                  </a:solidFill>
                  <a:uFillTx/>
                </a:defRPr>
              </a:pPr>
              <a:t>5</a:t>
            </a:fld>
            <a:endParaRPr lang="en-US" sz="1200">
              <a:solidFill>
                <a:srgbClr val="939699"/>
              </a:solidFill>
              <a:latin typeface="Arial"/>
            </a:endParaRPr>
          </a:p>
        </p:txBody>
      </p:sp>
      <p:sp>
        <p:nvSpPr>
          <p:cNvPr id="3" name="Footer Placeholder 2">
            <a:extLst>
              <a:ext uri="{FF2B5EF4-FFF2-40B4-BE49-F238E27FC236}">
                <a16:creationId xmlns:a16="http://schemas.microsoft.com/office/drawing/2014/main" id="{B56263A8-BE73-3537-3A47-123FE8F52FF4}"/>
              </a:ext>
            </a:extLst>
          </p:cNvPr>
          <p:cNvSpPr txBox="1"/>
          <p:nvPr/>
        </p:nvSpPr>
        <p:spPr>
          <a:xfrm>
            <a:off x="609603" y="6356352"/>
            <a:ext cx="4114800" cy="365129"/>
          </a:xfrm>
          <a:prstGeom prst="rect">
            <a:avLst/>
          </a:prstGeom>
          <a:noFill/>
          <a:ln cap="flat">
            <a:noFill/>
          </a:ln>
        </p:spPr>
        <p:txBody>
          <a:bodyPr vert="horz" wrap="square" lIns="91440" tIns="45720" rIns="91440" bIns="45720" anchor="ctr" anchorCtr="0" compatLnSpc="1">
            <a:no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defTabSz="914446">
              <a:defRPr sz="1800" b="0" i="0" u="none" strike="noStrike" kern="0" cap="none" spc="0" baseline="0">
                <a:solidFill>
                  <a:srgbClr val="000000"/>
                </a:solidFill>
                <a:uFillTx/>
              </a:defRPr>
            </a:pPr>
            <a:r>
              <a:rPr lang="en-US" sz="1200">
                <a:solidFill>
                  <a:srgbClr val="939699"/>
                </a:solidFill>
                <a:latin typeface="Arial"/>
              </a:rPr>
              <a:t>Illinois Perinatal Quality Collaborative</a:t>
            </a:r>
          </a:p>
        </p:txBody>
      </p:sp>
      <p:sp>
        <p:nvSpPr>
          <p:cNvPr id="15" name="Google Shape;24028;p6">
            <a:extLst>
              <a:ext uri="{FF2B5EF4-FFF2-40B4-BE49-F238E27FC236}">
                <a16:creationId xmlns:a16="http://schemas.microsoft.com/office/drawing/2014/main" id="{D4FFD24C-E513-04E7-DDF4-536B1454F6EE}"/>
              </a:ext>
            </a:extLst>
          </p:cNvPr>
          <p:cNvSpPr/>
          <p:nvPr/>
        </p:nvSpPr>
        <p:spPr>
          <a:xfrm>
            <a:off x="970440" y="2795040"/>
            <a:ext cx="4603049" cy="723025"/>
          </a:xfrm>
          <a:prstGeom prst="rect">
            <a:avLst/>
          </a:prstGeom>
          <a:noFill/>
          <a:ln>
            <a:noFill/>
          </a:ln>
        </p:spPr>
        <p:txBody>
          <a:bodyPr spcFirstLastPara="1" wrap="square" lIns="0" tIns="0" rIns="91433" bIns="45717" anchor="b" anchorCtr="1">
            <a:noAutofit/>
          </a:bodyPr>
          <a:lstStyle/>
          <a:p>
            <a:pPr algn="ctr">
              <a:spcBef>
                <a:spcPts val="400"/>
              </a:spcBef>
              <a:buClr>
                <a:srgbClr val="000000"/>
              </a:buClr>
              <a:buSzPts val="4800"/>
            </a:pPr>
            <a:br>
              <a:rPr lang="en-US" sz="3200" u="sng" dirty="0">
                <a:solidFill>
                  <a:srgbClr val="79818A"/>
                </a:solidFill>
                <a:latin typeface="Arial"/>
                <a:ea typeface="Arial"/>
                <a:cs typeface="Arial"/>
                <a:sym typeface="Arial"/>
              </a:rPr>
            </a:br>
            <a:r>
              <a:rPr lang="en-US" sz="2800" dirty="0">
                <a:solidFill>
                  <a:srgbClr val="79818A"/>
                </a:solidFill>
                <a:latin typeface="Arial"/>
                <a:ea typeface="Arial"/>
                <a:cs typeface="Arial"/>
                <a:sym typeface="Arial"/>
              </a:rPr>
              <a:t>*NOTE* Credits must be claimed by </a:t>
            </a:r>
            <a:endParaRPr sz="933" dirty="0">
              <a:solidFill>
                <a:srgbClr val="000000"/>
              </a:solidFill>
              <a:latin typeface="Arial"/>
              <a:ea typeface="Arial"/>
              <a:cs typeface="Arial"/>
              <a:sym typeface="Arial"/>
            </a:endParaRPr>
          </a:p>
          <a:p>
            <a:pPr algn="ctr">
              <a:spcBef>
                <a:spcPts val="800"/>
              </a:spcBef>
              <a:spcAft>
                <a:spcPts val="400"/>
              </a:spcAft>
              <a:buClr>
                <a:srgbClr val="000000"/>
              </a:buClr>
              <a:buSzPts val="4200"/>
            </a:pPr>
            <a:r>
              <a:rPr lang="en-US" sz="2800" b="1" u="sng" dirty="0">
                <a:solidFill>
                  <a:srgbClr val="1C498B"/>
                </a:solidFill>
                <a:latin typeface="Arial"/>
                <a:ea typeface="Arial"/>
                <a:cs typeface="Arial"/>
                <a:sym typeface="Arial"/>
              </a:rPr>
              <a:t>June 20, 2026, by 9:00am</a:t>
            </a:r>
            <a:endParaRPr sz="2800" dirty="0">
              <a:solidFill>
                <a:srgbClr val="79818A"/>
              </a:solidFill>
              <a:latin typeface="Arial"/>
              <a:ea typeface="Arial"/>
              <a:cs typeface="Arial"/>
              <a:sym typeface="Arial"/>
            </a:endParaRPr>
          </a:p>
        </p:txBody>
      </p:sp>
      <p:pic>
        <p:nvPicPr>
          <p:cNvPr id="17" name="Google Shape;24029;p6">
            <a:extLst>
              <a:ext uri="{FF2B5EF4-FFF2-40B4-BE49-F238E27FC236}">
                <a16:creationId xmlns:a16="http://schemas.microsoft.com/office/drawing/2014/main" id="{8F3705F1-A6EF-9521-D887-3D52F44AD992}"/>
              </a:ext>
            </a:extLst>
          </p:cNvPr>
          <p:cNvPicPr preferRelativeResize="0"/>
          <p:nvPr/>
        </p:nvPicPr>
        <p:blipFill rotWithShape="1">
          <a:blip r:embed="rId4">
            <a:alphaModFix/>
          </a:blip>
          <a:srcRect/>
          <a:stretch/>
        </p:blipFill>
        <p:spPr>
          <a:xfrm>
            <a:off x="1521114" y="5558474"/>
            <a:ext cx="3548667" cy="697833"/>
          </a:xfrm>
          <a:prstGeom prst="rect">
            <a:avLst/>
          </a:prstGeom>
          <a:noFill/>
          <a:ln>
            <a:noFill/>
          </a:ln>
        </p:spPr>
      </p:pic>
      <p:sp>
        <p:nvSpPr>
          <p:cNvPr id="19" name="Google Shape;24030;p6">
            <a:extLst>
              <a:ext uri="{FF2B5EF4-FFF2-40B4-BE49-F238E27FC236}">
                <a16:creationId xmlns:a16="http://schemas.microsoft.com/office/drawing/2014/main" id="{FE1B1376-92A5-6A6B-8E86-2AD82A10A416}"/>
              </a:ext>
            </a:extLst>
          </p:cNvPr>
          <p:cNvSpPr/>
          <p:nvPr/>
        </p:nvSpPr>
        <p:spPr>
          <a:xfrm>
            <a:off x="446712" y="4759224"/>
            <a:ext cx="5928009" cy="940277"/>
          </a:xfrm>
          <a:prstGeom prst="rect">
            <a:avLst/>
          </a:prstGeom>
          <a:noFill/>
          <a:ln>
            <a:noFill/>
          </a:ln>
        </p:spPr>
        <p:txBody>
          <a:bodyPr spcFirstLastPara="1" wrap="square" lIns="0" tIns="0" rIns="91433" bIns="45717" anchor="b" anchorCtr="1">
            <a:noAutofit/>
          </a:bodyPr>
          <a:lstStyle/>
          <a:p>
            <a:pPr algn="ctr">
              <a:lnSpc>
                <a:spcPct val="85000"/>
              </a:lnSpc>
              <a:buClr>
                <a:srgbClr val="000000"/>
              </a:buClr>
              <a:buSzPts val="3000"/>
            </a:pPr>
            <a:r>
              <a:rPr lang="en-US" sz="2000">
                <a:solidFill>
                  <a:srgbClr val="79818A"/>
                </a:solidFill>
                <a:latin typeface="Arial"/>
                <a:ea typeface="Arial"/>
                <a:cs typeface="Arial"/>
                <a:sym typeface="Arial"/>
              </a:rPr>
              <a:t>Education credits sponsored by:</a:t>
            </a:r>
            <a:endParaRPr sz="2000" u="sng">
              <a:solidFill>
                <a:srgbClr val="79818A"/>
              </a:solidFill>
              <a:latin typeface="Arial"/>
              <a:ea typeface="Arial"/>
              <a:cs typeface="Arial"/>
              <a:sym typeface="Arial"/>
            </a:endParaRPr>
          </a:p>
        </p:txBody>
      </p:sp>
      <p:sp>
        <p:nvSpPr>
          <p:cNvPr id="21" name="Google Shape;24031;p6">
            <a:extLst>
              <a:ext uri="{FF2B5EF4-FFF2-40B4-BE49-F238E27FC236}">
                <a16:creationId xmlns:a16="http://schemas.microsoft.com/office/drawing/2014/main" id="{DCF6E983-E7FB-7B83-35B6-A096D419863A}"/>
              </a:ext>
            </a:extLst>
          </p:cNvPr>
          <p:cNvSpPr/>
          <p:nvPr/>
        </p:nvSpPr>
        <p:spPr>
          <a:xfrm>
            <a:off x="261550" y="4221277"/>
            <a:ext cx="6205511" cy="940277"/>
          </a:xfrm>
          <a:prstGeom prst="rect">
            <a:avLst/>
          </a:prstGeom>
          <a:noFill/>
          <a:ln>
            <a:noFill/>
          </a:ln>
        </p:spPr>
        <p:txBody>
          <a:bodyPr spcFirstLastPara="1" wrap="square" lIns="0" tIns="0" rIns="91433" bIns="45717" anchor="b" anchorCtr="1">
            <a:noAutofit/>
          </a:bodyPr>
          <a:lstStyle/>
          <a:p>
            <a:pPr algn="ctr">
              <a:lnSpc>
                <a:spcPct val="85000"/>
              </a:lnSpc>
              <a:buClr>
                <a:srgbClr val="000000"/>
              </a:buClr>
              <a:buSzPts val="4650"/>
            </a:pPr>
            <a:r>
              <a:rPr lang="en-US" sz="3100" dirty="0">
                <a:solidFill>
                  <a:srgbClr val="F5668F"/>
                </a:solidFill>
                <a:latin typeface="Arial"/>
                <a:ea typeface="Arial"/>
                <a:cs typeface="Arial"/>
                <a:sym typeface="Arial"/>
              </a:rPr>
              <a:t>5.0 education credits available for nurses, physicians, and social workers.</a:t>
            </a:r>
            <a:endParaRPr sz="3200" u="sng" dirty="0">
              <a:solidFill>
                <a:srgbClr val="F5668F"/>
              </a:solidFill>
              <a:latin typeface="Arial"/>
              <a:ea typeface="Arial"/>
              <a:cs typeface="Arial"/>
              <a:sym typeface="Arial"/>
            </a:endParaRPr>
          </a:p>
        </p:txBody>
      </p:sp>
      <p:sp>
        <p:nvSpPr>
          <p:cNvPr id="23" name="Google Shape;24032;p6">
            <a:extLst>
              <a:ext uri="{FF2B5EF4-FFF2-40B4-BE49-F238E27FC236}">
                <a16:creationId xmlns:a16="http://schemas.microsoft.com/office/drawing/2014/main" id="{5D47690B-FD6E-B2AF-A7CE-BA96504A9CA6}"/>
              </a:ext>
            </a:extLst>
          </p:cNvPr>
          <p:cNvSpPr/>
          <p:nvPr/>
        </p:nvSpPr>
        <p:spPr>
          <a:xfrm>
            <a:off x="169210" y="0"/>
            <a:ext cx="6072565" cy="1536329"/>
          </a:xfrm>
          <a:prstGeom prst="rect">
            <a:avLst/>
          </a:prstGeom>
          <a:noFill/>
          <a:ln>
            <a:noFill/>
          </a:ln>
        </p:spPr>
        <p:txBody>
          <a:bodyPr spcFirstLastPara="1" wrap="square" lIns="0" tIns="0" rIns="91433" bIns="45717" anchor="b" anchorCtr="1">
            <a:noAutofit/>
          </a:bodyPr>
          <a:lstStyle/>
          <a:p>
            <a:pPr algn="ctr">
              <a:lnSpc>
                <a:spcPct val="85000"/>
              </a:lnSpc>
              <a:buClr>
                <a:srgbClr val="000000"/>
              </a:buClr>
              <a:buSzPts val="6000"/>
            </a:pPr>
            <a:r>
              <a:rPr lang="en-US" sz="4000" b="1" dirty="0">
                <a:solidFill>
                  <a:srgbClr val="1C498B"/>
                </a:solidFill>
                <a:latin typeface="Calibri"/>
                <a:ea typeface="Calibri"/>
                <a:cs typeface="Calibri"/>
                <a:sym typeface="Calibri"/>
              </a:rPr>
              <a:t>Obtain your Continuing Education Hours:</a:t>
            </a:r>
            <a:endParaRPr sz="933" dirty="0">
              <a:solidFill>
                <a:srgbClr val="000000"/>
              </a:solidFill>
              <a:latin typeface="Arial"/>
              <a:ea typeface="Arial"/>
              <a:cs typeface="Arial"/>
              <a:sym typeface="Arial"/>
            </a:endParaRPr>
          </a:p>
        </p:txBody>
      </p:sp>
      <p:sp>
        <p:nvSpPr>
          <p:cNvPr id="25" name="Google Shape;24033;p6">
            <a:extLst>
              <a:ext uri="{FF2B5EF4-FFF2-40B4-BE49-F238E27FC236}">
                <a16:creationId xmlns:a16="http://schemas.microsoft.com/office/drawing/2014/main" id="{39028D5F-551B-763C-DD30-F6F0513F7F75}"/>
              </a:ext>
            </a:extLst>
          </p:cNvPr>
          <p:cNvSpPr txBox="1"/>
          <p:nvPr/>
        </p:nvSpPr>
        <p:spPr>
          <a:xfrm>
            <a:off x="6467061" y="1727827"/>
            <a:ext cx="5595177" cy="2477595"/>
          </a:xfrm>
          <a:prstGeom prst="rect">
            <a:avLst/>
          </a:prstGeom>
          <a:noFill/>
          <a:ln>
            <a:noFill/>
          </a:ln>
        </p:spPr>
        <p:txBody>
          <a:bodyPr spcFirstLastPara="1" wrap="square" lIns="91433" tIns="45717" rIns="91433" bIns="45717" anchor="t" anchorCtr="0">
            <a:spAutoFit/>
          </a:bodyPr>
          <a:lstStyle/>
          <a:p>
            <a:pPr marL="285764" indent="-285764">
              <a:buClr>
                <a:srgbClr val="444C55"/>
              </a:buClr>
              <a:buSzPts val="4200"/>
              <a:buFont typeface="Arial"/>
              <a:buChar char="•"/>
            </a:pPr>
            <a:r>
              <a:rPr lang="en-US" sz="2800" dirty="0">
                <a:solidFill>
                  <a:srgbClr val="444C55"/>
                </a:solidFill>
                <a:latin typeface="Calibri"/>
                <a:ea typeface="Calibri"/>
                <a:cs typeface="Calibri"/>
                <a:sym typeface="Calibri"/>
              </a:rPr>
              <a:t>Must stay to the end of the event.</a:t>
            </a:r>
            <a:endParaRPr sz="2800" dirty="0">
              <a:solidFill>
                <a:srgbClr val="444C55"/>
              </a:solidFill>
              <a:latin typeface="Calibri"/>
              <a:ea typeface="Calibri"/>
              <a:cs typeface="Calibri"/>
              <a:sym typeface="Calibri"/>
            </a:endParaRPr>
          </a:p>
          <a:p>
            <a:pPr marL="285750" indent="-285750">
              <a:spcBef>
                <a:spcPts val="900"/>
              </a:spcBef>
              <a:buClr>
                <a:srgbClr val="444C55"/>
              </a:buClr>
              <a:buSzPts val="4200"/>
              <a:buFont typeface="Arial"/>
              <a:buChar char="•"/>
            </a:pPr>
            <a:r>
              <a:rPr lang="en-US" sz="2800" dirty="0">
                <a:solidFill>
                  <a:srgbClr val="444C55"/>
                </a:solidFill>
                <a:latin typeface="Calibri"/>
                <a:ea typeface="Calibri"/>
                <a:cs typeface="Calibri"/>
                <a:sym typeface="Calibri"/>
              </a:rPr>
              <a:t>QR codes to be distributed during </a:t>
            </a:r>
            <a:r>
              <a:rPr lang="en-US" sz="2800">
                <a:solidFill>
                  <a:srgbClr val="444C55"/>
                </a:solidFill>
                <a:latin typeface="Calibri"/>
                <a:ea typeface="Calibri"/>
                <a:cs typeface="Calibri"/>
                <a:sym typeface="Calibri"/>
              </a:rPr>
              <a:t>wrap-up session at </a:t>
            </a:r>
            <a:r>
              <a:rPr lang="en-US" sz="2800" b="1">
                <a:solidFill>
                  <a:srgbClr val="444C55"/>
                </a:solidFill>
                <a:highlight>
                  <a:srgbClr val="FFFF00"/>
                </a:highlight>
                <a:latin typeface="Calibri"/>
                <a:ea typeface="Calibri"/>
                <a:cs typeface="Calibri"/>
                <a:sym typeface="Calibri"/>
              </a:rPr>
              <a:t>3:30 – 3:50 pm</a:t>
            </a:r>
            <a:r>
              <a:rPr lang="en-US" sz="2800" dirty="0">
                <a:solidFill>
                  <a:srgbClr val="444C55"/>
                </a:solidFill>
                <a:latin typeface="Calibri"/>
                <a:ea typeface="Calibri"/>
                <a:cs typeface="Calibri"/>
                <a:sym typeface="Calibri"/>
              </a:rPr>
              <a:t>.</a:t>
            </a:r>
            <a:endParaRPr sz="933" dirty="0">
              <a:solidFill>
                <a:srgbClr val="000000"/>
              </a:solidFill>
              <a:latin typeface="Arial"/>
              <a:ea typeface="Arial"/>
              <a:cs typeface="Arial"/>
            </a:endParaRPr>
          </a:p>
          <a:p>
            <a:pPr marL="285764" indent="-285764">
              <a:spcBef>
                <a:spcPts val="900"/>
              </a:spcBef>
              <a:buClr>
                <a:srgbClr val="444C55"/>
              </a:buClr>
              <a:buSzPts val="4200"/>
              <a:buFont typeface="Arial"/>
              <a:buChar char="•"/>
            </a:pPr>
            <a:r>
              <a:rPr lang="en-US" sz="2800" dirty="0">
                <a:solidFill>
                  <a:srgbClr val="444C55"/>
                </a:solidFill>
                <a:latin typeface="Calibri"/>
                <a:ea typeface="Calibri"/>
                <a:cs typeface="Calibri"/>
                <a:sym typeface="Calibri"/>
              </a:rPr>
              <a:t>Must complete evaluation online to receive your credits. </a:t>
            </a:r>
            <a:endParaRPr sz="2800" dirty="0">
              <a:solidFill>
                <a:srgbClr val="444C55"/>
              </a:solidFill>
              <a:latin typeface="Calibri"/>
              <a:ea typeface="Calibri"/>
              <a:cs typeface="Calibri"/>
              <a:sym typeface="Calibri"/>
            </a:endParaRPr>
          </a:p>
        </p:txBody>
      </p:sp>
      <p:pic>
        <p:nvPicPr>
          <p:cNvPr id="27" name="Picture 26" descr="A qr code on a white background&#10;&#10;AI-generated content may be incorrect.">
            <a:extLst>
              <a:ext uri="{FF2B5EF4-FFF2-40B4-BE49-F238E27FC236}">
                <a16:creationId xmlns:a16="http://schemas.microsoft.com/office/drawing/2014/main" id="{3F0265AA-09D7-691E-FB97-C972ACE5C955}"/>
              </a:ext>
            </a:extLst>
          </p:cNvPr>
          <p:cNvPicPr>
            <a:picLocks noChangeAspect="1"/>
          </p:cNvPicPr>
          <p:nvPr/>
        </p:nvPicPr>
        <p:blipFill>
          <a:blip r:embed="rId5"/>
          <a:srcRect l="11745" t="12586" r="12065" b="13099"/>
          <a:stretch>
            <a:fillRect/>
          </a:stretch>
        </p:blipFill>
        <p:spPr>
          <a:xfrm>
            <a:off x="9652462" y="4416620"/>
            <a:ext cx="1900084" cy="1853310"/>
          </a:xfrm>
          <a:prstGeom prst="rect">
            <a:avLst/>
          </a:prstGeom>
        </p:spPr>
      </p:pic>
      <p:pic>
        <p:nvPicPr>
          <p:cNvPr id="29" name="Picture 28" descr="A close up of a sign&#10;&#10;AI-generated content may be incorrect.">
            <a:extLst>
              <a:ext uri="{FF2B5EF4-FFF2-40B4-BE49-F238E27FC236}">
                <a16:creationId xmlns:a16="http://schemas.microsoft.com/office/drawing/2014/main" id="{BDC24946-9D1D-2B9A-848F-50B4322A057D}"/>
              </a:ext>
            </a:extLst>
          </p:cNvPr>
          <p:cNvPicPr>
            <a:picLocks noChangeAspect="1"/>
          </p:cNvPicPr>
          <p:nvPr/>
        </p:nvPicPr>
        <p:blipFill>
          <a:blip r:embed="rId6"/>
          <a:stretch>
            <a:fillRect/>
          </a:stretch>
        </p:blipFill>
        <p:spPr>
          <a:xfrm>
            <a:off x="6910833" y="4986880"/>
            <a:ext cx="2581084" cy="730201"/>
          </a:xfrm>
          <a:prstGeom prst="rect">
            <a:avLst/>
          </a:prstGeom>
        </p:spPr>
      </p:pic>
    </p:spTree>
    <p:extLst>
      <p:ext uri="{BB962C8B-B14F-4D97-AF65-F5344CB8AC3E}">
        <p14:creationId xmlns:p14="http://schemas.microsoft.com/office/powerpoint/2010/main" val="71103285"/>
      </p:ext>
    </p:extLst>
  </p:cSld>
  <p:clrMapOvr>
    <a:masterClrMapping/>
  </p:clrMapOvr>
  <p:extLst>
    <p:ext uri="{6950BFC3-D8DA-4A85-94F7-54DA5524770B}">
      <p188:commentRel xmlns:p188="http://schemas.microsoft.com/office/powerpoint/2018/8/main" r:id="rId3"/>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9020"/>
        <p:cNvGrpSpPr/>
        <p:nvPr/>
      </p:nvGrpSpPr>
      <p:grpSpPr>
        <a:xfrm>
          <a:off x="0" y="0"/>
          <a:ext cx="0" cy="0"/>
          <a:chOff x="0" y="0"/>
          <a:chExt cx="0" cy="0"/>
        </a:xfrm>
      </p:grpSpPr>
      <p:sp>
        <p:nvSpPr>
          <p:cNvPr id="9021" name="Google Shape;9021;p5"/>
          <p:cNvSpPr txBox="1">
            <a:spLocks noGrp="1"/>
          </p:cNvSpPr>
          <p:nvPr>
            <p:ph type="title"/>
          </p:nvPr>
        </p:nvSpPr>
        <p:spPr>
          <a:xfrm>
            <a:off x="322449" y="270077"/>
            <a:ext cx="7467900" cy="1370878"/>
          </a:xfrm>
          <a:prstGeom prst="rect">
            <a:avLst/>
          </a:prstGeom>
          <a:noFill/>
          <a:ln>
            <a:noFill/>
          </a:ln>
        </p:spPr>
        <p:txBody>
          <a:bodyPr spcFirstLastPara="1" wrap="square" lIns="0" tIns="16500" rIns="0" bIns="0" anchor="t" anchorCtr="0">
            <a:spAutoFit/>
          </a:bodyPr>
          <a:lstStyle/>
          <a:p>
            <a:pPr marL="12700" lvl="0" indent="0" algn="l" rtl="0">
              <a:lnSpc>
                <a:spcPct val="100000"/>
              </a:lnSpc>
              <a:spcBef>
                <a:spcPts val="0"/>
              </a:spcBef>
              <a:spcAft>
                <a:spcPts val="0"/>
              </a:spcAft>
              <a:buSzPts val="1400"/>
              <a:buNone/>
            </a:pPr>
            <a:r>
              <a:rPr lang="en-US" sz="4400" b="1" dirty="0">
                <a:solidFill>
                  <a:srgbClr val="002060"/>
                </a:solidFill>
                <a:latin typeface="DM Sans"/>
                <a:ea typeface="DM Sans"/>
                <a:cs typeface="DM Sans"/>
                <a:sym typeface="DM Sans"/>
              </a:rPr>
              <a:t>ESSI ABP MOC Part IV</a:t>
            </a:r>
            <a:br>
              <a:rPr lang="en-US" sz="4400" b="1" dirty="0">
                <a:solidFill>
                  <a:srgbClr val="002060"/>
                </a:solidFill>
                <a:latin typeface="DM Sans"/>
                <a:ea typeface="DM Sans"/>
                <a:cs typeface="DM Sans"/>
                <a:sym typeface="DM Sans"/>
              </a:rPr>
            </a:br>
            <a:endParaRPr lang="en-US" sz="4400" b="1" dirty="0">
              <a:solidFill>
                <a:srgbClr val="002060"/>
              </a:solidFill>
              <a:latin typeface="DM Sans"/>
              <a:ea typeface="DM Sans"/>
              <a:cs typeface="DM Sans"/>
            </a:endParaRPr>
          </a:p>
        </p:txBody>
      </p:sp>
      <p:grpSp>
        <p:nvGrpSpPr>
          <p:cNvPr id="9022" name="Google Shape;9022;p5"/>
          <p:cNvGrpSpPr/>
          <p:nvPr/>
        </p:nvGrpSpPr>
        <p:grpSpPr>
          <a:xfrm>
            <a:off x="140897" y="1382125"/>
            <a:ext cx="9014400" cy="5555444"/>
            <a:chOff x="496250" y="1076500"/>
            <a:chExt cx="9014400" cy="5555444"/>
          </a:xfrm>
        </p:grpSpPr>
        <p:sp>
          <p:nvSpPr>
            <p:cNvPr id="9023" name="Google Shape;9023;p5"/>
            <p:cNvSpPr txBox="1"/>
            <p:nvPr/>
          </p:nvSpPr>
          <p:spPr>
            <a:xfrm>
              <a:off x="496250" y="1076500"/>
              <a:ext cx="7787400" cy="677750"/>
            </a:xfrm>
            <a:prstGeom prst="rect">
              <a:avLst/>
            </a:prstGeom>
            <a:noFill/>
            <a:ln>
              <a:noFill/>
            </a:ln>
          </p:spPr>
          <p:txBody>
            <a:bodyPr spcFirstLastPara="1" wrap="square" lIns="0" tIns="15875" rIns="0" bIns="0" anchor="t" anchorCtr="0">
              <a:spAutoFit/>
            </a:bodyPr>
            <a:lstStyle/>
            <a:p>
              <a:pPr marL="457200" indent="-365125">
                <a:buClr>
                  <a:srgbClr val="000000"/>
                </a:buClr>
                <a:buSzPts val="2150"/>
                <a:buFont typeface="DM Sans"/>
                <a:buChar char="●"/>
              </a:pPr>
              <a:r>
                <a:rPr lang="en-US" sz="2150" b="0" i="0" u="none" strike="noStrike" cap="none" dirty="0">
                  <a:latin typeface="DM Sans"/>
                  <a:ea typeface="DM Sans"/>
                  <a:cs typeface="DM Sans"/>
                  <a:sym typeface="DM Sans"/>
                </a:rPr>
                <a:t>Complete an attestation form if you are an ABP-certified </a:t>
              </a:r>
              <a:r>
                <a:rPr lang="en-US" sz="2150" dirty="0">
                  <a:latin typeface="DM Sans"/>
                  <a:ea typeface="DM Sans"/>
                  <a:cs typeface="DM Sans"/>
                  <a:sym typeface="DM Sans"/>
                </a:rPr>
                <a:t>physician seeking 25 Part IV MOC credits.</a:t>
              </a:r>
              <a:endParaRPr lang="en-US" sz="2150" dirty="0">
                <a:latin typeface="DM Sans"/>
                <a:ea typeface="DM Sans"/>
                <a:cs typeface="DM Sans"/>
              </a:endParaRPr>
            </a:p>
          </p:txBody>
        </p:sp>
        <p:sp>
          <p:nvSpPr>
            <p:cNvPr id="9024" name="Google Shape;9024;p5"/>
            <p:cNvSpPr txBox="1"/>
            <p:nvPr/>
          </p:nvSpPr>
          <p:spPr>
            <a:xfrm>
              <a:off x="917575" y="1423600"/>
              <a:ext cx="6385179" cy="346890"/>
            </a:xfrm>
            <a:prstGeom prst="rect">
              <a:avLst/>
            </a:prstGeom>
            <a:noFill/>
            <a:ln>
              <a:noFill/>
            </a:ln>
          </p:spPr>
          <p:txBody>
            <a:bodyPr spcFirstLastPara="1" wrap="square" lIns="0" tIns="15875" rIns="0" bIns="0" anchor="t" anchorCtr="0">
              <a:spAutoFit/>
            </a:bodyPr>
            <a:lstStyle/>
            <a:p>
              <a:pPr marL="12700">
                <a:buClr>
                  <a:srgbClr val="000000"/>
                </a:buClr>
                <a:buSzPts val="2150"/>
              </a:pPr>
              <a:endParaRPr lang="en-US" sz="2150" dirty="0">
                <a:latin typeface="DM Sans"/>
                <a:ea typeface="DM Sans"/>
                <a:cs typeface="DM Sans"/>
              </a:endParaRPr>
            </a:p>
          </p:txBody>
        </p:sp>
        <p:sp>
          <p:nvSpPr>
            <p:cNvPr id="9027" name="Google Shape;9027;p5"/>
            <p:cNvSpPr txBox="1"/>
            <p:nvPr/>
          </p:nvSpPr>
          <p:spPr>
            <a:xfrm>
              <a:off x="496250" y="1754250"/>
              <a:ext cx="9014400" cy="3120406"/>
            </a:xfrm>
            <a:prstGeom prst="rect">
              <a:avLst/>
            </a:prstGeom>
            <a:noFill/>
            <a:ln>
              <a:noFill/>
            </a:ln>
          </p:spPr>
          <p:txBody>
            <a:bodyPr spcFirstLastPara="1" wrap="square" lIns="0" tIns="15875" rIns="0" bIns="0" anchor="t" anchorCtr="0">
              <a:spAutoFit/>
            </a:bodyPr>
            <a:lstStyle/>
            <a:p>
              <a:pPr marL="457200" lvl="0" indent="-365125" algn="l" rtl="0">
                <a:lnSpc>
                  <a:spcPct val="116000"/>
                </a:lnSpc>
                <a:spcBef>
                  <a:spcPts val="0"/>
                </a:spcBef>
                <a:spcAft>
                  <a:spcPts val="0"/>
                </a:spcAft>
                <a:buClr>
                  <a:schemeClr val="dk1"/>
                </a:buClr>
                <a:buSzPts val="2150"/>
                <a:buFont typeface="DM Sans"/>
                <a:buChar char="●"/>
              </a:pPr>
              <a:r>
                <a:rPr lang="en-US" sz="2150" dirty="0">
                  <a:latin typeface="DM Sans"/>
                  <a:ea typeface="DM Sans"/>
                  <a:cs typeface="DM Sans"/>
                  <a:sym typeface="DM Sans"/>
                </a:rPr>
                <a:t>Download, complete, and submit the attestation form and upload.</a:t>
              </a:r>
              <a:endParaRPr lang="en-US" sz="2150" dirty="0">
                <a:latin typeface="DM Sans"/>
                <a:ea typeface="DM Sans"/>
                <a:cs typeface="DM Sans"/>
              </a:endParaRPr>
            </a:p>
            <a:p>
              <a:pPr marL="457200" lvl="0" indent="-365125" algn="l" rtl="0">
                <a:lnSpc>
                  <a:spcPct val="116000"/>
                </a:lnSpc>
                <a:spcBef>
                  <a:spcPts val="0"/>
                </a:spcBef>
                <a:spcAft>
                  <a:spcPts val="0"/>
                </a:spcAft>
                <a:buClr>
                  <a:schemeClr val="dk1"/>
                </a:buClr>
                <a:buSzPts val="2150"/>
                <a:buFont typeface="DM Sans"/>
                <a:buChar char="●"/>
              </a:pPr>
              <a:r>
                <a:rPr lang="en-US" sz="2150" i="0" u="none" strike="noStrike" cap="none" dirty="0">
                  <a:latin typeface="DM Sans"/>
                  <a:ea typeface="DM Sans"/>
                  <a:cs typeface="DM Sans"/>
                  <a:sym typeface="DM Sans"/>
                </a:rPr>
                <a:t>Attestation of Meaningful Participation:</a:t>
              </a:r>
              <a:endParaRPr sz="2150" i="0" u="none" strike="noStrike" cap="none" dirty="0">
                <a:latin typeface="DM Sans"/>
                <a:ea typeface="DM Sans"/>
                <a:cs typeface="DM Sans"/>
              </a:endParaRPr>
            </a:p>
            <a:p>
              <a:pPr marL="698500" marR="748665" lvl="1" indent="-228600" algn="l" rtl="0">
                <a:lnSpc>
                  <a:spcPct val="108372"/>
                </a:lnSpc>
                <a:spcBef>
                  <a:spcPts val="200"/>
                </a:spcBef>
                <a:spcAft>
                  <a:spcPts val="0"/>
                </a:spcAft>
                <a:buClr>
                  <a:srgbClr val="000000"/>
                </a:buClr>
                <a:buSzPts val="2150"/>
                <a:buFont typeface="DM Sans"/>
                <a:buChar char="•"/>
              </a:pPr>
              <a:r>
                <a:rPr lang="en-US" sz="2150" i="0" u="none" strike="noStrike" cap="none" dirty="0">
                  <a:latin typeface="DM Sans"/>
                  <a:ea typeface="DM Sans"/>
                  <a:cs typeface="DM Sans"/>
                  <a:sym typeface="DM Sans"/>
                </a:rPr>
                <a:t>Intellectually engaged in planning and executing the project</a:t>
              </a:r>
              <a:endParaRPr sz="2150" i="0" u="none" strike="noStrike" cap="none" dirty="0">
                <a:latin typeface="DM Sans"/>
                <a:ea typeface="DM Sans"/>
                <a:cs typeface="DM Sans"/>
              </a:endParaRPr>
            </a:p>
            <a:p>
              <a:pPr marL="698500" marR="5080" lvl="1" indent="-228600" algn="l" rtl="0">
                <a:lnSpc>
                  <a:spcPct val="108372"/>
                </a:lnSpc>
                <a:spcBef>
                  <a:spcPts val="595"/>
                </a:spcBef>
                <a:spcAft>
                  <a:spcPts val="0"/>
                </a:spcAft>
                <a:buClr>
                  <a:srgbClr val="000000"/>
                </a:buClr>
                <a:buSzPts val="2150"/>
                <a:buFont typeface="DM Sans"/>
                <a:buChar char="•"/>
              </a:pPr>
              <a:r>
                <a:rPr lang="en-US" sz="2150" i="0" u="none" strike="noStrike" cap="none" dirty="0">
                  <a:latin typeface="DM Sans"/>
                  <a:ea typeface="DM Sans"/>
                  <a:cs typeface="DM Sans"/>
                  <a:sym typeface="DM Sans"/>
                </a:rPr>
                <a:t>Participated in implementing the project’s interventions - the changes designed to improve care</a:t>
              </a:r>
              <a:endParaRPr sz="2150" i="0" u="none" strike="noStrike" cap="none" dirty="0">
                <a:latin typeface="DM Sans"/>
                <a:ea typeface="DM Sans"/>
                <a:cs typeface="DM Sans"/>
              </a:endParaRPr>
            </a:p>
            <a:p>
              <a:pPr marL="698500" marR="0" lvl="1" indent="-228600" algn="l" rtl="0">
                <a:lnSpc>
                  <a:spcPct val="114186"/>
                </a:lnSpc>
                <a:spcBef>
                  <a:spcPts val="315"/>
                </a:spcBef>
                <a:spcAft>
                  <a:spcPts val="0"/>
                </a:spcAft>
                <a:buClr>
                  <a:srgbClr val="000000"/>
                </a:buClr>
                <a:buSzPts val="2150"/>
                <a:buFont typeface="DM Sans"/>
                <a:buChar char="•"/>
              </a:pPr>
              <a:r>
                <a:rPr lang="en-US" sz="2150" i="0" u="none" strike="noStrike" cap="none" dirty="0">
                  <a:latin typeface="DM Sans"/>
                  <a:ea typeface="DM Sans"/>
                  <a:cs typeface="DM Sans"/>
                  <a:sym typeface="DM Sans"/>
                </a:rPr>
                <a:t>Regularly reviewed data in keeping with the project’s</a:t>
              </a:r>
              <a:endParaRPr sz="2150" i="0" u="none" strike="noStrike" cap="none" dirty="0">
                <a:latin typeface="DM Sans"/>
                <a:ea typeface="DM Sans"/>
                <a:cs typeface="DM Sans"/>
              </a:endParaRPr>
            </a:p>
            <a:p>
              <a:pPr marL="698500" marR="0" lvl="0" indent="0" algn="l" rtl="0">
                <a:lnSpc>
                  <a:spcPct val="114186"/>
                </a:lnSpc>
                <a:spcBef>
                  <a:spcPts val="0"/>
                </a:spcBef>
                <a:spcAft>
                  <a:spcPts val="0"/>
                </a:spcAft>
                <a:buClr>
                  <a:srgbClr val="000000"/>
                </a:buClr>
                <a:buSzPts val="2150"/>
                <a:buFont typeface="Arial"/>
                <a:buNone/>
              </a:pPr>
              <a:r>
                <a:rPr lang="en-US" sz="2150" i="0" u="none" strike="noStrike" cap="none" dirty="0">
                  <a:latin typeface="DM Sans"/>
                  <a:ea typeface="DM Sans"/>
                  <a:cs typeface="DM Sans"/>
                  <a:sym typeface="DM Sans"/>
                </a:rPr>
                <a:t>measurement plan</a:t>
              </a:r>
              <a:endParaRPr sz="2150" i="0" u="none" strike="noStrike" cap="none" dirty="0">
                <a:latin typeface="DM Sans"/>
                <a:ea typeface="DM Sans"/>
                <a:cs typeface="DM Sans"/>
              </a:endParaRPr>
            </a:p>
            <a:p>
              <a:pPr marL="698500" marR="0" lvl="1" indent="-228600" algn="l" rtl="0">
                <a:lnSpc>
                  <a:spcPct val="100000"/>
                </a:lnSpc>
                <a:spcBef>
                  <a:spcPts val="345"/>
                </a:spcBef>
                <a:spcAft>
                  <a:spcPts val="0"/>
                </a:spcAft>
                <a:buClr>
                  <a:srgbClr val="000000"/>
                </a:buClr>
                <a:buSzPts val="2150"/>
                <a:buFont typeface="DM Sans"/>
                <a:buChar char="•"/>
              </a:pPr>
              <a:r>
                <a:rPr lang="en-US" sz="2150" i="0" u="none" strike="noStrike" cap="none" dirty="0">
                  <a:latin typeface="DM Sans"/>
                  <a:ea typeface="DM Sans"/>
                  <a:cs typeface="DM Sans"/>
                  <a:sym typeface="DM Sans"/>
                </a:rPr>
                <a:t>Collaborated in the activity by attending team meetings</a:t>
              </a:r>
              <a:endParaRPr sz="2150" i="0" u="none" strike="noStrike" cap="none" dirty="0">
                <a:latin typeface="DM Sans"/>
                <a:ea typeface="DM Sans"/>
                <a:cs typeface="DM Sans"/>
                <a:sym typeface="DM Sans"/>
              </a:endParaRPr>
            </a:p>
          </p:txBody>
        </p:sp>
        <p:sp>
          <p:nvSpPr>
            <p:cNvPr id="9028" name="Google Shape;9028;p5"/>
            <p:cNvSpPr txBox="1"/>
            <p:nvPr/>
          </p:nvSpPr>
          <p:spPr>
            <a:xfrm>
              <a:off x="917575" y="6434454"/>
              <a:ext cx="118745" cy="197490"/>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Clr>
                  <a:srgbClr val="000000"/>
                </a:buClr>
                <a:buSzPts val="1200"/>
                <a:buFont typeface="Arial"/>
                <a:buNone/>
              </a:pPr>
              <a:endParaRPr sz="1200" b="0" i="0" u="none" strike="noStrike" cap="none" dirty="0">
                <a:solidFill>
                  <a:srgbClr val="000000"/>
                </a:solidFill>
                <a:latin typeface="DM Sans"/>
                <a:ea typeface="DM Sans"/>
                <a:cs typeface="DM Sans"/>
                <a:sym typeface="DM Sans"/>
              </a:endParaRPr>
            </a:p>
          </p:txBody>
        </p:sp>
      </p:grpSp>
      <p:sp>
        <p:nvSpPr>
          <p:cNvPr id="9029" name="Google Shape;9029;p5"/>
          <p:cNvSpPr txBox="1"/>
          <p:nvPr/>
        </p:nvSpPr>
        <p:spPr>
          <a:xfrm>
            <a:off x="8972208" y="5350324"/>
            <a:ext cx="3078900" cy="1015632"/>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1800" i="1" dirty="0">
                <a:solidFill>
                  <a:schemeClr val="dk1"/>
                </a:solidFill>
                <a:latin typeface="DM Sans"/>
                <a:ea typeface="DM Sans"/>
                <a:cs typeface="DM Sans"/>
                <a:sym typeface="DM Sans"/>
              </a:rPr>
              <a:t>Scan QR Code to submit MOC form or go to </a:t>
            </a:r>
            <a:r>
              <a:rPr lang="en-US" sz="1800" i="1" dirty="0" err="1">
                <a:solidFill>
                  <a:schemeClr val="dk1"/>
                </a:solidFill>
                <a:latin typeface="DM Sans"/>
                <a:ea typeface="DM Sans"/>
                <a:cs typeface="DM Sans"/>
                <a:sym typeface="DM Sans"/>
              </a:rPr>
              <a:t>ILPQC.org</a:t>
            </a:r>
            <a:r>
              <a:rPr lang="en-US" sz="1800" i="1" dirty="0">
                <a:solidFill>
                  <a:schemeClr val="dk1"/>
                </a:solidFill>
                <a:latin typeface="DM Sans"/>
                <a:ea typeface="DM Sans"/>
                <a:cs typeface="DM Sans"/>
                <a:sym typeface="DM Sans"/>
              </a:rPr>
              <a:t> toolkit.</a:t>
            </a:r>
            <a:endParaRPr sz="1800" i="1" dirty="0">
              <a:solidFill>
                <a:schemeClr val="dk1"/>
              </a:solidFill>
              <a:latin typeface="DM Sans"/>
              <a:ea typeface="DM Sans"/>
              <a:cs typeface="DM Sans"/>
              <a:sym typeface="DM Sans"/>
            </a:endParaRPr>
          </a:p>
        </p:txBody>
      </p:sp>
      <p:pic>
        <p:nvPicPr>
          <p:cNvPr id="9030" name="Google Shape;9030;p5" title="MOC Part IV REDCap Survey.png"/>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9101850" y="3143250"/>
            <a:ext cx="2324575" cy="2332625"/>
          </a:xfrm>
          <a:prstGeom prst="rect">
            <a:avLst/>
          </a:prstGeom>
          <a:noFill/>
          <a:ln>
            <a:noFill/>
          </a:ln>
        </p:spPr>
      </p:pic>
    </p:spTree>
    <p:extLst>
      <p:ext uri="{BB962C8B-B14F-4D97-AF65-F5344CB8AC3E}">
        <p14:creationId xmlns:p14="http://schemas.microsoft.com/office/powerpoint/2010/main" val="32048644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9D43D9-73B9-E4DD-DB79-1595589E8FBA}"/>
            </a:ext>
          </a:extLst>
        </p:cNvPr>
        <p:cNvGrpSpPr/>
        <p:nvPr/>
      </p:nvGrpSpPr>
      <p:grpSpPr>
        <a:xfrm>
          <a:off x="0" y="0"/>
          <a:ext cx="0" cy="0"/>
          <a:chOff x="0" y="0"/>
          <a:chExt cx="0" cy="0"/>
        </a:xfrm>
      </p:grpSpPr>
      <p:sp>
        <p:nvSpPr>
          <p:cNvPr id="7" name="TextBox 7">
            <a:extLst>
              <a:ext uri="{FF2B5EF4-FFF2-40B4-BE49-F238E27FC236}">
                <a16:creationId xmlns:a16="http://schemas.microsoft.com/office/drawing/2014/main" id="{0FB0249D-A801-6B68-329E-0CAE0836BAF8}"/>
              </a:ext>
            </a:extLst>
          </p:cNvPr>
          <p:cNvSpPr txBox="1"/>
          <p:nvPr/>
        </p:nvSpPr>
        <p:spPr>
          <a:xfrm>
            <a:off x="1667171" y="1630640"/>
            <a:ext cx="9430926" cy="2084930"/>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5413"/>
              </a:lnSpc>
            </a:pPr>
            <a:r>
              <a:rPr lang="en-US" sz="5334" b="1" i="0" u="none" strike="noStrike" dirty="0">
                <a:solidFill>
                  <a:srgbClr val="1C498B"/>
                </a:solidFill>
                <a:effectLst/>
                <a:latin typeface="Calibri" panose="020F0502020204030204" pitchFamily="34" charset="0"/>
              </a:rPr>
              <a:t>In collaboration with IDHS, ILPQC welcomes bedside nurses from across the state of Illinois!</a:t>
            </a:r>
            <a:r>
              <a:rPr lang="en-US" sz="5334" b="0" i="0" dirty="0">
                <a:solidFill>
                  <a:srgbClr val="000000"/>
                </a:solidFill>
                <a:effectLst/>
                <a:latin typeface="Calibri" panose="020F0502020204030204" pitchFamily="34" charset="0"/>
              </a:rPr>
              <a:t>​</a:t>
            </a:r>
            <a:endParaRPr lang="en-US" sz="5000" b="1" dirty="0">
              <a:solidFill>
                <a:srgbClr val="1C498B"/>
              </a:solidFill>
              <a:latin typeface="Calibri"/>
              <a:ea typeface="Calibri"/>
              <a:cs typeface="Calibri"/>
            </a:endParaRPr>
          </a:p>
        </p:txBody>
      </p:sp>
      <p:pic>
        <p:nvPicPr>
          <p:cNvPr id="9" name="Picture 8" descr="A blue and red curved line&#10;&#10;AI-generated content may be incorrect.">
            <a:extLst>
              <a:ext uri="{FF2B5EF4-FFF2-40B4-BE49-F238E27FC236}">
                <a16:creationId xmlns:a16="http://schemas.microsoft.com/office/drawing/2014/main" id="{F2261323-57F2-22A1-526B-738668ACD88B}"/>
              </a:ext>
            </a:extLst>
          </p:cNvPr>
          <p:cNvPicPr>
            <a:picLocks noChangeAspect="1"/>
          </p:cNvPicPr>
          <p:nvPr/>
        </p:nvPicPr>
        <p:blipFill>
          <a:blip r:embed="rId4"/>
          <a:stretch>
            <a:fillRect/>
          </a:stretch>
        </p:blipFill>
        <p:spPr>
          <a:xfrm>
            <a:off x="8671866" y="-1176"/>
            <a:ext cx="3531305" cy="952500"/>
          </a:xfrm>
          <a:prstGeom prst="rect">
            <a:avLst/>
          </a:prstGeom>
        </p:spPr>
      </p:pic>
      <p:pic>
        <p:nvPicPr>
          <p:cNvPr id="12" name="Picture 11" descr="A logo with a map and text&#10;&#10;AI-generated content may be incorrect.">
            <a:extLst>
              <a:ext uri="{FF2B5EF4-FFF2-40B4-BE49-F238E27FC236}">
                <a16:creationId xmlns:a16="http://schemas.microsoft.com/office/drawing/2014/main" id="{00DC8612-CA96-70BE-EC89-BE5F7E85430B}"/>
              </a:ext>
            </a:extLst>
          </p:cNvPr>
          <p:cNvPicPr>
            <a:picLocks noChangeAspect="1"/>
          </p:cNvPicPr>
          <p:nvPr/>
        </p:nvPicPr>
        <p:blipFill>
          <a:blip r:embed="rId5"/>
          <a:srcRect t="154" r="-244" b="3921"/>
          <a:stretch>
            <a:fillRect/>
          </a:stretch>
        </p:blipFill>
        <p:spPr>
          <a:xfrm>
            <a:off x="10339918" y="3550"/>
            <a:ext cx="1446409" cy="719901"/>
          </a:xfrm>
          <a:prstGeom prst="rect">
            <a:avLst/>
          </a:prstGeom>
        </p:spPr>
      </p:pic>
      <p:pic>
        <p:nvPicPr>
          <p:cNvPr id="3074" name="Picture 2">
            <a:extLst>
              <a:ext uri="{FF2B5EF4-FFF2-40B4-BE49-F238E27FC236}">
                <a16:creationId xmlns:a16="http://schemas.microsoft.com/office/drawing/2014/main" id="{78580F61-1983-4926-FC87-0FCDA1F23B3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5673" y="206448"/>
            <a:ext cx="1342605" cy="1327173"/>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3">
            <a:extLst>
              <a:ext uri="{FF2B5EF4-FFF2-40B4-BE49-F238E27FC236}">
                <a16:creationId xmlns:a16="http://schemas.microsoft.com/office/drawing/2014/main" id="{3646CA50-941B-BD47-6022-20D18F8B2734}"/>
              </a:ext>
            </a:extLst>
          </p:cNvPr>
          <p:cNvSpPr/>
          <p:nvPr/>
        </p:nvSpPr>
        <p:spPr>
          <a:xfrm>
            <a:off x="4158054" y="3821812"/>
            <a:ext cx="3469493" cy="2155422"/>
          </a:xfrm>
          <a:custGeom>
            <a:avLst/>
            <a:gdLst/>
            <a:ahLst/>
            <a:cxnLst/>
            <a:rect l="l" t="t" r="r" b="b"/>
            <a:pathLst>
              <a:path w="5204239" h="3233133">
                <a:moveTo>
                  <a:pt x="0" y="0"/>
                </a:moveTo>
                <a:lnTo>
                  <a:pt x="5204239" y="0"/>
                </a:lnTo>
                <a:lnTo>
                  <a:pt x="5204239" y="3233134"/>
                </a:lnTo>
                <a:lnTo>
                  <a:pt x="0" y="3233134"/>
                </a:lnTo>
                <a:lnTo>
                  <a:pt x="0" y="0"/>
                </a:lnTo>
                <a:close/>
              </a:path>
            </a:pathLst>
          </a:custGeom>
          <a:blipFill>
            <a:blip>
              <a:extLst>
                <a:ext uri="{96DAC541-7B7A-43D3-8B79-37D633B846F1}">
                  <asvg:svgBlip xmlns:asvg="http://schemas.microsoft.com/office/drawing/2016/SVG/main" r:embed="rId7"/>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11" name="Rectangle: Rounded Corners 10">
            <a:extLst>
              <a:ext uri="{FF2B5EF4-FFF2-40B4-BE49-F238E27FC236}">
                <a16:creationId xmlns:a16="http://schemas.microsoft.com/office/drawing/2014/main" id="{E21A6C76-B9C8-159E-D2D8-614C08A748F6}"/>
              </a:ext>
            </a:extLst>
          </p:cNvPr>
          <p:cNvSpPr/>
          <p:nvPr/>
        </p:nvSpPr>
        <p:spPr>
          <a:xfrm>
            <a:off x="177801" y="3821812"/>
            <a:ext cx="3107479" cy="716321"/>
          </a:xfrm>
          <a:prstGeom prst="roundRect">
            <a:avLst/>
          </a:prstGeom>
          <a:solidFill>
            <a:srgbClr val="F9C1BF"/>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r>
              <a:rPr lang="en-US" sz="3600"/>
              <a:t>69 RNs</a:t>
            </a:r>
          </a:p>
        </p:txBody>
      </p:sp>
      <p:sp>
        <p:nvSpPr>
          <p:cNvPr id="13" name="Rectangle: Rounded Corners 12">
            <a:extLst>
              <a:ext uri="{FF2B5EF4-FFF2-40B4-BE49-F238E27FC236}">
                <a16:creationId xmlns:a16="http://schemas.microsoft.com/office/drawing/2014/main" id="{115A4C24-EA13-869F-3A5D-CC31B31A7322}"/>
              </a:ext>
            </a:extLst>
          </p:cNvPr>
          <p:cNvSpPr/>
          <p:nvPr/>
        </p:nvSpPr>
        <p:spPr>
          <a:xfrm>
            <a:off x="8671866" y="3821812"/>
            <a:ext cx="3107479" cy="716321"/>
          </a:xfrm>
          <a:prstGeom prst="roundRect">
            <a:avLst/>
          </a:prstGeom>
          <a:solidFill>
            <a:srgbClr val="E6CF3C"/>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r>
              <a:rPr lang="en-US" sz="3600"/>
              <a:t>48 Hospitals</a:t>
            </a:r>
          </a:p>
        </p:txBody>
      </p:sp>
      <p:sp>
        <p:nvSpPr>
          <p:cNvPr id="14" name="Freeform 11">
            <a:extLst>
              <a:ext uri="{FF2B5EF4-FFF2-40B4-BE49-F238E27FC236}">
                <a16:creationId xmlns:a16="http://schemas.microsoft.com/office/drawing/2014/main" id="{73503B0F-4E14-32C0-31A7-52778D9C3614}"/>
              </a:ext>
            </a:extLst>
          </p:cNvPr>
          <p:cNvSpPr/>
          <p:nvPr/>
        </p:nvSpPr>
        <p:spPr>
          <a:xfrm>
            <a:off x="2462322" y="4324792"/>
            <a:ext cx="866590" cy="1149461"/>
          </a:xfrm>
          <a:custGeom>
            <a:avLst/>
            <a:gdLst>
              <a:gd name="f0" fmla="val w"/>
              <a:gd name="f1" fmla="val h"/>
              <a:gd name="f2" fmla="val 0"/>
              <a:gd name="f3" fmla="val 1651683"/>
              <a:gd name="f4" fmla="val 2303031"/>
              <a:gd name="f5" fmla="*/ f0 1 1651683"/>
              <a:gd name="f6" fmla="*/ f1 1 2303031"/>
              <a:gd name="f7" fmla="+- f4 0 f2"/>
              <a:gd name="f8" fmla="+- f3 0 f2"/>
              <a:gd name="f9" fmla="*/ f8 1 1651683"/>
              <a:gd name="f10" fmla="*/ f7 1 2303031"/>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1651683" h="2303031">
                <a:moveTo>
                  <a:pt x="f2" y="f2"/>
                </a:moveTo>
                <a:lnTo>
                  <a:pt x="f3" y="f2"/>
                </a:lnTo>
                <a:lnTo>
                  <a:pt x="f3" y="f4"/>
                </a:lnTo>
                <a:lnTo>
                  <a:pt x="f2" y="f4"/>
                </a:lnTo>
                <a:lnTo>
                  <a:pt x="f2" y="f2"/>
                </a:lnTo>
                <a:close/>
              </a:path>
            </a:pathLst>
          </a:custGeom>
          <a:blipFill>
            <a:blip cstate="email">
              <a:alphaModFix/>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a:ln cap="flat">
            <a:noFill/>
            <a:prstDash val="solid"/>
          </a:ln>
        </p:spPr>
        <p:txBody>
          <a:bodyPr vert="horz" wrap="square" lIns="60960" tIns="30480" rIns="60960" bIns="30480" anchor="t" anchorCtr="0" compatLnSpc="1">
            <a:no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4063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533" b="0" i="0" u="none" strike="noStrike" kern="1200" cap="none" spc="0" baseline="0">
              <a:solidFill>
                <a:srgbClr val="444C55"/>
              </a:solidFill>
              <a:uFillTx/>
              <a:latin typeface="Arial"/>
            </a:endParaRPr>
          </a:p>
        </p:txBody>
      </p:sp>
      <p:sp>
        <p:nvSpPr>
          <p:cNvPr id="15" name="Freeform 10">
            <a:extLst>
              <a:ext uri="{FF2B5EF4-FFF2-40B4-BE49-F238E27FC236}">
                <a16:creationId xmlns:a16="http://schemas.microsoft.com/office/drawing/2014/main" id="{7F478057-E3AD-08F5-034A-097EB9A93DD1}"/>
              </a:ext>
            </a:extLst>
          </p:cNvPr>
          <p:cNvSpPr/>
          <p:nvPr/>
        </p:nvSpPr>
        <p:spPr>
          <a:xfrm>
            <a:off x="10821392" y="4432498"/>
            <a:ext cx="1192809" cy="1041755"/>
          </a:xfrm>
          <a:custGeom>
            <a:avLst/>
            <a:gdLst>
              <a:gd name="f0" fmla="val w"/>
              <a:gd name="f1" fmla="val h"/>
              <a:gd name="f2" fmla="val 0"/>
              <a:gd name="f3" fmla="val 2270597"/>
              <a:gd name="f4" fmla="val 1878919"/>
              <a:gd name="f5" fmla="*/ f0 1 2270597"/>
              <a:gd name="f6" fmla="*/ f1 1 1878919"/>
              <a:gd name="f7" fmla="+- f4 0 f2"/>
              <a:gd name="f8" fmla="+- f3 0 f2"/>
              <a:gd name="f9" fmla="*/ f8 1 2270597"/>
              <a:gd name="f10" fmla="*/ f7 1 1878919"/>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2270597" h="1878919">
                <a:moveTo>
                  <a:pt x="f2" y="f2"/>
                </a:moveTo>
                <a:lnTo>
                  <a:pt x="f3" y="f2"/>
                </a:lnTo>
                <a:lnTo>
                  <a:pt x="f3" y="f4"/>
                </a:lnTo>
                <a:lnTo>
                  <a:pt x="f2" y="f4"/>
                </a:lnTo>
                <a:lnTo>
                  <a:pt x="f2" y="f2"/>
                </a:lnTo>
                <a:close/>
              </a:path>
            </a:pathLst>
          </a:custGeom>
          <a:blipFill>
            <a:blip cstate="email">
              <a:alphaModFix/>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a:blipFill>
          <a:ln cap="flat">
            <a:noFill/>
            <a:prstDash val="solid"/>
          </a:ln>
        </p:spPr>
        <p:txBody>
          <a:bodyPr vert="horz" wrap="square" lIns="60960" tIns="30480" rIns="60960" bIns="30480" anchor="t" anchorCtr="0" compatLnSpc="1">
            <a:no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4063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533" b="0" i="0" u="none" strike="noStrike" kern="1200" cap="none" spc="0" baseline="0">
              <a:solidFill>
                <a:srgbClr val="444C55"/>
              </a:solidFill>
              <a:uFillTx/>
              <a:latin typeface="Arial"/>
            </a:endParaRPr>
          </a:p>
        </p:txBody>
      </p:sp>
      <p:sp>
        <p:nvSpPr>
          <p:cNvPr id="8" name="Freeform 14" descr="A close-up of flowers in grass&#10;&#10;AI-generated content may be incorrect.">
            <a:extLst>
              <a:ext uri="{FF2B5EF4-FFF2-40B4-BE49-F238E27FC236}">
                <a16:creationId xmlns:a16="http://schemas.microsoft.com/office/drawing/2014/main" id="{3319C64C-B7A8-F3B6-314E-B467A95DC7F2}"/>
              </a:ext>
            </a:extLst>
          </p:cNvPr>
          <p:cNvSpPr/>
          <p:nvPr/>
        </p:nvSpPr>
        <p:spPr>
          <a:xfrm>
            <a:off x="-1330827" y="5568442"/>
            <a:ext cx="7848600" cy="1543558"/>
          </a:xfrm>
          <a:custGeom>
            <a:avLst/>
            <a:gdLst/>
            <a:ahLst/>
            <a:cxnLst/>
            <a:rect l="l" t="t" r="r" b="b"/>
            <a:pathLst>
              <a:path w="11772900" h="2315337">
                <a:moveTo>
                  <a:pt x="0" y="0"/>
                </a:moveTo>
                <a:lnTo>
                  <a:pt x="11772900" y="0"/>
                </a:lnTo>
                <a:lnTo>
                  <a:pt x="11772900" y="2315337"/>
                </a:lnTo>
                <a:lnTo>
                  <a:pt x="0" y="2315337"/>
                </a:lnTo>
                <a:lnTo>
                  <a:pt x="0" y="0"/>
                </a:lnTo>
                <a:close/>
              </a:path>
            </a:pathLst>
          </a:custGeom>
          <a:blipFill>
            <a:blip r:embed="rId10"/>
            <a:stretch>
              <a:fillRect/>
            </a:stretch>
          </a:blipFill>
        </p:spPr>
        <p:txBody>
          <a:bodyPr/>
          <a:lstStyle/>
          <a:p>
            <a:endParaRPr lang="en-US"/>
          </a:p>
        </p:txBody>
      </p:sp>
      <p:sp>
        <p:nvSpPr>
          <p:cNvPr id="17" name="Freeform 14" descr="A close-up of flowers in grass&#10;&#10;AI-generated content may be incorrect.">
            <a:extLst>
              <a:ext uri="{FF2B5EF4-FFF2-40B4-BE49-F238E27FC236}">
                <a16:creationId xmlns:a16="http://schemas.microsoft.com/office/drawing/2014/main" id="{616FB5B2-A7C5-9FB7-5961-31E988C41DCC}"/>
              </a:ext>
            </a:extLst>
          </p:cNvPr>
          <p:cNvSpPr/>
          <p:nvPr/>
        </p:nvSpPr>
        <p:spPr>
          <a:xfrm>
            <a:off x="5923598" y="5568442"/>
            <a:ext cx="7848600" cy="1543558"/>
          </a:xfrm>
          <a:custGeom>
            <a:avLst/>
            <a:gdLst/>
            <a:ahLst/>
            <a:cxnLst/>
            <a:rect l="l" t="t" r="r" b="b"/>
            <a:pathLst>
              <a:path w="11772900" h="2315337">
                <a:moveTo>
                  <a:pt x="0" y="0"/>
                </a:moveTo>
                <a:lnTo>
                  <a:pt x="11772900" y="0"/>
                </a:lnTo>
                <a:lnTo>
                  <a:pt x="11772900" y="2315337"/>
                </a:lnTo>
                <a:lnTo>
                  <a:pt x="0" y="2315337"/>
                </a:lnTo>
                <a:lnTo>
                  <a:pt x="0" y="0"/>
                </a:lnTo>
                <a:close/>
              </a:path>
            </a:pathLst>
          </a:custGeom>
          <a:blipFill>
            <a:blip r:embed="rId10"/>
            <a:stretch>
              <a:fillRect/>
            </a:stretch>
          </a:blipFill>
        </p:spPr>
        <p:txBody>
          <a:bodyPr/>
          <a:lstStyle/>
          <a:p>
            <a:endParaRPr lang="en-US"/>
          </a:p>
        </p:txBody>
      </p:sp>
    </p:spTree>
    <p:extLst>
      <p:ext uri="{BB962C8B-B14F-4D97-AF65-F5344CB8AC3E}">
        <p14:creationId xmlns:p14="http://schemas.microsoft.com/office/powerpoint/2010/main" val="3092258107"/>
      </p:ext>
    </p:extLst>
  </p:cSld>
  <p:clrMapOvr>
    <a:masterClrMapping/>
  </p:clrMapOvr>
  <p:extLst>
    <p:ext uri="{6950BFC3-D8DA-4A85-94F7-54DA5524770B}">
      <p188:commentRel xmlns:p188="http://schemas.microsoft.com/office/powerpoint/2018/8/main" r:id="rId3"/>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158EB9-39A3-AE23-78AF-3BC4C5DA6BD3}"/>
            </a:ext>
          </a:extLst>
        </p:cNvPr>
        <p:cNvGrpSpPr/>
        <p:nvPr/>
      </p:nvGrpSpPr>
      <p:grpSpPr>
        <a:xfrm>
          <a:off x="0" y="0"/>
          <a:ext cx="0" cy="0"/>
          <a:chOff x="0" y="0"/>
          <a:chExt cx="0" cy="0"/>
        </a:xfrm>
      </p:grpSpPr>
      <p:sp>
        <p:nvSpPr>
          <p:cNvPr id="7" name="TextBox 7">
            <a:extLst>
              <a:ext uri="{FF2B5EF4-FFF2-40B4-BE49-F238E27FC236}">
                <a16:creationId xmlns:a16="http://schemas.microsoft.com/office/drawing/2014/main" id="{ED346E8D-3BFA-92C2-B55E-F0D9831E6EF8}"/>
              </a:ext>
            </a:extLst>
          </p:cNvPr>
          <p:cNvSpPr txBox="1"/>
          <p:nvPr/>
        </p:nvSpPr>
        <p:spPr>
          <a:xfrm>
            <a:off x="0" y="1684030"/>
            <a:ext cx="12192000" cy="692497"/>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5413"/>
              </a:lnSpc>
            </a:pPr>
            <a:r>
              <a:rPr lang="en-US" sz="4800" b="1" dirty="0">
                <a:solidFill>
                  <a:srgbClr val="1C498B"/>
                </a:solidFill>
                <a:latin typeface="Calibri"/>
                <a:ea typeface="Calibri"/>
                <a:cs typeface="Calibri"/>
              </a:rPr>
              <a:t>ILPQC w</a:t>
            </a:r>
            <a:r>
              <a:rPr lang="en-US" sz="4800" b="1" i="0" u="none" strike="noStrike" dirty="0">
                <a:solidFill>
                  <a:srgbClr val="1C498B"/>
                </a:solidFill>
                <a:effectLst/>
                <a:latin typeface="Calibri"/>
                <a:ea typeface="Calibri"/>
                <a:cs typeface="Calibri"/>
              </a:rPr>
              <a:t>elcomes patient and </a:t>
            </a:r>
            <a:r>
              <a:rPr lang="en-US" sz="4800" b="1" dirty="0">
                <a:solidFill>
                  <a:srgbClr val="1C498B"/>
                </a:solidFill>
                <a:latin typeface="Calibri"/>
                <a:ea typeface="Calibri"/>
                <a:cs typeface="Calibri"/>
              </a:rPr>
              <a:t>parent</a:t>
            </a:r>
            <a:r>
              <a:rPr lang="en-US" sz="4800" b="1" i="0" u="none" strike="noStrike" dirty="0">
                <a:solidFill>
                  <a:srgbClr val="1C498B"/>
                </a:solidFill>
                <a:effectLst/>
                <a:latin typeface="Calibri"/>
                <a:ea typeface="Calibri"/>
                <a:cs typeface="Calibri"/>
              </a:rPr>
              <a:t> </a:t>
            </a:r>
            <a:r>
              <a:rPr lang="en-US" sz="4800" b="1" dirty="0">
                <a:solidFill>
                  <a:srgbClr val="1C498B"/>
                </a:solidFill>
                <a:latin typeface="Calibri"/>
                <a:ea typeface="Calibri"/>
                <a:cs typeface="Calibri"/>
              </a:rPr>
              <a:t>p</a:t>
            </a:r>
            <a:r>
              <a:rPr lang="en-US" sz="4800" b="1" i="0" u="none" strike="noStrike" dirty="0">
                <a:solidFill>
                  <a:srgbClr val="1C498B"/>
                </a:solidFill>
                <a:effectLst/>
                <a:latin typeface="Calibri"/>
                <a:ea typeface="Calibri"/>
                <a:cs typeface="Calibri"/>
              </a:rPr>
              <a:t>artners!</a:t>
            </a:r>
            <a:endParaRPr lang="en-US" sz="4800" b="1" dirty="0">
              <a:solidFill>
                <a:srgbClr val="1C498B"/>
              </a:solidFill>
              <a:latin typeface="Calibri"/>
              <a:ea typeface="Calibri"/>
              <a:cs typeface="Calibri"/>
            </a:endParaRPr>
          </a:p>
        </p:txBody>
      </p:sp>
      <p:pic>
        <p:nvPicPr>
          <p:cNvPr id="9" name="Picture 8" descr="A blue and red curved line&#10;&#10;AI-generated content may be incorrect.">
            <a:extLst>
              <a:ext uri="{FF2B5EF4-FFF2-40B4-BE49-F238E27FC236}">
                <a16:creationId xmlns:a16="http://schemas.microsoft.com/office/drawing/2014/main" id="{27955F8F-71B3-A33A-1D53-CDAB535E0396}"/>
              </a:ext>
            </a:extLst>
          </p:cNvPr>
          <p:cNvPicPr>
            <a:picLocks noChangeAspect="1"/>
          </p:cNvPicPr>
          <p:nvPr/>
        </p:nvPicPr>
        <p:blipFill>
          <a:blip r:embed="rId4"/>
          <a:stretch>
            <a:fillRect/>
          </a:stretch>
        </p:blipFill>
        <p:spPr>
          <a:xfrm>
            <a:off x="8671866" y="-1176"/>
            <a:ext cx="3531305" cy="952500"/>
          </a:xfrm>
          <a:prstGeom prst="rect">
            <a:avLst/>
          </a:prstGeom>
        </p:spPr>
      </p:pic>
      <p:pic>
        <p:nvPicPr>
          <p:cNvPr id="12" name="Picture 11" descr="A logo with a map and text&#10;&#10;AI-generated content may be incorrect.">
            <a:extLst>
              <a:ext uri="{FF2B5EF4-FFF2-40B4-BE49-F238E27FC236}">
                <a16:creationId xmlns:a16="http://schemas.microsoft.com/office/drawing/2014/main" id="{3A3DACC2-8EC9-3EFB-E673-FD7DC5014630}"/>
              </a:ext>
            </a:extLst>
          </p:cNvPr>
          <p:cNvPicPr>
            <a:picLocks noChangeAspect="1"/>
          </p:cNvPicPr>
          <p:nvPr/>
        </p:nvPicPr>
        <p:blipFill>
          <a:blip r:embed="rId5"/>
          <a:srcRect t="154" r="-244" b="3921"/>
          <a:stretch>
            <a:fillRect/>
          </a:stretch>
        </p:blipFill>
        <p:spPr>
          <a:xfrm>
            <a:off x="10339918" y="3550"/>
            <a:ext cx="1446409" cy="719901"/>
          </a:xfrm>
          <a:prstGeom prst="rect">
            <a:avLst/>
          </a:prstGeom>
        </p:spPr>
      </p:pic>
      <p:sp>
        <p:nvSpPr>
          <p:cNvPr id="11" name="Rectangle: Rounded Corners 10">
            <a:extLst>
              <a:ext uri="{FF2B5EF4-FFF2-40B4-BE49-F238E27FC236}">
                <a16:creationId xmlns:a16="http://schemas.microsoft.com/office/drawing/2014/main" id="{9DB8453B-AC84-E8FF-B598-1A7078895107}"/>
              </a:ext>
            </a:extLst>
          </p:cNvPr>
          <p:cNvSpPr/>
          <p:nvPr/>
        </p:nvSpPr>
        <p:spPr>
          <a:xfrm>
            <a:off x="93693" y="3303344"/>
            <a:ext cx="4038189" cy="1079500"/>
          </a:xfrm>
          <a:prstGeom prst="roundRect">
            <a:avLst/>
          </a:prstGeom>
          <a:solidFill>
            <a:srgbClr val="F14A58"/>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r>
              <a:rPr lang="en-US" sz="3600">
                <a:solidFill>
                  <a:schemeClr val="bg1"/>
                </a:solidFill>
              </a:rPr>
              <a:t>12 Patients/Parents</a:t>
            </a:r>
          </a:p>
        </p:txBody>
      </p:sp>
      <p:sp>
        <p:nvSpPr>
          <p:cNvPr id="13" name="Rectangle: Rounded Corners 12">
            <a:extLst>
              <a:ext uri="{FF2B5EF4-FFF2-40B4-BE49-F238E27FC236}">
                <a16:creationId xmlns:a16="http://schemas.microsoft.com/office/drawing/2014/main" id="{1A47CEB5-7BFA-D0EB-8114-350CF09C2F86}"/>
              </a:ext>
            </a:extLst>
          </p:cNvPr>
          <p:cNvSpPr/>
          <p:nvPr/>
        </p:nvSpPr>
        <p:spPr>
          <a:xfrm>
            <a:off x="8883778" y="3303344"/>
            <a:ext cx="3107479" cy="1028041"/>
          </a:xfrm>
          <a:prstGeom prst="roundRect">
            <a:avLst/>
          </a:prstGeom>
          <a:solidFill>
            <a:srgbClr val="F9C1BF"/>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r>
              <a:rPr lang="en-US" sz="3600" dirty="0"/>
              <a:t>12 Hospitals</a:t>
            </a:r>
          </a:p>
        </p:txBody>
      </p:sp>
      <p:sp>
        <p:nvSpPr>
          <p:cNvPr id="15" name="Freeform 10">
            <a:extLst>
              <a:ext uri="{FF2B5EF4-FFF2-40B4-BE49-F238E27FC236}">
                <a16:creationId xmlns:a16="http://schemas.microsoft.com/office/drawing/2014/main" id="{2BCF22F2-72A8-9683-BA24-D7B6F58BAC29}"/>
              </a:ext>
            </a:extLst>
          </p:cNvPr>
          <p:cNvSpPr/>
          <p:nvPr/>
        </p:nvSpPr>
        <p:spPr>
          <a:xfrm>
            <a:off x="10060328" y="4555822"/>
            <a:ext cx="1192809" cy="1041755"/>
          </a:xfrm>
          <a:custGeom>
            <a:avLst/>
            <a:gdLst>
              <a:gd name="f0" fmla="val w"/>
              <a:gd name="f1" fmla="val h"/>
              <a:gd name="f2" fmla="val 0"/>
              <a:gd name="f3" fmla="val 2270597"/>
              <a:gd name="f4" fmla="val 1878919"/>
              <a:gd name="f5" fmla="*/ f0 1 2270597"/>
              <a:gd name="f6" fmla="*/ f1 1 1878919"/>
              <a:gd name="f7" fmla="+- f4 0 f2"/>
              <a:gd name="f8" fmla="+- f3 0 f2"/>
              <a:gd name="f9" fmla="*/ f8 1 2270597"/>
              <a:gd name="f10" fmla="*/ f7 1 1878919"/>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2270597" h="1878919">
                <a:moveTo>
                  <a:pt x="f2" y="f2"/>
                </a:moveTo>
                <a:lnTo>
                  <a:pt x="f3" y="f2"/>
                </a:lnTo>
                <a:lnTo>
                  <a:pt x="f3" y="f4"/>
                </a:lnTo>
                <a:lnTo>
                  <a:pt x="f2" y="f4"/>
                </a:lnTo>
                <a:lnTo>
                  <a:pt x="f2" y="f2"/>
                </a:lnTo>
                <a:close/>
              </a:path>
            </a:pathLst>
          </a:custGeom>
          <a:blipFill>
            <a:blip cstate="email">
              <a:alphaModFix/>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a:ln cap="flat">
            <a:noFill/>
            <a:prstDash val="solid"/>
          </a:ln>
        </p:spPr>
        <p:txBody>
          <a:bodyPr vert="horz" wrap="square" lIns="60960" tIns="30480" rIns="60960" bIns="30480" anchor="t" anchorCtr="0" compatLnSpc="1">
            <a:no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4063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533" b="0" i="0" u="none" strike="noStrike" kern="1200" cap="none" spc="0" baseline="0">
              <a:solidFill>
                <a:srgbClr val="444C55"/>
              </a:solidFill>
              <a:uFillTx/>
              <a:latin typeface="Arial"/>
            </a:endParaRPr>
          </a:p>
        </p:txBody>
      </p:sp>
      <p:sp>
        <p:nvSpPr>
          <p:cNvPr id="2" name="Freeform 2">
            <a:extLst>
              <a:ext uri="{FF2B5EF4-FFF2-40B4-BE49-F238E27FC236}">
                <a16:creationId xmlns:a16="http://schemas.microsoft.com/office/drawing/2014/main" id="{3B9C83AA-375F-1315-2132-F5D70A8FFF08}"/>
              </a:ext>
            </a:extLst>
          </p:cNvPr>
          <p:cNvSpPr/>
          <p:nvPr/>
        </p:nvSpPr>
        <p:spPr>
          <a:xfrm>
            <a:off x="4552890" y="2927180"/>
            <a:ext cx="3909880" cy="3257283"/>
          </a:xfrm>
          <a:custGeom>
            <a:avLst/>
            <a:gdLst/>
            <a:ahLst/>
            <a:cxnLst/>
            <a:rect l="l" t="t" r="r" b="b"/>
            <a:pathLst>
              <a:path w="3108960" h="3066212">
                <a:moveTo>
                  <a:pt x="0" y="0"/>
                </a:moveTo>
                <a:lnTo>
                  <a:pt x="3108960" y="0"/>
                </a:lnTo>
                <a:lnTo>
                  <a:pt x="3108960" y="3066212"/>
                </a:lnTo>
                <a:lnTo>
                  <a:pt x="0" y="3066212"/>
                </a:lnTo>
                <a:lnTo>
                  <a:pt x="0" y="0"/>
                </a:lnTo>
                <a:close/>
              </a:path>
            </a:pathLst>
          </a:custGeom>
          <a:blipFill>
            <a:blip>
              <a:extLst>
                <a:ext uri="{96DAC541-7B7A-43D3-8B79-37D633B846F1}">
                  <asvg:svgBlip xmlns:asvg="http://schemas.microsoft.com/office/drawing/2016/SVG/main" r:embed="rId7"/>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4" name="Freeform 14" descr="A close-up of flowers in grass&#10;&#10;AI-generated content may be incorrect.">
            <a:extLst>
              <a:ext uri="{FF2B5EF4-FFF2-40B4-BE49-F238E27FC236}">
                <a16:creationId xmlns:a16="http://schemas.microsoft.com/office/drawing/2014/main" id="{C800551A-1436-B778-2C68-BDAF41B370C7}"/>
              </a:ext>
            </a:extLst>
          </p:cNvPr>
          <p:cNvSpPr/>
          <p:nvPr/>
        </p:nvSpPr>
        <p:spPr>
          <a:xfrm>
            <a:off x="-1335799" y="5583024"/>
            <a:ext cx="7848600" cy="1543558"/>
          </a:xfrm>
          <a:custGeom>
            <a:avLst/>
            <a:gdLst/>
            <a:ahLst/>
            <a:cxnLst/>
            <a:rect l="l" t="t" r="r" b="b"/>
            <a:pathLst>
              <a:path w="11772900" h="2315337">
                <a:moveTo>
                  <a:pt x="0" y="0"/>
                </a:moveTo>
                <a:lnTo>
                  <a:pt x="11772900" y="0"/>
                </a:lnTo>
                <a:lnTo>
                  <a:pt x="11772900" y="2315337"/>
                </a:lnTo>
                <a:lnTo>
                  <a:pt x="0" y="2315337"/>
                </a:lnTo>
                <a:lnTo>
                  <a:pt x="0" y="0"/>
                </a:lnTo>
                <a:close/>
              </a:path>
            </a:pathLst>
          </a:custGeom>
          <a:blipFill>
            <a:blip r:embed="rId8"/>
            <a:stretch>
              <a:fillRect/>
            </a:stretch>
          </a:blipFill>
        </p:spPr>
        <p:txBody>
          <a:bodyPr/>
          <a:lstStyle/>
          <a:p>
            <a:endParaRPr lang="en-US"/>
          </a:p>
        </p:txBody>
      </p:sp>
      <p:sp>
        <p:nvSpPr>
          <p:cNvPr id="6" name="Freeform 14" descr="A close-up of flowers in grass&#10;&#10;AI-generated content may be incorrect.">
            <a:extLst>
              <a:ext uri="{FF2B5EF4-FFF2-40B4-BE49-F238E27FC236}">
                <a16:creationId xmlns:a16="http://schemas.microsoft.com/office/drawing/2014/main" id="{4B62C2EA-E8F6-4FE9-9EA4-CEF883C30B57}"/>
              </a:ext>
            </a:extLst>
          </p:cNvPr>
          <p:cNvSpPr/>
          <p:nvPr/>
        </p:nvSpPr>
        <p:spPr>
          <a:xfrm>
            <a:off x="5923598" y="5568442"/>
            <a:ext cx="7848600" cy="1543558"/>
          </a:xfrm>
          <a:custGeom>
            <a:avLst/>
            <a:gdLst/>
            <a:ahLst/>
            <a:cxnLst/>
            <a:rect l="l" t="t" r="r" b="b"/>
            <a:pathLst>
              <a:path w="11772900" h="2315337">
                <a:moveTo>
                  <a:pt x="0" y="0"/>
                </a:moveTo>
                <a:lnTo>
                  <a:pt x="11772900" y="0"/>
                </a:lnTo>
                <a:lnTo>
                  <a:pt x="11772900" y="2315337"/>
                </a:lnTo>
                <a:lnTo>
                  <a:pt x="0" y="2315337"/>
                </a:lnTo>
                <a:lnTo>
                  <a:pt x="0" y="0"/>
                </a:lnTo>
                <a:close/>
              </a:path>
            </a:pathLst>
          </a:custGeom>
          <a:blipFill>
            <a:blip r:embed="rId8"/>
            <a:stretch>
              <a:fillRect/>
            </a:stretch>
          </a:blipFill>
        </p:spPr>
        <p:txBody>
          <a:bodyPr/>
          <a:lstStyle/>
          <a:p>
            <a:endParaRPr lang="en-US"/>
          </a:p>
        </p:txBody>
      </p:sp>
      <p:sp>
        <p:nvSpPr>
          <p:cNvPr id="5" name="Freeform 6">
            <a:extLst>
              <a:ext uri="{FF2B5EF4-FFF2-40B4-BE49-F238E27FC236}">
                <a16:creationId xmlns:a16="http://schemas.microsoft.com/office/drawing/2014/main" id="{FD16635F-B708-75D7-606D-0AAED72774EA}"/>
              </a:ext>
            </a:extLst>
          </p:cNvPr>
          <p:cNvSpPr/>
          <p:nvPr/>
        </p:nvSpPr>
        <p:spPr>
          <a:xfrm>
            <a:off x="1927212" y="4615346"/>
            <a:ext cx="1322579" cy="1079500"/>
          </a:xfrm>
          <a:custGeom>
            <a:avLst/>
            <a:gdLst/>
            <a:ahLst/>
            <a:cxnLst/>
            <a:rect l="l" t="t" r="r" b="b"/>
            <a:pathLst>
              <a:path w="4803268" h="4114800">
                <a:moveTo>
                  <a:pt x="0" y="0"/>
                </a:moveTo>
                <a:lnTo>
                  <a:pt x="4803269" y="0"/>
                </a:lnTo>
                <a:lnTo>
                  <a:pt x="4803269" y="4114800"/>
                </a:lnTo>
                <a:lnTo>
                  <a:pt x="0" y="4114800"/>
                </a:lnTo>
                <a:lnTo>
                  <a:pt x="0" y="0"/>
                </a:lnTo>
                <a:close/>
              </a:path>
            </a:pathLst>
          </a:custGeom>
          <a:blipFill>
            <a:blip>
              <a:extLst>
                <a:ext uri="{96DAC541-7B7A-43D3-8B79-37D633B846F1}">
                  <asvg:svgBlip xmlns:asvg="http://schemas.microsoft.com/office/drawing/2016/SVG/main" r:embed="rId9"/>
                </a:ext>
              </a:extLst>
            </a:blip>
            <a:stretch>
              <a:fillRect/>
            </a:stretch>
          </a:blipFill>
        </p:spPr>
        <p:txBody>
          <a:bodyPr/>
          <a:lstStyle/>
          <a:p>
            <a:endParaRPr lang="en-US"/>
          </a:p>
        </p:txBody>
      </p:sp>
    </p:spTree>
    <p:extLst>
      <p:ext uri="{BB962C8B-B14F-4D97-AF65-F5344CB8AC3E}">
        <p14:creationId xmlns:p14="http://schemas.microsoft.com/office/powerpoint/2010/main" val="3253623498"/>
      </p:ext>
    </p:extLst>
  </p:cSld>
  <p:clrMapOvr>
    <a:masterClrMapping/>
  </p:clrMapOvr>
  <p:extLst>
    <p:ext uri="{6950BFC3-D8DA-4A85-94F7-54DA5524770B}">
      <p188:commentRel xmlns:p188="http://schemas.microsoft.com/office/powerpoint/2018/8/main" r:id="rId3"/>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C3B9CD-D3BF-08A5-DA95-D44980125BA2}"/>
              </a:ext>
            </a:extLst>
          </p:cNvPr>
          <p:cNvSpPr>
            <a:spLocks noGrp="1"/>
          </p:cNvSpPr>
          <p:nvPr>
            <p:ph type="body" sz="quarter" idx="4294967295"/>
          </p:nvPr>
        </p:nvSpPr>
        <p:spPr>
          <a:xfrm>
            <a:off x="138023" y="254060"/>
            <a:ext cx="3771900" cy="2933700"/>
          </a:xfrm>
        </p:spPr>
        <p:txBody>
          <a:bodyPr vert="horz" lIns="91440" tIns="45720" rIns="91440" bIns="45720" rtlCol="0" anchor="t">
            <a:normAutofit/>
          </a:bodyPr>
          <a:lstStyle/>
          <a:p>
            <a:pPr marL="0" indent="0">
              <a:buNone/>
            </a:pPr>
            <a:r>
              <a:rPr lang="en-US" sz="3600" b="1" dirty="0">
                <a:solidFill>
                  <a:srgbClr val="F58466"/>
                </a:solidFill>
                <a:ea typeface="Lato"/>
                <a:cs typeface="Lato"/>
              </a:rPr>
              <a:t>SMILE! </a:t>
            </a:r>
            <a:endParaRPr lang="en-US" sz="3600" b="1" dirty="0">
              <a:solidFill>
                <a:srgbClr val="1C498B"/>
              </a:solidFill>
            </a:endParaRPr>
          </a:p>
        </p:txBody>
      </p:sp>
      <p:pic>
        <p:nvPicPr>
          <p:cNvPr id="4" name="Picture Placeholder 3" descr="A group of women holding certificates&#10;&#10;AI-generated content may be incorrect.">
            <a:extLst>
              <a:ext uri="{FF2B5EF4-FFF2-40B4-BE49-F238E27FC236}">
                <a16:creationId xmlns:a16="http://schemas.microsoft.com/office/drawing/2014/main" id="{1EBE62E2-5886-AD61-1EC5-3FCCCE9B9C61}"/>
              </a:ext>
            </a:extLst>
          </p:cNvPr>
          <p:cNvPicPr>
            <a:picLocks noGrp="1" noChangeAspect="1"/>
          </p:cNvPicPr>
          <p:nvPr>
            <p:ph type="pic" sz="quarter" idx="4294967295"/>
          </p:nvPr>
        </p:nvPicPr>
        <p:blipFill>
          <a:blip r:embed="rId2"/>
          <a:srcRect t="3555" b="3555"/>
          <a:stretch/>
        </p:blipFill>
        <p:spPr>
          <a:xfrm>
            <a:off x="4368800" y="203200"/>
            <a:ext cx="3835400" cy="2565400"/>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
        <p:nvSpPr>
          <p:cNvPr id="9" name="TextBox 13">
            <a:extLst>
              <a:ext uri="{FF2B5EF4-FFF2-40B4-BE49-F238E27FC236}">
                <a16:creationId xmlns:a16="http://schemas.microsoft.com/office/drawing/2014/main" id="{C10E95E7-E540-E124-926D-C22757771921}"/>
              </a:ext>
            </a:extLst>
          </p:cNvPr>
          <p:cNvSpPr txBox="1"/>
          <p:nvPr/>
        </p:nvSpPr>
        <p:spPr>
          <a:xfrm>
            <a:off x="144819" y="3778031"/>
            <a:ext cx="4639640" cy="2308324"/>
          </a:xfrm>
          <a:prstGeom prst="rect">
            <a:avLst/>
          </a:prstGeom>
          <a:noFill/>
          <a:ln cap="flat">
            <a:noFill/>
          </a:ln>
        </p:spPr>
        <p:txBody>
          <a:bodyPr vert="horz" wrap="square" lIns="91440" tIns="45720" rIns="91440" bIns="45720" anchor="t" anchorCtr="0" compatLnSpc="1">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marR="0" lvl="0" indent="-342900" algn="l" defTabSz="914400" rtl="0" fontAlgn="auto" hangingPunct="1">
              <a:lnSpc>
                <a:spcPct val="100000"/>
              </a:lnSpc>
              <a:spcBef>
                <a:spcPts val="0"/>
              </a:spcBef>
              <a:spcAft>
                <a:spcPts val="0"/>
              </a:spcAft>
              <a:buSzPct val="100000"/>
              <a:buFont typeface="Wingdings"/>
              <a:buChar char="q"/>
              <a:tabLst/>
              <a:defRPr sz="1800" b="0" i="0" u="none" strike="noStrike" kern="0" cap="none" spc="0" baseline="0">
                <a:solidFill>
                  <a:srgbClr val="000000"/>
                </a:solidFill>
                <a:uFillTx/>
              </a:defRPr>
            </a:pPr>
            <a:r>
              <a:rPr lang="en-US" sz="2400" b="1" i="0" u="none" strike="noStrike" kern="1200" cap="none" spc="0" baseline="0">
                <a:solidFill>
                  <a:srgbClr val="1C498B"/>
                </a:solidFill>
                <a:uFillTx/>
                <a:latin typeface="Calibri"/>
                <a:ea typeface="Calibri"/>
                <a:cs typeface="Calibri"/>
              </a:rPr>
              <a:t>Celebrate with your team in front of the ILPQC Photo Backdrop</a:t>
            </a:r>
            <a:endParaRPr lang="en-US" sz="2400">
              <a:ea typeface="Calibri"/>
              <a:cs typeface="Calibri"/>
            </a:endParaRPr>
          </a:p>
          <a:p>
            <a:pPr marL="342900" indent="-342900">
              <a:buSzPct val="100000"/>
              <a:buFont typeface="Wingdings"/>
              <a:buChar char="q"/>
              <a:defRPr sz="1800" b="0" i="0" u="none" strike="noStrike" kern="0" cap="none" spc="0" baseline="0">
                <a:solidFill>
                  <a:srgbClr val="000000"/>
                </a:solidFill>
                <a:uFillTx/>
              </a:defRPr>
            </a:pPr>
            <a:r>
              <a:rPr lang="en-US" sz="2400" b="1" i="0" u="none" strike="noStrike" kern="1200" cap="none" spc="0" baseline="0">
                <a:solidFill>
                  <a:srgbClr val="1C498B"/>
                </a:solidFill>
                <a:uFillTx/>
                <a:latin typeface="Calibri"/>
                <a:ea typeface="Calibri"/>
                <a:cs typeface="Calibri"/>
              </a:rPr>
              <a:t>Follow @illinoispqc on </a:t>
            </a:r>
            <a:r>
              <a:rPr lang="en-US" sz="2400" b="1">
                <a:solidFill>
                  <a:srgbClr val="1C498B"/>
                </a:solidFill>
                <a:latin typeface="Calibri"/>
                <a:ea typeface="Calibri"/>
                <a:cs typeface="Calibri"/>
              </a:rPr>
              <a:t>social media platforms</a:t>
            </a:r>
            <a:r>
              <a:rPr lang="en-US" sz="2400" b="1" i="0" u="none" strike="noStrike" kern="1200" cap="none" spc="0" baseline="0">
                <a:solidFill>
                  <a:srgbClr val="1C498B"/>
                </a:solidFill>
                <a:uFillTx/>
                <a:latin typeface="Calibri"/>
                <a:ea typeface="Calibri"/>
                <a:cs typeface="Calibri"/>
              </a:rPr>
              <a:t> and tag us in your photos</a:t>
            </a:r>
            <a:endParaRPr lang="en-US" sz="2400" b="0" i="0" u="none" strike="noStrike" kern="1200" cap="none" spc="0" baseline="0">
              <a:solidFill>
                <a:srgbClr val="1C498B"/>
              </a:solidFill>
              <a:uFillTx/>
              <a:latin typeface="Calibri"/>
              <a:ea typeface="Calibri"/>
              <a:cs typeface="Calibri"/>
            </a:endParaRPr>
          </a:p>
        </p:txBody>
      </p:sp>
      <p:sp>
        <p:nvSpPr>
          <p:cNvPr id="17" name="Freeform 6" descr="A butterfly with wings&#10;&#10;AI-generated content may be incorrect.">
            <a:extLst>
              <a:ext uri="{FF2B5EF4-FFF2-40B4-BE49-F238E27FC236}">
                <a16:creationId xmlns:a16="http://schemas.microsoft.com/office/drawing/2014/main" id="{1D959664-5B8D-7C07-AACE-294C75AF880F}"/>
              </a:ext>
            </a:extLst>
          </p:cNvPr>
          <p:cNvSpPr/>
          <p:nvPr/>
        </p:nvSpPr>
        <p:spPr>
          <a:xfrm rot="2946881">
            <a:off x="11221801" y="6056737"/>
            <a:ext cx="449002" cy="532413"/>
          </a:xfrm>
          <a:custGeom>
            <a:avLst/>
            <a:gdLst/>
            <a:ahLst/>
            <a:cxnLst/>
            <a:rect l="l" t="t" r="r" b="b"/>
            <a:pathLst>
              <a:path w="673503" h="798620">
                <a:moveTo>
                  <a:pt x="0" y="0"/>
                </a:moveTo>
                <a:lnTo>
                  <a:pt x="673503" y="0"/>
                </a:lnTo>
                <a:lnTo>
                  <a:pt x="673503" y="798620"/>
                </a:lnTo>
                <a:lnTo>
                  <a:pt x="0" y="798620"/>
                </a:lnTo>
                <a:lnTo>
                  <a:pt x="0" y="0"/>
                </a:lnTo>
                <a:close/>
              </a:path>
            </a:pathLst>
          </a:custGeom>
          <a:blipFill>
            <a:blip r:embed="rId3"/>
            <a:stretch>
              <a:fillRect/>
            </a:stretch>
          </a:blipFill>
        </p:spPr>
        <p:txBody>
          <a:bodyPr/>
          <a:lstStyle/>
          <a:p>
            <a:endParaRPr lang="en-US"/>
          </a:p>
        </p:txBody>
      </p:sp>
      <p:pic>
        <p:nvPicPr>
          <p:cNvPr id="19" name="Picture 18" descr="A group of women posing for a photo&#10;&#10;AI-generated content may be incorrect.">
            <a:extLst>
              <a:ext uri="{FF2B5EF4-FFF2-40B4-BE49-F238E27FC236}">
                <a16:creationId xmlns:a16="http://schemas.microsoft.com/office/drawing/2014/main" id="{4E11CC57-DE2C-9FD4-B9BD-27C339799AF9}"/>
              </a:ext>
            </a:extLst>
          </p:cNvPr>
          <p:cNvPicPr>
            <a:picLocks noChangeAspect="1"/>
          </p:cNvPicPr>
          <p:nvPr/>
        </p:nvPicPr>
        <p:blipFill>
          <a:blip r:embed="rId4"/>
          <a:srcRect l="4074" t="15131" r="4444" b="-2786"/>
          <a:stretch>
            <a:fillRect/>
          </a:stretch>
        </p:blipFill>
        <p:spPr>
          <a:xfrm>
            <a:off x="559758" y="1365178"/>
            <a:ext cx="3479813" cy="2277567"/>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pic>
        <p:nvPicPr>
          <p:cNvPr id="3" name="Picture 2" descr="A group of people posing for a photo&#10;&#10;AI-generated content may be incorrect.">
            <a:extLst>
              <a:ext uri="{FF2B5EF4-FFF2-40B4-BE49-F238E27FC236}">
                <a16:creationId xmlns:a16="http://schemas.microsoft.com/office/drawing/2014/main" id="{972679CB-7A00-DE1A-8315-E890026725BB}"/>
              </a:ext>
            </a:extLst>
          </p:cNvPr>
          <p:cNvPicPr>
            <a:picLocks noChangeAspect="1"/>
          </p:cNvPicPr>
          <p:nvPr/>
        </p:nvPicPr>
        <p:blipFill>
          <a:blip r:embed="rId5"/>
          <a:srcRect l="1902" t="12847" b="131"/>
          <a:stretch>
            <a:fillRect/>
          </a:stretch>
        </p:blipFill>
        <p:spPr>
          <a:xfrm>
            <a:off x="8311322" y="211735"/>
            <a:ext cx="3759203" cy="2556321"/>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pic>
        <p:nvPicPr>
          <p:cNvPr id="5" name="Picture 4" descr="A group of people posing for a photo&#10;&#10;AI-generated content may be incorrect.">
            <a:extLst>
              <a:ext uri="{FF2B5EF4-FFF2-40B4-BE49-F238E27FC236}">
                <a16:creationId xmlns:a16="http://schemas.microsoft.com/office/drawing/2014/main" id="{947B76C0-2247-88F7-24E1-746A2BB12008}"/>
              </a:ext>
            </a:extLst>
          </p:cNvPr>
          <p:cNvPicPr>
            <a:picLocks noChangeAspect="1"/>
          </p:cNvPicPr>
          <p:nvPr/>
        </p:nvPicPr>
        <p:blipFill>
          <a:blip r:embed="rId6"/>
          <a:srcRect t="9501" r="-215" b="19968"/>
          <a:stretch>
            <a:fillRect/>
          </a:stretch>
        </p:blipFill>
        <p:spPr>
          <a:xfrm>
            <a:off x="4573380" y="2904434"/>
            <a:ext cx="3917694" cy="3677487"/>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pic>
        <p:nvPicPr>
          <p:cNvPr id="10" name="Picture 9" descr="A group of women posing for a photo&#10;&#10;AI-generated content may be incorrect.">
            <a:extLst>
              <a:ext uri="{FF2B5EF4-FFF2-40B4-BE49-F238E27FC236}">
                <a16:creationId xmlns:a16="http://schemas.microsoft.com/office/drawing/2014/main" id="{5F73A123-675E-3EC7-3935-6717FB34613E}"/>
              </a:ext>
            </a:extLst>
          </p:cNvPr>
          <p:cNvPicPr>
            <a:picLocks noChangeAspect="1"/>
          </p:cNvPicPr>
          <p:nvPr/>
        </p:nvPicPr>
        <p:blipFill>
          <a:blip r:embed="rId7"/>
          <a:srcRect t="24938" r="-1505"/>
          <a:stretch>
            <a:fillRect/>
          </a:stretch>
        </p:blipFill>
        <p:spPr>
          <a:xfrm>
            <a:off x="8637380" y="3013364"/>
            <a:ext cx="3409801" cy="3568550"/>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
        <p:nvSpPr>
          <p:cNvPr id="7" name="Freeform 14" descr="A close-up of flowers in grass&#10;&#10;AI-generated content may be incorrect.">
            <a:extLst>
              <a:ext uri="{FF2B5EF4-FFF2-40B4-BE49-F238E27FC236}">
                <a16:creationId xmlns:a16="http://schemas.microsoft.com/office/drawing/2014/main" id="{7E40AF42-61FD-850F-774E-C79DB79497C1}"/>
              </a:ext>
            </a:extLst>
          </p:cNvPr>
          <p:cNvSpPr/>
          <p:nvPr/>
        </p:nvSpPr>
        <p:spPr>
          <a:xfrm>
            <a:off x="-488830" y="5314442"/>
            <a:ext cx="7848600" cy="1543558"/>
          </a:xfrm>
          <a:custGeom>
            <a:avLst/>
            <a:gdLst/>
            <a:ahLst/>
            <a:cxnLst/>
            <a:rect l="l" t="t" r="r" b="b"/>
            <a:pathLst>
              <a:path w="11772900" h="2315337">
                <a:moveTo>
                  <a:pt x="0" y="0"/>
                </a:moveTo>
                <a:lnTo>
                  <a:pt x="11772900" y="0"/>
                </a:lnTo>
                <a:lnTo>
                  <a:pt x="11772900" y="2315337"/>
                </a:lnTo>
                <a:lnTo>
                  <a:pt x="0" y="2315337"/>
                </a:lnTo>
                <a:lnTo>
                  <a:pt x="0" y="0"/>
                </a:lnTo>
                <a:close/>
              </a:path>
            </a:pathLst>
          </a:custGeom>
          <a:blipFill>
            <a:blip r:embed="rId8"/>
            <a:stretch>
              <a:fillRect/>
            </a:stretch>
          </a:blipFill>
        </p:spPr>
        <p:txBody>
          <a:bodyPr/>
          <a:lstStyle/>
          <a:p>
            <a:endParaRPr lang="en-US"/>
          </a:p>
        </p:txBody>
      </p:sp>
      <p:sp>
        <p:nvSpPr>
          <p:cNvPr id="12" name="Freeform 14" descr="A close-up of flowers in grass&#10;&#10;AI-generated content may be incorrect.">
            <a:extLst>
              <a:ext uri="{FF2B5EF4-FFF2-40B4-BE49-F238E27FC236}">
                <a16:creationId xmlns:a16="http://schemas.microsoft.com/office/drawing/2014/main" id="{CC4C0767-C5D9-5184-A095-9841B6F1F221}"/>
              </a:ext>
            </a:extLst>
          </p:cNvPr>
          <p:cNvSpPr/>
          <p:nvPr/>
        </p:nvSpPr>
        <p:spPr>
          <a:xfrm>
            <a:off x="6803013" y="5314442"/>
            <a:ext cx="7848600" cy="1543558"/>
          </a:xfrm>
          <a:custGeom>
            <a:avLst/>
            <a:gdLst/>
            <a:ahLst/>
            <a:cxnLst/>
            <a:rect l="l" t="t" r="r" b="b"/>
            <a:pathLst>
              <a:path w="11772900" h="2315337">
                <a:moveTo>
                  <a:pt x="0" y="0"/>
                </a:moveTo>
                <a:lnTo>
                  <a:pt x="11772900" y="0"/>
                </a:lnTo>
                <a:lnTo>
                  <a:pt x="11772900" y="2315337"/>
                </a:lnTo>
                <a:lnTo>
                  <a:pt x="0" y="2315337"/>
                </a:lnTo>
                <a:lnTo>
                  <a:pt x="0" y="0"/>
                </a:lnTo>
                <a:close/>
              </a:path>
            </a:pathLst>
          </a:custGeom>
          <a:blipFill>
            <a:blip r:embed="rId8"/>
            <a:stretch>
              <a:fillRect/>
            </a:stretch>
          </a:blipFill>
        </p:spPr>
        <p:txBody>
          <a:bodyPr/>
          <a:lstStyle/>
          <a:p>
            <a:endParaRPr lang="en-US"/>
          </a:p>
        </p:txBody>
      </p:sp>
    </p:spTree>
    <p:extLst>
      <p:ext uri="{BB962C8B-B14F-4D97-AF65-F5344CB8AC3E}">
        <p14:creationId xmlns:p14="http://schemas.microsoft.com/office/powerpoint/2010/main" val="1055256784"/>
      </p:ext>
    </p:extLst>
  </p:cSld>
  <p:clrMapOvr>
    <a:masterClrMapping/>
  </p:clrMapOvr>
</p:sld>
</file>